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8.xml" ContentType="application/vnd.openxmlformats-officedocument.presentationml.notesSlide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tags/tag60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3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65.xml" ContentType="application/vnd.openxmlformats-officedocument.presentationml.tags+xml"/>
  <Override PartName="/ppt/notesSlides/notesSlide19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3.xml" ContentType="application/vnd.openxmlformats-officedocument.drawingml.chart+xml"/>
  <Override PartName="/ppt/tags/tag74.xml" ContentType="application/vnd.openxmlformats-officedocument.presentationml.tags+xml"/>
  <Override PartName="/ppt/notesSlides/notesSlide21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22.xml" ContentType="application/vnd.openxmlformats-officedocument.presentationml.notesSlide+xml"/>
  <Override PartName="/ppt/tags/tag77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27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8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9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30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31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32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33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34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35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36.xml" ContentType="application/vnd.openxmlformats-officedocument.presentationml.notesSlide+xml"/>
  <Override PartName="/ppt/tags/tag100.xml" ContentType="application/vnd.openxmlformats-officedocument.presentationml.tags+xml"/>
  <Override PartName="/ppt/notesSlides/notesSlide3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470" r:id="rId4"/>
  </p:sldMasterIdLst>
  <p:notesMasterIdLst>
    <p:notesMasterId r:id="rId79"/>
  </p:notesMasterIdLst>
  <p:handoutMasterIdLst>
    <p:handoutMasterId r:id="rId80"/>
  </p:handoutMasterIdLst>
  <p:sldIdLst>
    <p:sldId id="461" r:id="rId5"/>
    <p:sldId id="3280" r:id="rId6"/>
    <p:sldId id="535" r:id="rId7"/>
    <p:sldId id="536" r:id="rId8"/>
    <p:sldId id="483" r:id="rId9"/>
    <p:sldId id="339" r:id="rId10"/>
    <p:sldId id="484" r:id="rId11"/>
    <p:sldId id="485" r:id="rId12"/>
    <p:sldId id="286" r:id="rId13"/>
    <p:sldId id="305" r:id="rId14"/>
    <p:sldId id="2145708034" r:id="rId15"/>
    <p:sldId id="2145708007" r:id="rId16"/>
    <p:sldId id="2145708028" r:id="rId17"/>
    <p:sldId id="2145708047" r:id="rId18"/>
    <p:sldId id="2145708088" r:id="rId19"/>
    <p:sldId id="2145708048" r:id="rId20"/>
    <p:sldId id="2145708029" r:id="rId21"/>
    <p:sldId id="2145708089" r:id="rId22"/>
    <p:sldId id="2145708081" r:id="rId23"/>
    <p:sldId id="2145708082" r:id="rId24"/>
    <p:sldId id="2145708121" r:id="rId25"/>
    <p:sldId id="2147482125" r:id="rId26"/>
    <p:sldId id="2147482126" r:id="rId27"/>
    <p:sldId id="2147482132" r:id="rId28"/>
    <p:sldId id="2147482133" r:id="rId29"/>
    <p:sldId id="2145708049" r:id="rId30"/>
    <p:sldId id="2145708090" r:id="rId31"/>
    <p:sldId id="2145708025" r:id="rId32"/>
    <p:sldId id="2145708026" r:id="rId33"/>
    <p:sldId id="2145708050" r:id="rId34"/>
    <p:sldId id="2145708094" r:id="rId35"/>
    <p:sldId id="2145708095" r:id="rId36"/>
    <p:sldId id="2147482135" r:id="rId37"/>
    <p:sldId id="2145708086" r:id="rId38"/>
    <p:sldId id="2145708087" r:id="rId39"/>
    <p:sldId id="2145708096" r:id="rId40"/>
    <p:sldId id="2145708097" r:id="rId41"/>
    <p:sldId id="2145708100" r:id="rId42"/>
    <p:sldId id="2145708101" r:id="rId43"/>
    <p:sldId id="2145708102" r:id="rId44"/>
    <p:sldId id="2145708103" r:id="rId45"/>
    <p:sldId id="2145708104" r:id="rId46"/>
    <p:sldId id="2145708105" r:id="rId47"/>
    <p:sldId id="2145708106" r:id="rId48"/>
    <p:sldId id="2145708107" r:id="rId49"/>
    <p:sldId id="2147482138" r:id="rId50"/>
    <p:sldId id="2145708109" r:id="rId51"/>
    <p:sldId id="2145708108" r:id="rId52"/>
    <p:sldId id="2147482139" r:id="rId53"/>
    <p:sldId id="2145708110" r:id="rId54"/>
    <p:sldId id="2147482136" r:id="rId55"/>
    <p:sldId id="2147482140" r:id="rId56"/>
    <p:sldId id="2147482137" r:id="rId57"/>
    <p:sldId id="2145708116" r:id="rId58"/>
    <p:sldId id="2145708117" r:id="rId59"/>
    <p:sldId id="2145708118" r:id="rId60"/>
    <p:sldId id="2145708119" r:id="rId61"/>
    <p:sldId id="2145708120" r:id="rId62"/>
    <p:sldId id="2145708113" r:id="rId63"/>
    <p:sldId id="2145708114" r:id="rId64"/>
    <p:sldId id="2145708115" r:id="rId65"/>
    <p:sldId id="2145708066" r:id="rId66"/>
    <p:sldId id="2145708067" r:id="rId67"/>
    <p:sldId id="2145708074" r:id="rId68"/>
    <p:sldId id="2145708051" r:id="rId69"/>
    <p:sldId id="2145708038" r:id="rId70"/>
    <p:sldId id="2145708037" r:id="rId71"/>
    <p:sldId id="2145708053" r:id="rId72"/>
    <p:sldId id="2145708054" r:id="rId73"/>
    <p:sldId id="2145708055" r:id="rId74"/>
    <p:sldId id="2145708075" r:id="rId75"/>
    <p:sldId id="2147482134" r:id="rId76"/>
    <p:sldId id="2145708076" r:id="rId77"/>
    <p:sldId id="2145708052" r:id="rId78"/>
  </p:sldIdLst>
  <p:sldSz cx="12192000" cy="6858000"/>
  <p:notesSz cx="6797675" cy="9926638"/>
  <p:custShowLst>
    <p:custShow name="Format Guide Workshop" id="0">
      <p:sldLst/>
    </p:custShow>
  </p:custShowLst>
  <p:custDataLst>
    <p:tags r:id="rId8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E182C6-4678-E40C-14B5-8F847087F261}" name="Datta, Bitan" initials="DB" userId="S::datta.bitan@bcg.com::2657cb84-d8d9-447e-9f2e-64609062dee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039"/>
    <a:srgbClr val="BCF7BC"/>
    <a:srgbClr val="FFFF81"/>
    <a:srgbClr val="F0F8B0"/>
    <a:srgbClr val="AAFF8F"/>
    <a:srgbClr val="7FFF57"/>
    <a:srgbClr val="014F94"/>
    <a:srgbClr val="F2F2F2"/>
    <a:srgbClr val="C2FFAF"/>
    <a:srgbClr val="01519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80" autoAdjust="0"/>
    <p:restoredTop sz="87941" autoAdjust="0"/>
  </p:normalViewPr>
  <p:slideViewPr>
    <p:cSldViewPr snapToGrid="0">
      <p:cViewPr varScale="1">
        <p:scale>
          <a:sx n="71" d="100"/>
          <a:sy n="71" d="100"/>
        </p:scale>
        <p:origin x="1037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1538" y="41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theme" Target="theme/theme1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slide" Target="slides/slide73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handoutMaster" Target="handoutMasters/handoutMaster1.xml"/><Relationship Id="rId85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tags" Target="tags/tag1.xml"/><Relationship Id="rId86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61" Type="http://schemas.openxmlformats.org/officeDocument/2006/relationships/slide" Target="slides/slide57.xml"/><Relationship Id="rId8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828151691151356E-3"/>
          <c:y val="2.1469859620148638E-2"/>
          <c:w val="0.98223436966176969"/>
          <c:h val="0.9570602807597027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15197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:$K$1</c:f>
              <c:numCache>
                <c:formatCode>General</c:formatCode>
                <c:ptCount val="11"/>
                <c:pt idx="0">
                  <c:v>1687</c:v>
                </c:pt>
                <c:pt idx="1">
                  <c:v>1094</c:v>
                </c:pt>
                <c:pt idx="2">
                  <c:v>896</c:v>
                </c:pt>
                <c:pt idx="3">
                  <c:v>774</c:v>
                </c:pt>
                <c:pt idx="4">
                  <c:v>520</c:v>
                </c:pt>
                <c:pt idx="5">
                  <c:v>423</c:v>
                </c:pt>
                <c:pt idx="6">
                  <c:v>411</c:v>
                </c:pt>
                <c:pt idx="7">
                  <c:v>315</c:v>
                </c:pt>
                <c:pt idx="8">
                  <c:v>296</c:v>
                </c:pt>
                <c:pt idx="9">
                  <c:v>296</c:v>
                </c:pt>
                <c:pt idx="10">
                  <c:v>2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C8-47F2-9FAC-4A52273611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058230608"/>
        <c:axId val="1"/>
      </c:barChart>
      <c:catAx>
        <c:axId val="1058230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1058230608"/>
        <c:crosses val="min"/>
        <c:crossBetween val="between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EE5-456C-B63F-83B993AC7101}"/>
              </c:ext>
            </c:extLst>
          </c:dPt>
          <c:dPt>
            <c:idx val="1"/>
            <c:bubble3D val="0"/>
            <c:spPr>
              <a:solidFill>
                <a:schemeClr val="accent4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EE5-456C-B63F-83B993AC7101}"/>
              </c:ext>
            </c:extLst>
          </c:dPt>
          <c:dPt>
            <c:idx val="2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EE5-456C-B63F-83B993AC7101}"/>
              </c:ext>
            </c:extLst>
          </c:dPt>
          <c:dPt>
            <c:idx val="3"/>
            <c:bubble3D val="0"/>
            <c:spPr>
              <a:solidFill>
                <a:schemeClr val="accent1">
                  <a:lumMod val="25000"/>
                  <a:lumOff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EE5-456C-B63F-83B993AC7101}"/>
              </c:ext>
            </c:extLst>
          </c:dPt>
          <c:dLbls>
            <c:dLbl>
              <c:idx val="0"/>
              <c:layout>
                <c:manualLayout>
                  <c:x val="-0.17426274133022823"/>
                  <c:y val="0.1968242184212947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6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B27AB84-8079-4682-83FC-680511CB5586}" type="CATEGORYNAME">
                      <a:rPr lang="en-US" sz="1600">
                        <a:solidFill>
                          <a:schemeClr val="bg1">
                            <a:lumMod val="95000"/>
                          </a:schemeClr>
                        </a:solidFill>
                      </a:rPr>
                      <a:pPr>
                        <a:defRPr sz="1600"/>
                      </a:pPr>
                      <a:t>[CATEGORY NAME]</a:t>
                    </a:fld>
                    <a:r>
                      <a:rPr lang="en-US" sz="1600" baseline="0" dirty="0">
                        <a:solidFill>
                          <a:schemeClr val="bg1">
                            <a:lumMod val="95000"/>
                          </a:schemeClr>
                        </a:solidFill>
                      </a:rPr>
                      <a:t>, 28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EE5-456C-B63F-83B993AC7101}"/>
                </c:ext>
              </c:extLst>
            </c:dLbl>
            <c:dLbl>
              <c:idx val="1"/>
              <c:layout>
                <c:manualLayout>
                  <c:x val="-0.13790278479941187"/>
                  <c:y val="-0.2472596674481209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EE5-456C-B63F-83B993AC7101}"/>
                </c:ext>
              </c:extLst>
            </c:dLbl>
            <c:dLbl>
              <c:idx val="2"/>
              <c:layout>
                <c:manualLayout>
                  <c:x val="0.21743753240381955"/>
                  <c:y val="-7.4683794171101501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6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18810D7-C869-47AE-AAA0-4C47688CE40D}" type="CATEGORYNAME">
                      <a:rPr lang="en-US"/>
                      <a:pPr>
                        <a:defRPr sz="1600">
                          <a:solidFill>
                            <a:schemeClr val="bg1"/>
                          </a:solidFill>
                        </a:defRPr>
                      </a:pPr>
                      <a:t>[CATEGORY NAME]</a:t>
                    </a:fld>
                    <a:r>
                      <a:rPr lang="en-US" baseline="0" dirty="0"/>
                      <a:t>, 26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EE5-456C-B63F-83B993AC7101}"/>
                </c:ext>
              </c:extLst>
            </c:dLbl>
            <c:dLbl>
              <c:idx val="3"/>
              <c:layout>
                <c:manualLayout>
                  <c:x val="0.1175154383355981"/>
                  <c:y val="9.795637518242379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8155E47-E9E9-49EC-B83D-113C6074A91B}" type="CATEGORYNAME">
                      <a:rPr lang="en-US" sz="1400"/>
                      <a:pPr>
                        <a:defRPr sz="1400"/>
                      </a:pPr>
                      <a:t>[CATEGORY NAME]</a:t>
                    </a:fld>
                    <a:r>
                      <a:rPr lang="en-US" sz="1400" baseline="0" dirty="0"/>
                      <a:t>, </a:t>
                    </a:r>
                    <a:br>
                      <a:rPr lang="en-US" sz="1400" baseline="0" dirty="0"/>
                    </a:br>
                    <a:r>
                      <a:rPr lang="en-US" sz="1400" baseline="0" dirty="0"/>
                      <a:t>12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582725596765358"/>
                      <c:h val="0.348512077160660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EE5-456C-B63F-83B993AC71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Urban Housing</c:v>
                </c:pt>
                <c:pt idx="1">
                  <c:v>Rural Housing</c:v>
                </c:pt>
                <c:pt idx="2">
                  <c:v>Infrastructure</c:v>
                </c:pt>
                <c:pt idx="3">
                  <c:v>Industrial &amp; Commercial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24</c:v>
                </c:pt>
                <c:pt idx="1">
                  <c:v>0.34</c:v>
                </c:pt>
                <c:pt idx="2">
                  <c:v>0.28000000000000003</c:v>
                </c:pt>
                <c:pt idx="3" formatCode="0.00%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EE5-456C-B63F-83B993AC71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927083333333332E-2"/>
          <c:y val="5.9616749467707592E-2"/>
          <c:w val="0.96614583333333337"/>
          <c:h val="0.92193044712562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15197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00B050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A5F-436B-B47E-74BDE53CC48F}"/>
              </c:ext>
            </c:extLst>
          </c:dPt>
          <c:dLbls>
            <c:dLbl>
              <c:idx val="0"/>
              <c:layout>
                <c:manualLayout>
                  <c:x val="7.8126025262467182E-3"/>
                  <c:y val="-0.30766501064584811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DEC853C-05FC-4CAA-A9B4-5428211202E1}" type="VALUE">
                      <a:rPr lang="en-US" smtClean="0"/>
                      <a:pPr>
                        <a:defRPr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UE]</a:t>
                    </a:fld>
                    <a:r>
                      <a:rPr lang="en-US" dirty="0"/>
                      <a:t>X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6.8216248359580053E-2"/>
                      <c:h val="5.46629932436586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A5E-420F-80D2-5143809741ED}"/>
                </c:ext>
              </c:extLst>
            </c:dLbl>
            <c:dLbl>
              <c:idx val="1"/>
              <c:layout>
                <c:manualLayout>
                  <c:x val="1.3020833333333356E-3"/>
                  <c:y val="-0.30766501064584811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3X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7.6757915026246723E-2"/>
                      <c:h val="5.46629932436586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2-6A5E-420F-80D2-5143809741ED}"/>
                </c:ext>
              </c:extLst>
            </c:dLbl>
            <c:dLbl>
              <c:idx val="2"/>
              <c:layout>
                <c:manualLayout>
                  <c:x val="0"/>
                  <c:y val="-0.39957416607523066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4X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7.4153748359580052E-2"/>
                      <c:h val="5.46629932436586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6A5E-420F-80D2-5143809741ED}"/>
                </c:ext>
              </c:extLst>
            </c:dLbl>
            <c:dLbl>
              <c:idx val="4"/>
              <c:layout>
                <c:manualLayout>
                  <c:x val="1.171875E-2"/>
                  <c:y val="-0.49183818310858762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5X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5.9362081692913383E-2"/>
                      <c:h val="5.46629932436586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0A5F-436B-B47E-74BDE53CC48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#,##0;"-"#,##0</c:formatCode>
                <c:ptCount val="5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4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A5E-420F-80D2-5143809741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794323184"/>
        <c:axId val="1"/>
      </c:barChart>
      <c:catAx>
        <c:axId val="7943231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1"/>
        <c:majorTickMark val="none"/>
        <c:minorTickMark val="none"/>
        <c:tickLblPos val="none"/>
        <c:spPr>
          <a:ln w="9525" algn="ctr">
            <a:solidFill>
              <a:schemeClr val="bg2"/>
            </a:solidFill>
            <a:prstDash val="solid"/>
          </a:ln>
        </c:spPr>
        <c:crossAx val="7943231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2945659" cy="498056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8" y="3"/>
            <a:ext cx="2945659" cy="498056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11/22/2024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8588"/>
            <a:ext cx="2945659" cy="498055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8" y="9428588"/>
            <a:ext cx="2945659" cy="498055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1" y="7722546"/>
            <a:ext cx="6796102" cy="220409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0622" y="3"/>
            <a:ext cx="2865041" cy="498056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8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3"/>
            <a:ext cx="2866612" cy="498056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800"/>
            </a:lvl1pPr>
          </a:lstStyle>
          <a:p>
            <a:fld id="{3AD9BDA7-98EF-4344-B91C-30A07E8A84B0}" type="datetimeFigureOut">
              <a:rPr lang="en-US" smtClean="0"/>
              <a:pPr/>
              <a:t>11/2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3041650" y="298450"/>
            <a:ext cx="12880975" cy="724535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302" y="7842488"/>
            <a:ext cx="6615072" cy="963266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0622" y="9428588"/>
            <a:ext cx="2865041" cy="498055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8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8" y="9428588"/>
            <a:ext cx="2855929" cy="498055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8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28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" y="746125"/>
            <a:ext cx="6615113" cy="3722688"/>
          </a:xfrm>
          <a:prstGeom prst="rect">
            <a:avLst/>
          </a:prstGeo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8858" y="4714145"/>
            <a:ext cx="5439987" cy="4468344"/>
          </a:xfrm>
          <a:prstGeom prst="rect">
            <a:avLst/>
          </a:prstGeom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7004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98538" y="1163638"/>
            <a:ext cx="5567362" cy="31321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86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8714DA-3948-4D09-9532-35B6E69A41A7}" type="slidenum">
              <a:rPr kumimoji="0" lang="en-IN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86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IN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Header Placeholder 2">
            <a:extLst>
              <a:ext uri="{FF2B5EF4-FFF2-40B4-BE49-F238E27FC236}">
                <a16:creationId xmlns:a16="http://schemas.microsoft.com/office/drawing/2014/main" id="{4270AABC-3C2A-45B9-A302-E8C368D182C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P 2022 - 26...30</a:t>
            </a:r>
          </a:p>
        </p:txBody>
      </p:sp>
    </p:spTree>
    <p:extLst>
      <p:ext uri="{BB962C8B-B14F-4D97-AF65-F5344CB8AC3E}">
        <p14:creationId xmlns:p14="http://schemas.microsoft.com/office/powerpoint/2010/main" val="25784909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6988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03563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9634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603021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292">
              <a:spcAft>
                <a:spcPts val="0"/>
              </a:spcAft>
              <a:buNone/>
              <a:defRPr/>
            </a:pPr>
            <a:r>
              <a:rPr lang="en-IN" altLang="en-US" b="0" dirty="0"/>
              <a:t>Remove this slide/decide later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57147">
              <a:defRPr/>
            </a:pPr>
            <a:fld id="{5559C632-AF62-44FE-9BB8-4AC51A311032}" type="slidenum">
              <a:rPr lang="en-IN" sz="1200">
                <a:solidFill>
                  <a:prstClr val="black"/>
                </a:solidFill>
                <a:latin typeface="Calibri"/>
              </a:rPr>
              <a:pPr defTabSz="457147">
                <a:defRPr/>
              </a:pPr>
              <a:t>20</a:t>
            </a:fld>
            <a:endParaRPr lang="en-IN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E48A8AE1-8DBA-4D8B-8850-F0656B1BDAA7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defTabSz="457147">
              <a:defRPr/>
            </a:pPr>
            <a:r>
              <a:rPr lang="en-IN" sz="1200" dirty="0">
                <a:solidFill>
                  <a:prstClr val="black"/>
                </a:solidFill>
                <a:latin typeface="Calibri"/>
              </a:rPr>
              <a:t>SBP 2022 - 26...30</a:t>
            </a:r>
          </a:p>
        </p:txBody>
      </p:sp>
    </p:spTree>
    <p:extLst>
      <p:ext uri="{BB962C8B-B14F-4D97-AF65-F5344CB8AC3E}">
        <p14:creationId xmlns:p14="http://schemas.microsoft.com/office/powerpoint/2010/main" val="2906941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292">
              <a:spcAft>
                <a:spcPts val="0"/>
              </a:spcAft>
              <a:buNone/>
              <a:defRPr/>
            </a:pPr>
            <a:r>
              <a:rPr lang="en-IN" altLang="en-US" b="0" dirty="0"/>
              <a:t>Remove this slide/decide later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57147">
              <a:defRPr/>
            </a:pPr>
            <a:fld id="{5559C632-AF62-44FE-9BB8-4AC51A311032}" type="slidenum">
              <a:rPr lang="en-IN" sz="1200">
                <a:solidFill>
                  <a:prstClr val="black"/>
                </a:solidFill>
                <a:latin typeface="Calibri"/>
              </a:rPr>
              <a:pPr defTabSz="457147">
                <a:defRPr/>
              </a:pPr>
              <a:t>22</a:t>
            </a:fld>
            <a:endParaRPr lang="en-IN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E47F6085-0779-4E42-84E0-C4F97E83254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defTabSz="457147">
              <a:defRPr/>
            </a:pPr>
            <a:r>
              <a:rPr lang="en-IN" sz="1200" dirty="0">
                <a:solidFill>
                  <a:prstClr val="black"/>
                </a:solidFill>
                <a:latin typeface="Calibri"/>
              </a:rPr>
              <a:t>SBP 2022 - 26...30</a:t>
            </a:r>
          </a:p>
        </p:txBody>
      </p:sp>
    </p:spTree>
    <p:extLst>
      <p:ext uri="{BB962C8B-B14F-4D97-AF65-F5344CB8AC3E}">
        <p14:creationId xmlns:p14="http://schemas.microsoft.com/office/powerpoint/2010/main" val="1900111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292">
              <a:spcAft>
                <a:spcPts val="0"/>
              </a:spcAft>
              <a:buNone/>
              <a:defRPr/>
            </a:pPr>
            <a:r>
              <a:rPr lang="en-IN" altLang="en-US" b="0" dirty="0"/>
              <a:t>Remove this slide/decide later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57147">
              <a:defRPr/>
            </a:pPr>
            <a:fld id="{5559C632-AF62-44FE-9BB8-4AC51A311032}" type="slidenum">
              <a:rPr lang="en-IN" sz="1200">
                <a:solidFill>
                  <a:prstClr val="black"/>
                </a:solidFill>
                <a:latin typeface="Calibri"/>
              </a:rPr>
              <a:pPr defTabSz="457147">
                <a:defRPr/>
              </a:pPr>
              <a:t>23</a:t>
            </a:fld>
            <a:endParaRPr lang="en-IN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E47F6085-0779-4E42-84E0-C4F97E83254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defTabSz="457147">
              <a:defRPr/>
            </a:pPr>
            <a:r>
              <a:rPr lang="en-IN" sz="1200" dirty="0">
                <a:solidFill>
                  <a:prstClr val="black"/>
                </a:solidFill>
                <a:latin typeface="Calibri"/>
              </a:rPr>
              <a:t>SBP 2022 - 26...30</a:t>
            </a:r>
          </a:p>
        </p:txBody>
      </p:sp>
    </p:spTree>
    <p:extLst>
      <p:ext uri="{BB962C8B-B14F-4D97-AF65-F5344CB8AC3E}">
        <p14:creationId xmlns:p14="http://schemas.microsoft.com/office/powerpoint/2010/main" val="414931550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292">
              <a:spcAft>
                <a:spcPts val="0"/>
              </a:spcAft>
              <a:buNone/>
              <a:defRPr/>
            </a:pPr>
            <a:r>
              <a:rPr lang="en-IN" altLang="en-US" b="0" dirty="0"/>
              <a:t>Remove this slide/decide later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57147">
              <a:defRPr/>
            </a:pPr>
            <a:fld id="{5559C632-AF62-44FE-9BB8-4AC51A311032}" type="slidenum">
              <a:rPr lang="en-IN" sz="1200">
                <a:solidFill>
                  <a:prstClr val="black"/>
                </a:solidFill>
                <a:latin typeface="Calibri"/>
              </a:rPr>
              <a:pPr defTabSz="457147">
                <a:defRPr/>
              </a:pPr>
              <a:t>24</a:t>
            </a:fld>
            <a:endParaRPr lang="en-IN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E47F6085-0779-4E42-84E0-C4F97E83254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defTabSz="457147">
              <a:defRPr/>
            </a:pPr>
            <a:r>
              <a:rPr lang="en-IN" sz="1200" dirty="0">
                <a:solidFill>
                  <a:prstClr val="black"/>
                </a:solidFill>
                <a:latin typeface="Calibri"/>
              </a:rPr>
              <a:t>SBP 2022 - 26...30</a:t>
            </a:r>
          </a:p>
        </p:txBody>
      </p:sp>
    </p:spTree>
    <p:extLst>
      <p:ext uri="{BB962C8B-B14F-4D97-AF65-F5344CB8AC3E}">
        <p14:creationId xmlns:p14="http://schemas.microsoft.com/office/powerpoint/2010/main" val="345888582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1810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D49C59-EDB4-48F2-ABA9-DC20281F32F7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40315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1781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7386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16700" cy="37226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8858" y="4715841"/>
            <a:ext cx="5439987" cy="4466653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483469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16700" cy="37226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8858" y="4715841"/>
            <a:ext cx="5439987" cy="4466653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9047723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16700" cy="3722688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8858" y="4715841"/>
            <a:ext cx="5439987" cy="4466653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815409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09453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696241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23969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49185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DB4087-0F52-4B7C-9B2B-1A40A2B97E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FEB145-28E1-4FB7-AB4E-BC4BBA4E6F86}" type="slidenum">
              <a:rPr lang="en-IN" smtClean="0"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9898950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ble to be </a:t>
            </a:r>
            <a:r>
              <a:rPr lang="en-US" err="1"/>
              <a:t>recd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03324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ble to be </a:t>
            </a:r>
            <a:r>
              <a:rPr lang="en-US" err="1"/>
              <a:t>recd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728219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ble to be </a:t>
            </a:r>
            <a:r>
              <a:rPr lang="en-US" err="1"/>
              <a:t>recd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012550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ble to be </a:t>
            </a:r>
            <a:r>
              <a:rPr lang="en-US" err="1"/>
              <a:t>recd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592635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0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640001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555737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629696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7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6706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9375" y="739775"/>
            <a:ext cx="6556375" cy="3689350"/>
          </a:xfrm>
          <a:prstGeom prst="rect">
            <a:avLst/>
          </a:prstGeo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9938" y="4673059"/>
            <a:ext cx="5368523" cy="4429402"/>
          </a:xfrm>
          <a:prstGeom prst="rect">
            <a:avLst/>
          </a:prstGeom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556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405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0150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78050" y="820738"/>
            <a:ext cx="9458325" cy="531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able to be </a:t>
            </a:r>
            <a:r>
              <a:rPr lang="en-US" err="1"/>
              <a:t>recd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01255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3958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475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3.jpeg"/><Relationship Id="rId5" Type="http://schemas.openxmlformats.org/officeDocument/2006/relationships/image" Target="../media/image2.jpe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6715285" y="664056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4" name="Picture 10" descr="JKLAKSHMICLTDLOGO">
            <a:extLst>
              <a:ext uri="{FF2B5EF4-FFF2-40B4-BE49-F238E27FC236}">
                <a16:creationId xmlns:a16="http://schemas.microsoft.com/office/drawing/2014/main" id="{20E6D98A-576E-41AD-B951-2EFF353374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287000" y="6461972"/>
            <a:ext cx="19050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1" descr="jklogo">
            <a:extLst>
              <a:ext uri="{FF2B5EF4-FFF2-40B4-BE49-F238E27FC236}">
                <a16:creationId xmlns:a16="http://schemas.microsoft.com/office/drawing/2014/main" id="{31CAF5AB-9D63-45A4-B454-816DBF7CDA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6354763"/>
            <a:ext cx="392113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72295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34730D-88E5-40E1-A6DA-FAAC8288E710}" type="datetimeFigureOut">
              <a:rPr lang="en-IN" smtClean="0"/>
              <a:t>22-11-2024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73CC6A-AE34-445E-A9C0-039778A0936F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37720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76402"/>
            <a:ext cx="10972800" cy="45259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074400" y="6356353"/>
            <a:ext cx="1016000" cy="365125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59049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11357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6027838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8" name="Picture 2" descr="Image result for jk organisation logo">
            <a:extLst>
              <a:ext uri="{FF2B5EF4-FFF2-40B4-BE49-F238E27FC236}">
                <a16:creationId xmlns:a16="http://schemas.microsoft.com/office/drawing/2014/main" id="{D42E2E19-3B91-469C-8DEA-4966C7FA73C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63350" y="48437"/>
            <a:ext cx="526869" cy="622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0" descr="JKLAKSHMICLTDLOGO">
            <a:extLst>
              <a:ext uri="{FF2B5EF4-FFF2-40B4-BE49-F238E27FC236}">
                <a16:creationId xmlns:a16="http://schemas.microsoft.com/office/drawing/2014/main" id="{A20C121E-4784-527B-7AC1-50D730F933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652000" y="6500814"/>
            <a:ext cx="25400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54156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6166379" y="661286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3" name="Picture 10" descr="JKLAKSHMICLTDLOGO">
            <a:extLst>
              <a:ext uri="{FF2B5EF4-FFF2-40B4-BE49-F238E27FC236}">
                <a16:creationId xmlns:a16="http://schemas.microsoft.com/office/drawing/2014/main" id="{BCBCD102-7168-266F-4F31-F961C48E7F1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52000" y="6500814"/>
            <a:ext cx="25400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47147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035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ts val="6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6CC4BE-D847-440D-BCE5-EA323BCDC4DE}"/>
              </a:ext>
            </a:extLst>
          </p:cNvPr>
          <p:cNvSpPr txBox="1"/>
          <p:nvPr userDrawn="1"/>
        </p:nvSpPr>
        <p:spPr>
          <a:xfrm>
            <a:off x="6158466" y="6668273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3" name="Picture 10" descr="JKLAKSHMICLTDLOGO">
            <a:extLst>
              <a:ext uri="{FF2B5EF4-FFF2-40B4-BE49-F238E27FC236}">
                <a16:creationId xmlns:a16="http://schemas.microsoft.com/office/drawing/2014/main" id="{17B39A70-B5F9-46A2-997D-EA731E298E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273145" y="6483866"/>
            <a:ext cx="19050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1" descr="jklogo">
            <a:extLst>
              <a:ext uri="{FF2B5EF4-FFF2-40B4-BE49-F238E27FC236}">
                <a16:creationId xmlns:a16="http://schemas.microsoft.com/office/drawing/2014/main" id="{64EF8393-27A7-488D-9D22-7F4180CFE3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6354763"/>
            <a:ext cx="392113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64624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11" descr="jklogo">
            <a:extLst>
              <a:ext uri="{FF2B5EF4-FFF2-40B4-BE49-F238E27FC236}">
                <a16:creationId xmlns:a16="http://schemas.microsoft.com/office/drawing/2014/main" id="{A6D11D55-DEA1-4F72-853B-6FC136B105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6354763"/>
            <a:ext cx="392113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92983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 flipH="1">
            <a:off x="5860463" y="6667986"/>
            <a:ext cx="373931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6" name="Picture 10" descr="JKLAKSHMICLTDLOGO">
            <a:extLst>
              <a:ext uri="{FF2B5EF4-FFF2-40B4-BE49-F238E27FC236}">
                <a16:creationId xmlns:a16="http://schemas.microsoft.com/office/drawing/2014/main" id="{934BE0DB-4D6A-45DD-8038-798FDB0547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286998" y="6514668"/>
            <a:ext cx="19050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11" descr="jklogo">
            <a:extLst>
              <a:ext uri="{FF2B5EF4-FFF2-40B4-BE49-F238E27FC236}">
                <a16:creationId xmlns:a16="http://schemas.microsoft.com/office/drawing/2014/main" id="{A85F6580-AED9-44F1-8586-C571E528798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6354763"/>
            <a:ext cx="392113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18423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11" descr="jklogo">
            <a:extLst>
              <a:ext uri="{FF2B5EF4-FFF2-40B4-BE49-F238E27FC236}">
                <a16:creationId xmlns:a16="http://schemas.microsoft.com/office/drawing/2014/main" id="{6FBC7674-BEBC-493E-A547-0D57A6FB5D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6354763"/>
            <a:ext cx="392113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45668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6180247" y="6567055"/>
            <a:ext cx="331389" cy="15813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10" descr="JKLAKSHMICLTDLOGO">
            <a:extLst>
              <a:ext uri="{FF2B5EF4-FFF2-40B4-BE49-F238E27FC236}">
                <a16:creationId xmlns:a16="http://schemas.microsoft.com/office/drawing/2014/main" id="{C6D39E87-9832-44E2-B72E-79FD0B4859C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273152" y="6486958"/>
            <a:ext cx="19050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1" descr="jklogo">
            <a:extLst>
              <a:ext uri="{FF2B5EF4-FFF2-40B4-BE49-F238E27FC236}">
                <a16:creationId xmlns:a16="http://schemas.microsoft.com/office/drawing/2014/main" id="{1C2FDD7A-E1E6-4375-AF77-85AD7285ACD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6354763"/>
            <a:ext cx="392113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11088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5" name="Picture 10" descr="JKLAKSHMICLTDLOGO">
            <a:extLst>
              <a:ext uri="{FF2B5EF4-FFF2-40B4-BE49-F238E27FC236}">
                <a16:creationId xmlns:a16="http://schemas.microsoft.com/office/drawing/2014/main" id="{E072A141-9BE7-45F5-B2E4-BEE63CA4C4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273142" y="6474607"/>
            <a:ext cx="19050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070198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33239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10" descr="JKLAKSHMICLTD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52000" y="6500814"/>
            <a:ext cx="25400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1" descr="jk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6354764"/>
            <a:ext cx="522817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680579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443198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10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9360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1845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6192117" y="6612859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pic>
        <p:nvPicPr>
          <p:cNvPr id="7" name="Picture 10" descr="JKLAKSHMICLTDLOGO">
            <a:extLst>
              <a:ext uri="{FF2B5EF4-FFF2-40B4-BE49-F238E27FC236}">
                <a16:creationId xmlns:a16="http://schemas.microsoft.com/office/drawing/2014/main" id="{C7A401CE-22C8-4DE6-89EF-42B407561EB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0242138" y="6457271"/>
            <a:ext cx="19050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1" descr="jklogo">
            <a:extLst>
              <a:ext uri="{FF2B5EF4-FFF2-40B4-BE49-F238E27FC236}">
                <a16:creationId xmlns:a16="http://schemas.microsoft.com/office/drawing/2014/main" id="{3C62CE33-C99E-4189-90C7-6B4F003ACC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0" y="6354763"/>
            <a:ext cx="392113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97339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72" r:id="rId1"/>
    <p:sldLayoutId id="2147485473" r:id="rId2"/>
    <p:sldLayoutId id="2147485474" r:id="rId3"/>
    <p:sldLayoutId id="2147485475" r:id="rId4"/>
    <p:sldLayoutId id="2147485478" r:id="rId5"/>
    <p:sldLayoutId id="2147485479" r:id="rId6"/>
    <p:sldLayoutId id="2147485480" r:id="rId7"/>
    <p:sldLayoutId id="2147485481" r:id="rId8"/>
    <p:sldLayoutId id="2147485482" r:id="rId9"/>
    <p:sldLayoutId id="2147485483" r:id="rId10"/>
    <p:sldLayoutId id="2147485484" r:id="rId11"/>
    <p:sldLayoutId id="2147485485" r:id="rId12"/>
    <p:sldLayoutId id="2147485486" r:id="rId13"/>
    <p:sldLayoutId id="2147485487" r:id="rId14"/>
    <p:sldLayoutId id="2147485488" r:id="rId1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5" Type="http://schemas.openxmlformats.org/officeDocument/2006/relationships/image" Target="../media/image33.png"/><Relationship Id="rId4" Type="http://schemas.openxmlformats.org/officeDocument/2006/relationships/image" Target="../media/image32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5.gi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Relationship Id="rId6" Type="http://schemas.openxmlformats.org/officeDocument/2006/relationships/image" Target="../media/image34.png"/><Relationship Id="rId5" Type="http://schemas.openxmlformats.org/officeDocument/2006/relationships/image" Target="../media/image32.emf"/><Relationship Id="rId10" Type="http://schemas.openxmlformats.org/officeDocument/2006/relationships/image" Target="../media/image38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13" Type="http://schemas.openxmlformats.org/officeDocument/2006/relationships/image" Target="../media/image46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0.png"/><Relationship Id="rId12" Type="http://schemas.openxmlformats.org/officeDocument/2006/relationships/image" Target="../media/image45.jpe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39.emf"/><Relationship Id="rId11" Type="http://schemas.openxmlformats.org/officeDocument/2006/relationships/image" Target="../media/image44.jpe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43.jpe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42.jpeg"/><Relationship Id="rId14" Type="http://schemas.openxmlformats.org/officeDocument/2006/relationships/image" Target="../media/image47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13" Type="http://schemas.openxmlformats.org/officeDocument/2006/relationships/image" Target="../media/image47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1.jpeg"/><Relationship Id="rId12" Type="http://schemas.openxmlformats.org/officeDocument/2006/relationships/image" Target="../media/image46.jpe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48.emf"/><Relationship Id="rId11" Type="http://schemas.openxmlformats.org/officeDocument/2006/relationships/image" Target="../media/image45.jpe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44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3.jpeg"/><Relationship Id="rId14" Type="http://schemas.openxmlformats.org/officeDocument/2006/relationships/image" Target="../media/image49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6" Type="http://schemas.openxmlformats.org/officeDocument/2006/relationships/image" Target="../media/image50.jp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5" Type="http://schemas.openxmlformats.org/officeDocument/2006/relationships/image" Target="../media/image51.jpeg"/><Relationship Id="rId4" Type="http://schemas.openxmlformats.org/officeDocument/2006/relationships/image" Target="../media/image32.emf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26" Type="http://schemas.openxmlformats.org/officeDocument/2006/relationships/chart" Target="../charts/chart1.xml"/><Relationship Id="rId3" Type="http://schemas.openxmlformats.org/officeDocument/2006/relationships/tags" Target="../tags/tag41.xml"/><Relationship Id="rId21" Type="http://schemas.openxmlformats.org/officeDocument/2006/relationships/tags" Target="../tags/tag59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image" Target="../media/image48.emf"/><Relationship Id="rId33" Type="http://schemas.openxmlformats.org/officeDocument/2006/relationships/image" Target="../media/image47.jpeg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29" Type="http://schemas.openxmlformats.org/officeDocument/2006/relationships/image" Target="../media/image43.jpeg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24" Type="http://schemas.openxmlformats.org/officeDocument/2006/relationships/oleObject" Target="../embeddings/oleObject14.bin"/><Relationship Id="rId32" Type="http://schemas.openxmlformats.org/officeDocument/2006/relationships/image" Target="../media/image46.jpeg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notesSlide" Target="../notesSlides/notesSlide11.xml"/><Relationship Id="rId28" Type="http://schemas.openxmlformats.org/officeDocument/2006/relationships/image" Target="../media/image42.jpeg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31" Type="http://schemas.openxmlformats.org/officeDocument/2006/relationships/image" Target="../media/image45.jpeg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slideLayout" Target="../slideLayouts/slideLayout3.xml"/><Relationship Id="rId27" Type="http://schemas.openxmlformats.org/officeDocument/2006/relationships/image" Target="../media/image41.jpeg"/><Relationship Id="rId30" Type="http://schemas.openxmlformats.org/officeDocument/2006/relationships/image" Target="../media/image44.jpeg"/><Relationship Id="rId8" Type="http://schemas.openxmlformats.org/officeDocument/2006/relationships/tags" Target="../tags/tag4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0.xml"/><Relationship Id="rId6" Type="http://schemas.openxmlformats.org/officeDocument/2006/relationships/chart" Target="../charts/chart2.xml"/><Relationship Id="rId5" Type="http://schemas.openxmlformats.org/officeDocument/2006/relationships/image" Target="../media/image48.emf"/><Relationship Id="rId4" Type="http://schemas.openxmlformats.org/officeDocument/2006/relationships/oleObject" Target="../embeddings/oleObject15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17.bin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53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17.bin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54.em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sv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Relationship Id="rId6" Type="http://schemas.openxmlformats.org/officeDocument/2006/relationships/image" Target="../media/image57.jpe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9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image" Target="../media/image59.png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58.emf"/><Relationship Id="rId2" Type="http://schemas.openxmlformats.org/officeDocument/2006/relationships/tags" Target="../tags/tag67.xml"/><Relationship Id="rId16" Type="http://schemas.openxmlformats.org/officeDocument/2006/relationships/chart" Target="../charts/chart3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70.xml"/><Relationship Id="rId15" Type="http://schemas.openxmlformats.org/officeDocument/2006/relationships/image" Target="../media/image60.jpeg"/><Relationship Id="rId10" Type="http://schemas.openxmlformats.org/officeDocument/2006/relationships/notesSlide" Target="../notesSlides/notesSlide20.xml"/><Relationship Id="rId4" Type="http://schemas.openxmlformats.org/officeDocument/2006/relationships/tags" Target="../tags/tag69.xml"/><Relationship Id="rId9" Type="http://schemas.openxmlformats.org/officeDocument/2006/relationships/slideLayout" Target="../slideLayouts/slideLayout14.xml"/><Relationship Id="rId14" Type="http://schemas.microsoft.com/office/2007/relationships/hdphoto" Target="../media/hdphoto1.wdp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emf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62.emf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4.xml"/><Relationship Id="rId6" Type="http://schemas.openxmlformats.org/officeDocument/2006/relationships/image" Target="../media/image61.jpeg"/><Relationship Id="rId5" Type="http://schemas.openxmlformats.org/officeDocument/2006/relationships/image" Target="../media/image58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64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17.bin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Relationship Id="rId5" Type="http://schemas.openxmlformats.org/officeDocument/2006/relationships/image" Target="../media/image65.jpeg"/><Relationship Id="rId4" Type="http://schemas.openxmlformats.org/officeDocument/2006/relationships/image" Target="../media/image32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emf"/><Relationship Id="rId2" Type="http://schemas.openxmlformats.org/officeDocument/2006/relationships/image" Target="../media/image66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8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emf"/><Relationship Id="rId2" Type="http://schemas.openxmlformats.org/officeDocument/2006/relationships/image" Target="../media/image69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emf"/><Relationship Id="rId2" Type="http://schemas.openxmlformats.org/officeDocument/2006/relationships/image" Target="../media/image75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7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emf"/><Relationship Id="rId2" Type="http://schemas.openxmlformats.org/officeDocument/2006/relationships/image" Target="../media/image78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0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emf"/><Relationship Id="rId2" Type="http://schemas.openxmlformats.org/officeDocument/2006/relationships/image" Target="../media/image81.emf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emf"/><Relationship Id="rId2" Type="http://schemas.openxmlformats.org/officeDocument/2006/relationships/image" Target="../media/image83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5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emf"/><Relationship Id="rId2" Type="http://schemas.openxmlformats.org/officeDocument/2006/relationships/image" Target="../media/image86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8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emf"/><Relationship Id="rId2" Type="http://schemas.openxmlformats.org/officeDocument/2006/relationships/image" Target="../media/image89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1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emf"/><Relationship Id="rId2" Type="http://schemas.openxmlformats.org/officeDocument/2006/relationships/image" Target="../media/image92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4.emf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emf"/><Relationship Id="rId3" Type="http://schemas.openxmlformats.org/officeDocument/2006/relationships/image" Target="../media/image95.emf"/><Relationship Id="rId7" Type="http://schemas.openxmlformats.org/officeDocument/2006/relationships/image" Target="../media/image99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8.emf"/><Relationship Id="rId5" Type="http://schemas.openxmlformats.org/officeDocument/2006/relationships/image" Target="../media/image97.emf"/><Relationship Id="rId4" Type="http://schemas.openxmlformats.org/officeDocument/2006/relationships/image" Target="../media/image96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emf"/><Relationship Id="rId7" Type="http://schemas.openxmlformats.org/officeDocument/2006/relationships/image" Target="../media/image106.emf"/><Relationship Id="rId2" Type="http://schemas.openxmlformats.org/officeDocument/2006/relationships/image" Target="../media/image101.em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5.emf"/><Relationship Id="rId5" Type="http://schemas.openxmlformats.org/officeDocument/2006/relationships/image" Target="../media/image104.emf"/><Relationship Id="rId4" Type="http://schemas.openxmlformats.org/officeDocument/2006/relationships/image" Target="../media/image103.emf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emf"/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emf"/><Relationship Id="rId1" Type="http://schemas.openxmlformats.org/officeDocument/2006/relationships/slideLayout" Target="../slideLayouts/slideLayout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emf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emf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emf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2.emf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emf"/><Relationship Id="rId1" Type="http://schemas.openxmlformats.org/officeDocument/2006/relationships/slideLayout" Target="../slideLayouts/slideLayout8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emf"/><Relationship Id="rId1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emf"/><Relationship Id="rId1" Type="http://schemas.openxmlformats.org/officeDocument/2006/relationships/slideLayout" Target="../slideLayouts/slideLayout8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emf"/><Relationship Id="rId1" Type="http://schemas.openxmlformats.org/officeDocument/2006/relationships/slideLayout" Target="../slideLayouts/slideLayout8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emf"/><Relationship Id="rId1" Type="http://schemas.openxmlformats.org/officeDocument/2006/relationships/slideLayout" Target="../slideLayouts/slideLayout8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emf"/><Relationship Id="rId7" Type="http://schemas.openxmlformats.org/officeDocument/2006/relationships/image" Target="../media/image123.emf"/><Relationship Id="rId2" Type="http://schemas.openxmlformats.org/officeDocument/2006/relationships/image" Target="../media/image118.em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2.emf"/><Relationship Id="rId5" Type="http://schemas.openxmlformats.org/officeDocument/2006/relationships/image" Target="../media/image121.emf"/><Relationship Id="rId4" Type="http://schemas.openxmlformats.org/officeDocument/2006/relationships/image" Target="../media/image120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emf"/><Relationship Id="rId2" Type="http://schemas.openxmlformats.org/officeDocument/2006/relationships/image" Target="../media/image124.emf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27.emf"/><Relationship Id="rId4" Type="http://schemas.openxmlformats.org/officeDocument/2006/relationships/image" Target="../media/image126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emf"/><Relationship Id="rId2" Type="http://schemas.openxmlformats.org/officeDocument/2006/relationships/image" Target="../media/image128.jpeg"/><Relationship Id="rId1" Type="http://schemas.openxmlformats.org/officeDocument/2006/relationships/slideLayout" Target="../slideLayouts/slideLayout8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0.emf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13" Type="http://schemas.openxmlformats.org/officeDocument/2006/relationships/image" Target="../media/image23.png"/><Relationship Id="rId18" Type="http://schemas.openxmlformats.org/officeDocument/2006/relationships/image" Target="../media/image28.emf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7.emf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6.emf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6.jpeg"/><Relationship Id="rId11" Type="http://schemas.openxmlformats.org/officeDocument/2006/relationships/image" Target="../media/image21.jpeg"/><Relationship Id="rId5" Type="http://schemas.openxmlformats.org/officeDocument/2006/relationships/image" Target="../media/image15.jpeg"/><Relationship Id="rId15" Type="http://schemas.openxmlformats.org/officeDocument/2006/relationships/image" Target="../media/image25.emf"/><Relationship Id="rId10" Type="http://schemas.openxmlformats.org/officeDocument/2006/relationships/image" Target="../media/image20.png"/><Relationship Id="rId19" Type="http://schemas.openxmlformats.org/officeDocument/2006/relationships/image" Target="../media/image29.emf"/><Relationship Id="rId4" Type="http://schemas.openxmlformats.org/officeDocument/2006/relationships/image" Target="../media/image14.jpeg"/><Relationship Id="rId9" Type="http://schemas.openxmlformats.org/officeDocument/2006/relationships/image" Target="../media/image19.jpeg"/><Relationship Id="rId14" Type="http://schemas.openxmlformats.org/officeDocument/2006/relationships/image" Target="../media/image24.emf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1.emf"/><Relationship Id="rId1" Type="http://schemas.openxmlformats.org/officeDocument/2006/relationships/slideLayout" Target="../slideLayouts/slideLayout8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2.emf"/><Relationship Id="rId1" Type="http://schemas.openxmlformats.org/officeDocument/2006/relationships/slideLayout" Target="../slideLayouts/slideLayout8.xm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17.bin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133.emf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17.bin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134.emf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17.bin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9.xml"/><Relationship Id="rId9" Type="http://schemas.openxmlformats.org/officeDocument/2006/relationships/image" Target="../media/image135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Relationship Id="rId5" Type="http://schemas.openxmlformats.org/officeDocument/2006/relationships/image" Target="../media/image136.jpeg"/><Relationship Id="rId4" Type="http://schemas.openxmlformats.org/officeDocument/2006/relationships/image" Target="../media/image32.emf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4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5.xml"/><Relationship Id="rId6" Type="http://schemas.openxmlformats.org/officeDocument/2006/relationships/image" Target="../media/image42.jpeg"/><Relationship Id="rId11" Type="http://schemas.openxmlformats.org/officeDocument/2006/relationships/image" Target="../media/image47.jpeg"/><Relationship Id="rId5" Type="http://schemas.openxmlformats.org/officeDocument/2006/relationships/image" Target="../media/image41.jpeg"/><Relationship Id="rId10" Type="http://schemas.openxmlformats.org/officeDocument/2006/relationships/image" Target="../media/image46.jpeg"/><Relationship Id="rId4" Type="http://schemas.openxmlformats.org/officeDocument/2006/relationships/image" Target="../media/image32.emf"/><Relationship Id="rId9" Type="http://schemas.openxmlformats.org/officeDocument/2006/relationships/image" Target="../media/image45.jpe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svg"/><Relationship Id="rId13" Type="http://schemas.openxmlformats.org/officeDocument/2006/relationships/image" Target="../media/image143.png"/><Relationship Id="rId18" Type="http://schemas.openxmlformats.org/officeDocument/2006/relationships/image" Target="../media/image44.jpe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7.jpeg"/><Relationship Id="rId7" Type="http://schemas.openxmlformats.org/officeDocument/2006/relationships/image" Target="../media/image137.png"/><Relationship Id="rId12" Type="http://schemas.openxmlformats.org/officeDocument/2006/relationships/image" Target="../media/image142.svg"/><Relationship Id="rId17" Type="http://schemas.openxmlformats.org/officeDocument/2006/relationships/image" Target="../media/image43.jpeg"/><Relationship Id="rId2" Type="http://schemas.openxmlformats.org/officeDocument/2006/relationships/tags" Target="../tags/tag87.xml"/><Relationship Id="rId16" Type="http://schemas.openxmlformats.org/officeDocument/2006/relationships/image" Target="../media/image42.jpeg"/><Relationship Id="rId20" Type="http://schemas.openxmlformats.org/officeDocument/2006/relationships/image" Target="../media/image46.jpeg"/><Relationship Id="rId1" Type="http://schemas.openxmlformats.org/officeDocument/2006/relationships/tags" Target="../tags/tag86.xml"/><Relationship Id="rId6" Type="http://schemas.openxmlformats.org/officeDocument/2006/relationships/image" Target="../media/image39.emf"/><Relationship Id="rId11" Type="http://schemas.openxmlformats.org/officeDocument/2006/relationships/image" Target="../media/image141.png"/><Relationship Id="rId5" Type="http://schemas.openxmlformats.org/officeDocument/2006/relationships/oleObject" Target="../embeddings/oleObject21.bin"/><Relationship Id="rId15" Type="http://schemas.openxmlformats.org/officeDocument/2006/relationships/image" Target="../media/image41.jpeg"/><Relationship Id="rId10" Type="http://schemas.openxmlformats.org/officeDocument/2006/relationships/image" Target="../media/image140.svg"/><Relationship Id="rId19" Type="http://schemas.openxmlformats.org/officeDocument/2006/relationships/image" Target="../media/image45.jpeg"/><Relationship Id="rId4" Type="http://schemas.openxmlformats.org/officeDocument/2006/relationships/notesSlide" Target="../notesSlides/notesSlide30.xml"/><Relationship Id="rId9" Type="http://schemas.openxmlformats.org/officeDocument/2006/relationships/image" Target="../media/image139.png"/><Relationship Id="rId14" Type="http://schemas.openxmlformats.org/officeDocument/2006/relationships/image" Target="../media/image144.svg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6.jpg"/><Relationship Id="rId13" Type="http://schemas.openxmlformats.org/officeDocument/2006/relationships/image" Target="../media/image41.jpeg"/><Relationship Id="rId18" Type="http://schemas.openxmlformats.org/officeDocument/2006/relationships/image" Target="../media/image46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45.jpg"/><Relationship Id="rId12" Type="http://schemas.openxmlformats.org/officeDocument/2006/relationships/image" Target="../media/image150.jpg"/><Relationship Id="rId17" Type="http://schemas.openxmlformats.org/officeDocument/2006/relationships/image" Target="../media/image45.jpeg"/><Relationship Id="rId2" Type="http://schemas.openxmlformats.org/officeDocument/2006/relationships/tags" Target="../tags/tag89.xml"/><Relationship Id="rId16" Type="http://schemas.openxmlformats.org/officeDocument/2006/relationships/image" Target="../media/image44.jpeg"/><Relationship Id="rId1" Type="http://schemas.openxmlformats.org/officeDocument/2006/relationships/tags" Target="../tags/tag88.xml"/><Relationship Id="rId6" Type="http://schemas.openxmlformats.org/officeDocument/2006/relationships/image" Target="../media/image39.emf"/><Relationship Id="rId11" Type="http://schemas.openxmlformats.org/officeDocument/2006/relationships/image" Target="../media/image149.jpg"/><Relationship Id="rId5" Type="http://schemas.openxmlformats.org/officeDocument/2006/relationships/oleObject" Target="../embeddings/oleObject22.bin"/><Relationship Id="rId15" Type="http://schemas.openxmlformats.org/officeDocument/2006/relationships/image" Target="../media/image43.jpeg"/><Relationship Id="rId10" Type="http://schemas.openxmlformats.org/officeDocument/2006/relationships/image" Target="../media/image148.jpg"/><Relationship Id="rId19" Type="http://schemas.openxmlformats.org/officeDocument/2006/relationships/image" Target="../media/image47.jpeg"/><Relationship Id="rId4" Type="http://schemas.openxmlformats.org/officeDocument/2006/relationships/notesSlide" Target="../notesSlides/notesSlide31.xml"/><Relationship Id="rId9" Type="http://schemas.openxmlformats.org/officeDocument/2006/relationships/image" Target="../media/image147.jpg"/><Relationship Id="rId14" Type="http://schemas.openxmlformats.org/officeDocument/2006/relationships/image" Target="../media/image42.jpeg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jpg"/><Relationship Id="rId13" Type="http://schemas.openxmlformats.org/officeDocument/2006/relationships/image" Target="../media/image41.jpeg"/><Relationship Id="rId18" Type="http://schemas.openxmlformats.org/officeDocument/2006/relationships/image" Target="../media/image46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51.jpg"/><Relationship Id="rId12" Type="http://schemas.openxmlformats.org/officeDocument/2006/relationships/image" Target="../media/image156.jpg"/><Relationship Id="rId17" Type="http://schemas.openxmlformats.org/officeDocument/2006/relationships/image" Target="../media/image45.jpeg"/><Relationship Id="rId2" Type="http://schemas.openxmlformats.org/officeDocument/2006/relationships/tags" Target="../tags/tag91.xml"/><Relationship Id="rId16" Type="http://schemas.openxmlformats.org/officeDocument/2006/relationships/image" Target="../media/image44.jpeg"/><Relationship Id="rId1" Type="http://schemas.openxmlformats.org/officeDocument/2006/relationships/tags" Target="../tags/tag90.xml"/><Relationship Id="rId6" Type="http://schemas.openxmlformats.org/officeDocument/2006/relationships/image" Target="../media/image39.emf"/><Relationship Id="rId11" Type="http://schemas.openxmlformats.org/officeDocument/2006/relationships/image" Target="../media/image155.jpg"/><Relationship Id="rId5" Type="http://schemas.openxmlformats.org/officeDocument/2006/relationships/oleObject" Target="../embeddings/oleObject23.bin"/><Relationship Id="rId15" Type="http://schemas.openxmlformats.org/officeDocument/2006/relationships/image" Target="../media/image43.jpeg"/><Relationship Id="rId10" Type="http://schemas.openxmlformats.org/officeDocument/2006/relationships/image" Target="../media/image154.jpg"/><Relationship Id="rId19" Type="http://schemas.openxmlformats.org/officeDocument/2006/relationships/image" Target="../media/image47.jpeg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153.jpg"/><Relationship Id="rId14" Type="http://schemas.openxmlformats.org/officeDocument/2006/relationships/image" Target="../media/image4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8.jpeg"/><Relationship Id="rId13" Type="http://schemas.openxmlformats.org/officeDocument/2006/relationships/image" Target="../media/image44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57.jpeg"/><Relationship Id="rId12" Type="http://schemas.openxmlformats.org/officeDocument/2006/relationships/image" Target="../media/image43.jpeg"/><Relationship Id="rId2" Type="http://schemas.openxmlformats.org/officeDocument/2006/relationships/tags" Target="../tags/tag93.xml"/><Relationship Id="rId16" Type="http://schemas.openxmlformats.org/officeDocument/2006/relationships/image" Target="../media/image47.jpeg"/><Relationship Id="rId1" Type="http://schemas.openxmlformats.org/officeDocument/2006/relationships/tags" Target="../tags/tag92.xml"/><Relationship Id="rId6" Type="http://schemas.openxmlformats.org/officeDocument/2006/relationships/image" Target="../media/image39.emf"/><Relationship Id="rId11" Type="http://schemas.openxmlformats.org/officeDocument/2006/relationships/image" Target="../media/image42.jpeg"/><Relationship Id="rId5" Type="http://schemas.openxmlformats.org/officeDocument/2006/relationships/oleObject" Target="../embeddings/oleObject24.bin"/><Relationship Id="rId15" Type="http://schemas.openxmlformats.org/officeDocument/2006/relationships/image" Target="../media/image46.jpeg"/><Relationship Id="rId10" Type="http://schemas.openxmlformats.org/officeDocument/2006/relationships/image" Target="../media/image41.jpeg"/><Relationship Id="rId4" Type="http://schemas.openxmlformats.org/officeDocument/2006/relationships/notesSlide" Target="../notesSlides/notesSlide33.xml"/><Relationship Id="rId9" Type="http://schemas.openxmlformats.org/officeDocument/2006/relationships/image" Target="../media/image159.jpeg"/><Relationship Id="rId14" Type="http://schemas.openxmlformats.org/officeDocument/2006/relationships/image" Target="../media/image45.jpeg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17.bin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34.xml"/><Relationship Id="rId9" Type="http://schemas.openxmlformats.org/officeDocument/2006/relationships/image" Target="../media/image135.png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17.bin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35.xml"/><Relationship Id="rId9" Type="http://schemas.openxmlformats.org/officeDocument/2006/relationships/image" Target="../media/image135.png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17.bin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36.xml"/><Relationship Id="rId9" Type="http://schemas.openxmlformats.org/officeDocument/2006/relationships/image" Target="../media/image135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7" Type="http://schemas.openxmlformats.org/officeDocument/2006/relationships/hyperlink" Target="http://www.jklakshmicement.com/" TargetMode="Externa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0.xml"/><Relationship Id="rId6" Type="http://schemas.openxmlformats.org/officeDocument/2006/relationships/image" Target="../media/image160.jpe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2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oleObject" Target="../embeddings/oleObject8.bin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notesSlide" Target="../notesSlides/notesSlide5.xml"/><Relationship Id="rId2" Type="http://schemas.openxmlformats.org/officeDocument/2006/relationships/tags" Target="../tags/tag15.xml"/><Relationship Id="rId16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10" Type="http://schemas.openxmlformats.org/officeDocument/2006/relationships/tags" Target="../tags/tag23.xml"/><Relationship Id="rId19" Type="http://schemas.openxmlformats.org/officeDocument/2006/relationships/image" Target="../media/image31.emf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Windows Photo Gallery Wallpaper"/>
          <p:cNvPicPr>
            <a:picLocks noChangeAspect="1" noChangeArrowheads="1"/>
          </p:cNvPicPr>
          <p:nvPr/>
        </p:nvPicPr>
        <p:blipFill>
          <a:blip r:embed="rId3" cstate="print">
            <a:lum bright="12000"/>
          </a:blip>
          <a:srcRect/>
          <a:stretch>
            <a:fillRect/>
          </a:stretch>
        </p:blipFill>
        <p:spPr bwMode="auto">
          <a:xfrm>
            <a:off x="4924137" y="609600"/>
            <a:ext cx="2343727" cy="3048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0800" y="4038600"/>
            <a:ext cx="7086600" cy="1143000"/>
          </a:xfrm>
          <a:prstGeom prst="rect">
            <a:avLst/>
          </a:prstGeom>
        </p:spPr>
      </p:pic>
      <p:sp>
        <p:nvSpPr>
          <p:cNvPr id="10" name="Rectangle 2">
            <a:extLst>
              <a:ext uri="{FF2B5EF4-FFF2-40B4-BE49-F238E27FC236}">
                <a16:creationId xmlns:a16="http://schemas.microsoft.com/office/drawing/2014/main" id="{8CD57ED8-EAD3-6EA1-5E88-1D533EDB0A8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294486" y="5383338"/>
            <a:ext cx="5618747" cy="978729"/>
          </a:xfrm>
          <a:noFill/>
          <a:ln w="9525">
            <a:solidFill>
              <a:srgbClr val="00A039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Aft>
                <a:spcPct val="0"/>
              </a:spcAft>
            </a:pPr>
            <a:r>
              <a:rPr lang="en-US" sz="3200" b="1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ookman Old Style" panose="02050604050505020204" pitchFamily="18" charset="0"/>
              </a:rPr>
              <a:t>Presentation to Investors</a:t>
            </a:r>
            <a:br>
              <a:rPr lang="en-US" sz="3200" b="1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ookman Old Style" panose="02050604050505020204" pitchFamily="18" charset="0"/>
              </a:rPr>
            </a:br>
            <a:r>
              <a:rPr lang="en-US" sz="3200" b="1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ookman Old Style" panose="02050604050505020204" pitchFamily="18" charset="0"/>
              </a:rPr>
              <a:t>November’2024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12D3BB4-7215-4385-9CC6-BBBF97344F00}"/>
              </a:ext>
            </a:extLst>
          </p:cNvPr>
          <p:cNvSpPr txBox="1"/>
          <p:nvPr/>
        </p:nvSpPr>
        <p:spPr>
          <a:xfrm>
            <a:off x="6304547" y="6481011"/>
            <a:ext cx="529390" cy="376989"/>
          </a:xfrm>
          <a:prstGeom prst="rect">
            <a:avLst/>
          </a:prstGeom>
          <a:solidFill>
            <a:schemeClr val="bg1"/>
          </a:solidFill>
          <a:ln w="9525" cap="rnd">
            <a:noFill/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 err="1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0532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BF4000-067C-4328-A62B-2D2D4A9680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BF4000-067C-4328-A62B-2D2D4A9680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698688F9-C688-4EDD-BF1F-08665749828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193" b="388"/>
          <a:stretch/>
        </p:blipFill>
        <p:spPr bwMode="auto">
          <a:xfrm>
            <a:off x="4026569" y="0"/>
            <a:ext cx="8165432" cy="638475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786C35B1-5511-4F62-9743-5BD8332D7D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4026568" cy="6384759"/>
          </a:xfrm>
          <a:solidFill>
            <a:srgbClr val="00A039"/>
          </a:solidFill>
          <a:ln>
            <a:solidFill>
              <a:srgbClr val="00A039"/>
            </a:solidFill>
          </a:ln>
        </p:spPr>
        <p:txBody>
          <a:bodyPr vert="horz" anchor="ctr"/>
          <a:lstStyle/>
          <a:p>
            <a:pPr algn="ctr"/>
            <a:r>
              <a:rPr lang="en-US" dirty="0"/>
              <a:t>JK Lakshmi Cement</a:t>
            </a:r>
            <a:br>
              <a:rPr lang="en-US" dirty="0"/>
            </a:br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585195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A0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C41895-D73E-4733-ACA4-6855F945CD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5050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C41895-D73E-4733-ACA4-6855F945CD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6F9DD9E-101F-4A49-B5E9-D34327404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461" y="2464028"/>
            <a:ext cx="3351609" cy="1772793"/>
          </a:xfrm>
        </p:spPr>
        <p:txBody>
          <a:bodyPr vert="horz" wrap="square">
            <a:spAutoFit/>
          </a:bodyPr>
          <a:lstStyle/>
          <a:p>
            <a:r>
              <a:rPr lang="fr-FR" dirty="0"/>
              <a:t>JKLC &amp; UCWL Plants –</a:t>
            </a:r>
            <a:r>
              <a:rPr lang="fr-FR" dirty="0">
                <a:solidFill>
                  <a:schemeClr val="accent2">
                    <a:lumMod val="50000"/>
                  </a:schemeClr>
                </a:solidFill>
              </a:rPr>
              <a:t>Cement</a:t>
            </a:r>
            <a:r>
              <a:rPr lang="fr-FR" dirty="0"/>
              <a:t>/</a:t>
            </a:r>
            <a:r>
              <a:rPr lang="fr-FR" dirty="0">
                <a:solidFill>
                  <a:schemeClr val="accent6"/>
                </a:solidFill>
              </a:rPr>
              <a:t>Clinker</a:t>
            </a:r>
            <a:r>
              <a:rPr lang="fr-FR" dirty="0"/>
              <a:t> – Mn MT</a:t>
            </a:r>
            <a:endParaRPr lang="en-US" dirty="0"/>
          </a:p>
        </p:txBody>
      </p:sp>
      <p:grpSp>
        <p:nvGrpSpPr>
          <p:cNvPr id="123" name="Group 55">
            <a:extLst>
              <a:ext uri="{FF2B5EF4-FFF2-40B4-BE49-F238E27FC236}">
                <a16:creationId xmlns:a16="http://schemas.microsoft.com/office/drawing/2014/main" id="{A96438E9-A897-421F-A2DA-CFAAFA820266}"/>
              </a:ext>
            </a:extLst>
          </p:cNvPr>
          <p:cNvGrpSpPr/>
          <p:nvPr/>
        </p:nvGrpSpPr>
        <p:grpSpPr>
          <a:xfrm>
            <a:off x="5562600" y="240636"/>
            <a:ext cx="5572381" cy="5791200"/>
            <a:chOff x="2509897" y="693737"/>
            <a:chExt cx="5414903" cy="5402263"/>
          </a:xfrm>
        </p:grpSpPr>
        <p:grpSp>
          <p:nvGrpSpPr>
            <p:cNvPr id="124" name="Group 1">
              <a:extLst>
                <a:ext uri="{FF2B5EF4-FFF2-40B4-BE49-F238E27FC236}">
                  <a16:creationId xmlns:a16="http://schemas.microsoft.com/office/drawing/2014/main" id="{089105CB-5134-4262-A9C9-86336EA1E6CB}"/>
                </a:ext>
              </a:extLst>
            </p:cNvPr>
            <p:cNvGrpSpPr/>
            <p:nvPr/>
          </p:nvGrpSpPr>
          <p:grpSpPr>
            <a:xfrm>
              <a:off x="2976563" y="693737"/>
              <a:ext cx="4948237" cy="5402263"/>
              <a:chOff x="2906713" y="1266825"/>
              <a:chExt cx="4948237" cy="5402263"/>
            </a:xfrm>
            <a:solidFill>
              <a:schemeClr val="accent1"/>
            </a:solidFill>
          </p:grpSpPr>
          <p:sp>
            <p:nvSpPr>
              <p:cNvPr id="137" name="Freeform 2">
                <a:extLst>
                  <a:ext uri="{FF2B5EF4-FFF2-40B4-BE49-F238E27FC236}">
                    <a16:creationId xmlns:a16="http://schemas.microsoft.com/office/drawing/2014/main" id="{2BFFD16E-66CB-4549-B117-169E5E4529F4}"/>
                  </a:ext>
                </a:extLst>
              </p:cNvPr>
              <p:cNvSpPr/>
              <p:nvPr/>
            </p:nvSpPr>
            <p:spPr>
              <a:xfrm>
                <a:off x="3848100" y="1266825"/>
                <a:ext cx="1214438" cy="966788"/>
              </a:xfrm>
              <a:custGeom>
                <a:avLst/>
                <a:gdLst>
                  <a:gd name="connsiteX0" fmla="*/ 0 w 1213253"/>
                  <a:gd name="connsiteY0" fmla="*/ 93671 h 967926"/>
                  <a:gd name="connsiteX1" fmla="*/ 8921 w 1213253"/>
                  <a:gd name="connsiteY1" fmla="*/ 196262 h 967926"/>
                  <a:gd name="connsiteX2" fmla="*/ 75828 w 1213253"/>
                  <a:gd name="connsiteY2" fmla="*/ 214104 h 967926"/>
                  <a:gd name="connsiteX3" fmla="*/ 111512 w 1213253"/>
                  <a:gd name="connsiteY3" fmla="*/ 236406 h 967926"/>
                  <a:gd name="connsiteX4" fmla="*/ 151656 w 1213253"/>
                  <a:gd name="connsiteY4" fmla="*/ 289932 h 967926"/>
                  <a:gd name="connsiteX5" fmla="*/ 182880 w 1213253"/>
                  <a:gd name="connsiteY5" fmla="*/ 298853 h 967926"/>
                  <a:gd name="connsiteX6" fmla="*/ 209643 w 1213253"/>
                  <a:gd name="connsiteY6" fmla="*/ 347919 h 967926"/>
                  <a:gd name="connsiteX7" fmla="*/ 209643 w 1213253"/>
                  <a:gd name="connsiteY7" fmla="*/ 392523 h 967926"/>
                  <a:gd name="connsiteX8" fmla="*/ 129354 w 1213253"/>
                  <a:gd name="connsiteY8" fmla="*/ 472812 h 967926"/>
                  <a:gd name="connsiteX9" fmla="*/ 115973 w 1213253"/>
                  <a:gd name="connsiteY9" fmla="*/ 504036 h 967926"/>
                  <a:gd name="connsiteX10" fmla="*/ 120433 w 1213253"/>
                  <a:gd name="connsiteY10" fmla="*/ 722600 h 967926"/>
                  <a:gd name="connsiteX11" fmla="*/ 156117 w 1213253"/>
                  <a:gd name="connsiteY11" fmla="*/ 762744 h 967926"/>
                  <a:gd name="connsiteX12" fmla="*/ 200722 w 1213253"/>
                  <a:gd name="connsiteY12" fmla="*/ 771665 h 967926"/>
                  <a:gd name="connsiteX13" fmla="*/ 218564 w 1213253"/>
                  <a:gd name="connsiteY13" fmla="*/ 802888 h 967926"/>
                  <a:gd name="connsiteX14" fmla="*/ 245327 w 1213253"/>
                  <a:gd name="connsiteY14" fmla="*/ 802888 h 967926"/>
                  <a:gd name="connsiteX15" fmla="*/ 285471 w 1213253"/>
                  <a:gd name="connsiteY15" fmla="*/ 860875 h 967926"/>
                  <a:gd name="connsiteX16" fmla="*/ 356839 w 1213253"/>
                  <a:gd name="connsiteY16" fmla="*/ 860875 h 967926"/>
                  <a:gd name="connsiteX17" fmla="*/ 356839 w 1213253"/>
                  <a:gd name="connsiteY17" fmla="*/ 909940 h 967926"/>
                  <a:gd name="connsiteX18" fmla="*/ 432667 w 1213253"/>
                  <a:gd name="connsiteY18" fmla="*/ 905480 h 967926"/>
                  <a:gd name="connsiteX19" fmla="*/ 450509 w 1213253"/>
                  <a:gd name="connsiteY19" fmla="*/ 896559 h 967926"/>
                  <a:gd name="connsiteX20" fmla="*/ 454970 w 1213253"/>
                  <a:gd name="connsiteY20" fmla="*/ 820730 h 967926"/>
                  <a:gd name="connsiteX21" fmla="*/ 481733 w 1213253"/>
                  <a:gd name="connsiteY21" fmla="*/ 785046 h 967926"/>
                  <a:gd name="connsiteX22" fmla="*/ 499575 w 1213253"/>
                  <a:gd name="connsiteY22" fmla="*/ 749362 h 967926"/>
                  <a:gd name="connsiteX23" fmla="*/ 544179 w 1213253"/>
                  <a:gd name="connsiteY23" fmla="*/ 740441 h 967926"/>
                  <a:gd name="connsiteX24" fmla="*/ 597705 w 1213253"/>
                  <a:gd name="connsiteY24" fmla="*/ 740441 h 967926"/>
                  <a:gd name="connsiteX25" fmla="*/ 624468 w 1213253"/>
                  <a:gd name="connsiteY25" fmla="*/ 785046 h 967926"/>
                  <a:gd name="connsiteX26" fmla="*/ 651231 w 1213253"/>
                  <a:gd name="connsiteY26" fmla="*/ 802888 h 967926"/>
                  <a:gd name="connsiteX27" fmla="*/ 709217 w 1213253"/>
                  <a:gd name="connsiteY27" fmla="*/ 825191 h 967926"/>
                  <a:gd name="connsiteX28" fmla="*/ 771664 w 1213253"/>
                  <a:gd name="connsiteY28" fmla="*/ 816270 h 967926"/>
                  <a:gd name="connsiteX29" fmla="*/ 785046 w 1213253"/>
                  <a:gd name="connsiteY29" fmla="*/ 851954 h 967926"/>
                  <a:gd name="connsiteX30" fmla="*/ 807348 w 1213253"/>
                  <a:gd name="connsiteY30" fmla="*/ 869796 h 967926"/>
                  <a:gd name="connsiteX31" fmla="*/ 865335 w 1213253"/>
                  <a:gd name="connsiteY31" fmla="*/ 905480 h 967926"/>
                  <a:gd name="connsiteX32" fmla="*/ 932242 w 1213253"/>
                  <a:gd name="connsiteY32" fmla="*/ 878717 h 967926"/>
                  <a:gd name="connsiteX33" fmla="*/ 945623 w 1213253"/>
                  <a:gd name="connsiteY33" fmla="*/ 874256 h 967926"/>
                  <a:gd name="connsiteX34" fmla="*/ 936702 w 1213253"/>
                  <a:gd name="connsiteY34" fmla="*/ 918861 h 967926"/>
                  <a:gd name="connsiteX35" fmla="*/ 945623 w 1213253"/>
                  <a:gd name="connsiteY35" fmla="*/ 959005 h 967926"/>
                  <a:gd name="connsiteX36" fmla="*/ 999149 w 1213253"/>
                  <a:gd name="connsiteY36" fmla="*/ 967926 h 967926"/>
                  <a:gd name="connsiteX37" fmla="*/ 1008070 w 1213253"/>
                  <a:gd name="connsiteY37" fmla="*/ 936703 h 967926"/>
                  <a:gd name="connsiteX38" fmla="*/ 1016991 w 1213253"/>
                  <a:gd name="connsiteY38" fmla="*/ 901019 h 967926"/>
                  <a:gd name="connsiteX39" fmla="*/ 1052675 w 1213253"/>
                  <a:gd name="connsiteY39" fmla="*/ 892098 h 967926"/>
                  <a:gd name="connsiteX40" fmla="*/ 1074977 w 1213253"/>
                  <a:gd name="connsiteY40" fmla="*/ 878717 h 967926"/>
                  <a:gd name="connsiteX41" fmla="*/ 1061596 w 1213253"/>
                  <a:gd name="connsiteY41" fmla="*/ 843033 h 967926"/>
                  <a:gd name="connsiteX42" fmla="*/ 1034833 w 1213253"/>
                  <a:gd name="connsiteY42" fmla="*/ 807349 h 967926"/>
                  <a:gd name="connsiteX43" fmla="*/ 1043754 w 1213253"/>
                  <a:gd name="connsiteY43" fmla="*/ 762744 h 967926"/>
                  <a:gd name="connsiteX44" fmla="*/ 1008070 w 1213253"/>
                  <a:gd name="connsiteY44" fmla="*/ 758283 h 967926"/>
                  <a:gd name="connsiteX45" fmla="*/ 972386 w 1213253"/>
                  <a:gd name="connsiteY45" fmla="*/ 695837 h 967926"/>
                  <a:gd name="connsiteX46" fmla="*/ 985768 w 1213253"/>
                  <a:gd name="connsiteY46" fmla="*/ 664613 h 967926"/>
                  <a:gd name="connsiteX47" fmla="*/ 994689 w 1213253"/>
                  <a:gd name="connsiteY47" fmla="*/ 646771 h 967926"/>
                  <a:gd name="connsiteX48" fmla="*/ 990228 w 1213253"/>
                  <a:gd name="connsiteY48" fmla="*/ 615548 h 967926"/>
                  <a:gd name="connsiteX49" fmla="*/ 1003610 w 1213253"/>
                  <a:gd name="connsiteY49" fmla="*/ 606627 h 967926"/>
                  <a:gd name="connsiteX50" fmla="*/ 1034833 w 1213253"/>
                  <a:gd name="connsiteY50" fmla="*/ 624469 h 967926"/>
                  <a:gd name="connsiteX51" fmla="*/ 1066056 w 1213253"/>
                  <a:gd name="connsiteY51" fmla="*/ 588785 h 967926"/>
                  <a:gd name="connsiteX52" fmla="*/ 1074977 w 1213253"/>
                  <a:gd name="connsiteY52" fmla="*/ 570943 h 967926"/>
                  <a:gd name="connsiteX53" fmla="*/ 1074977 w 1213253"/>
                  <a:gd name="connsiteY53" fmla="*/ 553101 h 967926"/>
                  <a:gd name="connsiteX54" fmla="*/ 1092819 w 1213253"/>
                  <a:gd name="connsiteY54" fmla="*/ 530799 h 967926"/>
                  <a:gd name="connsiteX55" fmla="*/ 1159727 w 1213253"/>
                  <a:gd name="connsiteY55" fmla="*/ 517417 h 967926"/>
                  <a:gd name="connsiteX56" fmla="*/ 1168648 w 1213253"/>
                  <a:gd name="connsiteY56" fmla="*/ 468352 h 967926"/>
                  <a:gd name="connsiteX57" fmla="*/ 1190950 w 1213253"/>
                  <a:gd name="connsiteY57" fmla="*/ 437128 h 967926"/>
                  <a:gd name="connsiteX58" fmla="*/ 1195411 w 1213253"/>
                  <a:gd name="connsiteY58" fmla="*/ 379142 h 967926"/>
                  <a:gd name="connsiteX59" fmla="*/ 1213253 w 1213253"/>
                  <a:gd name="connsiteY59" fmla="*/ 325616 h 967926"/>
                  <a:gd name="connsiteX60" fmla="*/ 1204332 w 1213253"/>
                  <a:gd name="connsiteY60" fmla="*/ 281011 h 967926"/>
                  <a:gd name="connsiteX61" fmla="*/ 1155266 w 1213253"/>
                  <a:gd name="connsiteY61" fmla="*/ 272090 h 967926"/>
                  <a:gd name="connsiteX62" fmla="*/ 1110661 w 1213253"/>
                  <a:gd name="connsiteY62" fmla="*/ 281011 h 967926"/>
                  <a:gd name="connsiteX63" fmla="*/ 1030373 w 1213253"/>
                  <a:gd name="connsiteY63" fmla="*/ 227485 h 967926"/>
                  <a:gd name="connsiteX64" fmla="*/ 1003610 w 1213253"/>
                  <a:gd name="connsiteY64" fmla="*/ 231946 h 967926"/>
                  <a:gd name="connsiteX65" fmla="*/ 985768 w 1213253"/>
                  <a:gd name="connsiteY65" fmla="*/ 285472 h 967926"/>
                  <a:gd name="connsiteX66" fmla="*/ 967926 w 1213253"/>
                  <a:gd name="connsiteY66" fmla="*/ 289932 h 967926"/>
                  <a:gd name="connsiteX67" fmla="*/ 896558 w 1213253"/>
                  <a:gd name="connsiteY67" fmla="*/ 281011 h 967926"/>
                  <a:gd name="connsiteX68" fmla="*/ 878716 w 1213253"/>
                  <a:gd name="connsiteY68" fmla="*/ 325616 h 967926"/>
                  <a:gd name="connsiteX69" fmla="*/ 856414 w 1213253"/>
                  <a:gd name="connsiteY69" fmla="*/ 325616 h 967926"/>
                  <a:gd name="connsiteX70" fmla="*/ 802888 w 1213253"/>
                  <a:gd name="connsiteY70" fmla="*/ 307774 h 967926"/>
                  <a:gd name="connsiteX71" fmla="*/ 758283 w 1213253"/>
                  <a:gd name="connsiteY71" fmla="*/ 321156 h 967926"/>
                  <a:gd name="connsiteX72" fmla="*/ 677994 w 1213253"/>
                  <a:gd name="connsiteY72" fmla="*/ 272090 h 967926"/>
                  <a:gd name="connsiteX73" fmla="*/ 669073 w 1213253"/>
                  <a:gd name="connsiteY73" fmla="*/ 205183 h 967926"/>
                  <a:gd name="connsiteX74" fmla="*/ 664613 w 1213253"/>
                  <a:gd name="connsiteY74" fmla="*/ 182880 h 967926"/>
                  <a:gd name="connsiteX75" fmla="*/ 620008 w 1213253"/>
                  <a:gd name="connsiteY75" fmla="*/ 173960 h 967926"/>
                  <a:gd name="connsiteX76" fmla="*/ 597705 w 1213253"/>
                  <a:gd name="connsiteY76" fmla="*/ 124894 h 967926"/>
                  <a:gd name="connsiteX77" fmla="*/ 526337 w 1213253"/>
                  <a:gd name="connsiteY77" fmla="*/ 120434 h 967926"/>
                  <a:gd name="connsiteX78" fmla="*/ 504035 w 1213253"/>
                  <a:gd name="connsiteY78" fmla="*/ 57987 h 967926"/>
                  <a:gd name="connsiteX79" fmla="*/ 454970 w 1213253"/>
                  <a:gd name="connsiteY79" fmla="*/ 8921 h 967926"/>
                  <a:gd name="connsiteX80" fmla="*/ 419286 w 1213253"/>
                  <a:gd name="connsiteY80" fmla="*/ 0 h 967926"/>
                  <a:gd name="connsiteX81" fmla="*/ 401444 w 1213253"/>
                  <a:gd name="connsiteY81" fmla="*/ 22303 h 967926"/>
                  <a:gd name="connsiteX82" fmla="*/ 361299 w 1213253"/>
                  <a:gd name="connsiteY82" fmla="*/ 4461 h 967926"/>
                  <a:gd name="connsiteX83" fmla="*/ 343457 w 1213253"/>
                  <a:gd name="connsiteY83" fmla="*/ 13382 h 967926"/>
                  <a:gd name="connsiteX84" fmla="*/ 321155 w 1213253"/>
                  <a:gd name="connsiteY84" fmla="*/ 31224 h 967926"/>
                  <a:gd name="connsiteX85" fmla="*/ 281011 w 1213253"/>
                  <a:gd name="connsiteY85" fmla="*/ 22303 h 967926"/>
                  <a:gd name="connsiteX86" fmla="*/ 249787 w 1213253"/>
                  <a:gd name="connsiteY86" fmla="*/ 40145 h 967926"/>
                  <a:gd name="connsiteX87" fmla="*/ 165038 w 1213253"/>
                  <a:gd name="connsiteY87" fmla="*/ 40145 h 967926"/>
                  <a:gd name="connsiteX88" fmla="*/ 133815 w 1213253"/>
                  <a:gd name="connsiteY88" fmla="*/ 35684 h 967926"/>
                  <a:gd name="connsiteX89" fmla="*/ 133815 w 1213253"/>
                  <a:gd name="connsiteY89" fmla="*/ 35684 h 967926"/>
                  <a:gd name="connsiteX90" fmla="*/ 98131 w 1213253"/>
                  <a:gd name="connsiteY90" fmla="*/ 75829 h 967926"/>
                  <a:gd name="connsiteX91" fmla="*/ 98131 w 1213253"/>
                  <a:gd name="connsiteY91" fmla="*/ 129355 h 967926"/>
                  <a:gd name="connsiteX92" fmla="*/ 84749 w 1213253"/>
                  <a:gd name="connsiteY92" fmla="*/ 129355 h 967926"/>
                  <a:gd name="connsiteX93" fmla="*/ 0 w 1213253"/>
                  <a:gd name="connsiteY93" fmla="*/ 93671 h 967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</a:cxnLst>
                <a:rect l="l" t="t" r="r" b="b"/>
                <a:pathLst>
                  <a:path w="1213253" h="967926">
                    <a:moveTo>
                      <a:pt x="0" y="93671"/>
                    </a:moveTo>
                    <a:lnTo>
                      <a:pt x="8921" y="196262"/>
                    </a:lnTo>
                    <a:lnTo>
                      <a:pt x="75828" y="214104"/>
                    </a:lnTo>
                    <a:lnTo>
                      <a:pt x="111512" y="236406"/>
                    </a:lnTo>
                    <a:lnTo>
                      <a:pt x="151656" y="289932"/>
                    </a:lnTo>
                    <a:lnTo>
                      <a:pt x="182880" y="298853"/>
                    </a:lnTo>
                    <a:lnTo>
                      <a:pt x="209643" y="347919"/>
                    </a:lnTo>
                    <a:lnTo>
                      <a:pt x="209643" y="392523"/>
                    </a:lnTo>
                    <a:lnTo>
                      <a:pt x="129354" y="472812"/>
                    </a:lnTo>
                    <a:lnTo>
                      <a:pt x="115973" y="504036"/>
                    </a:lnTo>
                    <a:cubicBezTo>
                      <a:pt x="117460" y="576891"/>
                      <a:pt x="118946" y="649745"/>
                      <a:pt x="120433" y="722600"/>
                    </a:cubicBezTo>
                    <a:lnTo>
                      <a:pt x="156117" y="762744"/>
                    </a:lnTo>
                    <a:lnTo>
                      <a:pt x="200722" y="771665"/>
                    </a:lnTo>
                    <a:lnTo>
                      <a:pt x="218564" y="802888"/>
                    </a:lnTo>
                    <a:lnTo>
                      <a:pt x="245327" y="802888"/>
                    </a:lnTo>
                    <a:lnTo>
                      <a:pt x="285471" y="860875"/>
                    </a:lnTo>
                    <a:lnTo>
                      <a:pt x="356839" y="860875"/>
                    </a:lnTo>
                    <a:lnTo>
                      <a:pt x="356839" y="909940"/>
                    </a:lnTo>
                    <a:lnTo>
                      <a:pt x="432667" y="905480"/>
                    </a:lnTo>
                    <a:lnTo>
                      <a:pt x="450509" y="896559"/>
                    </a:lnTo>
                    <a:lnTo>
                      <a:pt x="454970" y="820730"/>
                    </a:lnTo>
                    <a:lnTo>
                      <a:pt x="481733" y="785046"/>
                    </a:lnTo>
                    <a:lnTo>
                      <a:pt x="499575" y="749362"/>
                    </a:lnTo>
                    <a:lnTo>
                      <a:pt x="544179" y="740441"/>
                    </a:lnTo>
                    <a:lnTo>
                      <a:pt x="597705" y="740441"/>
                    </a:lnTo>
                    <a:lnTo>
                      <a:pt x="624468" y="785046"/>
                    </a:lnTo>
                    <a:lnTo>
                      <a:pt x="651231" y="802888"/>
                    </a:lnTo>
                    <a:lnTo>
                      <a:pt x="709217" y="825191"/>
                    </a:lnTo>
                    <a:lnTo>
                      <a:pt x="771664" y="816270"/>
                    </a:lnTo>
                    <a:lnTo>
                      <a:pt x="785046" y="851954"/>
                    </a:lnTo>
                    <a:lnTo>
                      <a:pt x="807348" y="869796"/>
                    </a:lnTo>
                    <a:lnTo>
                      <a:pt x="865335" y="905480"/>
                    </a:lnTo>
                    <a:lnTo>
                      <a:pt x="932242" y="878717"/>
                    </a:lnTo>
                    <a:lnTo>
                      <a:pt x="945623" y="874256"/>
                    </a:lnTo>
                    <a:lnTo>
                      <a:pt x="936702" y="918861"/>
                    </a:lnTo>
                    <a:lnTo>
                      <a:pt x="945623" y="959005"/>
                    </a:lnTo>
                    <a:lnTo>
                      <a:pt x="999149" y="967926"/>
                    </a:lnTo>
                    <a:lnTo>
                      <a:pt x="1008070" y="936703"/>
                    </a:lnTo>
                    <a:lnTo>
                      <a:pt x="1016991" y="901019"/>
                    </a:lnTo>
                    <a:lnTo>
                      <a:pt x="1052675" y="892098"/>
                    </a:lnTo>
                    <a:lnTo>
                      <a:pt x="1074977" y="878717"/>
                    </a:lnTo>
                    <a:lnTo>
                      <a:pt x="1061596" y="843033"/>
                    </a:lnTo>
                    <a:lnTo>
                      <a:pt x="1034833" y="807349"/>
                    </a:lnTo>
                    <a:lnTo>
                      <a:pt x="1043754" y="762744"/>
                    </a:lnTo>
                    <a:lnTo>
                      <a:pt x="1008070" y="758283"/>
                    </a:lnTo>
                    <a:lnTo>
                      <a:pt x="972386" y="695837"/>
                    </a:lnTo>
                    <a:lnTo>
                      <a:pt x="985768" y="664613"/>
                    </a:lnTo>
                    <a:lnTo>
                      <a:pt x="994689" y="646771"/>
                    </a:lnTo>
                    <a:lnTo>
                      <a:pt x="990228" y="615548"/>
                    </a:lnTo>
                    <a:lnTo>
                      <a:pt x="1003610" y="606627"/>
                    </a:lnTo>
                    <a:lnTo>
                      <a:pt x="1034833" y="624469"/>
                    </a:lnTo>
                    <a:lnTo>
                      <a:pt x="1066056" y="588785"/>
                    </a:lnTo>
                    <a:lnTo>
                      <a:pt x="1074977" y="570943"/>
                    </a:lnTo>
                    <a:lnTo>
                      <a:pt x="1074977" y="553101"/>
                    </a:lnTo>
                    <a:lnTo>
                      <a:pt x="1092819" y="530799"/>
                    </a:lnTo>
                    <a:lnTo>
                      <a:pt x="1159727" y="517417"/>
                    </a:lnTo>
                    <a:lnTo>
                      <a:pt x="1168648" y="468352"/>
                    </a:lnTo>
                    <a:lnTo>
                      <a:pt x="1190950" y="437128"/>
                    </a:lnTo>
                    <a:lnTo>
                      <a:pt x="1195411" y="379142"/>
                    </a:lnTo>
                    <a:lnTo>
                      <a:pt x="1213253" y="325616"/>
                    </a:lnTo>
                    <a:lnTo>
                      <a:pt x="1204332" y="281011"/>
                    </a:lnTo>
                    <a:lnTo>
                      <a:pt x="1155266" y="272090"/>
                    </a:lnTo>
                    <a:lnTo>
                      <a:pt x="1110661" y="281011"/>
                    </a:lnTo>
                    <a:lnTo>
                      <a:pt x="1030373" y="227485"/>
                    </a:lnTo>
                    <a:lnTo>
                      <a:pt x="1003610" y="231946"/>
                    </a:lnTo>
                    <a:lnTo>
                      <a:pt x="985768" y="285472"/>
                    </a:lnTo>
                    <a:lnTo>
                      <a:pt x="967926" y="289932"/>
                    </a:lnTo>
                    <a:lnTo>
                      <a:pt x="896558" y="281011"/>
                    </a:lnTo>
                    <a:lnTo>
                      <a:pt x="878716" y="325616"/>
                    </a:lnTo>
                    <a:lnTo>
                      <a:pt x="856414" y="325616"/>
                    </a:lnTo>
                    <a:lnTo>
                      <a:pt x="802888" y="307774"/>
                    </a:lnTo>
                    <a:lnTo>
                      <a:pt x="758283" y="321156"/>
                    </a:lnTo>
                    <a:lnTo>
                      <a:pt x="677994" y="272090"/>
                    </a:lnTo>
                    <a:lnTo>
                      <a:pt x="669073" y="205183"/>
                    </a:lnTo>
                    <a:lnTo>
                      <a:pt x="664613" y="182880"/>
                    </a:lnTo>
                    <a:lnTo>
                      <a:pt x="620008" y="173960"/>
                    </a:lnTo>
                    <a:lnTo>
                      <a:pt x="597705" y="124894"/>
                    </a:lnTo>
                    <a:lnTo>
                      <a:pt x="526337" y="120434"/>
                    </a:lnTo>
                    <a:lnTo>
                      <a:pt x="504035" y="57987"/>
                    </a:lnTo>
                    <a:lnTo>
                      <a:pt x="454970" y="8921"/>
                    </a:lnTo>
                    <a:lnTo>
                      <a:pt x="419286" y="0"/>
                    </a:lnTo>
                    <a:lnTo>
                      <a:pt x="401444" y="22303"/>
                    </a:lnTo>
                    <a:lnTo>
                      <a:pt x="361299" y="4461"/>
                    </a:lnTo>
                    <a:lnTo>
                      <a:pt x="343457" y="13382"/>
                    </a:lnTo>
                    <a:lnTo>
                      <a:pt x="321155" y="31224"/>
                    </a:lnTo>
                    <a:lnTo>
                      <a:pt x="281011" y="22303"/>
                    </a:lnTo>
                    <a:lnTo>
                      <a:pt x="249787" y="40145"/>
                    </a:lnTo>
                    <a:lnTo>
                      <a:pt x="165038" y="40145"/>
                    </a:lnTo>
                    <a:lnTo>
                      <a:pt x="133815" y="35684"/>
                    </a:lnTo>
                    <a:lnTo>
                      <a:pt x="133815" y="35684"/>
                    </a:lnTo>
                    <a:lnTo>
                      <a:pt x="98131" y="75829"/>
                    </a:lnTo>
                    <a:lnTo>
                      <a:pt x="98131" y="129355"/>
                    </a:lnTo>
                    <a:lnTo>
                      <a:pt x="84749" y="129355"/>
                    </a:lnTo>
                    <a:lnTo>
                      <a:pt x="0" y="93671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138" name="Freeform 3">
                <a:extLst>
                  <a:ext uri="{FF2B5EF4-FFF2-40B4-BE49-F238E27FC236}">
                    <a16:creationId xmlns:a16="http://schemas.microsoft.com/office/drawing/2014/main" id="{042A1CA8-AC6B-4CE5-990F-F3D8D325D863}"/>
                  </a:ext>
                </a:extLst>
              </p:cNvPr>
              <p:cNvSpPr/>
              <p:nvPr/>
            </p:nvSpPr>
            <p:spPr>
              <a:xfrm>
                <a:off x="4276725" y="2001838"/>
                <a:ext cx="482600" cy="539750"/>
              </a:xfrm>
              <a:custGeom>
                <a:avLst/>
                <a:gdLst>
                  <a:gd name="connsiteX0" fmla="*/ 165038 w 481732"/>
                  <a:gd name="connsiteY0" fmla="*/ 0 h 539719"/>
                  <a:gd name="connsiteX1" fmla="*/ 75828 w 481732"/>
                  <a:gd name="connsiteY1" fmla="*/ 8921 h 539719"/>
                  <a:gd name="connsiteX2" fmla="*/ 31223 w 481732"/>
                  <a:gd name="connsiteY2" fmla="*/ 80289 h 539719"/>
                  <a:gd name="connsiteX3" fmla="*/ 22302 w 481732"/>
                  <a:gd name="connsiteY3" fmla="*/ 160578 h 539719"/>
                  <a:gd name="connsiteX4" fmla="*/ 0 w 481732"/>
                  <a:gd name="connsiteY4" fmla="*/ 178419 h 539719"/>
                  <a:gd name="connsiteX5" fmla="*/ 0 w 481732"/>
                  <a:gd name="connsiteY5" fmla="*/ 223024 h 539719"/>
                  <a:gd name="connsiteX6" fmla="*/ 35684 w 481732"/>
                  <a:gd name="connsiteY6" fmla="*/ 258708 h 539719"/>
                  <a:gd name="connsiteX7" fmla="*/ 62447 w 481732"/>
                  <a:gd name="connsiteY7" fmla="*/ 338997 h 539719"/>
                  <a:gd name="connsiteX8" fmla="*/ 107051 w 481732"/>
                  <a:gd name="connsiteY8" fmla="*/ 356839 h 539719"/>
                  <a:gd name="connsiteX9" fmla="*/ 133814 w 481732"/>
                  <a:gd name="connsiteY9" fmla="*/ 414825 h 539719"/>
                  <a:gd name="connsiteX10" fmla="*/ 214103 w 481732"/>
                  <a:gd name="connsiteY10" fmla="*/ 437128 h 539719"/>
                  <a:gd name="connsiteX11" fmla="*/ 223024 w 481732"/>
                  <a:gd name="connsiteY11" fmla="*/ 486193 h 539719"/>
                  <a:gd name="connsiteX12" fmla="*/ 249787 w 481732"/>
                  <a:gd name="connsiteY12" fmla="*/ 486193 h 539719"/>
                  <a:gd name="connsiteX13" fmla="*/ 281010 w 481732"/>
                  <a:gd name="connsiteY13" fmla="*/ 539719 h 539719"/>
                  <a:gd name="connsiteX14" fmla="*/ 330076 w 481732"/>
                  <a:gd name="connsiteY14" fmla="*/ 472812 h 539719"/>
                  <a:gd name="connsiteX15" fmla="*/ 321155 w 481732"/>
                  <a:gd name="connsiteY15" fmla="*/ 414825 h 539719"/>
                  <a:gd name="connsiteX16" fmla="*/ 388062 w 481732"/>
                  <a:gd name="connsiteY16" fmla="*/ 379141 h 539719"/>
                  <a:gd name="connsiteX17" fmla="*/ 437128 w 481732"/>
                  <a:gd name="connsiteY17" fmla="*/ 392523 h 539719"/>
                  <a:gd name="connsiteX18" fmla="*/ 437128 w 481732"/>
                  <a:gd name="connsiteY18" fmla="*/ 392523 h 539719"/>
                  <a:gd name="connsiteX19" fmla="*/ 481732 w 481732"/>
                  <a:gd name="connsiteY19" fmla="*/ 383602 h 539719"/>
                  <a:gd name="connsiteX20" fmla="*/ 468351 w 481732"/>
                  <a:gd name="connsiteY20" fmla="*/ 347918 h 539719"/>
                  <a:gd name="connsiteX21" fmla="*/ 468351 w 481732"/>
                  <a:gd name="connsiteY21" fmla="*/ 298853 h 539719"/>
                  <a:gd name="connsiteX22" fmla="*/ 481732 w 481732"/>
                  <a:gd name="connsiteY22" fmla="*/ 263169 h 539719"/>
                  <a:gd name="connsiteX23" fmla="*/ 459430 w 481732"/>
                  <a:gd name="connsiteY23" fmla="*/ 231945 h 539719"/>
                  <a:gd name="connsiteX24" fmla="*/ 437128 w 481732"/>
                  <a:gd name="connsiteY24" fmla="*/ 173959 h 539719"/>
                  <a:gd name="connsiteX25" fmla="*/ 361299 w 481732"/>
                  <a:gd name="connsiteY25" fmla="*/ 120433 h 539719"/>
                  <a:gd name="connsiteX26" fmla="*/ 338997 w 481732"/>
                  <a:gd name="connsiteY26" fmla="*/ 75828 h 539719"/>
                  <a:gd name="connsiteX27" fmla="*/ 281010 w 481732"/>
                  <a:gd name="connsiteY27" fmla="*/ 89210 h 539719"/>
                  <a:gd name="connsiteX28" fmla="*/ 209643 w 481732"/>
                  <a:gd name="connsiteY28" fmla="*/ 62447 h 539719"/>
                  <a:gd name="connsiteX29" fmla="*/ 165038 w 481732"/>
                  <a:gd name="connsiteY29" fmla="*/ 0 h 53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81732" h="539719">
                    <a:moveTo>
                      <a:pt x="165038" y="0"/>
                    </a:moveTo>
                    <a:lnTo>
                      <a:pt x="75828" y="8921"/>
                    </a:lnTo>
                    <a:lnTo>
                      <a:pt x="31223" y="80289"/>
                    </a:lnTo>
                    <a:lnTo>
                      <a:pt x="22302" y="160578"/>
                    </a:lnTo>
                    <a:lnTo>
                      <a:pt x="0" y="178419"/>
                    </a:lnTo>
                    <a:lnTo>
                      <a:pt x="0" y="223024"/>
                    </a:lnTo>
                    <a:lnTo>
                      <a:pt x="35684" y="258708"/>
                    </a:lnTo>
                    <a:lnTo>
                      <a:pt x="62447" y="338997"/>
                    </a:lnTo>
                    <a:lnTo>
                      <a:pt x="107051" y="356839"/>
                    </a:lnTo>
                    <a:lnTo>
                      <a:pt x="133814" y="414825"/>
                    </a:lnTo>
                    <a:lnTo>
                      <a:pt x="214103" y="437128"/>
                    </a:lnTo>
                    <a:lnTo>
                      <a:pt x="223024" y="486193"/>
                    </a:lnTo>
                    <a:lnTo>
                      <a:pt x="249787" y="486193"/>
                    </a:lnTo>
                    <a:lnTo>
                      <a:pt x="281010" y="539719"/>
                    </a:lnTo>
                    <a:lnTo>
                      <a:pt x="330076" y="472812"/>
                    </a:lnTo>
                    <a:lnTo>
                      <a:pt x="321155" y="414825"/>
                    </a:lnTo>
                    <a:lnTo>
                      <a:pt x="388062" y="379141"/>
                    </a:lnTo>
                    <a:lnTo>
                      <a:pt x="437128" y="392523"/>
                    </a:lnTo>
                    <a:lnTo>
                      <a:pt x="437128" y="392523"/>
                    </a:lnTo>
                    <a:lnTo>
                      <a:pt x="481732" y="383602"/>
                    </a:lnTo>
                    <a:lnTo>
                      <a:pt x="468351" y="347918"/>
                    </a:lnTo>
                    <a:lnTo>
                      <a:pt x="468351" y="298853"/>
                    </a:lnTo>
                    <a:lnTo>
                      <a:pt x="481732" y="263169"/>
                    </a:lnTo>
                    <a:lnTo>
                      <a:pt x="459430" y="231945"/>
                    </a:lnTo>
                    <a:lnTo>
                      <a:pt x="437128" y="173959"/>
                    </a:lnTo>
                    <a:lnTo>
                      <a:pt x="361299" y="120433"/>
                    </a:lnTo>
                    <a:lnTo>
                      <a:pt x="338997" y="75828"/>
                    </a:lnTo>
                    <a:lnTo>
                      <a:pt x="281010" y="89210"/>
                    </a:lnTo>
                    <a:lnTo>
                      <a:pt x="209643" y="62447"/>
                    </a:lnTo>
                    <a:lnTo>
                      <a:pt x="165038" y="0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139" name="Freeform 4">
                <a:extLst>
                  <a:ext uri="{FF2B5EF4-FFF2-40B4-BE49-F238E27FC236}">
                    <a16:creationId xmlns:a16="http://schemas.microsoft.com/office/drawing/2014/main" id="{1DEB9BAC-6B2F-48C7-8427-4C64500D4225}"/>
                  </a:ext>
                </a:extLst>
              </p:cNvPr>
              <p:cNvSpPr/>
              <p:nvPr/>
            </p:nvSpPr>
            <p:spPr>
              <a:xfrm>
                <a:off x="3935413" y="2174875"/>
                <a:ext cx="522287" cy="465138"/>
              </a:xfrm>
              <a:custGeom>
                <a:avLst/>
                <a:gdLst>
                  <a:gd name="connsiteX0" fmla="*/ 336884 w 521791"/>
                  <a:gd name="connsiteY0" fmla="*/ 0 h 466065"/>
                  <a:gd name="connsiteX1" fmla="*/ 271027 w 521791"/>
                  <a:gd name="connsiteY1" fmla="*/ 2533 h 466065"/>
                  <a:gd name="connsiteX2" fmla="*/ 238099 w 521791"/>
                  <a:gd name="connsiteY2" fmla="*/ 48126 h 466065"/>
                  <a:gd name="connsiteX3" fmla="*/ 200104 w 521791"/>
                  <a:gd name="connsiteY3" fmla="*/ 60791 h 466065"/>
                  <a:gd name="connsiteX4" fmla="*/ 131714 w 521791"/>
                  <a:gd name="connsiteY4" fmla="*/ 98785 h 466065"/>
                  <a:gd name="connsiteX5" fmla="*/ 131714 w 521791"/>
                  <a:gd name="connsiteY5" fmla="*/ 134247 h 466065"/>
                  <a:gd name="connsiteX6" fmla="*/ 151978 w 521791"/>
                  <a:gd name="connsiteY6" fmla="*/ 174774 h 466065"/>
                  <a:gd name="connsiteX7" fmla="*/ 159577 w 521791"/>
                  <a:gd name="connsiteY7" fmla="*/ 207703 h 466065"/>
                  <a:gd name="connsiteX8" fmla="*/ 169709 w 521791"/>
                  <a:gd name="connsiteY8" fmla="*/ 222900 h 466065"/>
                  <a:gd name="connsiteX9" fmla="*/ 141846 w 521791"/>
                  <a:gd name="connsiteY9" fmla="*/ 235565 h 466065"/>
                  <a:gd name="connsiteX10" fmla="*/ 53192 w 521791"/>
                  <a:gd name="connsiteY10" fmla="*/ 263428 h 466065"/>
                  <a:gd name="connsiteX11" fmla="*/ 22797 w 521791"/>
                  <a:gd name="connsiteY11" fmla="*/ 321686 h 466065"/>
                  <a:gd name="connsiteX12" fmla="*/ 0 w 521791"/>
                  <a:gd name="connsiteY12" fmla="*/ 339417 h 466065"/>
                  <a:gd name="connsiteX13" fmla="*/ 7599 w 521791"/>
                  <a:gd name="connsiteY13" fmla="*/ 369812 h 466065"/>
                  <a:gd name="connsiteX14" fmla="*/ 20264 w 521791"/>
                  <a:gd name="connsiteY14" fmla="*/ 397675 h 466065"/>
                  <a:gd name="connsiteX15" fmla="*/ 113983 w 521791"/>
                  <a:gd name="connsiteY15" fmla="*/ 402741 h 466065"/>
                  <a:gd name="connsiteX16" fmla="*/ 134247 w 521791"/>
                  <a:gd name="connsiteY16" fmla="*/ 390076 h 466065"/>
                  <a:gd name="connsiteX17" fmla="*/ 162110 w 521791"/>
                  <a:gd name="connsiteY17" fmla="*/ 387543 h 466065"/>
                  <a:gd name="connsiteX18" fmla="*/ 189972 w 521791"/>
                  <a:gd name="connsiteY18" fmla="*/ 405274 h 466065"/>
                  <a:gd name="connsiteX19" fmla="*/ 243165 w 521791"/>
                  <a:gd name="connsiteY19" fmla="*/ 466065 h 466065"/>
                  <a:gd name="connsiteX20" fmla="*/ 288758 w 521791"/>
                  <a:gd name="connsiteY20" fmla="*/ 430604 h 466065"/>
                  <a:gd name="connsiteX21" fmla="*/ 359681 w 521791"/>
                  <a:gd name="connsiteY21" fmla="*/ 433136 h 466065"/>
                  <a:gd name="connsiteX22" fmla="*/ 390077 w 521791"/>
                  <a:gd name="connsiteY22" fmla="*/ 405274 h 466065"/>
                  <a:gd name="connsiteX23" fmla="*/ 423005 w 521791"/>
                  <a:gd name="connsiteY23" fmla="*/ 359681 h 466065"/>
                  <a:gd name="connsiteX24" fmla="*/ 466065 w 521791"/>
                  <a:gd name="connsiteY24" fmla="*/ 341950 h 466065"/>
                  <a:gd name="connsiteX25" fmla="*/ 488862 w 521791"/>
                  <a:gd name="connsiteY25" fmla="*/ 331818 h 466065"/>
                  <a:gd name="connsiteX26" fmla="*/ 521791 w 521791"/>
                  <a:gd name="connsiteY26" fmla="*/ 344483 h 466065"/>
                  <a:gd name="connsiteX27" fmla="*/ 519258 w 521791"/>
                  <a:gd name="connsiteY27" fmla="*/ 321686 h 466065"/>
                  <a:gd name="connsiteX28" fmla="*/ 501527 w 521791"/>
                  <a:gd name="connsiteY28" fmla="*/ 296356 h 466065"/>
                  <a:gd name="connsiteX29" fmla="*/ 516725 w 521791"/>
                  <a:gd name="connsiteY29" fmla="*/ 253296 h 466065"/>
                  <a:gd name="connsiteX30" fmla="*/ 476197 w 521791"/>
                  <a:gd name="connsiteY30" fmla="*/ 240631 h 466065"/>
                  <a:gd name="connsiteX31" fmla="*/ 448335 w 521791"/>
                  <a:gd name="connsiteY31" fmla="*/ 192505 h 466065"/>
                  <a:gd name="connsiteX32" fmla="*/ 410340 w 521791"/>
                  <a:gd name="connsiteY32" fmla="*/ 167175 h 466065"/>
                  <a:gd name="connsiteX33" fmla="*/ 379945 w 521791"/>
                  <a:gd name="connsiteY33" fmla="*/ 88653 h 466065"/>
                  <a:gd name="connsiteX34" fmla="*/ 349549 w 521791"/>
                  <a:gd name="connsiteY34" fmla="*/ 53192 h 466065"/>
                  <a:gd name="connsiteX35" fmla="*/ 336884 w 521791"/>
                  <a:gd name="connsiteY35" fmla="*/ 0 h 466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21791" h="466065">
                    <a:moveTo>
                      <a:pt x="336884" y="0"/>
                    </a:moveTo>
                    <a:lnTo>
                      <a:pt x="271027" y="2533"/>
                    </a:lnTo>
                    <a:lnTo>
                      <a:pt x="238099" y="48126"/>
                    </a:lnTo>
                    <a:lnTo>
                      <a:pt x="200104" y="60791"/>
                    </a:lnTo>
                    <a:lnTo>
                      <a:pt x="131714" y="98785"/>
                    </a:lnTo>
                    <a:lnTo>
                      <a:pt x="131714" y="134247"/>
                    </a:lnTo>
                    <a:lnTo>
                      <a:pt x="151978" y="174774"/>
                    </a:lnTo>
                    <a:lnTo>
                      <a:pt x="159577" y="207703"/>
                    </a:lnTo>
                    <a:lnTo>
                      <a:pt x="169709" y="222900"/>
                    </a:lnTo>
                    <a:lnTo>
                      <a:pt x="141846" y="235565"/>
                    </a:lnTo>
                    <a:lnTo>
                      <a:pt x="53192" y="263428"/>
                    </a:lnTo>
                    <a:lnTo>
                      <a:pt x="22797" y="321686"/>
                    </a:lnTo>
                    <a:lnTo>
                      <a:pt x="0" y="339417"/>
                    </a:lnTo>
                    <a:lnTo>
                      <a:pt x="7599" y="369812"/>
                    </a:lnTo>
                    <a:lnTo>
                      <a:pt x="20264" y="397675"/>
                    </a:lnTo>
                    <a:lnTo>
                      <a:pt x="113983" y="402741"/>
                    </a:lnTo>
                    <a:lnTo>
                      <a:pt x="134247" y="390076"/>
                    </a:lnTo>
                    <a:lnTo>
                      <a:pt x="162110" y="387543"/>
                    </a:lnTo>
                    <a:lnTo>
                      <a:pt x="189972" y="405274"/>
                    </a:lnTo>
                    <a:lnTo>
                      <a:pt x="243165" y="466065"/>
                    </a:lnTo>
                    <a:lnTo>
                      <a:pt x="288758" y="430604"/>
                    </a:lnTo>
                    <a:lnTo>
                      <a:pt x="359681" y="433136"/>
                    </a:lnTo>
                    <a:lnTo>
                      <a:pt x="390077" y="405274"/>
                    </a:lnTo>
                    <a:lnTo>
                      <a:pt x="423005" y="359681"/>
                    </a:lnTo>
                    <a:lnTo>
                      <a:pt x="466065" y="341950"/>
                    </a:lnTo>
                    <a:lnTo>
                      <a:pt x="488862" y="331818"/>
                    </a:lnTo>
                    <a:lnTo>
                      <a:pt x="521791" y="344483"/>
                    </a:lnTo>
                    <a:lnTo>
                      <a:pt x="519258" y="321686"/>
                    </a:lnTo>
                    <a:lnTo>
                      <a:pt x="501527" y="296356"/>
                    </a:lnTo>
                    <a:lnTo>
                      <a:pt x="516725" y="253296"/>
                    </a:lnTo>
                    <a:lnTo>
                      <a:pt x="476197" y="240631"/>
                    </a:lnTo>
                    <a:lnTo>
                      <a:pt x="448335" y="192505"/>
                    </a:lnTo>
                    <a:lnTo>
                      <a:pt x="410340" y="167175"/>
                    </a:lnTo>
                    <a:lnTo>
                      <a:pt x="379945" y="88653"/>
                    </a:lnTo>
                    <a:lnTo>
                      <a:pt x="349549" y="53192"/>
                    </a:lnTo>
                    <a:lnTo>
                      <a:pt x="336884" y="0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140" name="Freeform 5">
                <a:extLst>
                  <a:ext uri="{FF2B5EF4-FFF2-40B4-BE49-F238E27FC236}">
                    <a16:creationId xmlns:a16="http://schemas.microsoft.com/office/drawing/2014/main" id="{242A0E44-9025-480B-AB45-F3F8B8AE1651}"/>
                  </a:ext>
                </a:extLst>
              </p:cNvPr>
              <p:cNvSpPr/>
              <p:nvPr/>
            </p:nvSpPr>
            <p:spPr>
              <a:xfrm>
                <a:off x="4019550" y="2430463"/>
                <a:ext cx="542925" cy="561975"/>
              </a:xfrm>
              <a:custGeom>
                <a:avLst/>
                <a:gdLst>
                  <a:gd name="connsiteX0" fmla="*/ 22797 w 542054"/>
                  <a:gd name="connsiteY0" fmla="*/ 146912 h 562318"/>
                  <a:gd name="connsiteX1" fmla="*/ 0 w 542054"/>
                  <a:gd name="connsiteY1" fmla="*/ 205170 h 562318"/>
                  <a:gd name="connsiteX2" fmla="*/ 55725 w 542054"/>
                  <a:gd name="connsiteY2" fmla="*/ 245697 h 562318"/>
                  <a:gd name="connsiteX3" fmla="*/ 96252 w 542054"/>
                  <a:gd name="connsiteY3" fmla="*/ 321686 h 562318"/>
                  <a:gd name="connsiteX4" fmla="*/ 157044 w 542054"/>
                  <a:gd name="connsiteY4" fmla="*/ 347016 h 562318"/>
                  <a:gd name="connsiteX5" fmla="*/ 151978 w 542054"/>
                  <a:gd name="connsiteY5" fmla="*/ 400208 h 562318"/>
                  <a:gd name="connsiteX6" fmla="*/ 164643 w 542054"/>
                  <a:gd name="connsiteY6" fmla="*/ 415406 h 562318"/>
                  <a:gd name="connsiteX7" fmla="*/ 164643 w 542054"/>
                  <a:gd name="connsiteY7" fmla="*/ 438203 h 562318"/>
                  <a:gd name="connsiteX8" fmla="*/ 164643 w 542054"/>
                  <a:gd name="connsiteY8" fmla="*/ 501527 h 562318"/>
                  <a:gd name="connsiteX9" fmla="*/ 197571 w 542054"/>
                  <a:gd name="connsiteY9" fmla="*/ 552186 h 562318"/>
                  <a:gd name="connsiteX10" fmla="*/ 248230 w 542054"/>
                  <a:gd name="connsiteY10" fmla="*/ 557252 h 562318"/>
                  <a:gd name="connsiteX11" fmla="*/ 298890 w 542054"/>
                  <a:gd name="connsiteY11" fmla="*/ 526857 h 562318"/>
                  <a:gd name="connsiteX12" fmla="*/ 311554 w 542054"/>
                  <a:gd name="connsiteY12" fmla="*/ 526857 h 562318"/>
                  <a:gd name="connsiteX13" fmla="*/ 324219 w 542054"/>
                  <a:gd name="connsiteY13" fmla="*/ 557252 h 562318"/>
                  <a:gd name="connsiteX14" fmla="*/ 387543 w 542054"/>
                  <a:gd name="connsiteY14" fmla="*/ 562318 h 562318"/>
                  <a:gd name="connsiteX15" fmla="*/ 440736 w 542054"/>
                  <a:gd name="connsiteY15" fmla="*/ 544587 h 562318"/>
                  <a:gd name="connsiteX16" fmla="*/ 481263 w 542054"/>
                  <a:gd name="connsiteY16" fmla="*/ 491395 h 562318"/>
                  <a:gd name="connsiteX17" fmla="*/ 488862 w 542054"/>
                  <a:gd name="connsiteY17" fmla="*/ 448335 h 562318"/>
                  <a:gd name="connsiteX18" fmla="*/ 466065 w 542054"/>
                  <a:gd name="connsiteY18" fmla="*/ 433137 h 562318"/>
                  <a:gd name="connsiteX19" fmla="*/ 453400 w 542054"/>
                  <a:gd name="connsiteY19" fmla="*/ 453401 h 562318"/>
                  <a:gd name="connsiteX20" fmla="*/ 438203 w 542054"/>
                  <a:gd name="connsiteY20" fmla="*/ 458466 h 562318"/>
                  <a:gd name="connsiteX21" fmla="*/ 402741 w 542054"/>
                  <a:gd name="connsiteY21" fmla="*/ 440736 h 562318"/>
                  <a:gd name="connsiteX22" fmla="*/ 382477 w 542054"/>
                  <a:gd name="connsiteY22" fmla="*/ 428071 h 562318"/>
                  <a:gd name="connsiteX23" fmla="*/ 395142 w 542054"/>
                  <a:gd name="connsiteY23" fmla="*/ 407807 h 562318"/>
                  <a:gd name="connsiteX24" fmla="*/ 387543 w 542054"/>
                  <a:gd name="connsiteY24" fmla="*/ 397675 h 562318"/>
                  <a:gd name="connsiteX25" fmla="*/ 407807 w 542054"/>
                  <a:gd name="connsiteY25" fmla="*/ 359681 h 562318"/>
                  <a:gd name="connsiteX26" fmla="*/ 445802 w 542054"/>
                  <a:gd name="connsiteY26" fmla="*/ 362214 h 562318"/>
                  <a:gd name="connsiteX27" fmla="*/ 468598 w 542054"/>
                  <a:gd name="connsiteY27" fmla="*/ 354615 h 562318"/>
                  <a:gd name="connsiteX28" fmla="*/ 493928 w 542054"/>
                  <a:gd name="connsiteY28" fmla="*/ 316620 h 562318"/>
                  <a:gd name="connsiteX29" fmla="*/ 491395 w 542054"/>
                  <a:gd name="connsiteY29" fmla="*/ 293824 h 562318"/>
                  <a:gd name="connsiteX30" fmla="*/ 460999 w 542054"/>
                  <a:gd name="connsiteY30" fmla="*/ 263428 h 562318"/>
                  <a:gd name="connsiteX31" fmla="*/ 481263 w 542054"/>
                  <a:gd name="connsiteY31" fmla="*/ 220368 h 562318"/>
                  <a:gd name="connsiteX32" fmla="*/ 483796 w 542054"/>
                  <a:gd name="connsiteY32" fmla="*/ 205170 h 562318"/>
                  <a:gd name="connsiteX33" fmla="*/ 476197 w 542054"/>
                  <a:gd name="connsiteY33" fmla="*/ 169709 h 562318"/>
                  <a:gd name="connsiteX34" fmla="*/ 491395 w 542054"/>
                  <a:gd name="connsiteY34" fmla="*/ 144379 h 562318"/>
                  <a:gd name="connsiteX35" fmla="*/ 542054 w 542054"/>
                  <a:gd name="connsiteY35" fmla="*/ 113983 h 562318"/>
                  <a:gd name="connsiteX36" fmla="*/ 506593 w 542054"/>
                  <a:gd name="connsiteY36" fmla="*/ 58258 h 562318"/>
                  <a:gd name="connsiteX37" fmla="*/ 471131 w 542054"/>
                  <a:gd name="connsiteY37" fmla="*/ 60791 h 562318"/>
                  <a:gd name="connsiteX38" fmla="*/ 466065 w 542054"/>
                  <a:gd name="connsiteY38" fmla="*/ 20264 h 562318"/>
                  <a:gd name="connsiteX39" fmla="*/ 466065 w 542054"/>
                  <a:gd name="connsiteY39" fmla="*/ 12665 h 562318"/>
                  <a:gd name="connsiteX40" fmla="*/ 433137 w 542054"/>
                  <a:gd name="connsiteY40" fmla="*/ 0 h 562318"/>
                  <a:gd name="connsiteX41" fmla="*/ 420472 w 542054"/>
                  <a:gd name="connsiteY41" fmla="*/ 45593 h 562318"/>
                  <a:gd name="connsiteX42" fmla="*/ 435670 w 542054"/>
                  <a:gd name="connsiteY42" fmla="*/ 68390 h 562318"/>
                  <a:gd name="connsiteX43" fmla="*/ 435670 w 542054"/>
                  <a:gd name="connsiteY43" fmla="*/ 91187 h 562318"/>
                  <a:gd name="connsiteX44" fmla="*/ 407807 w 542054"/>
                  <a:gd name="connsiteY44" fmla="*/ 81055 h 562318"/>
                  <a:gd name="connsiteX45" fmla="*/ 344483 w 542054"/>
                  <a:gd name="connsiteY45" fmla="*/ 98786 h 562318"/>
                  <a:gd name="connsiteX46" fmla="*/ 278626 w 542054"/>
                  <a:gd name="connsiteY46" fmla="*/ 174775 h 562318"/>
                  <a:gd name="connsiteX47" fmla="*/ 210236 w 542054"/>
                  <a:gd name="connsiteY47" fmla="*/ 182373 h 562318"/>
                  <a:gd name="connsiteX48" fmla="*/ 162110 w 542054"/>
                  <a:gd name="connsiteY48" fmla="*/ 210236 h 562318"/>
                  <a:gd name="connsiteX49" fmla="*/ 88654 w 542054"/>
                  <a:gd name="connsiteY49" fmla="*/ 136780 h 562318"/>
                  <a:gd name="connsiteX50" fmla="*/ 22797 w 542054"/>
                  <a:gd name="connsiteY50" fmla="*/ 146912 h 562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542054" h="562318">
                    <a:moveTo>
                      <a:pt x="22797" y="146912"/>
                    </a:moveTo>
                    <a:lnTo>
                      <a:pt x="0" y="205170"/>
                    </a:lnTo>
                    <a:lnTo>
                      <a:pt x="55725" y="245697"/>
                    </a:lnTo>
                    <a:lnTo>
                      <a:pt x="96252" y="321686"/>
                    </a:lnTo>
                    <a:lnTo>
                      <a:pt x="157044" y="347016"/>
                    </a:lnTo>
                    <a:lnTo>
                      <a:pt x="151978" y="400208"/>
                    </a:lnTo>
                    <a:lnTo>
                      <a:pt x="164643" y="415406"/>
                    </a:lnTo>
                    <a:lnTo>
                      <a:pt x="164643" y="438203"/>
                    </a:lnTo>
                    <a:lnTo>
                      <a:pt x="164643" y="501527"/>
                    </a:lnTo>
                    <a:lnTo>
                      <a:pt x="197571" y="552186"/>
                    </a:lnTo>
                    <a:lnTo>
                      <a:pt x="248230" y="557252"/>
                    </a:lnTo>
                    <a:lnTo>
                      <a:pt x="298890" y="526857"/>
                    </a:lnTo>
                    <a:lnTo>
                      <a:pt x="311554" y="526857"/>
                    </a:lnTo>
                    <a:lnTo>
                      <a:pt x="324219" y="557252"/>
                    </a:lnTo>
                    <a:lnTo>
                      <a:pt x="387543" y="562318"/>
                    </a:lnTo>
                    <a:lnTo>
                      <a:pt x="440736" y="544587"/>
                    </a:lnTo>
                    <a:lnTo>
                      <a:pt x="481263" y="491395"/>
                    </a:lnTo>
                    <a:lnTo>
                      <a:pt x="488862" y="448335"/>
                    </a:lnTo>
                    <a:lnTo>
                      <a:pt x="466065" y="433137"/>
                    </a:lnTo>
                    <a:lnTo>
                      <a:pt x="453400" y="453401"/>
                    </a:lnTo>
                    <a:lnTo>
                      <a:pt x="438203" y="458466"/>
                    </a:lnTo>
                    <a:lnTo>
                      <a:pt x="402741" y="440736"/>
                    </a:lnTo>
                    <a:lnTo>
                      <a:pt x="382477" y="428071"/>
                    </a:lnTo>
                    <a:lnTo>
                      <a:pt x="395142" y="407807"/>
                    </a:lnTo>
                    <a:lnTo>
                      <a:pt x="387543" y="397675"/>
                    </a:lnTo>
                    <a:lnTo>
                      <a:pt x="407807" y="359681"/>
                    </a:lnTo>
                    <a:lnTo>
                      <a:pt x="445802" y="362214"/>
                    </a:lnTo>
                    <a:lnTo>
                      <a:pt x="468598" y="354615"/>
                    </a:lnTo>
                    <a:lnTo>
                      <a:pt x="493928" y="316620"/>
                    </a:lnTo>
                    <a:lnTo>
                      <a:pt x="491395" y="293824"/>
                    </a:lnTo>
                    <a:lnTo>
                      <a:pt x="460999" y="263428"/>
                    </a:lnTo>
                    <a:lnTo>
                      <a:pt x="481263" y="220368"/>
                    </a:lnTo>
                    <a:lnTo>
                      <a:pt x="483796" y="205170"/>
                    </a:lnTo>
                    <a:lnTo>
                      <a:pt x="476197" y="169709"/>
                    </a:lnTo>
                    <a:lnTo>
                      <a:pt x="491395" y="144379"/>
                    </a:lnTo>
                    <a:lnTo>
                      <a:pt x="542054" y="113983"/>
                    </a:lnTo>
                    <a:lnTo>
                      <a:pt x="506593" y="58258"/>
                    </a:lnTo>
                    <a:lnTo>
                      <a:pt x="471131" y="60791"/>
                    </a:lnTo>
                    <a:lnTo>
                      <a:pt x="466065" y="20264"/>
                    </a:lnTo>
                    <a:lnTo>
                      <a:pt x="466065" y="12665"/>
                    </a:lnTo>
                    <a:lnTo>
                      <a:pt x="433137" y="0"/>
                    </a:lnTo>
                    <a:lnTo>
                      <a:pt x="420472" y="45593"/>
                    </a:lnTo>
                    <a:lnTo>
                      <a:pt x="435670" y="68390"/>
                    </a:lnTo>
                    <a:lnTo>
                      <a:pt x="435670" y="91187"/>
                    </a:lnTo>
                    <a:lnTo>
                      <a:pt x="407807" y="81055"/>
                    </a:lnTo>
                    <a:lnTo>
                      <a:pt x="344483" y="98786"/>
                    </a:lnTo>
                    <a:lnTo>
                      <a:pt x="278626" y="174775"/>
                    </a:lnTo>
                    <a:lnTo>
                      <a:pt x="210236" y="182373"/>
                    </a:lnTo>
                    <a:lnTo>
                      <a:pt x="162110" y="210236"/>
                    </a:lnTo>
                    <a:lnTo>
                      <a:pt x="88654" y="136780"/>
                    </a:lnTo>
                    <a:lnTo>
                      <a:pt x="22797" y="146912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141" name="Freeform 6">
                <a:extLst>
                  <a:ext uri="{FF2B5EF4-FFF2-40B4-BE49-F238E27FC236}">
                    <a16:creationId xmlns:a16="http://schemas.microsoft.com/office/drawing/2014/main" id="{9A93A1BB-9E06-4776-945C-239092F3BC27}"/>
                  </a:ext>
                </a:extLst>
              </p:cNvPr>
              <p:cNvSpPr/>
              <p:nvPr/>
            </p:nvSpPr>
            <p:spPr>
              <a:xfrm>
                <a:off x="4405313" y="2782888"/>
                <a:ext cx="82550" cy="104775"/>
              </a:xfrm>
              <a:custGeom>
                <a:avLst/>
                <a:gdLst>
                  <a:gd name="connsiteX0" fmla="*/ 70923 w 83588"/>
                  <a:gd name="connsiteY0" fmla="*/ 0 h 93719"/>
                  <a:gd name="connsiteX1" fmla="*/ 7599 w 83588"/>
                  <a:gd name="connsiteY1" fmla="*/ 32928 h 93719"/>
                  <a:gd name="connsiteX2" fmla="*/ 10132 w 83588"/>
                  <a:gd name="connsiteY2" fmla="*/ 45593 h 93719"/>
                  <a:gd name="connsiteX3" fmla="*/ 0 w 83588"/>
                  <a:gd name="connsiteY3" fmla="*/ 65857 h 93719"/>
                  <a:gd name="connsiteX4" fmla="*/ 58259 w 83588"/>
                  <a:gd name="connsiteY4" fmla="*/ 93719 h 93719"/>
                  <a:gd name="connsiteX5" fmla="*/ 73456 w 83588"/>
                  <a:gd name="connsiteY5" fmla="*/ 88654 h 93719"/>
                  <a:gd name="connsiteX6" fmla="*/ 83588 w 83588"/>
                  <a:gd name="connsiteY6" fmla="*/ 70923 h 93719"/>
                  <a:gd name="connsiteX7" fmla="*/ 70923 w 83588"/>
                  <a:gd name="connsiteY7" fmla="*/ 0 h 93719"/>
                  <a:gd name="connsiteX0" fmla="*/ 70923 w 83588"/>
                  <a:gd name="connsiteY0" fmla="*/ 0 h 93719"/>
                  <a:gd name="connsiteX1" fmla="*/ 35521 w 83588"/>
                  <a:gd name="connsiteY1" fmla="*/ 14386 h 93719"/>
                  <a:gd name="connsiteX2" fmla="*/ 7599 w 83588"/>
                  <a:gd name="connsiteY2" fmla="*/ 32928 h 93719"/>
                  <a:gd name="connsiteX3" fmla="*/ 10132 w 83588"/>
                  <a:gd name="connsiteY3" fmla="*/ 45593 h 93719"/>
                  <a:gd name="connsiteX4" fmla="*/ 0 w 83588"/>
                  <a:gd name="connsiteY4" fmla="*/ 65857 h 93719"/>
                  <a:gd name="connsiteX5" fmla="*/ 58259 w 83588"/>
                  <a:gd name="connsiteY5" fmla="*/ 93719 h 93719"/>
                  <a:gd name="connsiteX6" fmla="*/ 73456 w 83588"/>
                  <a:gd name="connsiteY6" fmla="*/ 88654 h 93719"/>
                  <a:gd name="connsiteX7" fmla="*/ 83588 w 83588"/>
                  <a:gd name="connsiteY7" fmla="*/ 70923 h 93719"/>
                  <a:gd name="connsiteX8" fmla="*/ 70923 w 83588"/>
                  <a:gd name="connsiteY8" fmla="*/ 0 h 93719"/>
                  <a:gd name="connsiteX0" fmla="*/ 70923 w 83588"/>
                  <a:gd name="connsiteY0" fmla="*/ 11808 h 105527"/>
                  <a:gd name="connsiteX1" fmla="*/ 21234 w 83588"/>
                  <a:gd name="connsiteY1" fmla="*/ 0 h 105527"/>
                  <a:gd name="connsiteX2" fmla="*/ 7599 w 83588"/>
                  <a:gd name="connsiteY2" fmla="*/ 44736 h 105527"/>
                  <a:gd name="connsiteX3" fmla="*/ 10132 w 83588"/>
                  <a:gd name="connsiteY3" fmla="*/ 57401 h 105527"/>
                  <a:gd name="connsiteX4" fmla="*/ 0 w 83588"/>
                  <a:gd name="connsiteY4" fmla="*/ 77665 h 105527"/>
                  <a:gd name="connsiteX5" fmla="*/ 58259 w 83588"/>
                  <a:gd name="connsiteY5" fmla="*/ 105527 h 105527"/>
                  <a:gd name="connsiteX6" fmla="*/ 73456 w 83588"/>
                  <a:gd name="connsiteY6" fmla="*/ 100462 h 105527"/>
                  <a:gd name="connsiteX7" fmla="*/ 83588 w 83588"/>
                  <a:gd name="connsiteY7" fmla="*/ 82731 h 105527"/>
                  <a:gd name="connsiteX8" fmla="*/ 70923 w 83588"/>
                  <a:gd name="connsiteY8" fmla="*/ 11808 h 105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588" h="105527">
                    <a:moveTo>
                      <a:pt x="70923" y="11808"/>
                    </a:moveTo>
                    <a:lnTo>
                      <a:pt x="21234" y="0"/>
                    </a:lnTo>
                    <a:lnTo>
                      <a:pt x="7599" y="44736"/>
                    </a:lnTo>
                    <a:lnTo>
                      <a:pt x="10132" y="57401"/>
                    </a:lnTo>
                    <a:lnTo>
                      <a:pt x="0" y="77665"/>
                    </a:lnTo>
                    <a:lnTo>
                      <a:pt x="58259" y="105527"/>
                    </a:lnTo>
                    <a:lnTo>
                      <a:pt x="73456" y="100462"/>
                    </a:lnTo>
                    <a:lnTo>
                      <a:pt x="83588" y="82731"/>
                    </a:lnTo>
                    <a:lnTo>
                      <a:pt x="70923" y="11808"/>
                    </a:lnTo>
                    <a:close/>
                  </a:path>
                </a:pathLst>
              </a:custGeom>
              <a:grpFill/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142" name="Freeform 7">
                <a:extLst>
                  <a:ext uri="{FF2B5EF4-FFF2-40B4-BE49-F238E27FC236}">
                    <a16:creationId xmlns:a16="http://schemas.microsoft.com/office/drawing/2014/main" id="{8F281C6A-7226-419E-88F0-492C76DA8540}"/>
                  </a:ext>
                </a:extLst>
              </p:cNvPr>
              <p:cNvSpPr/>
              <p:nvPr/>
            </p:nvSpPr>
            <p:spPr>
              <a:xfrm>
                <a:off x="4564063" y="2368550"/>
                <a:ext cx="509587" cy="514350"/>
              </a:xfrm>
              <a:custGeom>
                <a:avLst/>
                <a:gdLst>
                  <a:gd name="connsiteX0" fmla="*/ 0 w 509588"/>
                  <a:gd name="connsiteY0" fmla="*/ 180975 h 514350"/>
                  <a:gd name="connsiteX1" fmla="*/ 54769 w 509588"/>
                  <a:gd name="connsiteY1" fmla="*/ 264319 h 514350"/>
                  <a:gd name="connsiteX2" fmla="*/ 80963 w 509588"/>
                  <a:gd name="connsiteY2" fmla="*/ 271463 h 514350"/>
                  <a:gd name="connsiteX3" fmla="*/ 88107 w 509588"/>
                  <a:gd name="connsiteY3" fmla="*/ 326231 h 514350"/>
                  <a:gd name="connsiteX4" fmla="*/ 66675 w 509588"/>
                  <a:gd name="connsiteY4" fmla="*/ 426244 h 514350"/>
                  <a:gd name="connsiteX5" fmla="*/ 111919 w 509588"/>
                  <a:gd name="connsiteY5" fmla="*/ 433388 h 514350"/>
                  <a:gd name="connsiteX6" fmla="*/ 178594 w 509588"/>
                  <a:gd name="connsiteY6" fmla="*/ 414338 h 514350"/>
                  <a:gd name="connsiteX7" fmla="*/ 221457 w 509588"/>
                  <a:gd name="connsiteY7" fmla="*/ 433388 h 514350"/>
                  <a:gd name="connsiteX8" fmla="*/ 330994 w 509588"/>
                  <a:gd name="connsiteY8" fmla="*/ 509588 h 514350"/>
                  <a:gd name="connsiteX9" fmla="*/ 395288 w 509588"/>
                  <a:gd name="connsiteY9" fmla="*/ 514350 h 514350"/>
                  <a:gd name="connsiteX10" fmla="*/ 414338 w 509588"/>
                  <a:gd name="connsiteY10" fmla="*/ 495300 h 514350"/>
                  <a:gd name="connsiteX11" fmla="*/ 385763 w 509588"/>
                  <a:gd name="connsiteY11" fmla="*/ 473869 h 514350"/>
                  <a:gd name="connsiteX12" fmla="*/ 385763 w 509588"/>
                  <a:gd name="connsiteY12" fmla="*/ 440531 h 514350"/>
                  <a:gd name="connsiteX13" fmla="*/ 423863 w 509588"/>
                  <a:gd name="connsiteY13" fmla="*/ 419100 h 514350"/>
                  <a:gd name="connsiteX14" fmla="*/ 431007 w 509588"/>
                  <a:gd name="connsiteY14" fmla="*/ 376238 h 514350"/>
                  <a:gd name="connsiteX15" fmla="*/ 435769 w 509588"/>
                  <a:gd name="connsiteY15" fmla="*/ 335756 h 514350"/>
                  <a:gd name="connsiteX16" fmla="*/ 497682 w 509588"/>
                  <a:gd name="connsiteY16" fmla="*/ 278606 h 514350"/>
                  <a:gd name="connsiteX17" fmla="*/ 509588 w 509588"/>
                  <a:gd name="connsiteY17" fmla="*/ 200025 h 514350"/>
                  <a:gd name="connsiteX18" fmla="*/ 390525 w 509588"/>
                  <a:gd name="connsiteY18" fmla="*/ 95250 h 514350"/>
                  <a:gd name="connsiteX19" fmla="*/ 323850 w 509588"/>
                  <a:gd name="connsiteY19" fmla="*/ 100013 h 514350"/>
                  <a:gd name="connsiteX20" fmla="*/ 295275 w 509588"/>
                  <a:gd name="connsiteY20" fmla="*/ 76200 h 514350"/>
                  <a:gd name="connsiteX21" fmla="*/ 283369 w 509588"/>
                  <a:gd name="connsiteY21" fmla="*/ 42863 h 514350"/>
                  <a:gd name="connsiteX22" fmla="*/ 266700 w 509588"/>
                  <a:gd name="connsiteY22" fmla="*/ 16669 h 514350"/>
                  <a:gd name="connsiteX23" fmla="*/ 192882 w 509588"/>
                  <a:gd name="connsiteY23" fmla="*/ 0 h 514350"/>
                  <a:gd name="connsiteX24" fmla="*/ 195263 w 509588"/>
                  <a:gd name="connsiteY24" fmla="*/ 21431 h 514350"/>
                  <a:gd name="connsiteX25" fmla="*/ 159544 w 509588"/>
                  <a:gd name="connsiteY25" fmla="*/ 33338 h 514350"/>
                  <a:gd name="connsiteX26" fmla="*/ 100013 w 509588"/>
                  <a:gd name="connsiteY26" fmla="*/ 16669 h 514350"/>
                  <a:gd name="connsiteX27" fmla="*/ 38100 w 509588"/>
                  <a:gd name="connsiteY27" fmla="*/ 52388 h 514350"/>
                  <a:gd name="connsiteX28" fmla="*/ 42863 w 509588"/>
                  <a:gd name="connsiteY28" fmla="*/ 109538 h 514350"/>
                  <a:gd name="connsiteX29" fmla="*/ 0 w 509588"/>
                  <a:gd name="connsiteY29" fmla="*/ 180975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509588" h="514350">
                    <a:moveTo>
                      <a:pt x="0" y="180975"/>
                    </a:moveTo>
                    <a:lnTo>
                      <a:pt x="54769" y="264319"/>
                    </a:lnTo>
                    <a:lnTo>
                      <a:pt x="80963" y="271463"/>
                    </a:lnTo>
                    <a:lnTo>
                      <a:pt x="88107" y="326231"/>
                    </a:lnTo>
                    <a:lnTo>
                      <a:pt x="66675" y="426244"/>
                    </a:lnTo>
                    <a:lnTo>
                      <a:pt x="111919" y="433388"/>
                    </a:lnTo>
                    <a:lnTo>
                      <a:pt x="178594" y="414338"/>
                    </a:lnTo>
                    <a:lnTo>
                      <a:pt x="221457" y="433388"/>
                    </a:lnTo>
                    <a:lnTo>
                      <a:pt x="330994" y="509588"/>
                    </a:lnTo>
                    <a:lnTo>
                      <a:pt x="395288" y="514350"/>
                    </a:lnTo>
                    <a:lnTo>
                      <a:pt x="414338" y="495300"/>
                    </a:lnTo>
                    <a:lnTo>
                      <a:pt x="385763" y="473869"/>
                    </a:lnTo>
                    <a:lnTo>
                      <a:pt x="385763" y="440531"/>
                    </a:lnTo>
                    <a:lnTo>
                      <a:pt x="423863" y="419100"/>
                    </a:lnTo>
                    <a:lnTo>
                      <a:pt x="431007" y="376238"/>
                    </a:lnTo>
                    <a:lnTo>
                      <a:pt x="435769" y="335756"/>
                    </a:lnTo>
                    <a:lnTo>
                      <a:pt x="497682" y="278606"/>
                    </a:lnTo>
                    <a:lnTo>
                      <a:pt x="509588" y="200025"/>
                    </a:lnTo>
                    <a:lnTo>
                      <a:pt x="390525" y="95250"/>
                    </a:lnTo>
                    <a:lnTo>
                      <a:pt x="323850" y="100013"/>
                    </a:lnTo>
                    <a:lnTo>
                      <a:pt x="295275" y="76200"/>
                    </a:lnTo>
                    <a:lnTo>
                      <a:pt x="283369" y="42863"/>
                    </a:lnTo>
                    <a:lnTo>
                      <a:pt x="266700" y="16669"/>
                    </a:lnTo>
                    <a:lnTo>
                      <a:pt x="192882" y="0"/>
                    </a:lnTo>
                    <a:lnTo>
                      <a:pt x="195263" y="21431"/>
                    </a:lnTo>
                    <a:lnTo>
                      <a:pt x="159544" y="33338"/>
                    </a:lnTo>
                    <a:lnTo>
                      <a:pt x="100013" y="16669"/>
                    </a:lnTo>
                    <a:lnTo>
                      <a:pt x="38100" y="52388"/>
                    </a:lnTo>
                    <a:lnTo>
                      <a:pt x="42863" y="109538"/>
                    </a:lnTo>
                    <a:lnTo>
                      <a:pt x="0" y="180975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143" name="Freeform 8">
                <a:extLst>
                  <a:ext uri="{FF2B5EF4-FFF2-40B4-BE49-F238E27FC236}">
                    <a16:creationId xmlns:a16="http://schemas.microsoft.com/office/drawing/2014/main" id="{A964D6B6-E575-46B3-BEF4-2E12A80E6C95}"/>
                  </a:ext>
                </a:extLst>
              </p:cNvPr>
              <p:cNvSpPr/>
              <p:nvPr/>
            </p:nvSpPr>
            <p:spPr>
              <a:xfrm>
                <a:off x="4416425" y="2552700"/>
                <a:ext cx="1225550" cy="1201738"/>
              </a:xfrm>
              <a:custGeom>
                <a:avLst/>
                <a:gdLst>
                  <a:gd name="connsiteX0" fmla="*/ 0 w 1226344"/>
                  <a:gd name="connsiteY0" fmla="*/ 452438 h 1152525"/>
                  <a:gd name="connsiteX1" fmla="*/ 28575 w 1226344"/>
                  <a:gd name="connsiteY1" fmla="*/ 526257 h 1152525"/>
                  <a:gd name="connsiteX2" fmla="*/ 73819 w 1226344"/>
                  <a:gd name="connsiteY2" fmla="*/ 564357 h 1152525"/>
                  <a:gd name="connsiteX3" fmla="*/ 109537 w 1226344"/>
                  <a:gd name="connsiteY3" fmla="*/ 657225 h 1152525"/>
                  <a:gd name="connsiteX4" fmla="*/ 128587 w 1226344"/>
                  <a:gd name="connsiteY4" fmla="*/ 685800 h 1152525"/>
                  <a:gd name="connsiteX5" fmla="*/ 142875 w 1226344"/>
                  <a:gd name="connsiteY5" fmla="*/ 666750 h 1152525"/>
                  <a:gd name="connsiteX6" fmla="*/ 142875 w 1226344"/>
                  <a:gd name="connsiteY6" fmla="*/ 633413 h 1152525"/>
                  <a:gd name="connsiteX7" fmla="*/ 180975 w 1226344"/>
                  <a:gd name="connsiteY7" fmla="*/ 666750 h 1152525"/>
                  <a:gd name="connsiteX8" fmla="*/ 240506 w 1226344"/>
                  <a:gd name="connsiteY8" fmla="*/ 673894 h 1152525"/>
                  <a:gd name="connsiteX9" fmla="*/ 271462 w 1226344"/>
                  <a:gd name="connsiteY9" fmla="*/ 702469 h 1152525"/>
                  <a:gd name="connsiteX10" fmla="*/ 326231 w 1226344"/>
                  <a:gd name="connsiteY10" fmla="*/ 721519 h 1152525"/>
                  <a:gd name="connsiteX11" fmla="*/ 338137 w 1226344"/>
                  <a:gd name="connsiteY11" fmla="*/ 762000 h 1152525"/>
                  <a:gd name="connsiteX12" fmla="*/ 321469 w 1226344"/>
                  <a:gd name="connsiteY12" fmla="*/ 781050 h 1152525"/>
                  <a:gd name="connsiteX13" fmla="*/ 311944 w 1226344"/>
                  <a:gd name="connsiteY13" fmla="*/ 807244 h 1152525"/>
                  <a:gd name="connsiteX14" fmla="*/ 266700 w 1226344"/>
                  <a:gd name="connsiteY14" fmla="*/ 826294 h 1152525"/>
                  <a:gd name="connsiteX15" fmla="*/ 219075 w 1226344"/>
                  <a:gd name="connsiteY15" fmla="*/ 900113 h 1152525"/>
                  <a:gd name="connsiteX16" fmla="*/ 204787 w 1226344"/>
                  <a:gd name="connsiteY16" fmla="*/ 909638 h 1152525"/>
                  <a:gd name="connsiteX17" fmla="*/ 192881 w 1226344"/>
                  <a:gd name="connsiteY17" fmla="*/ 973932 h 1152525"/>
                  <a:gd name="connsiteX18" fmla="*/ 152400 w 1226344"/>
                  <a:gd name="connsiteY18" fmla="*/ 1042988 h 1152525"/>
                  <a:gd name="connsiteX19" fmla="*/ 157162 w 1226344"/>
                  <a:gd name="connsiteY19" fmla="*/ 1071563 h 1152525"/>
                  <a:gd name="connsiteX20" fmla="*/ 204787 w 1226344"/>
                  <a:gd name="connsiteY20" fmla="*/ 1083469 h 1152525"/>
                  <a:gd name="connsiteX21" fmla="*/ 233362 w 1226344"/>
                  <a:gd name="connsiteY21" fmla="*/ 1133475 h 1152525"/>
                  <a:gd name="connsiteX22" fmla="*/ 247650 w 1226344"/>
                  <a:gd name="connsiteY22" fmla="*/ 1133475 h 1152525"/>
                  <a:gd name="connsiteX23" fmla="*/ 266700 w 1226344"/>
                  <a:gd name="connsiteY23" fmla="*/ 1102519 h 1152525"/>
                  <a:gd name="connsiteX24" fmla="*/ 257175 w 1226344"/>
                  <a:gd name="connsiteY24" fmla="*/ 1081088 h 1152525"/>
                  <a:gd name="connsiteX25" fmla="*/ 230981 w 1226344"/>
                  <a:gd name="connsiteY25" fmla="*/ 1076325 h 1152525"/>
                  <a:gd name="connsiteX26" fmla="*/ 230981 w 1226344"/>
                  <a:gd name="connsiteY26" fmla="*/ 1052513 h 1152525"/>
                  <a:gd name="connsiteX27" fmla="*/ 228600 w 1226344"/>
                  <a:gd name="connsiteY27" fmla="*/ 1009650 h 1152525"/>
                  <a:gd name="connsiteX28" fmla="*/ 216694 w 1226344"/>
                  <a:gd name="connsiteY28" fmla="*/ 976313 h 1152525"/>
                  <a:gd name="connsiteX29" fmla="*/ 223837 w 1226344"/>
                  <a:gd name="connsiteY29" fmla="*/ 940594 h 1152525"/>
                  <a:gd name="connsiteX30" fmla="*/ 266700 w 1226344"/>
                  <a:gd name="connsiteY30" fmla="*/ 900113 h 1152525"/>
                  <a:gd name="connsiteX31" fmla="*/ 278606 w 1226344"/>
                  <a:gd name="connsiteY31" fmla="*/ 897732 h 1152525"/>
                  <a:gd name="connsiteX32" fmla="*/ 290512 w 1226344"/>
                  <a:gd name="connsiteY32" fmla="*/ 938213 h 1152525"/>
                  <a:gd name="connsiteX33" fmla="*/ 302419 w 1226344"/>
                  <a:gd name="connsiteY33" fmla="*/ 938213 h 1152525"/>
                  <a:gd name="connsiteX34" fmla="*/ 321469 w 1226344"/>
                  <a:gd name="connsiteY34" fmla="*/ 962025 h 1152525"/>
                  <a:gd name="connsiteX35" fmla="*/ 338137 w 1226344"/>
                  <a:gd name="connsiteY35" fmla="*/ 957263 h 1152525"/>
                  <a:gd name="connsiteX36" fmla="*/ 359569 w 1226344"/>
                  <a:gd name="connsiteY36" fmla="*/ 942975 h 1152525"/>
                  <a:gd name="connsiteX37" fmla="*/ 483394 w 1226344"/>
                  <a:gd name="connsiteY37" fmla="*/ 954882 h 1152525"/>
                  <a:gd name="connsiteX38" fmla="*/ 516731 w 1226344"/>
                  <a:gd name="connsiteY38" fmla="*/ 947738 h 1152525"/>
                  <a:gd name="connsiteX39" fmla="*/ 545306 w 1226344"/>
                  <a:gd name="connsiteY39" fmla="*/ 964407 h 1152525"/>
                  <a:gd name="connsiteX40" fmla="*/ 561975 w 1226344"/>
                  <a:gd name="connsiteY40" fmla="*/ 978694 h 1152525"/>
                  <a:gd name="connsiteX41" fmla="*/ 604837 w 1226344"/>
                  <a:gd name="connsiteY41" fmla="*/ 981075 h 1152525"/>
                  <a:gd name="connsiteX42" fmla="*/ 640556 w 1226344"/>
                  <a:gd name="connsiteY42" fmla="*/ 1021557 h 1152525"/>
                  <a:gd name="connsiteX43" fmla="*/ 659606 w 1226344"/>
                  <a:gd name="connsiteY43" fmla="*/ 1019175 h 1152525"/>
                  <a:gd name="connsiteX44" fmla="*/ 702469 w 1226344"/>
                  <a:gd name="connsiteY44" fmla="*/ 976313 h 1152525"/>
                  <a:gd name="connsiteX45" fmla="*/ 735806 w 1226344"/>
                  <a:gd name="connsiteY45" fmla="*/ 1000125 h 1152525"/>
                  <a:gd name="connsiteX46" fmla="*/ 752475 w 1226344"/>
                  <a:gd name="connsiteY46" fmla="*/ 1023938 h 1152525"/>
                  <a:gd name="connsiteX47" fmla="*/ 785812 w 1226344"/>
                  <a:gd name="connsiteY47" fmla="*/ 1021557 h 1152525"/>
                  <a:gd name="connsiteX48" fmla="*/ 819150 w 1226344"/>
                  <a:gd name="connsiteY48" fmla="*/ 1042988 h 1152525"/>
                  <a:gd name="connsiteX49" fmla="*/ 823912 w 1226344"/>
                  <a:gd name="connsiteY49" fmla="*/ 1064419 h 1152525"/>
                  <a:gd name="connsiteX50" fmla="*/ 842962 w 1226344"/>
                  <a:gd name="connsiteY50" fmla="*/ 1066800 h 1152525"/>
                  <a:gd name="connsiteX51" fmla="*/ 904875 w 1226344"/>
                  <a:gd name="connsiteY51" fmla="*/ 1073944 h 1152525"/>
                  <a:gd name="connsiteX52" fmla="*/ 933450 w 1226344"/>
                  <a:gd name="connsiteY52" fmla="*/ 1112044 h 1152525"/>
                  <a:gd name="connsiteX53" fmla="*/ 938212 w 1226344"/>
                  <a:gd name="connsiteY53" fmla="*/ 1140619 h 1152525"/>
                  <a:gd name="connsiteX54" fmla="*/ 940594 w 1226344"/>
                  <a:gd name="connsiteY54" fmla="*/ 1152525 h 1152525"/>
                  <a:gd name="connsiteX55" fmla="*/ 1042987 w 1226344"/>
                  <a:gd name="connsiteY55" fmla="*/ 1150144 h 1152525"/>
                  <a:gd name="connsiteX56" fmla="*/ 1071562 w 1226344"/>
                  <a:gd name="connsiteY56" fmla="*/ 1069182 h 1152525"/>
                  <a:gd name="connsiteX57" fmla="*/ 1062037 w 1226344"/>
                  <a:gd name="connsiteY57" fmla="*/ 1045369 h 1152525"/>
                  <a:gd name="connsiteX58" fmla="*/ 1059656 w 1226344"/>
                  <a:gd name="connsiteY58" fmla="*/ 1012032 h 1152525"/>
                  <a:gd name="connsiteX59" fmla="*/ 1066800 w 1226344"/>
                  <a:gd name="connsiteY59" fmla="*/ 992982 h 1152525"/>
                  <a:gd name="connsiteX60" fmla="*/ 1083469 w 1226344"/>
                  <a:gd name="connsiteY60" fmla="*/ 973932 h 1152525"/>
                  <a:gd name="connsiteX61" fmla="*/ 1107281 w 1226344"/>
                  <a:gd name="connsiteY61" fmla="*/ 964407 h 1152525"/>
                  <a:gd name="connsiteX62" fmla="*/ 1133475 w 1226344"/>
                  <a:gd name="connsiteY62" fmla="*/ 921544 h 1152525"/>
                  <a:gd name="connsiteX63" fmla="*/ 1150144 w 1226344"/>
                  <a:gd name="connsiteY63" fmla="*/ 921544 h 1152525"/>
                  <a:gd name="connsiteX64" fmla="*/ 1197769 w 1226344"/>
                  <a:gd name="connsiteY64" fmla="*/ 940594 h 1152525"/>
                  <a:gd name="connsiteX65" fmla="*/ 1226344 w 1226344"/>
                  <a:gd name="connsiteY65" fmla="*/ 904875 h 1152525"/>
                  <a:gd name="connsiteX66" fmla="*/ 1195387 w 1226344"/>
                  <a:gd name="connsiteY66" fmla="*/ 852488 h 1152525"/>
                  <a:gd name="connsiteX67" fmla="*/ 1159669 w 1226344"/>
                  <a:gd name="connsiteY67" fmla="*/ 804863 h 1152525"/>
                  <a:gd name="connsiteX68" fmla="*/ 1162050 w 1226344"/>
                  <a:gd name="connsiteY68" fmla="*/ 762000 h 1152525"/>
                  <a:gd name="connsiteX69" fmla="*/ 1216819 w 1226344"/>
                  <a:gd name="connsiteY69" fmla="*/ 702469 h 1152525"/>
                  <a:gd name="connsiteX70" fmla="*/ 1219200 w 1226344"/>
                  <a:gd name="connsiteY70" fmla="*/ 676275 h 1152525"/>
                  <a:gd name="connsiteX71" fmla="*/ 1181100 w 1226344"/>
                  <a:gd name="connsiteY71" fmla="*/ 661988 h 1152525"/>
                  <a:gd name="connsiteX72" fmla="*/ 1150144 w 1226344"/>
                  <a:gd name="connsiteY72" fmla="*/ 635794 h 1152525"/>
                  <a:gd name="connsiteX73" fmla="*/ 1133475 w 1226344"/>
                  <a:gd name="connsiteY73" fmla="*/ 602457 h 1152525"/>
                  <a:gd name="connsiteX74" fmla="*/ 1083469 w 1226344"/>
                  <a:gd name="connsiteY74" fmla="*/ 604838 h 1152525"/>
                  <a:gd name="connsiteX75" fmla="*/ 1033462 w 1226344"/>
                  <a:gd name="connsiteY75" fmla="*/ 604838 h 1152525"/>
                  <a:gd name="connsiteX76" fmla="*/ 1014412 w 1226344"/>
                  <a:gd name="connsiteY76" fmla="*/ 583407 h 1152525"/>
                  <a:gd name="connsiteX77" fmla="*/ 950119 w 1226344"/>
                  <a:gd name="connsiteY77" fmla="*/ 578644 h 1152525"/>
                  <a:gd name="connsiteX78" fmla="*/ 933450 w 1226344"/>
                  <a:gd name="connsiteY78" fmla="*/ 561975 h 1152525"/>
                  <a:gd name="connsiteX79" fmla="*/ 933450 w 1226344"/>
                  <a:gd name="connsiteY79" fmla="*/ 547688 h 1152525"/>
                  <a:gd name="connsiteX80" fmla="*/ 859631 w 1226344"/>
                  <a:gd name="connsiteY80" fmla="*/ 511969 h 1152525"/>
                  <a:gd name="connsiteX81" fmla="*/ 850106 w 1226344"/>
                  <a:gd name="connsiteY81" fmla="*/ 492919 h 1152525"/>
                  <a:gd name="connsiteX82" fmla="*/ 828675 w 1226344"/>
                  <a:gd name="connsiteY82" fmla="*/ 476250 h 1152525"/>
                  <a:gd name="connsiteX83" fmla="*/ 795337 w 1226344"/>
                  <a:gd name="connsiteY83" fmla="*/ 478632 h 1152525"/>
                  <a:gd name="connsiteX84" fmla="*/ 773906 w 1226344"/>
                  <a:gd name="connsiteY84" fmla="*/ 471488 h 1152525"/>
                  <a:gd name="connsiteX85" fmla="*/ 728662 w 1226344"/>
                  <a:gd name="connsiteY85" fmla="*/ 428625 h 1152525"/>
                  <a:gd name="connsiteX86" fmla="*/ 700087 w 1226344"/>
                  <a:gd name="connsiteY86" fmla="*/ 421482 h 1152525"/>
                  <a:gd name="connsiteX87" fmla="*/ 666750 w 1226344"/>
                  <a:gd name="connsiteY87" fmla="*/ 383382 h 1152525"/>
                  <a:gd name="connsiteX88" fmla="*/ 626269 w 1226344"/>
                  <a:gd name="connsiteY88" fmla="*/ 369094 h 1152525"/>
                  <a:gd name="connsiteX89" fmla="*/ 585787 w 1226344"/>
                  <a:gd name="connsiteY89" fmla="*/ 335757 h 1152525"/>
                  <a:gd name="connsiteX90" fmla="*/ 564356 w 1226344"/>
                  <a:gd name="connsiteY90" fmla="*/ 311944 h 1152525"/>
                  <a:gd name="connsiteX91" fmla="*/ 550069 w 1226344"/>
                  <a:gd name="connsiteY91" fmla="*/ 330994 h 1152525"/>
                  <a:gd name="connsiteX92" fmla="*/ 478631 w 1226344"/>
                  <a:gd name="connsiteY92" fmla="*/ 328613 h 1152525"/>
                  <a:gd name="connsiteX93" fmla="*/ 330994 w 1226344"/>
                  <a:gd name="connsiteY93" fmla="*/ 230982 h 1152525"/>
                  <a:gd name="connsiteX94" fmla="*/ 259556 w 1226344"/>
                  <a:gd name="connsiteY94" fmla="*/ 254794 h 1152525"/>
                  <a:gd name="connsiteX95" fmla="*/ 221456 w 1226344"/>
                  <a:gd name="connsiteY95" fmla="*/ 245269 h 1152525"/>
                  <a:gd name="connsiteX96" fmla="*/ 238125 w 1226344"/>
                  <a:gd name="connsiteY96" fmla="*/ 150019 h 1152525"/>
                  <a:gd name="connsiteX97" fmla="*/ 228600 w 1226344"/>
                  <a:gd name="connsiteY97" fmla="*/ 95250 h 1152525"/>
                  <a:gd name="connsiteX98" fmla="*/ 197644 w 1226344"/>
                  <a:gd name="connsiteY98" fmla="*/ 78582 h 1152525"/>
                  <a:gd name="connsiteX99" fmla="*/ 145256 w 1226344"/>
                  <a:gd name="connsiteY99" fmla="*/ 0 h 1152525"/>
                  <a:gd name="connsiteX100" fmla="*/ 88106 w 1226344"/>
                  <a:gd name="connsiteY100" fmla="*/ 30957 h 1152525"/>
                  <a:gd name="connsiteX101" fmla="*/ 83344 w 1226344"/>
                  <a:gd name="connsiteY101" fmla="*/ 54769 h 1152525"/>
                  <a:gd name="connsiteX102" fmla="*/ 90487 w 1226344"/>
                  <a:gd name="connsiteY102" fmla="*/ 100013 h 1152525"/>
                  <a:gd name="connsiteX103" fmla="*/ 71437 w 1226344"/>
                  <a:gd name="connsiteY103" fmla="*/ 135732 h 1152525"/>
                  <a:gd name="connsiteX104" fmla="*/ 66675 w 1226344"/>
                  <a:gd name="connsiteY104" fmla="*/ 145257 h 1152525"/>
                  <a:gd name="connsiteX105" fmla="*/ 97631 w 1226344"/>
                  <a:gd name="connsiteY105" fmla="*/ 185738 h 1152525"/>
                  <a:gd name="connsiteX106" fmla="*/ 83344 w 1226344"/>
                  <a:gd name="connsiteY106" fmla="*/ 223838 h 1152525"/>
                  <a:gd name="connsiteX107" fmla="*/ 59531 w 1226344"/>
                  <a:gd name="connsiteY107" fmla="*/ 240507 h 1152525"/>
                  <a:gd name="connsiteX108" fmla="*/ 69056 w 1226344"/>
                  <a:gd name="connsiteY108" fmla="*/ 309563 h 1152525"/>
                  <a:gd name="connsiteX109" fmla="*/ 92869 w 1226344"/>
                  <a:gd name="connsiteY109" fmla="*/ 321469 h 1152525"/>
                  <a:gd name="connsiteX110" fmla="*/ 85725 w 1226344"/>
                  <a:gd name="connsiteY110" fmla="*/ 369094 h 1152525"/>
                  <a:gd name="connsiteX111" fmla="*/ 42862 w 1226344"/>
                  <a:gd name="connsiteY111" fmla="*/ 421482 h 1152525"/>
                  <a:gd name="connsiteX112" fmla="*/ 0 w 1226344"/>
                  <a:gd name="connsiteY112" fmla="*/ 452438 h 1152525"/>
                  <a:gd name="connsiteX0" fmla="*/ 0 w 1226344"/>
                  <a:gd name="connsiteY0" fmla="*/ 452438 h 1152525"/>
                  <a:gd name="connsiteX1" fmla="*/ 28575 w 1226344"/>
                  <a:gd name="connsiteY1" fmla="*/ 526257 h 1152525"/>
                  <a:gd name="connsiteX2" fmla="*/ 73819 w 1226344"/>
                  <a:gd name="connsiteY2" fmla="*/ 564357 h 1152525"/>
                  <a:gd name="connsiteX3" fmla="*/ 109537 w 1226344"/>
                  <a:gd name="connsiteY3" fmla="*/ 657225 h 1152525"/>
                  <a:gd name="connsiteX4" fmla="*/ 128587 w 1226344"/>
                  <a:gd name="connsiteY4" fmla="*/ 685800 h 1152525"/>
                  <a:gd name="connsiteX5" fmla="*/ 142875 w 1226344"/>
                  <a:gd name="connsiteY5" fmla="*/ 666750 h 1152525"/>
                  <a:gd name="connsiteX6" fmla="*/ 142875 w 1226344"/>
                  <a:gd name="connsiteY6" fmla="*/ 633413 h 1152525"/>
                  <a:gd name="connsiteX7" fmla="*/ 180975 w 1226344"/>
                  <a:gd name="connsiteY7" fmla="*/ 666750 h 1152525"/>
                  <a:gd name="connsiteX8" fmla="*/ 240506 w 1226344"/>
                  <a:gd name="connsiteY8" fmla="*/ 673894 h 1152525"/>
                  <a:gd name="connsiteX9" fmla="*/ 271462 w 1226344"/>
                  <a:gd name="connsiteY9" fmla="*/ 702469 h 1152525"/>
                  <a:gd name="connsiteX10" fmla="*/ 326231 w 1226344"/>
                  <a:gd name="connsiteY10" fmla="*/ 721519 h 1152525"/>
                  <a:gd name="connsiteX11" fmla="*/ 338137 w 1226344"/>
                  <a:gd name="connsiteY11" fmla="*/ 762000 h 1152525"/>
                  <a:gd name="connsiteX12" fmla="*/ 321469 w 1226344"/>
                  <a:gd name="connsiteY12" fmla="*/ 781050 h 1152525"/>
                  <a:gd name="connsiteX13" fmla="*/ 311944 w 1226344"/>
                  <a:gd name="connsiteY13" fmla="*/ 807244 h 1152525"/>
                  <a:gd name="connsiteX14" fmla="*/ 266700 w 1226344"/>
                  <a:gd name="connsiteY14" fmla="*/ 826294 h 1152525"/>
                  <a:gd name="connsiteX15" fmla="*/ 219075 w 1226344"/>
                  <a:gd name="connsiteY15" fmla="*/ 900113 h 1152525"/>
                  <a:gd name="connsiteX16" fmla="*/ 204787 w 1226344"/>
                  <a:gd name="connsiteY16" fmla="*/ 909638 h 1152525"/>
                  <a:gd name="connsiteX17" fmla="*/ 192881 w 1226344"/>
                  <a:gd name="connsiteY17" fmla="*/ 973932 h 1152525"/>
                  <a:gd name="connsiteX18" fmla="*/ 152400 w 1226344"/>
                  <a:gd name="connsiteY18" fmla="*/ 1042988 h 1152525"/>
                  <a:gd name="connsiteX19" fmla="*/ 157162 w 1226344"/>
                  <a:gd name="connsiteY19" fmla="*/ 1071563 h 1152525"/>
                  <a:gd name="connsiteX20" fmla="*/ 204787 w 1226344"/>
                  <a:gd name="connsiteY20" fmla="*/ 1083469 h 1152525"/>
                  <a:gd name="connsiteX21" fmla="*/ 233362 w 1226344"/>
                  <a:gd name="connsiteY21" fmla="*/ 1133475 h 1152525"/>
                  <a:gd name="connsiteX22" fmla="*/ 247650 w 1226344"/>
                  <a:gd name="connsiteY22" fmla="*/ 1133475 h 1152525"/>
                  <a:gd name="connsiteX23" fmla="*/ 266700 w 1226344"/>
                  <a:gd name="connsiteY23" fmla="*/ 1102519 h 1152525"/>
                  <a:gd name="connsiteX24" fmla="*/ 257175 w 1226344"/>
                  <a:gd name="connsiteY24" fmla="*/ 1081088 h 1152525"/>
                  <a:gd name="connsiteX25" fmla="*/ 230981 w 1226344"/>
                  <a:gd name="connsiteY25" fmla="*/ 1076325 h 1152525"/>
                  <a:gd name="connsiteX26" fmla="*/ 230981 w 1226344"/>
                  <a:gd name="connsiteY26" fmla="*/ 1052513 h 1152525"/>
                  <a:gd name="connsiteX27" fmla="*/ 228600 w 1226344"/>
                  <a:gd name="connsiteY27" fmla="*/ 1009650 h 1152525"/>
                  <a:gd name="connsiteX28" fmla="*/ 216694 w 1226344"/>
                  <a:gd name="connsiteY28" fmla="*/ 976313 h 1152525"/>
                  <a:gd name="connsiteX29" fmla="*/ 223837 w 1226344"/>
                  <a:gd name="connsiteY29" fmla="*/ 940594 h 1152525"/>
                  <a:gd name="connsiteX30" fmla="*/ 266700 w 1226344"/>
                  <a:gd name="connsiteY30" fmla="*/ 900113 h 1152525"/>
                  <a:gd name="connsiteX31" fmla="*/ 278606 w 1226344"/>
                  <a:gd name="connsiteY31" fmla="*/ 897732 h 1152525"/>
                  <a:gd name="connsiteX32" fmla="*/ 290512 w 1226344"/>
                  <a:gd name="connsiteY32" fmla="*/ 938213 h 1152525"/>
                  <a:gd name="connsiteX33" fmla="*/ 302419 w 1226344"/>
                  <a:gd name="connsiteY33" fmla="*/ 938213 h 1152525"/>
                  <a:gd name="connsiteX34" fmla="*/ 321469 w 1226344"/>
                  <a:gd name="connsiteY34" fmla="*/ 962025 h 1152525"/>
                  <a:gd name="connsiteX35" fmla="*/ 338137 w 1226344"/>
                  <a:gd name="connsiteY35" fmla="*/ 957263 h 1152525"/>
                  <a:gd name="connsiteX36" fmla="*/ 359569 w 1226344"/>
                  <a:gd name="connsiteY36" fmla="*/ 942975 h 1152525"/>
                  <a:gd name="connsiteX37" fmla="*/ 483394 w 1226344"/>
                  <a:gd name="connsiteY37" fmla="*/ 954882 h 1152525"/>
                  <a:gd name="connsiteX38" fmla="*/ 516731 w 1226344"/>
                  <a:gd name="connsiteY38" fmla="*/ 947738 h 1152525"/>
                  <a:gd name="connsiteX39" fmla="*/ 545306 w 1226344"/>
                  <a:gd name="connsiteY39" fmla="*/ 964407 h 1152525"/>
                  <a:gd name="connsiteX40" fmla="*/ 561975 w 1226344"/>
                  <a:gd name="connsiteY40" fmla="*/ 978694 h 1152525"/>
                  <a:gd name="connsiteX41" fmla="*/ 604837 w 1226344"/>
                  <a:gd name="connsiteY41" fmla="*/ 981075 h 1152525"/>
                  <a:gd name="connsiteX42" fmla="*/ 640556 w 1226344"/>
                  <a:gd name="connsiteY42" fmla="*/ 1021557 h 1152525"/>
                  <a:gd name="connsiteX43" fmla="*/ 659606 w 1226344"/>
                  <a:gd name="connsiteY43" fmla="*/ 1019175 h 1152525"/>
                  <a:gd name="connsiteX44" fmla="*/ 702469 w 1226344"/>
                  <a:gd name="connsiteY44" fmla="*/ 976313 h 1152525"/>
                  <a:gd name="connsiteX45" fmla="*/ 735806 w 1226344"/>
                  <a:gd name="connsiteY45" fmla="*/ 1000125 h 1152525"/>
                  <a:gd name="connsiteX46" fmla="*/ 752475 w 1226344"/>
                  <a:gd name="connsiteY46" fmla="*/ 1023938 h 1152525"/>
                  <a:gd name="connsiteX47" fmla="*/ 785812 w 1226344"/>
                  <a:gd name="connsiteY47" fmla="*/ 1021557 h 1152525"/>
                  <a:gd name="connsiteX48" fmla="*/ 819150 w 1226344"/>
                  <a:gd name="connsiteY48" fmla="*/ 1042988 h 1152525"/>
                  <a:gd name="connsiteX49" fmla="*/ 823912 w 1226344"/>
                  <a:gd name="connsiteY49" fmla="*/ 1064419 h 1152525"/>
                  <a:gd name="connsiteX50" fmla="*/ 842962 w 1226344"/>
                  <a:gd name="connsiteY50" fmla="*/ 1066800 h 1152525"/>
                  <a:gd name="connsiteX51" fmla="*/ 904875 w 1226344"/>
                  <a:gd name="connsiteY51" fmla="*/ 1073944 h 1152525"/>
                  <a:gd name="connsiteX52" fmla="*/ 933450 w 1226344"/>
                  <a:gd name="connsiteY52" fmla="*/ 1112044 h 1152525"/>
                  <a:gd name="connsiteX53" fmla="*/ 938212 w 1226344"/>
                  <a:gd name="connsiteY53" fmla="*/ 1140619 h 1152525"/>
                  <a:gd name="connsiteX54" fmla="*/ 940594 w 1226344"/>
                  <a:gd name="connsiteY54" fmla="*/ 1152525 h 1152525"/>
                  <a:gd name="connsiteX55" fmla="*/ 990600 w 1226344"/>
                  <a:gd name="connsiteY55" fmla="*/ 1150144 h 1152525"/>
                  <a:gd name="connsiteX56" fmla="*/ 1042987 w 1226344"/>
                  <a:gd name="connsiteY56" fmla="*/ 1150144 h 1152525"/>
                  <a:gd name="connsiteX57" fmla="*/ 1071562 w 1226344"/>
                  <a:gd name="connsiteY57" fmla="*/ 1069182 h 1152525"/>
                  <a:gd name="connsiteX58" fmla="*/ 1062037 w 1226344"/>
                  <a:gd name="connsiteY58" fmla="*/ 1045369 h 1152525"/>
                  <a:gd name="connsiteX59" fmla="*/ 1059656 w 1226344"/>
                  <a:gd name="connsiteY59" fmla="*/ 1012032 h 1152525"/>
                  <a:gd name="connsiteX60" fmla="*/ 1066800 w 1226344"/>
                  <a:gd name="connsiteY60" fmla="*/ 992982 h 1152525"/>
                  <a:gd name="connsiteX61" fmla="*/ 1083469 w 1226344"/>
                  <a:gd name="connsiteY61" fmla="*/ 973932 h 1152525"/>
                  <a:gd name="connsiteX62" fmla="*/ 1107281 w 1226344"/>
                  <a:gd name="connsiteY62" fmla="*/ 964407 h 1152525"/>
                  <a:gd name="connsiteX63" fmla="*/ 1133475 w 1226344"/>
                  <a:gd name="connsiteY63" fmla="*/ 921544 h 1152525"/>
                  <a:gd name="connsiteX64" fmla="*/ 1150144 w 1226344"/>
                  <a:gd name="connsiteY64" fmla="*/ 921544 h 1152525"/>
                  <a:gd name="connsiteX65" fmla="*/ 1197769 w 1226344"/>
                  <a:gd name="connsiteY65" fmla="*/ 940594 h 1152525"/>
                  <a:gd name="connsiteX66" fmla="*/ 1226344 w 1226344"/>
                  <a:gd name="connsiteY66" fmla="*/ 904875 h 1152525"/>
                  <a:gd name="connsiteX67" fmla="*/ 1195387 w 1226344"/>
                  <a:gd name="connsiteY67" fmla="*/ 852488 h 1152525"/>
                  <a:gd name="connsiteX68" fmla="*/ 1159669 w 1226344"/>
                  <a:gd name="connsiteY68" fmla="*/ 804863 h 1152525"/>
                  <a:gd name="connsiteX69" fmla="*/ 1162050 w 1226344"/>
                  <a:gd name="connsiteY69" fmla="*/ 762000 h 1152525"/>
                  <a:gd name="connsiteX70" fmla="*/ 1216819 w 1226344"/>
                  <a:gd name="connsiteY70" fmla="*/ 702469 h 1152525"/>
                  <a:gd name="connsiteX71" fmla="*/ 1219200 w 1226344"/>
                  <a:gd name="connsiteY71" fmla="*/ 676275 h 1152525"/>
                  <a:gd name="connsiteX72" fmla="*/ 1181100 w 1226344"/>
                  <a:gd name="connsiteY72" fmla="*/ 661988 h 1152525"/>
                  <a:gd name="connsiteX73" fmla="*/ 1150144 w 1226344"/>
                  <a:gd name="connsiteY73" fmla="*/ 635794 h 1152525"/>
                  <a:gd name="connsiteX74" fmla="*/ 1133475 w 1226344"/>
                  <a:gd name="connsiteY74" fmla="*/ 602457 h 1152525"/>
                  <a:gd name="connsiteX75" fmla="*/ 1083469 w 1226344"/>
                  <a:gd name="connsiteY75" fmla="*/ 604838 h 1152525"/>
                  <a:gd name="connsiteX76" fmla="*/ 1033462 w 1226344"/>
                  <a:gd name="connsiteY76" fmla="*/ 604838 h 1152525"/>
                  <a:gd name="connsiteX77" fmla="*/ 1014412 w 1226344"/>
                  <a:gd name="connsiteY77" fmla="*/ 583407 h 1152525"/>
                  <a:gd name="connsiteX78" fmla="*/ 950119 w 1226344"/>
                  <a:gd name="connsiteY78" fmla="*/ 578644 h 1152525"/>
                  <a:gd name="connsiteX79" fmla="*/ 933450 w 1226344"/>
                  <a:gd name="connsiteY79" fmla="*/ 561975 h 1152525"/>
                  <a:gd name="connsiteX80" fmla="*/ 933450 w 1226344"/>
                  <a:gd name="connsiteY80" fmla="*/ 547688 h 1152525"/>
                  <a:gd name="connsiteX81" fmla="*/ 859631 w 1226344"/>
                  <a:gd name="connsiteY81" fmla="*/ 511969 h 1152525"/>
                  <a:gd name="connsiteX82" fmla="*/ 850106 w 1226344"/>
                  <a:gd name="connsiteY82" fmla="*/ 492919 h 1152525"/>
                  <a:gd name="connsiteX83" fmla="*/ 828675 w 1226344"/>
                  <a:gd name="connsiteY83" fmla="*/ 476250 h 1152525"/>
                  <a:gd name="connsiteX84" fmla="*/ 795337 w 1226344"/>
                  <a:gd name="connsiteY84" fmla="*/ 478632 h 1152525"/>
                  <a:gd name="connsiteX85" fmla="*/ 773906 w 1226344"/>
                  <a:gd name="connsiteY85" fmla="*/ 471488 h 1152525"/>
                  <a:gd name="connsiteX86" fmla="*/ 728662 w 1226344"/>
                  <a:gd name="connsiteY86" fmla="*/ 428625 h 1152525"/>
                  <a:gd name="connsiteX87" fmla="*/ 700087 w 1226344"/>
                  <a:gd name="connsiteY87" fmla="*/ 421482 h 1152525"/>
                  <a:gd name="connsiteX88" fmla="*/ 666750 w 1226344"/>
                  <a:gd name="connsiteY88" fmla="*/ 383382 h 1152525"/>
                  <a:gd name="connsiteX89" fmla="*/ 626269 w 1226344"/>
                  <a:gd name="connsiteY89" fmla="*/ 369094 h 1152525"/>
                  <a:gd name="connsiteX90" fmla="*/ 585787 w 1226344"/>
                  <a:gd name="connsiteY90" fmla="*/ 335757 h 1152525"/>
                  <a:gd name="connsiteX91" fmla="*/ 564356 w 1226344"/>
                  <a:gd name="connsiteY91" fmla="*/ 311944 h 1152525"/>
                  <a:gd name="connsiteX92" fmla="*/ 550069 w 1226344"/>
                  <a:gd name="connsiteY92" fmla="*/ 330994 h 1152525"/>
                  <a:gd name="connsiteX93" fmla="*/ 478631 w 1226344"/>
                  <a:gd name="connsiteY93" fmla="*/ 328613 h 1152525"/>
                  <a:gd name="connsiteX94" fmla="*/ 330994 w 1226344"/>
                  <a:gd name="connsiteY94" fmla="*/ 230982 h 1152525"/>
                  <a:gd name="connsiteX95" fmla="*/ 259556 w 1226344"/>
                  <a:gd name="connsiteY95" fmla="*/ 254794 h 1152525"/>
                  <a:gd name="connsiteX96" fmla="*/ 221456 w 1226344"/>
                  <a:gd name="connsiteY96" fmla="*/ 245269 h 1152525"/>
                  <a:gd name="connsiteX97" fmla="*/ 238125 w 1226344"/>
                  <a:gd name="connsiteY97" fmla="*/ 150019 h 1152525"/>
                  <a:gd name="connsiteX98" fmla="*/ 228600 w 1226344"/>
                  <a:gd name="connsiteY98" fmla="*/ 95250 h 1152525"/>
                  <a:gd name="connsiteX99" fmla="*/ 197644 w 1226344"/>
                  <a:gd name="connsiteY99" fmla="*/ 78582 h 1152525"/>
                  <a:gd name="connsiteX100" fmla="*/ 145256 w 1226344"/>
                  <a:gd name="connsiteY100" fmla="*/ 0 h 1152525"/>
                  <a:gd name="connsiteX101" fmla="*/ 88106 w 1226344"/>
                  <a:gd name="connsiteY101" fmla="*/ 30957 h 1152525"/>
                  <a:gd name="connsiteX102" fmla="*/ 83344 w 1226344"/>
                  <a:gd name="connsiteY102" fmla="*/ 54769 h 1152525"/>
                  <a:gd name="connsiteX103" fmla="*/ 90487 w 1226344"/>
                  <a:gd name="connsiteY103" fmla="*/ 100013 h 1152525"/>
                  <a:gd name="connsiteX104" fmla="*/ 71437 w 1226344"/>
                  <a:gd name="connsiteY104" fmla="*/ 135732 h 1152525"/>
                  <a:gd name="connsiteX105" fmla="*/ 66675 w 1226344"/>
                  <a:gd name="connsiteY105" fmla="*/ 145257 h 1152525"/>
                  <a:gd name="connsiteX106" fmla="*/ 97631 w 1226344"/>
                  <a:gd name="connsiteY106" fmla="*/ 185738 h 1152525"/>
                  <a:gd name="connsiteX107" fmla="*/ 83344 w 1226344"/>
                  <a:gd name="connsiteY107" fmla="*/ 223838 h 1152525"/>
                  <a:gd name="connsiteX108" fmla="*/ 59531 w 1226344"/>
                  <a:gd name="connsiteY108" fmla="*/ 240507 h 1152525"/>
                  <a:gd name="connsiteX109" fmla="*/ 69056 w 1226344"/>
                  <a:gd name="connsiteY109" fmla="*/ 309563 h 1152525"/>
                  <a:gd name="connsiteX110" fmla="*/ 92869 w 1226344"/>
                  <a:gd name="connsiteY110" fmla="*/ 321469 h 1152525"/>
                  <a:gd name="connsiteX111" fmla="*/ 85725 w 1226344"/>
                  <a:gd name="connsiteY111" fmla="*/ 369094 h 1152525"/>
                  <a:gd name="connsiteX112" fmla="*/ 42862 w 1226344"/>
                  <a:gd name="connsiteY112" fmla="*/ 421482 h 1152525"/>
                  <a:gd name="connsiteX113" fmla="*/ 0 w 1226344"/>
                  <a:gd name="connsiteY113" fmla="*/ 452438 h 1152525"/>
                  <a:gd name="connsiteX0" fmla="*/ 0 w 1226344"/>
                  <a:gd name="connsiteY0" fmla="*/ 452438 h 1200150"/>
                  <a:gd name="connsiteX1" fmla="*/ 28575 w 1226344"/>
                  <a:gd name="connsiteY1" fmla="*/ 526257 h 1200150"/>
                  <a:gd name="connsiteX2" fmla="*/ 73819 w 1226344"/>
                  <a:gd name="connsiteY2" fmla="*/ 564357 h 1200150"/>
                  <a:gd name="connsiteX3" fmla="*/ 109537 w 1226344"/>
                  <a:gd name="connsiteY3" fmla="*/ 657225 h 1200150"/>
                  <a:gd name="connsiteX4" fmla="*/ 128587 w 1226344"/>
                  <a:gd name="connsiteY4" fmla="*/ 685800 h 1200150"/>
                  <a:gd name="connsiteX5" fmla="*/ 142875 w 1226344"/>
                  <a:gd name="connsiteY5" fmla="*/ 666750 h 1200150"/>
                  <a:gd name="connsiteX6" fmla="*/ 142875 w 1226344"/>
                  <a:gd name="connsiteY6" fmla="*/ 633413 h 1200150"/>
                  <a:gd name="connsiteX7" fmla="*/ 180975 w 1226344"/>
                  <a:gd name="connsiteY7" fmla="*/ 666750 h 1200150"/>
                  <a:gd name="connsiteX8" fmla="*/ 240506 w 1226344"/>
                  <a:gd name="connsiteY8" fmla="*/ 673894 h 1200150"/>
                  <a:gd name="connsiteX9" fmla="*/ 271462 w 1226344"/>
                  <a:gd name="connsiteY9" fmla="*/ 702469 h 1200150"/>
                  <a:gd name="connsiteX10" fmla="*/ 326231 w 1226344"/>
                  <a:gd name="connsiteY10" fmla="*/ 721519 h 1200150"/>
                  <a:gd name="connsiteX11" fmla="*/ 338137 w 1226344"/>
                  <a:gd name="connsiteY11" fmla="*/ 762000 h 1200150"/>
                  <a:gd name="connsiteX12" fmla="*/ 321469 w 1226344"/>
                  <a:gd name="connsiteY12" fmla="*/ 781050 h 1200150"/>
                  <a:gd name="connsiteX13" fmla="*/ 311944 w 1226344"/>
                  <a:gd name="connsiteY13" fmla="*/ 807244 h 1200150"/>
                  <a:gd name="connsiteX14" fmla="*/ 266700 w 1226344"/>
                  <a:gd name="connsiteY14" fmla="*/ 826294 h 1200150"/>
                  <a:gd name="connsiteX15" fmla="*/ 219075 w 1226344"/>
                  <a:gd name="connsiteY15" fmla="*/ 900113 h 1200150"/>
                  <a:gd name="connsiteX16" fmla="*/ 204787 w 1226344"/>
                  <a:gd name="connsiteY16" fmla="*/ 909638 h 1200150"/>
                  <a:gd name="connsiteX17" fmla="*/ 192881 w 1226344"/>
                  <a:gd name="connsiteY17" fmla="*/ 973932 h 1200150"/>
                  <a:gd name="connsiteX18" fmla="*/ 152400 w 1226344"/>
                  <a:gd name="connsiteY18" fmla="*/ 1042988 h 1200150"/>
                  <a:gd name="connsiteX19" fmla="*/ 157162 w 1226344"/>
                  <a:gd name="connsiteY19" fmla="*/ 1071563 h 1200150"/>
                  <a:gd name="connsiteX20" fmla="*/ 204787 w 1226344"/>
                  <a:gd name="connsiteY20" fmla="*/ 1083469 h 1200150"/>
                  <a:gd name="connsiteX21" fmla="*/ 233362 w 1226344"/>
                  <a:gd name="connsiteY21" fmla="*/ 1133475 h 1200150"/>
                  <a:gd name="connsiteX22" fmla="*/ 247650 w 1226344"/>
                  <a:gd name="connsiteY22" fmla="*/ 1133475 h 1200150"/>
                  <a:gd name="connsiteX23" fmla="*/ 266700 w 1226344"/>
                  <a:gd name="connsiteY23" fmla="*/ 1102519 h 1200150"/>
                  <a:gd name="connsiteX24" fmla="*/ 257175 w 1226344"/>
                  <a:gd name="connsiteY24" fmla="*/ 1081088 h 1200150"/>
                  <a:gd name="connsiteX25" fmla="*/ 230981 w 1226344"/>
                  <a:gd name="connsiteY25" fmla="*/ 1076325 h 1200150"/>
                  <a:gd name="connsiteX26" fmla="*/ 230981 w 1226344"/>
                  <a:gd name="connsiteY26" fmla="*/ 1052513 h 1200150"/>
                  <a:gd name="connsiteX27" fmla="*/ 228600 w 1226344"/>
                  <a:gd name="connsiteY27" fmla="*/ 1009650 h 1200150"/>
                  <a:gd name="connsiteX28" fmla="*/ 216694 w 1226344"/>
                  <a:gd name="connsiteY28" fmla="*/ 976313 h 1200150"/>
                  <a:gd name="connsiteX29" fmla="*/ 223837 w 1226344"/>
                  <a:gd name="connsiteY29" fmla="*/ 940594 h 1200150"/>
                  <a:gd name="connsiteX30" fmla="*/ 266700 w 1226344"/>
                  <a:gd name="connsiteY30" fmla="*/ 900113 h 1200150"/>
                  <a:gd name="connsiteX31" fmla="*/ 278606 w 1226344"/>
                  <a:gd name="connsiteY31" fmla="*/ 897732 h 1200150"/>
                  <a:gd name="connsiteX32" fmla="*/ 290512 w 1226344"/>
                  <a:gd name="connsiteY32" fmla="*/ 938213 h 1200150"/>
                  <a:gd name="connsiteX33" fmla="*/ 302419 w 1226344"/>
                  <a:gd name="connsiteY33" fmla="*/ 938213 h 1200150"/>
                  <a:gd name="connsiteX34" fmla="*/ 321469 w 1226344"/>
                  <a:gd name="connsiteY34" fmla="*/ 962025 h 1200150"/>
                  <a:gd name="connsiteX35" fmla="*/ 338137 w 1226344"/>
                  <a:gd name="connsiteY35" fmla="*/ 957263 h 1200150"/>
                  <a:gd name="connsiteX36" fmla="*/ 359569 w 1226344"/>
                  <a:gd name="connsiteY36" fmla="*/ 942975 h 1200150"/>
                  <a:gd name="connsiteX37" fmla="*/ 483394 w 1226344"/>
                  <a:gd name="connsiteY37" fmla="*/ 954882 h 1200150"/>
                  <a:gd name="connsiteX38" fmla="*/ 516731 w 1226344"/>
                  <a:gd name="connsiteY38" fmla="*/ 947738 h 1200150"/>
                  <a:gd name="connsiteX39" fmla="*/ 545306 w 1226344"/>
                  <a:gd name="connsiteY39" fmla="*/ 964407 h 1200150"/>
                  <a:gd name="connsiteX40" fmla="*/ 561975 w 1226344"/>
                  <a:gd name="connsiteY40" fmla="*/ 978694 h 1200150"/>
                  <a:gd name="connsiteX41" fmla="*/ 604837 w 1226344"/>
                  <a:gd name="connsiteY41" fmla="*/ 981075 h 1200150"/>
                  <a:gd name="connsiteX42" fmla="*/ 640556 w 1226344"/>
                  <a:gd name="connsiteY42" fmla="*/ 1021557 h 1200150"/>
                  <a:gd name="connsiteX43" fmla="*/ 659606 w 1226344"/>
                  <a:gd name="connsiteY43" fmla="*/ 1019175 h 1200150"/>
                  <a:gd name="connsiteX44" fmla="*/ 702469 w 1226344"/>
                  <a:gd name="connsiteY44" fmla="*/ 976313 h 1200150"/>
                  <a:gd name="connsiteX45" fmla="*/ 735806 w 1226344"/>
                  <a:gd name="connsiteY45" fmla="*/ 1000125 h 1200150"/>
                  <a:gd name="connsiteX46" fmla="*/ 752475 w 1226344"/>
                  <a:gd name="connsiteY46" fmla="*/ 1023938 h 1200150"/>
                  <a:gd name="connsiteX47" fmla="*/ 785812 w 1226344"/>
                  <a:gd name="connsiteY47" fmla="*/ 1021557 h 1200150"/>
                  <a:gd name="connsiteX48" fmla="*/ 819150 w 1226344"/>
                  <a:gd name="connsiteY48" fmla="*/ 1042988 h 1200150"/>
                  <a:gd name="connsiteX49" fmla="*/ 823912 w 1226344"/>
                  <a:gd name="connsiteY49" fmla="*/ 1064419 h 1200150"/>
                  <a:gd name="connsiteX50" fmla="*/ 842962 w 1226344"/>
                  <a:gd name="connsiteY50" fmla="*/ 1066800 h 1200150"/>
                  <a:gd name="connsiteX51" fmla="*/ 904875 w 1226344"/>
                  <a:gd name="connsiteY51" fmla="*/ 1073944 h 1200150"/>
                  <a:gd name="connsiteX52" fmla="*/ 933450 w 1226344"/>
                  <a:gd name="connsiteY52" fmla="*/ 1112044 h 1200150"/>
                  <a:gd name="connsiteX53" fmla="*/ 938212 w 1226344"/>
                  <a:gd name="connsiteY53" fmla="*/ 1140619 h 1200150"/>
                  <a:gd name="connsiteX54" fmla="*/ 940594 w 1226344"/>
                  <a:gd name="connsiteY54" fmla="*/ 1152525 h 1200150"/>
                  <a:gd name="connsiteX55" fmla="*/ 954882 w 1226344"/>
                  <a:gd name="connsiteY55" fmla="*/ 1200150 h 1200150"/>
                  <a:gd name="connsiteX56" fmla="*/ 1042987 w 1226344"/>
                  <a:gd name="connsiteY56" fmla="*/ 1150144 h 1200150"/>
                  <a:gd name="connsiteX57" fmla="*/ 1071562 w 1226344"/>
                  <a:gd name="connsiteY57" fmla="*/ 1069182 h 1200150"/>
                  <a:gd name="connsiteX58" fmla="*/ 1062037 w 1226344"/>
                  <a:gd name="connsiteY58" fmla="*/ 1045369 h 1200150"/>
                  <a:gd name="connsiteX59" fmla="*/ 1059656 w 1226344"/>
                  <a:gd name="connsiteY59" fmla="*/ 1012032 h 1200150"/>
                  <a:gd name="connsiteX60" fmla="*/ 1066800 w 1226344"/>
                  <a:gd name="connsiteY60" fmla="*/ 992982 h 1200150"/>
                  <a:gd name="connsiteX61" fmla="*/ 1083469 w 1226344"/>
                  <a:gd name="connsiteY61" fmla="*/ 973932 h 1200150"/>
                  <a:gd name="connsiteX62" fmla="*/ 1107281 w 1226344"/>
                  <a:gd name="connsiteY62" fmla="*/ 964407 h 1200150"/>
                  <a:gd name="connsiteX63" fmla="*/ 1133475 w 1226344"/>
                  <a:gd name="connsiteY63" fmla="*/ 921544 h 1200150"/>
                  <a:gd name="connsiteX64" fmla="*/ 1150144 w 1226344"/>
                  <a:gd name="connsiteY64" fmla="*/ 921544 h 1200150"/>
                  <a:gd name="connsiteX65" fmla="*/ 1197769 w 1226344"/>
                  <a:gd name="connsiteY65" fmla="*/ 940594 h 1200150"/>
                  <a:gd name="connsiteX66" fmla="*/ 1226344 w 1226344"/>
                  <a:gd name="connsiteY66" fmla="*/ 904875 h 1200150"/>
                  <a:gd name="connsiteX67" fmla="*/ 1195387 w 1226344"/>
                  <a:gd name="connsiteY67" fmla="*/ 852488 h 1200150"/>
                  <a:gd name="connsiteX68" fmla="*/ 1159669 w 1226344"/>
                  <a:gd name="connsiteY68" fmla="*/ 804863 h 1200150"/>
                  <a:gd name="connsiteX69" fmla="*/ 1162050 w 1226344"/>
                  <a:gd name="connsiteY69" fmla="*/ 762000 h 1200150"/>
                  <a:gd name="connsiteX70" fmla="*/ 1216819 w 1226344"/>
                  <a:gd name="connsiteY70" fmla="*/ 702469 h 1200150"/>
                  <a:gd name="connsiteX71" fmla="*/ 1219200 w 1226344"/>
                  <a:gd name="connsiteY71" fmla="*/ 676275 h 1200150"/>
                  <a:gd name="connsiteX72" fmla="*/ 1181100 w 1226344"/>
                  <a:gd name="connsiteY72" fmla="*/ 661988 h 1200150"/>
                  <a:gd name="connsiteX73" fmla="*/ 1150144 w 1226344"/>
                  <a:gd name="connsiteY73" fmla="*/ 635794 h 1200150"/>
                  <a:gd name="connsiteX74" fmla="*/ 1133475 w 1226344"/>
                  <a:gd name="connsiteY74" fmla="*/ 602457 h 1200150"/>
                  <a:gd name="connsiteX75" fmla="*/ 1083469 w 1226344"/>
                  <a:gd name="connsiteY75" fmla="*/ 604838 h 1200150"/>
                  <a:gd name="connsiteX76" fmla="*/ 1033462 w 1226344"/>
                  <a:gd name="connsiteY76" fmla="*/ 604838 h 1200150"/>
                  <a:gd name="connsiteX77" fmla="*/ 1014412 w 1226344"/>
                  <a:gd name="connsiteY77" fmla="*/ 583407 h 1200150"/>
                  <a:gd name="connsiteX78" fmla="*/ 950119 w 1226344"/>
                  <a:gd name="connsiteY78" fmla="*/ 578644 h 1200150"/>
                  <a:gd name="connsiteX79" fmla="*/ 933450 w 1226344"/>
                  <a:gd name="connsiteY79" fmla="*/ 561975 h 1200150"/>
                  <a:gd name="connsiteX80" fmla="*/ 933450 w 1226344"/>
                  <a:gd name="connsiteY80" fmla="*/ 547688 h 1200150"/>
                  <a:gd name="connsiteX81" fmla="*/ 859631 w 1226344"/>
                  <a:gd name="connsiteY81" fmla="*/ 511969 h 1200150"/>
                  <a:gd name="connsiteX82" fmla="*/ 850106 w 1226344"/>
                  <a:gd name="connsiteY82" fmla="*/ 492919 h 1200150"/>
                  <a:gd name="connsiteX83" fmla="*/ 828675 w 1226344"/>
                  <a:gd name="connsiteY83" fmla="*/ 476250 h 1200150"/>
                  <a:gd name="connsiteX84" fmla="*/ 795337 w 1226344"/>
                  <a:gd name="connsiteY84" fmla="*/ 478632 h 1200150"/>
                  <a:gd name="connsiteX85" fmla="*/ 773906 w 1226344"/>
                  <a:gd name="connsiteY85" fmla="*/ 471488 h 1200150"/>
                  <a:gd name="connsiteX86" fmla="*/ 728662 w 1226344"/>
                  <a:gd name="connsiteY86" fmla="*/ 428625 h 1200150"/>
                  <a:gd name="connsiteX87" fmla="*/ 700087 w 1226344"/>
                  <a:gd name="connsiteY87" fmla="*/ 421482 h 1200150"/>
                  <a:gd name="connsiteX88" fmla="*/ 666750 w 1226344"/>
                  <a:gd name="connsiteY88" fmla="*/ 383382 h 1200150"/>
                  <a:gd name="connsiteX89" fmla="*/ 626269 w 1226344"/>
                  <a:gd name="connsiteY89" fmla="*/ 369094 h 1200150"/>
                  <a:gd name="connsiteX90" fmla="*/ 585787 w 1226344"/>
                  <a:gd name="connsiteY90" fmla="*/ 335757 h 1200150"/>
                  <a:gd name="connsiteX91" fmla="*/ 564356 w 1226344"/>
                  <a:gd name="connsiteY91" fmla="*/ 311944 h 1200150"/>
                  <a:gd name="connsiteX92" fmla="*/ 550069 w 1226344"/>
                  <a:gd name="connsiteY92" fmla="*/ 330994 h 1200150"/>
                  <a:gd name="connsiteX93" fmla="*/ 478631 w 1226344"/>
                  <a:gd name="connsiteY93" fmla="*/ 328613 h 1200150"/>
                  <a:gd name="connsiteX94" fmla="*/ 330994 w 1226344"/>
                  <a:gd name="connsiteY94" fmla="*/ 230982 h 1200150"/>
                  <a:gd name="connsiteX95" fmla="*/ 259556 w 1226344"/>
                  <a:gd name="connsiteY95" fmla="*/ 254794 h 1200150"/>
                  <a:gd name="connsiteX96" fmla="*/ 221456 w 1226344"/>
                  <a:gd name="connsiteY96" fmla="*/ 245269 h 1200150"/>
                  <a:gd name="connsiteX97" fmla="*/ 238125 w 1226344"/>
                  <a:gd name="connsiteY97" fmla="*/ 150019 h 1200150"/>
                  <a:gd name="connsiteX98" fmla="*/ 228600 w 1226344"/>
                  <a:gd name="connsiteY98" fmla="*/ 95250 h 1200150"/>
                  <a:gd name="connsiteX99" fmla="*/ 197644 w 1226344"/>
                  <a:gd name="connsiteY99" fmla="*/ 78582 h 1200150"/>
                  <a:gd name="connsiteX100" fmla="*/ 145256 w 1226344"/>
                  <a:gd name="connsiteY100" fmla="*/ 0 h 1200150"/>
                  <a:gd name="connsiteX101" fmla="*/ 88106 w 1226344"/>
                  <a:gd name="connsiteY101" fmla="*/ 30957 h 1200150"/>
                  <a:gd name="connsiteX102" fmla="*/ 83344 w 1226344"/>
                  <a:gd name="connsiteY102" fmla="*/ 54769 h 1200150"/>
                  <a:gd name="connsiteX103" fmla="*/ 90487 w 1226344"/>
                  <a:gd name="connsiteY103" fmla="*/ 100013 h 1200150"/>
                  <a:gd name="connsiteX104" fmla="*/ 71437 w 1226344"/>
                  <a:gd name="connsiteY104" fmla="*/ 135732 h 1200150"/>
                  <a:gd name="connsiteX105" fmla="*/ 66675 w 1226344"/>
                  <a:gd name="connsiteY105" fmla="*/ 145257 h 1200150"/>
                  <a:gd name="connsiteX106" fmla="*/ 97631 w 1226344"/>
                  <a:gd name="connsiteY106" fmla="*/ 185738 h 1200150"/>
                  <a:gd name="connsiteX107" fmla="*/ 83344 w 1226344"/>
                  <a:gd name="connsiteY107" fmla="*/ 223838 h 1200150"/>
                  <a:gd name="connsiteX108" fmla="*/ 59531 w 1226344"/>
                  <a:gd name="connsiteY108" fmla="*/ 240507 h 1200150"/>
                  <a:gd name="connsiteX109" fmla="*/ 69056 w 1226344"/>
                  <a:gd name="connsiteY109" fmla="*/ 309563 h 1200150"/>
                  <a:gd name="connsiteX110" fmla="*/ 92869 w 1226344"/>
                  <a:gd name="connsiteY110" fmla="*/ 321469 h 1200150"/>
                  <a:gd name="connsiteX111" fmla="*/ 85725 w 1226344"/>
                  <a:gd name="connsiteY111" fmla="*/ 369094 h 1200150"/>
                  <a:gd name="connsiteX112" fmla="*/ 42862 w 1226344"/>
                  <a:gd name="connsiteY112" fmla="*/ 421482 h 1200150"/>
                  <a:gd name="connsiteX113" fmla="*/ 0 w 1226344"/>
                  <a:gd name="connsiteY113" fmla="*/ 452438 h 1200150"/>
                  <a:gd name="connsiteX0" fmla="*/ 0 w 1226344"/>
                  <a:gd name="connsiteY0" fmla="*/ 452438 h 1200150"/>
                  <a:gd name="connsiteX1" fmla="*/ 28575 w 1226344"/>
                  <a:gd name="connsiteY1" fmla="*/ 526257 h 1200150"/>
                  <a:gd name="connsiteX2" fmla="*/ 73819 w 1226344"/>
                  <a:gd name="connsiteY2" fmla="*/ 564357 h 1200150"/>
                  <a:gd name="connsiteX3" fmla="*/ 109537 w 1226344"/>
                  <a:gd name="connsiteY3" fmla="*/ 657225 h 1200150"/>
                  <a:gd name="connsiteX4" fmla="*/ 128587 w 1226344"/>
                  <a:gd name="connsiteY4" fmla="*/ 685800 h 1200150"/>
                  <a:gd name="connsiteX5" fmla="*/ 142875 w 1226344"/>
                  <a:gd name="connsiteY5" fmla="*/ 666750 h 1200150"/>
                  <a:gd name="connsiteX6" fmla="*/ 142875 w 1226344"/>
                  <a:gd name="connsiteY6" fmla="*/ 633413 h 1200150"/>
                  <a:gd name="connsiteX7" fmla="*/ 180975 w 1226344"/>
                  <a:gd name="connsiteY7" fmla="*/ 666750 h 1200150"/>
                  <a:gd name="connsiteX8" fmla="*/ 240506 w 1226344"/>
                  <a:gd name="connsiteY8" fmla="*/ 673894 h 1200150"/>
                  <a:gd name="connsiteX9" fmla="*/ 271462 w 1226344"/>
                  <a:gd name="connsiteY9" fmla="*/ 702469 h 1200150"/>
                  <a:gd name="connsiteX10" fmla="*/ 326231 w 1226344"/>
                  <a:gd name="connsiteY10" fmla="*/ 721519 h 1200150"/>
                  <a:gd name="connsiteX11" fmla="*/ 338137 w 1226344"/>
                  <a:gd name="connsiteY11" fmla="*/ 762000 h 1200150"/>
                  <a:gd name="connsiteX12" fmla="*/ 321469 w 1226344"/>
                  <a:gd name="connsiteY12" fmla="*/ 781050 h 1200150"/>
                  <a:gd name="connsiteX13" fmla="*/ 311944 w 1226344"/>
                  <a:gd name="connsiteY13" fmla="*/ 807244 h 1200150"/>
                  <a:gd name="connsiteX14" fmla="*/ 266700 w 1226344"/>
                  <a:gd name="connsiteY14" fmla="*/ 826294 h 1200150"/>
                  <a:gd name="connsiteX15" fmla="*/ 219075 w 1226344"/>
                  <a:gd name="connsiteY15" fmla="*/ 900113 h 1200150"/>
                  <a:gd name="connsiteX16" fmla="*/ 204787 w 1226344"/>
                  <a:gd name="connsiteY16" fmla="*/ 909638 h 1200150"/>
                  <a:gd name="connsiteX17" fmla="*/ 192881 w 1226344"/>
                  <a:gd name="connsiteY17" fmla="*/ 973932 h 1200150"/>
                  <a:gd name="connsiteX18" fmla="*/ 152400 w 1226344"/>
                  <a:gd name="connsiteY18" fmla="*/ 1042988 h 1200150"/>
                  <a:gd name="connsiteX19" fmla="*/ 157162 w 1226344"/>
                  <a:gd name="connsiteY19" fmla="*/ 1071563 h 1200150"/>
                  <a:gd name="connsiteX20" fmla="*/ 204787 w 1226344"/>
                  <a:gd name="connsiteY20" fmla="*/ 1083469 h 1200150"/>
                  <a:gd name="connsiteX21" fmla="*/ 233362 w 1226344"/>
                  <a:gd name="connsiteY21" fmla="*/ 1133475 h 1200150"/>
                  <a:gd name="connsiteX22" fmla="*/ 247650 w 1226344"/>
                  <a:gd name="connsiteY22" fmla="*/ 1133475 h 1200150"/>
                  <a:gd name="connsiteX23" fmla="*/ 266700 w 1226344"/>
                  <a:gd name="connsiteY23" fmla="*/ 1102519 h 1200150"/>
                  <a:gd name="connsiteX24" fmla="*/ 257175 w 1226344"/>
                  <a:gd name="connsiteY24" fmla="*/ 1081088 h 1200150"/>
                  <a:gd name="connsiteX25" fmla="*/ 230981 w 1226344"/>
                  <a:gd name="connsiteY25" fmla="*/ 1076325 h 1200150"/>
                  <a:gd name="connsiteX26" fmla="*/ 230981 w 1226344"/>
                  <a:gd name="connsiteY26" fmla="*/ 1052513 h 1200150"/>
                  <a:gd name="connsiteX27" fmla="*/ 228600 w 1226344"/>
                  <a:gd name="connsiteY27" fmla="*/ 1009650 h 1200150"/>
                  <a:gd name="connsiteX28" fmla="*/ 216694 w 1226344"/>
                  <a:gd name="connsiteY28" fmla="*/ 976313 h 1200150"/>
                  <a:gd name="connsiteX29" fmla="*/ 223837 w 1226344"/>
                  <a:gd name="connsiteY29" fmla="*/ 940594 h 1200150"/>
                  <a:gd name="connsiteX30" fmla="*/ 266700 w 1226344"/>
                  <a:gd name="connsiteY30" fmla="*/ 900113 h 1200150"/>
                  <a:gd name="connsiteX31" fmla="*/ 278606 w 1226344"/>
                  <a:gd name="connsiteY31" fmla="*/ 897732 h 1200150"/>
                  <a:gd name="connsiteX32" fmla="*/ 290512 w 1226344"/>
                  <a:gd name="connsiteY32" fmla="*/ 938213 h 1200150"/>
                  <a:gd name="connsiteX33" fmla="*/ 302419 w 1226344"/>
                  <a:gd name="connsiteY33" fmla="*/ 938213 h 1200150"/>
                  <a:gd name="connsiteX34" fmla="*/ 321469 w 1226344"/>
                  <a:gd name="connsiteY34" fmla="*/ 962025 h 1200150"/>
                  <a:gd name="connsiteX35" fmla="*/ 338137 w 1226344"/>
                  <a:gd name="connsiteY35" fmla="*/ 957263 h 1200150"/>
                  <a:gd name="connsiteX36" fmla="*/ 359569 w 1226344"/>
                  <a:gd name="connsiteY36" fmla="*/ 942975 h 1200150"/>
                  <a:gd name="connsiteX37" fmla="*/ 483394 w 1226344"/>
                  <a:gd name="connsiteY37" fmla="*/ 954882 h 1200150"/>
                  <a:gd name="connsiteX38" fmla="*/ 516731 w 1226344"/>
                  <a:gd name="connsiteY38" fmla="*/ 947738 h 1200150"/>
                  <a:gd name="connsiteX39" fmla="*/ 545306 w 1226344"/>
                  <a:gd name="connsiteY39" fmla="*/ 964407 h 1200150"/>
                  <a:gd name="connsiteX40" fmla="*/ 561975 w 1226344"/>
                  <a:gd name="connsiteY40" fmla="*/ 978694 h 1200150"/>
                  <a:gd name="connsiteX41" fmla="*/ 604837 w 1226344"/>
                  <a:gd name="connsiteY41" fmla="*/ 981075 h 1200150"/>
                  <a:gd name="connsiteX42" fmla="*/ 640556 w 1226344"/>
                  <a:gd name="connsiteY42" fmla="*/ 1021557 h 1200150"/>
                  <a:gd name="connsiteX43" fmla="*/ 659606 w 1226344"/>
                  <a:gd name="connsiteY43" fmla="*/ 1019175 h 1200150"/>
                  <a:gd name="connsiteX44" fmla="*/ 702469 w 1226344"/>
                  <a:gd name="connsiteY44" fmla="*/ 976313 h 1200150"/>
                  <a:gd name="connsiteX45" fmla="*/ 735806 w 1226344"/>
                  <a:gd name="connsiteY45" fmla="*/ 1000125 h 1200150"/>
                  <a:gd name="connsiteX46" fmla="*/ 752475 w 1226344"/>
                  <a:gd name="connsiteY46" fmla="*/ 1023938 h 1200150"/>
                  <a:gd name="connsiteX47" fmla="*/ 785812 w 1226344"/>
                  <a:gd name="connsiteY47" fmla="*/ 1021557 h 1200150"/>
                  <a:gd name="connsiteX48" fmla="*/ 819150 w 1226344"/>
                  <a:gd name="connsiteY48" fmla="*/ 1042988 h 1200150"/>
                  <a:gd name="connsiteX49" fmla="*/ 823912 w 1226344"/>
                  <a:gd name="connsiteY49" fmla="*/ 1064419 h 1200150"/>
                  <a:gd name="connsiteX50" fmla="*/ 842962 w 1226344"/>
                  <a:gd name="connsiteY50" fmla="*/ 1066800 h 1200150"/>
                  <a:gd name="connsiteX51" fmla="*/ 904875 w 1226344"/>
                  <a:gd name="connsiteY51" fmla="*/ 1073944 h 1200150"/>
                  <a:gd name="connsiteX52" fmla="*/ 933450 w 1226344"/>
                  <a:gd name="connsiteY52" fmla="*/ 1112044 h 1200150"/>
                  <a:gd name="connsiteX53" fmla="*/ 938212 w 1226344"/>
                  <a:gd name="connsiteY53" fmla="*/ 1140619 h 1200150"/>
                  <a:gd name="connsiteX54" fmla="*/ 940594 w 1226344"/>
                  <a:gd name="connsiteY54" fmla="*/ 1152525 h 1200150"/>
                  <a:gd name="connsiteX55" fmla="*/ 954882 w 1226344"/>
                  <a:gd name="connsiteY55" fmla="*/ 1200150 h 1200150"/>
                  <a:gd name="connsiteX56" fmla="*/ 1002506 w 1226344"/>
                  <a:gd name="connsiteY56" fmla="*/ 1173956 h 1200150"/>
                  <a:gd name="connsiteX57" fmla="*/ 1042987 w 1226344"/>
                  <a:gd name="connsiteY57" fmla="*/ 1150144 h 1200150"/>
                  <a:gd name="connsiteX58" fmla="*/ 1071562 w 1226344"/>
                  <a:gd name="connsiteY58" fmla="*/ 1069182 h 1200150"/>
                  <a:gd name="connsiteX59" fmla="*/ 1062037 w 1226344"/>
                  <a:gd name="connsiteY59" fmla="*/ 1045369 h 1200150"/>
                  <a:gd name="connsiteX60" fmla="*/ 1059656 w 1226344"/>
                  <a:gd name="connsiteY60" fmla="*/ 1012032 h 1200150"/>
                  <a:gd name="connsiteX61" fmla="*/ 1066800 w 1226344"/>
                  <a:gd name="connsiteY61" fmla="*/ 992982 h 1200150"/>
                  <a:gd name="connsiteX62" fmla="*/ 1083469 w 1226344"/>
                  <a:gd name="connsiteY62" fmla="*/ 973932 h 1200150"/>
                  <a:gd name="connsiteX63" fmla="*/ 1107281 w 1226344"/>
                  <a:gd name="connsiteY63" fmla="*/ 964407 h 1200150"/>
                  <a:gd name="connsiteX64" fmla="*/ 1133475 w 1226344"/>
                  <a:gd name="connsiteY64" fmla="*/ 921544 h 1200150"/>
                  <a:gd name="connsiteX65" fmla="*/ 1150144 w 1226344"/>
                  <a:gd name="connsiteY65" fmla="*/ 921544 h 1200150"/>
                  <a:gd name="connsiteX66" fmla="*/ 1197769 w 1226344"/>
                  <a:gd name="connsiteY66" fmla="*/ 940594 h 1200150"/>
                  <a:gd name="connsiteX67" fmla="*/ 1226344 w 1226344"/>
                  <a:gd name="connsiteY67" fmla="*/ 904875 h 1200150"/>
                  <a:gd name="connsiteX68" fmla="*/ 1195387 w 1226344"/>
                  <a:gd name="connsiteY68" fmla="*/ 852488 h 1200150"/>
                  <a:gd name="connsiteX69" fmla="*/ 1159669 w 1226344"/>
                  <a:gd name="connsiteY69" fmla="*/ 804863 h 1200150"/>
                  <a:gd name="connsiteX70" fmla="*/ 1162050 w 1226344"/>
                  <a:gd name="connsiteY70" fmla="*/ 762000 h 1200150"/>
                  <a:gd name="connsiteX71" fmla="*/ 1216819 w 1226344"/>
                  <a:gd name="connsiteY71" fmla="*/ 702469 h 1200150"/>
                  <a:gd name="connsiteX72" fmla="*/ 1219200 w 1226344"/>
                  <a:gd name="connsiteY72" fmla="*/ 676275 h 1200150"/>
                  <a:gd name="connsiteX73" fmla="*/ 1181100 w 1226344"/>
                  <a:gd name="connsiteY73" fmla="*/ 661988 h 1200150"/>
                  <a:gd name="connsiteX74" fmla="*/ 1150144 w 1226344"/>
                  <a:gd name="connsiteY74" fmla="*/ 635794 h 1200150"/>
                  <a:gd name="connsiteX75" fmla="*/ 1133475 w 1226344"/>
                  <a:gd name="connsiteY75" fmla="*/ 602457 h 1200150"/>
                  <a:gd name="connsiteX76" fmla="*/ 1083469 w 1226344"/>
                  <a:gd name="connsiteY76" fmla="*/ 604838 h 1200150"/>
                  <a:gd name="connsiteX77" fmla="*/ 1033462 w 1226344"/>
                  <a:gd name="connsiteY77" fmla="*/ 604838 h 1200150"/>
                  <a:gd name="connsiteX78" fmla="*/ 1014412 w 1226344"/>
                  <a:gd name="connsiteY78" fmla="*/ 583407 h 1200150"/>
                  <a:gd name="connsiteX79" fmla="*/ 950119 w 1226344"/>
                  <a:gd name="connsiteY79" fmla="*/ 578644 h 1200150"/>
                  <a:gd name="connsiteX80" fmla="*/ 933450 w 1226344"/>
                  <a:gd name="connsiteY80" fmla="*/ 561975 h 1200150"/>
                  <a:gd name="connsiteX81" fmla="*/ 933450 w 1226344"/>
                  <a:gd name="connsiteY81" fmla="*/ 547688 h 1200150"/>
                  <a:gd name="connsiteX82" fmla="*/ 859631 w 1226344"/>
                  <a:gd name="connsiteY82" fmla="*/ 511969 h 1200150"/>
                  <a:gd name="connsiteX83" fmla="*/ 850106 w 1226344"/>
                  <a:gd name="connsiteY83" fmla="*/ 492919 h 1200150"/>
                  <a:gd name="connsiteX84" fmla="*/ 828675 w 1226344"/>
                  <a:gd name="connsiteY84" fmla="*/ 476250 h 1200150"/>
                  <a:gd name="connsiteX85" fmla="*/ 795337 w 1226344"/>
                  <a:gd name="connsiteY85" fmla="*/ 478632 h 1200150"/>
                  <a:gd name="connsiteX86" fmla="*/ 773906 w 1226344"/>
                  <a:gd name="connsiteY86" fmla="*/ 471488 h 1200150"/>
                  <a:gd name="connsiteX87" fmla="*/ 728662 w 1226344"/>
                  <a:gd name="connsiteY87" fmla="*/ 428625 h 1200150"/>
                  <a:gd name="connsiteX88" fmla="*/ 700087 w 1226344"/>
                  <a:gd name="connsiteY88" fmla="*/ 421482 h 1200150"/>
                  <a:gd name="connsiteX89" fmla="*/ 666750 w 1226344"/>
                  <a:gd name="connsiteY89" fmla="*/ 383382 h 1200150"/>
                  <a:gd name="connsiteX90" fmla="*/ 626269 w 1226344"/>
                  <a:gd name="connsiteY90" fmla="*/ 369094 h 1200150"/>
                  <a:gd name="connsiteX91" fmla="*/ 585787 w 1226344"/>
                  <a:gd name="connsiteY91" fmla="*/ 335757 h 1200150"/>
                  <a:gd name="connsiteX92" fmla="*/ 564356 w 1226344"/>
                  <a:gd name="connsiteY92" fmla="*/ 311944 h 1200150"/>
                  <a:gd name="connsiteX93" fmla="*/ 550069 w 1226344"/>
                  <a:gd name="connsiteY93" fmla="*/ 330994 h 1200150"/>
                  <a:gd name="connsiteX94" fmla="*/ 478631 w 1226344"/>
                  <a:gd name="connsiteY94" fmla="*/ 328613 h 1200150"/>
                  <a:gd name="connsiteX95" fmla="*/ 330994 w 1226344"/>
                  <a:gd name="connsiteY95" fmla="*/ 230982 h 1200150"/>
                  <a:gd name="connsiteX96" fmla="*/ 259556 w 1226344"/>
                  <a:gd name="connsiteY96" fmla="*/ 254794 h 1200150"/>
                  <a:gd name="connsiteX97" fmla="*/ 221456 w 1226344"/>
                  <a:gd name="connsiteY97" fmla="*/ 245269 h 1200150"/>
                  <a:gd name="connsiteX98" fmla="*/ 238125 w 1226344"/>
                  <a:gd name="connsiteY98" fmla="*/ 150019 h 1200150"/>
                  <a:gd name="connsiteX99" fmla="*/ 228600 w 1226344"/>
                  <a:gd name="connsiteY99" fmla="*/ 95250 h 1200150"/>
                  <a:gd name="connsiteX100" fmla="*/ 197644 w 1226344"/>
                  <a:gd name="connsiteY100" fmla="*/ 78582 h 1200150"/>
                  <a:gd name="connsiteX101" fmla="*/ 145256 w 1226344"/>
                  <a:gd name="connsiteY101" fmla="*/ 0 h 1200150"/>
                  <a:gd name="connsiteX102" fmla="*/ 88106 w 1226344"/>
                  <a:gd name="connsiteY102" fmla="*/ 30957 h 1200150"/>
                  <a:gd name="connsiteX103" fmla="*/ 83344 w 1226344"/>
                  <a:gd name="connsiteY103" fmla="*/ 54769 h 1200150"/>
                  <a:gd name="connsiteX104" fmla="*/ 90487 w 1226344"/>
                  <a:gd name="connsiteY104" fmla="*/ 100013 h 1200150"/>
                  <a:gd name="connsiteX105" fmla="*/ 71437 w 1226344"/>
                  <a:gd name="connsiteY105" fmla="*/ 135732 h 1200150"/>
                  <a:gd name="connsiteX106" fmla="*/ 66675 w 1226344"/>
                  <a:gd name="connsiteY106" fmla="*/ 145257 h 1200150"/>
                  <a:gd name="connsiteX107" fmla="*/ 97631 w 1226344"/>
                  <a:gd name="connsiteY107" fmla="*/ 185738 h 1200150"/>
                  <a:gd name="connsiteX108" fmla="*/ 83344 w 1226344"/>
                  <a:gd name="connsiteY108" fmla="*/ 223838 h 1200150"/>
                  <a:gd name="connsiteX109" fmla="*/ 59531 w 1226344"/>
                  <a:gd name="connsiteY109" fmla="*/ 240507 h 1200150"/>
                  <a:gd name="connsiteX110" fmla="*/ 69056 w 1226344"/>
                  <a:gd name="connsiteY110" fmla="*/ 309563 h 1200150"/>
                  <a:gd name="connsiteX111" fmla="*/ 92869 w 1226344"/>
                  <a:gd name="connsiteY111" fmla="*/ 321469 h 1200150"/>
                  <a:gd name="connsiteX112" fmla="*/ 85725 w 1226344"/>
                  <a:gd name="connsiteY112" fmla="*/ 369094 h 1200150"/>
                  <a:gd name="connsiteX113" fmla="*/ 42862 w 1226344"/>
                  <a:gd name="connsiteY113" fmla="*/ 421482 h 1200150"/>
                  <a:gd name="connsiteX114" fmla="*/ 0 w 1226344"/>
                  <a:gd name="connsiteY114" fmla="*/ 452438 h 1200150"/>
                  <a:gd name="connsiteX0" fmla="*/ 0 w 1226344"/>
                  <a:gd name="connsiteY0" fmla="*/ 452438 h 1202531"/>
                  <a:gd name="connsiteX1" fmla="*/ 28575 w 1226344"/>
                  <a:gd name="connsiteY1" fmla="*/ 526257 h 1202531"/>
                  <a:gd name="connsiteX2" fmla="*/ 73819 w 1226344"/>
                  <a:gd name="connsiteY2" fmla="*/ 564357 h 1202531"/>
                  <a:gd name="connsiteX3" fmla="*/ 109537 w 1226344"/>
                  <a:gd name="connsiteY3" fmla="*/ 657225 h 1202531"/>
                  <a:gd name="connsiteX4" fmla="*/ 128587 w 1226344"/>
                  <a:gd name="connsiteY4" fmla="*/ 685800 h 1202531"/>
                  <a:gd name="connsiteX5" fmla="*/ 142875 w 1226344"/>
                  <a:gd name="connsiteY5" fmla="*/ 666750 h 1202531"/>
                  <a:gd name="connsiteX6" fmla="*/ 142875 w 1226344"/>
                  <a:gd name="connsiteY6" fmla="*/ 633413 h 1202531"/>
                  <a:gd name="connsiteX7" fmla="*/ 180975 w 1226344"/>
                  <a:gd name="connsiteY7" fmla="*/ 666750 h 1202531"/>
                  <a:gd name="connsiteX8" fmla="*/ 240506 w 1226344"/>
                  <a:gd name="connsiteY8" fmla="*/ 673894 h 1202531"/>
                  <a:gd name="connsiteX9" fmla="*/ 271462 w 1226344"/>
                  <a:gd name="connsiteY9" fmla="*/ 702469 h 1202531"/>
                  <a:gd name="connsiteX10" fmla="*/ 326231 w 1226344"/>
                  <a:gd name="connsiteY10" fmla="*/ 721519 h 1202531"/>
                  <a:gd name="connsiteX11" fmla="*/ 338137 w 1226344"/>
                  <a:gd name="connsiteY11" fmla="*/ 762000 h 1202531"/>
                  <a:gd name="connsiteX12" fmla="*/ 321469 w 1226344"/>
                  <a:gd name="connsiteY12" fmla="*/ 781050 h 1202531"/>
                  <a:gd name="connsiteX13" fmla="*/ 311944 w 1226344"/>
                  <a:gd name="connsiteY13" fmla="*/ 807244 h 1202531"/>
                  <a:gd name="connsiteX14" fmla="*/ 266700 w 1226344"/>
                  <a:gd name="connsiteY14" fmla="*/ 826294 h 1202531"/>
                  <a:gd name="connsiteX15" fmla="*/ 219075 w 1226344"/>
                  <a:gd name="connsiteY15" fmla="*/ 900113 h 1202531"/>
                  <a:gd name="connsiteX16" fmla="*/ 204787 w 1226344"/>
                  <a:gd name="connsiteY16" fmla="*/ 909638 h 1202531"/>
                  <a:gd name="connsiteX17" fmla="*/ 192881 w 1226344"/>
                  <a:gd name="connsiteY17" fmla="*/ 973932 h 1202531"/>
                  <a:gd name="connsiteX18" fmla="*/ 152400 w 1226344"/>
                  <a:gd name="connsiteY18" fmla="*/ 1042988 h 1202531"/>
                  <a:gd name="connsiteX19" fmla="*/ 157162 w 1226344"/>
                  <a:gd name="connsiteY19" fmla="*/ 1071563 h 1202531"/>
                  <a:gd name="connsiteX20" fmla="*/ 204787 w 1226344"/>
                  <a:gd name="connsiteY20" fmla="*/ 1083469 h 1202531"/>
                  <a:gd name="connsiteX21" fmla="*/ 233362 w 1226344"/>
                  <a:gd name="connsiteY21" fmla="*/ 1133475 h 1202531"/>
                  <a:gd name="connsiteX22" fmla="*/ 247650 w 1226344"/>
                  <a:gd name="connsiteY22" fmla="*/ 1133475 h 1202531"/>
                  <a:gd name="connsiteX23" fmla="*/ 266700 w 1226344"/>
                  <a:gd name="connsiteY23" fmla="*/ 1102519 h 1202531"/>
                  <a:gd name="connsiteX24" fmla="*/ 257175 w 1226344"/>
                  <a:gd name="connsiteY24" fmla="*/ 1081088 h 1202531"/>
                  <a:gd name="connsiteX25" fmla="*/ 230981 w 1226344"/>
                  <a:gd name="connsiteY25" fmla="*/ 1076325 h 1202531"/>
                  <a:gd name="connsiteX26" fmla="*/ 230981 w 1226344"/>
                  <a:gd name="connsiteY26" fmla="*/ 1052513 h 1202531"/>
                  <a:gd name="connsiteX27" fmla="*/ 228600 w 1226344"/>
                  <a:gd name="connsiteY27" fmla="*/ 1009650 h 1202531"/>
                  <a:gd name="connsiteX28" fmla="*/ 216694 w 1226344"/>
                  <a:gd name="connsiteY28" fmla="*/ 976313 h 1202531"/>
                  <a:gd name="connsiteX29" fmla="*/ 223837 w 1226344"/>
                  <a:gd name="connsiteY29" fmla="*/ 940594 h 1202531"/>
                  <a:gd name="connsiteX30" fmla="*/ 266700 w 1226344"/>
                  <a:gd name="connsiteY30" fmla="*/ 900113 h 1202531"/>
                  <a:gd name="connsiteX31" fmla="*/ 278606 w 1226344"/>
                  <a:gd name="connsiteY31" fmla="*/ 897732 h 1202531"/>
                  <a:gd name="connsiteX32" fmla="*/ 290512 w 1226344"/>
                  <a:gd name="connsiteY32" fmla="*/ 938213 h 1202531"/>
                  <a:gd name="connsiteX33" fmla="*/ 302419 w 1226344"/>
                  <a:gd name="connsiteY33" fmla="*/ 938213 h 1202531"/>
                  <a:gd name="connsiteX34" fmla="*/ 321469 w 1226344"/>
                  <a:gd name="connsiteY34" fmla="*/ 962025 h 1202531"/>
                  <a:gd name="connsiteX35" fmla="*/ 338137 w 1226344"/>
                  <a:gd name="connsiteY35" fmla="*/ 957263 h 1202531"/>
                  <a:gd name="connsiteX36" fmla="*/ 359569 w 1226344"/>
                  <a:gd name="connsiteY36" fmla="*/ 942975 h 1202531"/>
                  <a:gd name="connsiteX37" fmla="*/ 483394 w 1226344"/>
                  <a:gd name="connsiteY37" fmla="*/ 954882 h 1202531"/>
                  <a:gd name="connsiteX38" fmla="*/ 516731 w 1226344"/>
                  <a:gd name="connsiteY38" fmla="*/ 947738 h 1202531"/>
                  <a:gd name="connsiteX39" fmla="*/ 545306 w 1226344"/>
                  <a:gd name="connsiteY39" fmla="*/ 964407 h 1202531"/>
                  <a:gd name="connsiteX40" fmla="*/ 561975 w 1226344"/>
                  <a:gd name="connsiteY40" fmla="*/ 978694 h 1202531"/>
                  <a:gd name="connsiteX41" fmla="*/ 604837 w 1226344"/>
                  <a:gd name="connsiteY41" fmla="*/ 981075 h 1202531"/>
                  <a:gd name="connsiteX42" fmla="*/ 640556 w 1226344"/>
                  <a:gd name="connsiteY42" fmla="*/ 1021557 h 1202531"/>
                  <a:gd name="connsiteX43" fmla="*/ 659606 w 1226344"/>
                  <a:gd name="connsiteY43" fmla="*/ 1019175 h 1202531"/>
                  <a:gd name="connsiteX44" fmla="*/ 702469 w 1226344"/>
                  <a:gd name="connsiteY44" fmla="*/ 976313 h 1202531"/>
                  <a:gd name="connsiteX45" fmla="*/ 735806 w 1226344"/>
                  <a:gd name="connsiteY45" fmla="*/ 1000125 h 1202531"/>
                  <a:gd name="connsiteX46" fmla="*/ 752475 w 1226344"/>
                  <a:gd name="connsiteY46" fmla="*/ 1023938 h 1202531"/>
                  <a:gd name="connsiteX47" fmla="*/ 785812 w 1226344"/>
                  <a:gd name="connsiteY47" fmla="*/ 1021557 h 1202531"/>
                  <a:gd name="connsiteX48" fmla="*/ 819150 w 1226344"/>
                  <a:gd name="connsiteY48" fmla="*/ 1042988 h 1202531"/>
                  <a:gd name="connsiteX49" fmla="*/ 823912 w 1226344"/>
                  <a:gd name="connsiteY49" fmla="*/ 1064419 h 1202531"/>
                  <a:gd name="connsiteX50" fmla="*/ 842962 w 1226344"/>
                  <a:gd name="connsiteY50" fmla="*/ 1066800 h 1202531"/>
                  <a:gd name="connsiteX51" fmla="*/ 904875 w 1226344"/>
                  <a:gd name="connsiteY51" fmla="*/ 1073944 h 1202531"/>
                  <a:gd name="connsiteX52" fmla="*/ 933450 w 1226344"/>
                  <a:gd name="connsiteY52" fmla="*/ 1112044 h 1202531"/>
                  <a:gd name="connsiteX53" fmla="*/ 938212 w 1226344"/>
                  <a:gd name="connsiteY53" fmla="*/ 1140619 h 1202531"/>
                  <a:gd name="connsiteX54" fmla="*/ 940594 w 1226344"/>
                  <a:gd name="connsiteY54" fmla="*/ 1152525 h 1202531"/>
                  <a:gd name="connsiteX55" fmla="*/ 954882 w 1226344"/>
                  <a:gd name="connsiteY55" fmla="*/ 1200150 h 1202531"/>
                  <a:gd name="connsiteX56" fmla="*/ 990599 w 1226344"/>
                  <a:gd name="connsiteY56" fmla="*/ 1202531 h 1202531"/>
                  <a:gd name="connsiteX57" fmla="*/ 1042987 w 1226344"/>
                  <a:gd name="connsiteY57" fmla="*/ 1150144 h 1202531"/>
                  <a:gd name="connsiteX58" fmla="*/ 1071562 w 1226344"/>
                  <a:gd name="connsiteY58" fmla="*/ 1069182 h 1202531"/>
                  <a:gd name="connsiteX59" fmla="*/ 1062037 w 1226344"/>
                  <a:gd name="connsiteY59" fmla="*/ 1045369 h 1202531"/>
                  <a:gd name="connsiteX60" fmla="*/ 1059656 w 1226344"/>
                  <a:gd name="connsiteY60" fmla="*/ 1012032 h 1202531"/>
                  <a:gd name="connsiteX61" fmla="*/ 1066800 w 1226344"/>
                  <a:gd name="connsiteY61" fmla="*/ 992982 h 1202531"/>
                  <a:gd name="connsiteX62" fmla="*/ 1083469 w 1226344"/>
                  <a:gd name="connsiteY62" fmla="*/ 973932 h 1202531"/>
                  <a:gd name="connsiteX63" fmla="*/ 1107281 w 1226344"/>
                  <a:gd name="connsiteY63" fmla="*/ 964407 h 1202531"/>
                  <a:gd name="connsiteX64" fmla="*/ 1133475 w 1226344"/>
                  <a:gd name="connsiteY64" fmla="*/ 921544 h 1202531"/>
                  <a:gd name="connsiteX65" fmla="*/ 1150144 w 1226344"/>
                  <a:gd name="connsiteY65" fmla="*/ 921544 h 1202531"/>
                  <a:gd name="connsiteX66" fmla="*/ 1197769 w 1226344"/>
                  <a:gd name="connsiteY66" fmla="*/ 940594 h 1202531"/>
                  <a:gd name="connsiteX67" fmla="*/ 1226344 w 1226344"/>
                  <a:gd name="connsiteY67" fmla="*/ 904875 h 1202531"/>
                  <a:gd name="connsiteX68" fmla="*/ 1195387 w 1226344"/>
                  <a:gd name="connsiteY68" fmla="*/ 852488 h 1202531"/>
                  <a:gd name="connsiteX69" fmla="*/ 1159669 w 1226344"/>
                  <a:gd name="connsiteY69" fmla="*/ 804863 h 1202531"/>
                  <a:gd name="connsiteX70" fmla="*/ 1162050 w 1226344"/>
                  <a:gd name="connsiteY70" fmla="*/ 762000 h 1202531"/>
                  <a:gd name="connsiteX71" fmla="*/ 1216819 w 1226344"/>
                  <a:gd name="connsiteY71" fmla="*/ 702469 h 1202531"/>
                  <a:gd name="connsiteX72" fmla="*/ 1219200 w 1226344"/>
                  <a:gd name="connsiteY72" fmla="*/ 676275 h 1202531"/>
                  <a:gd name="connsiteX73" fmla="*/ 1181100 w 1226344"/>
                  <a:gd name="connsiteY73" fmla="*/ 661988 h 1202531"/>
                  <a:gd name="connsiteX74" fmla="*/ 1150144 w 1226344"/>
                  <a:gd name="connsiteY74" fmla="*/ 635794 h 1202531"/>
                  <a:gd name="connsiteX75" fmla="*/ 1133475 w 1226344"/>
                  <a:gd name="connsiteY75" fmla="*/ 602457 h 1202531"/>
                  <a:gd name="connsiteX76" fmla="*/ 1083469 w 1226344"/>
                  <a:gd name="connsiteY76" fmla="*/ 604838 h 1202531"/>
                  <a:gd name="connsiteX77" fmla="*/ 1033462 w 1226344"/>
                  <a:gd name="connsiteY77" fmla="*/ 604838 h 1202531"/>
                  <a:gd name="connsiteX78" fmla="*/ 1014412 w 1226344"/>
                  <a:gd name="connsiteY78" fmla="*/ 583407 h 1202531"/>
                  <a:gd name="connsiteX79" fmla="*/ 950119 w 1226344"/>
                  <a:gd name="connsiteY79" fmla="*/ 578644 h 1202531"/>
                  <a:gd name="connsiteX80" fmla="*/ 933450 w 1226344"/>
                  <a:gd name="connsiteY80" fmla="*/ 561975 h 1202531"/>
                  <a:gd name="connsiteX81" fmla="*/ 933450 w 1226344"/>
                  <a:gd name="connsiteY81" fmla="*/ 547688 h 1202531"/>
                  <a:gd name="connsiteX82" fmla="*/ 859631 w 1226344"/>
                  <a:gd name="connsiteY82" fmla="*/ 511969 h 1202531"/>
                  <a:gd name="connsiteX83" fmla="*/ 850106 w 1226344"/>
                  <a:gd name="connsiteY83" fmla="*/ 492919 h 1202531"/>
                  <a:gd name="connsiteX84" fmla="*/ 828675 w 1226344"/>
                  <a:gd name="connsiteY84" fmla="*/ 476250 h 1202531"/>
                  <a:gd name="connsiteX85" fmla="*/ 795337 w 1226344"/>
                  <a:gd name="connsiteY85" fmla="*/ 478632 h 1202531"/>
                  <a:gd name="connsiteX86" fmla="*/ 773906 w 1226344"/>
                  <a:gd name="connsiteY86" fmla="*/ 471488 h 1202531"/>
                  <a:gd name="connsiteX87" fmla="*/ 728662 w 1226344"/>
                  <a:gd name="connsiteY87" fmla="*/ 428625 h 1202531"/>
                  <a:gd name="connsiteX88" fmla="*/ 700087 w 1226344"/>
                  <a:gd name="connsiteY88" fmla="*/ 421482 h 1202531"/>
                  <a:gd name="connsiteX89" fmla="*/ 666750 w 1226344"/>
                  <a:gd name="connsiteY89" fmla="*/ 383382 h 1202531"/>
                  <a:gd name="connsiteX90" fmla="*/ 626269 w 1226344"/>
                  <a:gd name="connsiteY90" fmla="*/ 369094 h 1202531"/>
                  <a:gd name="connsiteX91" fmla="*/ 585787 w 1226344"/>
                  <a:gd name="connsiteY91" fmla="*/ 335757 h 1202531"/>
                  <a:gd name="connsiteX92" fmla="*/ 564356 w 1226344"/>
                  <a:gd name="connsiteY92" fmla="*/ 311944 h 1202531"/>
                  <a:gd name="connsiteX93" fmla="*/ 550069 w 1226344"/>
                  <a:gd name="connsiteY93" fmla="*/ 330994 h 1202531"/>
                  <a:gd name="connsiteX94" fmla="*/ 478631 w 1226344"/>
                  <a:gd name="connsiteY94" fmla="*/ 328613 h 1202531"/>
                  <a:gd name="connsiteX95" fmla="*/ 330994 w 1226344"/>
                  <a:gd name="connsiteY95" fmla="*/ 230982 h 1202531"/>
                  <a:gd name="connsiteX96" fmla="*/ 259556 w 1226344"/>
                  <a:gd name="connsiteY96" fmla="*/ 254794 h 1202531"/>
                  <a:gd name="connsiteX97" fmla="*/ 221456 w 1226344"/>
                  <a:gd name="connsiteY97" fmla="*/ 245269 h 1202531"/>
                  <a:gd name="connsiteX98" fmla="*/ 238125 w 1226344"/>
                  <a:gd name="connsiteY98" fmla="*/ 150019 h 1202531"/>
                  <a:gd name="connsiteX99" fmla="*/ 228600 w 1226344"/>
                  <a:gd name="connsiteY99" fmla="*/ 95250 h 1202531"/>
                  <a:gd name="connsiteX100" fmla="*/ 197644 w 1226344"/>
                  <a:gd name="connsiteY100" fmla="*/ 78582 h 1202531"/>
                  <a:gd name="connsiteX101" fmla="*/ 145256 w 1226344"/>
                  <a:gd name="connsiteY101" fmla="*/ 0 h 1202531"/>
                  <a:gd name="connsiteX102" fmla="*/ 88106 w 1226344"/>
                  <a:gd name="connsiteY102" fmla="*/ 30957 h 1202531"/>
                  <a:gd name="connsiteX103" fmla="*/ 83344 w 1226344"/>
                  <a:gd name="connsiteY103" fmla="*/ 54769 h 1202531"/>
                  <a:gd name="connsiteX104" fmla="*/ 90487 w 1226344"/>
                  <a:gd name="connsiteY104" fmla="*/ 100013 h 1202531"/>
                  <a:gd name="connsiteX105" fmla="*/ 71437 w 1226344"/>
                  <a:gd name="connsiteY105" fmla="*/ 135732 h 1202531"/>
                  <a:gd name="connsiteX106" fmla="*/ 66675 w 1226344"/>
                  <a:gd name="connsiteY106" fmla="*/ 145257 h 1202531"/>
                  <a:gd name="connsiteX107" fmla="*/ 97631 w 1226344"/>
                  <a:gd name="connsiteY107" fmla="*/ 185738 h 1202531"/>
                  <a:gd name="connsiteX108" fmla="*/ 83344 w 1226344"/>
                  <a:gd name="connsiteY108" fmla="*/ 223838 h 1202531"/>
                  <a:gd name="connsiteX109" fmla="*/ 59531 w 1226344"/>
                  <a:gd name="connsiteY109" fmla="*/ 240507 h 1202531"/>
                  <a:gd name="connsiteX110" fmla="*/ 69056 w 1226344"/>
                  <a:gd name="connsiteY110" fmla="*/ 309563 h 1202531"/>
                  <a:gd name="connsiteX111" fmla="*/ 92869 w 1226344"/>
                  <a:gd name="connsiteY111" fmla="*/ 321469 h 1202531"/>
                  <a:gd name="connsiteX112" fmla="*/ 85725 w 1226344"/>
                  <a:gd name="connsiteY112" fmla="*/ 369094 h 1202531"/>
                  <a:gd name="connsiteX113" fmla="*/ 42862 w 1226344"/>
                  <a:gd name="connsiteY113" fmla="*/ 421482 h 1202531"/>
                  <a:gd name="connsiteX114" fmla="*/ 0 w 1226344"/>
                  <a:gd name="connsiteY114" fmla="*/ 452438 h 12025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</a:cxnLst>
                <a:rect l="l" t="t" r="r" b="b"/>
                <a:pathLst>
                  <a:path w="1226344" h="1202531">
                    <a:moveTo>
                      <a:pt x="0" y="452438"/>
                    </a:moveTo>
                    <a:lnTo>
                      <a:pt x="28575" y="526257"/>
                    </a:lnTo>
                    <a:lnTo>
                      <a:pt x="73819" y="564357"/>
                    </a:lnTo>
                    <a:lnTo>
                      <a:pt x="109537" y="657225"/>
                    </a:lnTo>
                    <a:lnTo>
                      <a:pt x="128587" y="685800"/>
                    </a:lnTo>
                    <a:lnTo>
                      <a:pt x="142875" y="666750"/>
                    </a:lnTo>
                    <a:lnTo>
                      <a:pt x="142875" y="633413"/>
                    </a:lnTo>
                    <a:lnTo>
                      <a:pt x="180975" y="666750"/>
                    </a:lnTo>
                    <a:lnTo>
                      <a:pt x="240506" y="673894"/>
                    </a:lnTo>
                    <a:lnTo>
                      <a:pt x="271462" y="702469"/>
                    </a:lnTo>
                    <a:lnTo>
                      <a:pt x="326231" y="721519"/>
                    </a:lnTo>
                    <a:lnTo>
                      <a:pt x="338137" y="762000"/>
                    </a:lnTo>
                    <a:lnTo>
                      <a:pt x="321469" y="781050"/>
                    </a:lnTo>
                    <a:lnTo>
                      <a:pt x="311944" y="807244"/>
                    </a:lnTo>
                    <a:lnTo>
                      <a:pt x="266700" y="826294"/>
                    </a:lnTo>
                    <a:lnTo>
                      <a:pt x="219075" y="900113"/>
                    </a:lnTo>
                    <a:lnTo>
                      <a:pt x="204787" y="909638"/>
                    </a:lnTo>
                    <a:lnTo>
                      <a:pt x="192881" y="973932"/>
                    </a:lnTo>
                    <a:lnTo>
                      <a:pt x="152400" y="1042988"/>
                    </a:lnTo>
                    <a:lnTo>
                      <a:pt x="157162" y="1071563"/>
                    </a:lnTo>
                    <a:lnTo>
                      <a:pt x="204787" y="1083469"/>
                    </a:lnTo>
                    <a:lnTo>
                      <a:pt x="233362" y="1133475"/>
                    </a:lnTo>
                    <a:lnTo>
                      <a:pt x="247650" y="1133475"/>
                    </a:lnTo>
                    <a:lnTo>
                      <a:pt x="266700" y="1102519"/>
                    </a:lnTo>
                    <a:lnTo>
                      <a:pt x="257175" y="1081088"/>
                    </a:lnTo>
                    <a:lnTo>
                      <a:pt x="230981" y="1076325"/>
                    </a:lnTo>
                    <a:lnTo>
                      <a:pt x="230981" y="1052513"/>
                    </a:lnTo>
                    <a:lnTo>
                      <a:pt x="228600" y="1009650"/>
                    </a:lnTo>
                    <a:lnTo>
                      <a:pt x="216694" y="976313"/>
                    </a:lnTo>
                    <a:lnTo>
                      <a:pt x="223837" y="940594"/>
                    </a:lnTo>
                    <a:lnTo>
                      <a:pt x="266700" y="900113"/>
                    </a:lnTo>
                    <a:lnTo>
                      <a:pt x="278606" y="897732"/>
                    </a:lnTo>
                    <a:lnTo>
                      <a:pt x="290512" y="938213"/>
                    </a:lnTo>
                    <a:lnTo>
                      <a:pt x="302419" y="938213"/>
                    </a:lnTo>
                    <a:lnTo>
                      <a:pt x="321469" y="962025"/>
                    </a:lnTo>
                    <a:lnTo>
                      <a:pt x="338137" y="957263"/>
                    </a:lnTo>
                    <a:lnTo>
                      <a:pt x="359569" y="942975"/>
                    </a:lnTo>
                    <a:lnTo>
                      <a:pt x="483394" y="954882"/>
                    </a:lnTo>
                    <a:lnTo>
                      <a:pt x="516731" y="947738"/>
                    </a:lnTo>
                    <a:lnTo>
                      <a:pt x="545306" y="964407"/>
                    </a:lnTo>
                    <a:lnTo>
                      <a:pt x="561975" y="978694"/>
                    </a:lnTo>
                    <a:lnTo>
                      <a:pt x="604837" y="981075"/>
                    </a:lnTo>
                    <a:lnTo>
                      <a:pt x="640556" y="1021557"/>
                    </a:lnTo>
                    <a:lnTo>
                      <a:pt x="659606" y="1019175"/>
                    </a:lnTo>
                    <a:lnTo>
                      <a:pt x="702469" y="976313"/>
                    </a:lnTo>
                    <a:lnTo>
                      <a:pt x="735806" y="1000125"/>
                    </a:lnTo>
                    <a:lnTo>
                      <a:pt x="752475" y="1023938"/>
                    </a:lnTo>
                    <a:lnTo>
                      <a:pt x="785812" y="1021557"/>
                    </a:lnTo>
                    <a:lnTo>
                      <a:pt x="819150" y="1042988"/>
                    </a:lnTo>
                    <a:lnTo>
                      <a:pt x="823912" y="1064419"/>
                    </a:lnTo>
                    <a:lnTo>
                      <a:pt x="842962" y="1066800"/>
                    </a:lnTo>
                    <a:lnTo>
                      <a:pt x="904875" y="1073944"/>
                    </a:lnTo>
                    <a:lnTo>
                      <a:pt x="933450" y="1112044"/>
                    </a:lnTo>
                    <a:lnTo>
                      <a:pt x="938212" y="1140619"/>
                    </a:lnTo>
                    <a:lnTo>
                      <a:pt x="940594" y="1152525"/>
                    </a:lnTo>
                    <a:lnTo>
                      <a:pt x="954882" y="1200150"/>
                    </a:lnTo>
                    <a:lnTo>
                      <a:pt x="990599" y="1202531"/>
                    </a:lnTo>
                    <a:lnTo>
                      <a:pt x="1042987" y="1150144"/>
                    </a:lnTo>
                    <a:lnTo>
                      <a:pt x="1071562" y="1069182"/>
                    </a:lnTo>
                    <a:lnTo>
                      <a:pt x="1062037" y="1045369"/>
                    </a:lnTo>
                    <a:lnTo>
                      <a:pt x="1059656" y="1012032"/>
                    </a:lnTo>
                    <a:lnTo>
                      <a:pt x="1066800" y="992982"/>
                    </a:lnTo>
                    <a:lnTo>
                      <a:pt x="1083469" y="973932"/>
                    </a:lnTo>
                    <a:lnTo>
                      <a:pt x="1107281" y="964407"/>
                    </a:lnTo>
                    <a:lnTo>
                      <a:pt x="1133475" y="921544"/>
                    </a:lnTo>
                    <a:lnTo>
                      <a:pt x="1150144" y="921544"/>
                    </a:lnTo>
                    <a:lnTo>
                      <a:pt x="1197769" y="940594"/>
                    </a:lnTo>
                    <a:lnTo>
                      <a:pt x="1226344" y="904875"/>
                    </a:lnTo>
                    <a:lnTo>
                      <a:pt x="1195387" y="852488"/>
                    </a:lnTo>
                    <a:lnTo>
                      <a:pt x="1159669" y="804863"/>
                    </a:lnTo>
                    <a:lnTo>
                      <a:pt x="1162050" y="762000"/>
                    </a:lnTo>
                    <a:lnTo>
                      <a:pt x="1216819" y="702469"/>
                    </a:lnTo>
                    <a:lnTo>
                      <a:pt x="1219200" y="676275"/>
                    </a:lnTo>
                    <a:lnTo>
                      <a:pt x="1181100" y="661988"/>
                    </a:lnTo>
                    <a:lnTo>
                      <a:pt x="1150144" y="635794"/>
                    </a:lnTo>
                    <a:lnTo>
                      <a:pt x="1133475" y="602457"/>
                    </a:lnTo>
                    <a:lnTo>
                      <a:pt x="1083469" y="604838"/>
                    </a:lnTo>
                    <a:lnTo>
                      <a:pt x="1033462" y="604838"/>
                    </a:lnTo>
                    <a:lnTo>
                      <a:pt x="1014412" y="583407"/>
                    </a:lnTo>
                    <a:lnTo>
                      <a:pt x="950119" y="578644"/>
                    </a:lnTo>
                    <a:lnTo>
                      <a:pt x="933450" y="561975"/>
                    </a:lnTo>
                    <a:lnTo>
                      <a:pt x="933450" y="547688"/>
                    </a:lnTo>
                    <a:lnTo>
                      <a:pt x="859631" y="511969"/>
                    </a:lnTo>
                    <a:lnTo>
                      <a:pt x="850106" y="492919"/>
                    </a:lnTo>
                    <a:lnTo>
                      <a:pt x="828675" y="476250"/>
                    </a:lnTo>
                    <a:lnTo>
                      <a:pt x="795337" y="478632"/>
                    </a:lnTo>
                    <a:lnTo>
                      <a:pt x="773906" y="471488"/>
                    </a:lnTo>
                    <a:lnTo>
                      <a:pt x="728662" y="428625"/>
                    </a:lnTo>
                    <a:lnTo>
                      <a:pt x="700087" y="421482"/>
                    </a:lnTo>
                    <a:lnTo>
                      <a:pt x="666750" y="383382"/>
                    </a:lnTo>
                    <a:lnTo>
                      <a:pt x="626269" y="369094"/>
                    </a:lnTo>
                    <a:lnTo>
                      <a:pt x="585787" y="335757"/>
                    </a:lnTo>
                    <a:lnTo>
                      <a:pt x="564356" y="311944"/>
                    </a:lnTo>
                    <a:lnTo>
                      <a:pt x="550069" y="330994"/>
                    </a:lnTo>
                    <a:lnTo>
                      <a:pt x="478631" y="328613"/>
                    </a:lnTo>
                    <a:lnTo>
                      <a:pt x="330994" y="230982"/>
                    </a:lnTo>
                    <a:lnTo>
                      <a:pt x="259556" y="254794"/>
                    </a:lnTo>
                    <a:lnTo>
                      <a:pt x="221456" y="245269"/>
                    </a:lnTo>
                    <a:lnTo>
                      <a:pt x="238125" y="150019"/>
                    </a:lnTo>
                    <a:lnTo>
                      <a:pt x="228600" y="95250"/>
                    </a:lnTo>
                    <a:lnTo>
                      <a:pt x="197644" y="78582"/>
                    </a:lnTo>
                    <a:lnTo>
                      <a:pt x="145256" y="0"/>
                    </a:lnTo>
                    <a:lnTo>
                      <a:pt x="88106" y="30957"/>
                    </a:lnTo>
                    <a:lnTo>
                      <a:pt x="83344" y="54769"/>
                    </a:lnTo>
                    <a:lnTo>
                      <a:pt x="90487" y="100013"/>
                    </a:lnTo>
                    <a:lnTo>
                      <a:pt x="71437" y="135732"/>
                    </a:lnTo>
                    <a:lnTo>
                      <a:pt x="66675" y="145257"/>
                    </a:lnTo>
                    <a:lnTo>
                      <a:pt x="97631" y="185738"/>
                    </a:lnTo>
                    <a:lnTo>
                      <a:pt x="83344" y="223838"/>
                    </a:lnTo>
                    <a:lnTo>
                      <a:pt x="59531" y="240507"/>
                    </a:lnTo>
                    <a:lnTo>
                      <a:pt x="69056" y="309563"/>
                    </a:lnTo>
                    <a:lnTo>
                      <a:pt x="92869" y="321469"/>
                    </a:lnTo>
                    <a:lnTo>
                      <a:pt x="85725" y="369094"/>
                    </a:lnTo>
                    <a:lnTo>
                      <a:pt x="42862" y="421482"/>
                    </a:lnTo>
                    <a:lnTo>
                      <a:pt x="0" y="452438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144" name="Freeform 9">
                <a:extLst>
                  <a:ext uri="{FF2B5EF4-FFF2-40B4-BE49-F238E27FC236}">
                    <a16:creationId xmlns:a16="http://schemas.microsoft.com/office/drawing/2014/main" id="{D2CA9AB0-B871-4DA7-B2EB-B9DD90A8EAC3}"/>
                  </a:ext>
                </a:extLst>
              </p:cNvPr>
              <p:cNvSpPr/>
              <p:nvPr/>
            </p:nvSpPr>
            <p:spPr>
              <a:xfrm>
                <a:off x="3163888" y="2563813"/>
                <a:ext cx="1377950" cy="1289050"/>
              </a:xfrm>
              <a:custGeom>
                <a:avLst/>
                <a:gdLst>
                  <a:gd name="connsiteX0" fmla="*/ 783432 w 1378744"/>
                  <a:gd name="connsiteY0" fmla="*/ 0 h 1138237"/>
                  <a:gd name="connsiteX1" fmla="*/ 738188 w 1378744"/>
                  <a:gd name="connsiteY1" fmla="*/ 26193 h 1138237"/>
                  <a:gd name="connsiteX2" fmla="*/ 685800 w 1378744"/>
                  <a:gd name="connsiteY2" fmla="*/ 28575 h 1138237"/>
                  <a:gd name="connsiteX3" fmla="*/ 635794 w 1378744"/>
                  <a:gd name="connsiteY3" fmla="*/ 73818 h 1138237"/>
                  <a:gd name="connsiteX4" fmla="*/ 633413 w 1378744"/>
                  <a:gd name="connsiteY4" fmla="*/ 114300 h 1138237"/>
                  <a:gd name="connsiteX5" fmla="*/ 561975 w 1378744"/>
                  <a:gd name="connsiteY5" fmla="*/ 190500 h 1138237"/>
                  <a:gd name="connsiteX6" fmla="*/ 519113 w 1378744"/>
                  <a:gd name="connsiteY6" fmla="*/ 214312 h 1138237"/>
                  <a:gd name="connsiteX7" fmla="*/ 485775 w 1378744"/>
                  <a:gd name="connsiteY7" fmla="*/ 252412 h 1138237"/>
                  <a:gd name="connsiteX8" fmla="*/ 461963 w 1378744"/>
                  <a:gd name="connsiteY8" fmla="*/ 273843 h 1138237"/>
                  <a:gd name="connsiteX9" fmla="*/ 423863 w 1378744"/>
                  <a:gd name="connsiteY9" fmla="*/ 333375 h 1138237"/>
                  <a:gd name="connsiteX10" fmla="*/ 378619 w 1378744"/>
                  <a:gd name="connsiteY10" fmla="*/ 357187 h 1138237"/>
                  <a:gd name="connsiteX11" fmla="*/ 292894 w 1378744"/>
                  <a:gd name="connsiteY11" fmla="*/ 376237 h 1138237"/>
                  <a:gd name="connsiteX12" fmla="*/ 264319 w 1378744"/>
                  <a:gd name="connsiteY12" fmla="*/ 373856 h 1138237"/>
                  <a:gd name="connsiteX13" fmla="*/ 240507 w 1378744"/>
                  <a:gd name="connsiteY13" fmla="*/ 359568 h 1138237"/>
                  <a:gd name="connsiteX14" fmla="*/ 226219 w 1378744"/>
                  <a:gd name="connsiteY14" fmla="*/ 338137 h 1138237"/>
                  <a:gd name="connsiteX15" fmla="*/ 219075 w 1378744"/>
                  <a:gd name="connsiteY15" fmla="*/ 311943 h 1138237"/>
                  <a:gd name="connsiteX16" fmla="*/ 204788 w 1378744"/>
                  <a:gd name="connsiteY16" fmla="*/ 309562 h 1138237"/>
                  <a:gd name="connsiteX17" fmla="*/ 188119 w 1378744"/>
                  <a:gd name="connsiteY17" fmla="*/ 304800 h 1138237"/>
                  <a:gd name="connsiteX18" fmla="*/ 173832 w 1378744"/>
                  <a:gd name="connsiteY18" fmla="*/ 302418 h 1138237"/>
                  <a:gd name="connsiteX19" fmla="*/ 128588 w 1378744"/>
                  <a:gd name="connsiteY19" fmla="*/ 352425 h 1138237"/>
                  <a:gd name="connsiteX20" fmla="*/ 97632 w 1378744"/>
                  <a:gd name="connsiteY20" fmla="*/ 371475 h 1138237"/>
                  <a:gd name="connsiteX21" fmla="*/ 80963 w 1378744"/>
                  <a:gd name="connsiteY21" fmla="*/ 390525 h 1138237"/>
                  <a:gd name="connsiteX22" fmla="*/ 66675 w 1378744"/>
                  <a:gd name="connsiteY22" fmla="*/ 435768 h 1138237"/>
                  <a:gd name="connsiteX23" fmla="*/ 54769 w 1378744"/>
                  <a:gd name="connsiteY23" fmla="*/ 447675 h 1138237"/>
                  <a:gd name="connsiteX24" fmla="*/ 9525 w 1378744"/>
                  <a:gd name="connsiteY24" fmla="*/ 466725 h 1138237"/>
                  <a:gd name="connsiteX25" fmla="*/ 2382 w 1378744"/>
                  <a:gd name="connsiteY25" fmla="*/ 481012 h 1138237"/>
                  <a:gd name="connsiteX26" fmla="*/ 4763 w 1378744"/>
                  <a:gd name="connsiteY26" fmla="*/ 533400 h 1138237"/>
                  <a:gd name="connsiteX27" fmla="*/ 0 w 1378744"/>
                  <a:gd name="connsiteY27" fmla="*/ 545306 h 1138237"/>
                  <a:gd name="connsiteX28" fmla="*/ 73819 w 1378744"/>
                  <a:gd name="connsiteY28" fmla="*/ 588168 h 1138237"/>
                  <a:gd name="connsiteX29" fmla="*/ 90488 w 1378744"/>
                  <a:gd name="connsiteY29" fmla="*/ 628650 h 1138237"/>
                  <a:gd name="connsiteX30" fmla="*/ 83344 w 1378744"/>
                  <a:gd name="connsiteY30" fmla="*/ 654843 h 1138237"/>
                  <a:gd name="connsiteX31" fmla="*/ 73819 w 1378744"/>
                  <a:gd name="connsiteY31" fmla="*/ 697706 h 1138237"/>
                  <a:gd name="connsiteX32" fmla="*/ 78582 w 1378744"/>
                  <a:gd name="connsiteY32" fmla="*/ 726281 h 1138237"/>
                  <a:gd name="connsiteX33" fmla="*/ 95250 w 1378744"/>
                  <a:gd name="connsiteY33" fmla="*/ 738187 h 1138237"/>
                  <a:gd name="connsiteX34" fmla="*/ 116682 w 1378744"/>
                  <a:gd name="connsiteY34" fmla="*/ 735806 h 1138237"/>
                  <a:gd name="connsiteX35" fmla="*/ 123825 w 1378744"/>
                  <a:gd name="connsiteY35" fmla="*/ 762000 h 1138237"/>
                  <a:gd name="connsiteX36" fmla="*/ 126207 w 1378744"/>
                  <a:gd name="connsiteY36" fmla="*/ 783431 h 1138237"/>
                  <a:gd name="connsiteX37" fmla="*/ 152400 w 1378744"/>
                  <a:gd name="connsiteY37" fmla="*/ 812006 h 1138237"/>
                  <a:gd name="connsiteX38" fmla="*/ 164307 w 1378744"/>
                  <a:gd name="connsiteY38" fmla="*/ 823912 h 1138237"/>
                  <a:gd name="connsiteX39" fmla="*/ 173832 w 1378744"/>
                  <a:gd name="connsiteY39" fmla="*/ 850106 h 1138237"/>
                  <a:gd name="connsiteX40" fmla="*/ 169069 w 1378744"/>
                  <a:gd name="connsiteY40" fmla="*/ 878681 h 1138237"/>
                  <a:gd name="connsiteX41" fmla="*/ 176213 w 1378744"/>
                  <a:gd name="connsiteY41" fmla="*/ 897731 h 1138237"/>
                  <a:gd name="connsiteX42" fmla="*/ 200025 w 1378744"/>
                  <a:gd name="connsiteY42" fmla="*/ 916781 h 1138237"/>
                  <a:gd name="connsiteX43" fmla="*/ 226219 w 1378744"/>
                  <a:gd name="connsiteY43" fmla="*/ 916781 h 1138237"/>
                  <a:gd name="connsiteX44" fmla="*/ 300038 w 1378744"/>
                  <a:gd name="connsiteY44" fmla="*/ 921543 h 1138237"/>
                  <a:gd name="connsiteX45" fmla="*/ 395288 w 1378744"/>
                  <a:gd name="connsiteY45" fmla="*/ 952500 h 1138237"/>
                  <a:gd name="connsiteX46" fmla="*/ 414338 w 1378744"/>
                  <a:gd name="connsiteY46" fmla="*/ 988218 h 1138237"/>
                  <a:gd name="connsiteX47" fmla="*/ 435769 w 1378744"/>
                  <a:gd name="connsiteY47" fmla="*/ 992981 h 1138237"/>
                  <a:gd name="connsiteX48" fmla="*/ 464344 w 1378744"/>
                  <a:gd name="connsiteY48" fmla="*/ 995362 h 1138237"/>
                  <a:gd name="connsiteX49" fmla="*/ 507207 w 1378744"/>
                  <a:gd name="connsiteY49" fmla="*/ 1026318 h 1138237"/>
                  <a:gd name="connsiteX50" fmla="*/ 521494 w 1378744"/>
                  <a:gd name="connsiteY50" fmla="*/ 1069181 h 1138237"/>
                  <a:gd name="connsiteX51" fmla="*/ 545307 w 1378744"/>
                  <a:gd name="connsiteY51" fmla="*/ 1107281 h 1138237"/>
                  <a:gd name="connsiteX52" fmla="*/ 573882 w 1378744"/>
                  <a:gd name="connsiteY52" fmla="*/ 1121568 h 1138237"/>
                  <a:gd name="connsiteX53" fmla="*/ 585788 w 1378744"/>
                  <a:gd name="connsiteY53" fmla="*/ 1131093 h 1138237"/>
                  <a:gd name="connsiteX54" fmla="*/ 814388 w 1378744"/>
                  <a:gd name="connsiteY54" fmla="*/ 1138237 h 1138237"/>
                  <a:gd name="connsiteX55" fmla="*/ 828675 w 1378744"/>
                  <a:gd name="connsiteY55" fmla="*/ 1109662 h 1138237"/>
                  <a:gd name="connsiteX56" fmla="*/ 833438 w 1378744"/>
                  <a:gd name="connsiteY56" fmla="*/ 1085850 h 1138237"/>
                  <a:gd name="connsiteX57" fmla="*/ 797719 w 1378744"/>
                  <a:gd name="connsiteY57" fmla="*/ 1059656 h 1138237"/>
                  <a:gd name="connsiteX58" fmla="*/ 790575 w 1378744"/>
                  <a:gd name="connsiteY58" fmla="*/ 1038225 h 1138237"/>
                  <a:gd name="connsiteX59" fmla="*/ 790575 w 1378744"/>
                  <a:gd name="connsiteY59" fmla="*/ 1021556 h 1138237"/>
                  <a:gd name="connsiteX60" fmla="*/ 845344 w 1378744"/>
                  <a:gd name="connsiteY60" fmla="*/ 952500 h 1138237"/>
                  <a:gd name="connsiteX61" fmla="*/ 845344 w 1378744"/>
                  <a:gd name="connsiteY61" fmla="*/ 952500 h 1138237"/>
                  <a:gd name="connsiteX62" fmla="*/ 888207 w 1378744"/>
                  <a:gd name="connsiteY62" fmla="*/ 966787 h 1138237"/>
                  <a:gd name="connsiteX63" fmla="*/ 907257 w 1378744"/>
                  <a:gd name="connsiteY63" fmla="*/ 981075 h 1138237"/>
                  <a:gd name="connsiteX64" fmla="*/ 938213 w 1378744"/>
                  <a:gd name="connsiteY64" fmla="*/ 990600 h 1138237"/>
                  <a:gd name="connsiteX65" fmla="*/ 964407 w 1378744"/>
                  <a:gd name="connsiteY65" fmla="*/ 985837 h 1138237"/>
                  <a:gd name="connsiteX66" fmla="*/ 985838 w 1378744"/>
                  <a:gd name="connsiteY66" fmla="*/ 985837 h 1138237"/>
                  <a:gd name="connsiteX67" fmla="*/ 995363 w 1378744"/>
                  <a:gd name="connsiteY67" fmla="*/ 995362 h 1138237"/>
                  <a:gd name="connsiteX68" fmla="*/ 978694 w 1378744"/>
                  <a:gd name="connsiteY68" fmla="*/ 1012031 h 1138237"/>
                  <a:gd name="connsiteX69" fmla="*/ 969169 w 1378744"/>
                  <a:gd name="connsiteY69" fmla="*/ 1031081 h 1138237"/>
                  <a:gd name="connsiteX70" fmla="*/ 954882 w 1378744"/>
                  <a:gd name="connsiteY70" fmla="*/ 1054893 h 1138237"/>
                  <a:gd name="connsiteX71" fmla="*/ 950119 w 1378744"/>
                  <a:gd name="connsiteY71" fmla="*/ 1083468 h 1138237"/>
                  <a:gd name="connsiteX72" fmla="*/ 962025 w 1378744"/>
                  <a:gd name="connsiteY72" fmla="*/ 1107281 h 1138237"/>
                  <a:gd name="connsiteX73" fmla="*/ 983457 w 1378744"/>
                  <a:gd name="connsiteY73" fmla="*/ 1131093 h 1138237"/>
                  <a:gd name="connsiteX74" fmla="*/ 1002507 w 1378744"/>
                  <a:gd name="connsiteY74" fmla="*/ 1133475 h 1138237"/>
                  <a:gd name="connsiteX75" fmla="*/ 1028700 w 1378744"/>
                  <a:gd name="connsiteY75" fmla="*/ 1126331 h 1138237"/>
                  <a:gd name="connsiteX76" fmla="*/ 1031082 w 1378744"/>
                  <a:gd name="connsiteY76" fmla="*/ 1097756 h 1138237"/>
                  <a:gd name="connsiteX77" fmla="*/ 1057275 w 1378744"/>
                  <a:gd name="connsiteY77" fmla="*/ 1085850 h 1138237"/>
                  <a:gd name="connsiteX78" fmla="*/ 1076325 w 1378744"/>
                  <a:gd name="connsiteY78" fmla="*/ 1097756 h 1138237"/>
                  <a:gd name="connsiteX79" fmla="*/ 1100138 w 1378744"/>
                  <a:gd name="connsiteY79" fmla="*/ 1107281 h 1138237"/>
                  <a:gd name="connsiteX80" fmla="*/ 1123950 w 1378744"/>
                  <a:gd name="connsiteY80" fmla="*/ 1121568 h 1138237"/>
                  <a:gd name="connsiteX81" fmla="*/ 1143000 w 1378744"/>
                  <a:gd name="connsiteY81" fmla="*/ 1123950 h 1138237"/>
                  <a:gd name="connsiteX82" fmla="*/ 1157288 w 1378744"/>
                  <a:gd name="connsiteY82" fmla="*/ 1112043 h 1138237"/>
                  <a:gd name="connsiteX83" fmla="*/ 1159669 w 1378744"/>
                  <a:gd name="connsiteY83" fmla="*/ 1085850 h 1138237"/>
                  <a:gd name="connsiteX84" fmla="*/ 1166813 w 1378744"/>
                  <a:gd name="connsiteY84" fmla="*/ 1052512 h 1138237"/>
                  <a:gd name="connsiteX85" fmla="*/ 1197769 w 1378744"/>
                  <a:gd name="connsiteY85" fmla="*/ 1016793 h 1138237"/>
                  <a:gd name="connsiteX86" fmla="*/ 1195388 w 1378744"/>
                  <a:gd name="connsiteY86" fmla="*/ 954881 h 1138237"/>
                  <a:gd name="connsiteX87" fmla="*/ 1209675 w 1378744"/>
                  <a:gd name="connsiteY87" fmla="*/ 945356 h 1138237"/>
                  <a:gd name="connsiteX88" fmla="*/ 1235869 w 1378744"/>
                  <a:gd name="connsiteY88" fmla="*/ 945356 h 1138237"/>
                  <a:gd name="connsiteX89" fmla="*/ 1235869 w 1378744"/>
                  <a:gd name="connsiteY89" fmla="*/ 931068 h 1138237"/>
                  <a:gd name="connsiteX90" fmla="*/ 1212057 w 1378744"/>
                  <a:gd name="connsiteY90" fmla="*/ 912018 h 1138237"/>
                  <a:gd name="connsiteX91" fmla="*/ 1195388 w 1378744"/>
                  <a:gd name="connsiteY91" fmla="*/ 881062 h 1138237"/>
                  <a:gd name="connsiteX92" fmla="*/ 1157288 w 1378744"/>
                  <a:gd name="connsiteY92" fmla="*/ 871537 h 1138237"/>
                  <a:gd name="connsiteX93" fmla="*/ 1119188 w 1378744"/>
                  <a:gd name="connsiteY93" fmla="*/ 859631 h 1138237"/>
                  <a:gd name="connsiteX94" fmla="*/ 1119188 w 1378744"/>
                  <a:gd name="connsiteY94" fmla="*/ 831056 h 1138237"/>
                  <a:gd name="connsiteX95" fmla="*/ 1135857 w 1378744"/>
                  <a:gd name="connsiteY95" fmla="*/ 807243 h 1138237"/>
                  <a:gd name="connsiteX96" fmla="*/ 1197769 w 1378744"/>
                  <a:gd name="connsiteY96" fmla="*/ 759618 h 1138237"/>
                  <a:gd name="connsiteX97" fmla="*/ 1247775 w 1378744"/>
                  <a:gd name="connsiteY97" fmla="*/ 762000 h 1138237"/>
                  <a:gd name="connsiteX98" fmla="*/ 1278732 w 1378744"/>
                  <a:gd name="connsiteY98" fmla="*/ 762000 h 1138237"/>
                  <a:gd name="connsiteX99" fmla="*/ 1271588 w 1378744"/>
                  <a:gd name="connsiteY99" fmla="*/ 735806 h 1138237"/>
                  <a:gd name="connsiteX100" fmla="*/ 1378744 w 1378744"/>
                  <a:gd name="connsiteY100" fmla="*/ 678656 h 1138237"/>
                  <a:gd name="connsiteX101" fmla="*/ 1331119 w 1378744"/>
                  <a:gd name="connsiteY101" fmla="*/ 552450 h 1138237"/>
                  <a:gd name="connsiteX102" fmla="*/ 1278732 w 1378744"/>
                  <a:gd name="connsiteY102" fmla="*/ 514350 h 1138237"/>
                  <a:gd name="connsiteX103" fmla="*/ 1252538 w 1378744"/>
                  <a:gd name="connsiteY103" fmla="*/ 431006 h 1138237"/>
                  <a:gd name="connsiteX104" fmla="*/ 1181100 w 1378744"/>
                  <a:gd name="connsiteY104" fmla="*/ 431006 h 1138237"/>
                  <a:gd name="connsiteX105" fmla="*/ 1166813 w 1378744"/>
                  <a:gd name="connsiteY105" fmla="*/ 395287 h 1138237"/>
                  <a:gd name="connsiteX106" fmla="*/ 1107282 w 1378744"/>
                  <a:gd name="connsiteY106" fmla="*/ 421481 h 1138237"/>
                  <a:gd name="connsiteX107" fmla="*/ 1054894 w 1378744"/>
                  <a:gd name="connsiteY107" fmla="*/ 414337 h 1138237"/>
                  <a:gd name="connsiteX108" fmla="*/ 1028700 w 1378744"/>
                  <a:gd name="connsiteY108" fmla="*/ 371475 h 1138237"/>
                  <a:gd name="connsiteX109" fmla="*/ 1023938 w 1378744"/>
                  <a:gd name="connsiteY109" fmla="*/ 288131 h 1138237"/>
                  <a:gd name="connsiteX110" fmla="*/ 1012032 w 1378744"/>
                  <a:gd name="connsiteY110" fmla="*/ 269081 h 1138237"/>
                  <a:gd name="connsiteX111" fmla="*/ 1012032 w 1378744"/>
                  <a:gd name="connsiteY111" fmla="*/ 211931 h 1138237"/>
                  <a:gd name="connsiteX112" fmla="*/ 959644 w 1378744"/>
                  <a:gd name="connsiteY112" fmla="*/ 190500 h 1138237"/>
                  <a:gd name="connsiteX113" fmla="*/ 914400 w 1378744"/>
                  <a:gd name="connsiteY113" fmla="*/ 111918 h 1138237"/>
                  <a:gd name="connsiteX114" fmla="*/ 854869 w 1378744"/>
                  <a:gd name="connsiteY114" fmla="*/ 76200 h 1138237"/>
                  <a:gd name="connsiteX115" fmla="*/ 873919 w 1378744"/>
                  <a:gd name="connsiteY115" fmla="*/ 16668 h 1138237"/>
                  <a:gd name="connsiteX116" fmla="*/ 783432 w 1378744"/>
                  <a:gd name="connsiteY116" fmla="*/ 0 h 1138237"/>
                  <a:gd name="connsiteX0" fmla="*/ 783432 w 1378744"/>
                  <a:gd name="connsiteY0" fmla="*/ 0 h 1138237"/>
                  <a:gd name="connsiteX1" fmla="*/ 738188 w 1378744"/>
                  <a:gd name="connsiteY1" fmla="*/ 26193 h 1138237"/>
                  <a:gd name="connsiteX2" fmla="*/ 685800 w 1378744"/>
                  <a:gd name="connsiteY2" fmla="*/ 28575 h 1138237"/>
                  <a:gd name="connsiteX3" fmla="*/ 635794 w 1378744"/>
                  <a:gd name="connsiteY3" fmla="*/ 73818 h 1138237"/>
                  <a:gd name="connsiteX4" fmla="*/ 633413 w 1378744"/>
                  <a:gd name="connsiteY4" fmla="*/ 114300 h 1138237"/>
                  <a:gd name="connsiteX5" fmla="*/ 561975 w 1378744"/>
                  <a:gd name="connsiteY5" fmla="*/ 190500 h 1138237"/>
                  <a:gd name="connsiteX6" fmla="*/ 519113 w 1378744"/>
                  <a:gd name="connsiteY6" fmla="*/ 214312 h 1138237"/>
                  <a:gd name="connsiteX7" fmla="*/ 485775 w 1378744"/>
                  <a:gd name="connsiteY7" fmla="*/ 252412 h 1138237"/>
                  <a:gd name="connsiteX8" fmla="*/ 461963 w 1378744"/>
                  <a:gd name="connsiteY8" fmla="*/ 273843 h 1138237"/>
                  <a:gd name="connsiteX9" fmla="*/ 423863 w 1378744"/>
                  <a:gd name="connsiteY9" fmla="*/ 333375 h 1138237"/>
                  <a:gd name="connsiteX10" fmla="*/ 378619 w 1378744"/>
                  <a:gd name="connsiteY10" fmla="*/ 357187 h 1138237"/>
                  <a:gd name="connsiteX11" fmla="*/ 292894 w 1378744"/>
                  <a:gd name="connsiteY11" fmla="*/ 376237 h 1138237"/>
                  <a:gd name="connsiteX12" fmla="*/ 264319 w 1378744"/>
                  <a:gd name="connsiteY12" fmla="*/ 373856 h 1138237"/>
                  <a:gd name="connsiteX13" fmla="*/ 240507 w 1378744"/>
                  <a:gd name="connsiteY13" fmla="*/ 359568 h 1138237"/>
                  <a:gd name="connsiteX14" fmla="*/ 226219 w 1378744"/>
                  <a:gd name="connsiteY14" fmla="*/ 338137 h 1138237"/>
                  <a:gd name="connsiteX15" fmla="*/ 219075 w 1378744"/>
                  <a:gd name="connsiteY15" fmla="*/ 311943 h 1138237"/>
                  <a:gd name="connsiteX16" fmla="*/ 204788 w 1378744"/>
                  <a:gd name="connsiteY16" fmla="*/ 309562 h 1138237"/>
                  <a:gd name="connsiteX17" fmla="*/ 188119 w 1378744"/>
                  <a:gd name="connsiteY17" fmla="*/ 304800 h 1138237"/>
                  <a:gd name="connsiteX18" fmla="*/ 173832 w 1378744"/>
                  <a:gd name="connsiteY18" fmla="*/ 302418 h 1138237"/>
                  <a:gd name="connsiteX19" fmla="*/ 128588 w 1378744"/>
                  <a:gd name="connsiteY19" fmla="*/ 352425 h 1138237"/>
                  <a:gd name="connsiteX20" fmla="*/ 97632 w 1378744"/>
                  <a:gd name="connsiteY20" fmla="*/ 371475 h 1138237"/>
                  <a:gd name="connsiteX21" fmla="*/ 80963 w 1378744"/>
                  <a:gd name="connsiteY21" fmla="*/ 390525 h 1138237"/>
                  <a:gd name="connsiteX22" fmla="*/ 66675 w 1378744"/>
                  <a:gd name="connsiteY22" fmla="*/ 435768 h 1138237"/>
                  <a:gd name="connsiteX23" fmla="*/ 54769 w 1378744"/>
                  <a:gd name="connsiteY23" fmla="*/ 447675 h 1138237"/>
                  <a:gd name="connsiteX24" fmla="*/ 9525 w 1378744"/>
                  <a:gd name="connsiteY24" fmla="*/ 466725 h 1138237"/>
                  <a:gd name="connsiteX25" fmla="*/ 2382 w 1378744"/>
                  <a:gd name="connsiteY25" fmla="*/ 481012 h 1138237"/>
                  <a:gd name="connsiteX26" fmla="*/ 4763 w 1378744"/>
                  <a:gd name="connsiteY26" fmla="*/ 533400 h 1138237"/>
                  <a:gd name="connsiteX27" fmla="*/ 0 w 1378744"/>
                  <a:gd name="connsiteY27" fmla="*/ 545306 h 1138237"/>
                  <a:gd name="connsiteX28" fmla="*/ 73819 w 1378744"/>
                  <a:gd name="connsiteY28" fmla="*/ 588168 h 1138237"/>
                  <a:gd name="connsiteX29" fmla="*/ 90488 w 1378744"/>
                  <a:gd name="connsiteY29" fmla="*/ 628650 h 1138237"/>
                  <a:gd name="connsiteX30" fmla="*/ 83344 w 1378744"/>
                  <a:gd name="connsiteY30" fmla="*/ 654843 h 1138237"/>
                  <a:gd name="connsiteX31" fmla="*/ 73819 w 1378744"/>
                  <a:gd name="connsiteY31" fmla="*/ 697706 h 1138237"/>
                  <a:gd name="connsiteX32" fmla="*/ 78582 w 1378744"/>
                  <a:gd name="connsiteY32" fmla="*/ 726281 h 1138237"/>
                  <a:gd name="connsiteX33" fmla="*/ 95250 w 1378744"/>
                  <a:gd name="connsiteY33" fmla="*/ 738187 h 1138237"/>
                  <a:gd name="connsiteX34" fmla="*/ 116682 w 1378744"/>
                  <a:gd name="connsiteY34" fmla="*/ 735806 h 1138237"/>
                  <a:gd name="connsiteX35" fmla="*/ 123825 w 1378744"/>
                  <a:gd name="connsiteY35" fmla="*/ 762000 h 1138237"/>
                  <a:gd name="connsiteX36" fmla="*/ 126207 w 1378744"/>
                  <a:gd name="connsiteY36" fmla="*/ 783431 h 1138237"/>
                  <a:gd name="connsiteX37" fmla="*/ 152400 w 1378744"/>
                  <a:gd name="connsiteY37" fmla="*/ 812006 h 1138237"/>
                  <a:gd name="connsiteX38" fmla="*/ 164307 w 1378744"/>
                  <a:gd name="connsiteY38" fmla="*/ 823912 h 1138237"/>
                  <a:gd name="connsiteX39" fmla="*/ 173832 w 1378744"/>
                  <a:gd name="connsiteY39" fmla="*/ 850106 h 1138237"/>
                  <a:gd name="connsiteX40" fmla="*/ 169069 w 1378744"/>
                  <a:gd name="connsiteY40" fmla="*/ 878681 h 1138237"/>
                  <a:gd name="connsiteX41" fmla="*/ 176213 w 1378744"/>
                  <a:gd name="connsiteY41" fmla="*/ 897731 h 1138237"/>
                  <a:gd name="connsiteX42" fmla="*/ 200025 w 1378744"/>
                  <a:gd name="connsiteY42" fmla="*/ 916781 h 1138237"/>
                  <a:gd name="connsiteX43" fmla="*/ 226219 w 1378744"/>
                  <a:gd name="connsiteY43" fmla="*/ 916781 h 1138237"/>
                  <a:gd name="connsiteX44" fmla="*/ 300038 w 1378744"/>
                  <a:gd name="connsiteY44" fmla="*/ 921543 h 1138237"/>
                  <a:gd name="connsiteX45" fmla="*/ 395288 w 1378744"/>
                  <a:gd name="connsiteY45" fmla="*/ 952500 h 1138237"/>
                  <a:gd name="connsiteX46" fmla="*/ 414338 w 1378744"/>
                  <a:gd name="connsiteY46" fmla="*/ 988218 h 1138237"/>
                  <a:gd name="connsiteX47" fmla="*/ 435769 w 1378744"/>
                  <a:gd name="connsiteY47" fmla="*/ 992981 h 1138237"/>
                  <a:gd name="connsiteX48" fmla="*/ 464344 w 1378744"/>
                  <a:gd name="connsiteY48" fmla="*/ 995362 h 1138237"/>
                  <a:gd name="connsiteX49" fmla="*/ 507207 w 1378744"/>
                  <a:gd name="connsiteY49" fmla="*/ 1026318 h 1138237"/>
                  <a:gd name="connsiteX50" fmla="*/ 521494 w 1378744"/>
                  <a:gd name="connsiteY50" fmla="*/ 1069181 h 1138237"/>
                  <a:gd name="connsiteX51" fmla="*/ 545307 w 1378744"/>
                  <a:gd name="connsiteY51" fmla="*/ 1107281 h 1138237"/>
                  <a:gd name="connsiteX52" fmla="*/ 573882 w 1378744"/>
                  <a:gd name="connsiteY52" fmla="*/ 1121568 h 1138237"/>
                  <a:gd name="connsiteX53" fmla="*/ 585788 w 1378744"/>
                  <a:gd name="connsiteY53" fmla="*/ 1131093 h 1138237"/>
                  <a:gd name="connsiteX54" fmla="*/ 638175 w 1378744"/>
                  <a:gd name="connsiteY54" fmla="*/ 1131093 h 1138237"/>
                  <a:gd name="connsiteX55" fmla="*/ 814388 w 1378744"/>
                  <a:gd name="connsiteY55" fmla="*/ 1138237 h 1138237"/>
                  <a:gd name="connsiteX56" fmla="*/ 828675 w 1378744"/>
                  <a:gd name="connsiteY56" fmla="*/ 1109662 h 1138237"/>
                  <a:gd name="connsiteX57" fmla="*/ 833438 w 1378744"/>
                  <a:gd name="connsiteY57" fmla="*/ 1085850 h 1138237"/>
                  <a:gd name="connsiteX58" fmla="*/ 797719 w 1378744"/>
                  <a:gd name="connsiteY58" fmla="*/ 1059656 h 1138237"/>
                  <a:gd name="connsiteX59" fmla="*/ 790575 w 1378744"/>
                  <a:gd name="connsiteY59" fmla="*/ 1038225 h 1138237"/>
                  <a:gd name="connsiteX60" fmla="*/ 790575 w 1378744"/>
                  <a:gd name="connsiteY60" fmla="*/ 1021556 h 1138237"/>
                  <a:gd name="connsiteX61" fmla="*/ 845344 w 1378744"/>
                  <a:gd name="connsiteY61" fmla="*/ 952500 h 1138237"/>
                  <a:gd name="connsiteX62" fmla="*/ 845344 w 1378744"/>
                  <a:gd name="connsiteY62" fmla="*/ 952500 h 1138237"/>
                  <a:gd name="connsiteX63" fmla="*/ 888207 w 1378744"/>
                  <a:gd name="connsiteY63" fmla="*/ 966787 h 1138237"/>
                  <a:gd name="connsiteX64" fmla="*/ 907257 w 1378744"/>
                  <a:gd name="connsiteY64" fmla="*/ 981075 h 1138237"/>
                  <a:gd name="connsiteX65" fmla="*/ 938213 w 1378744"/>
                  <a:gd name="connsiteY65" fmla="*/ 990600 h 1138237"/>
                  <a:gd name="connsiteX66" fmla="*/ 964407 w 1378744"/>
                  <a:gd name="connsiteY66" fmla="*/ 985837 h 1138237"/>
                  <a:gd name="connsiteX67" fmla="*/ 985838 w 1378744"/>
                  <a:gd name="connsiteY67" fmla="*/ 985837 h 1138237"/>
                  <a:gd name="connsiteX68" fmla="*/ 995363 w 1378744"/>
                  <a:gd name="connsiteY68" fmla="*/ 995362 h 1138237"/>
                  <a:gd name="connsiteX69" fmla="*/ 978694 w 1378744"/>
                  <a:gd name="connsiteY69" fmla="*/ 1012031 h 1138237"/>
                  <a:gd name="connsiteX70" fmla="*/ 969169 w 1378744"/>
                  <a:gd name="connsiteY70" fmla="*/ 1031081 h 1138237"/>
                  <a:gd name="connsiteX71" fmla="*/ 954882 w 1378744"/>
                  <a:gd name="connsiteY71" fmla="*/ 1054893 h 1138237"/>
                  <a:gd name="connsiteX72" fmla="*/ 950119 w 1378744"/>
                  <a:gd name="connsiteY72" fmla="*/ 1083468 h 1138237"/>
                  <a:gd name="connsiteX73" fmla="*/ 962025 w 1378744"/>
                  <a:gd name="connsiteY73" fmla="*/ 1107281 h 1138237"/>
                  <a:gd name="connsiteX74" fmla="*/ 983457 w 1378744"/>
                  <a:gd name="connsiteY74" fmla="*/ 1131093 h 1138237"/>
                  <a:gd name="connsiteX75" fmla="*/ 1002507 w 1378744"/>
                  <a:gd name="connsiteY75" fmla="*/ 1133475 h 1138237"/>
                  <a:gd name="connsiteX76" fmla="*/ 1028700 w 1378744"/>
                  <a:gd name="connsiteY76" fmla="*/ 1126331 h 1138237"/>
                  <a:gd name="connsiteX77" fmla="*/ 1031082 w 1378744"/>
                  <a:gd name="connsiteY77" fmla="*/ 1097756 h 1138237"/>
                  <a:gd name="connsiteX78" fmla="*/ 1057275 w 1378744"/>
                  <a:gd name="connsiteY78" fmla="*/ 1085850 h 1138237"/>
                  <a:gd name="connsiteX79" fmla="*/ 1076325 w 1378744"/>
                  <a:gd name="connsiteY79" fmla="*/ 1097756 h 1138237"/>
                  <a:gd name="connsiteX80" fmla="*/ 1100138 w 1378744"/>
                  <a:gd name="connsiteY80" fmla="*/ 1107281 h 1138237"/>
                  <a:gd name="connsiteX81" fmla="*/ 1123950 w 1378744"/>
                  <a:gd name="connsiteY81" fmla="*/ 1121568 h 1138237"/>
                  <a:gd name="connsiteX82" fmla="*/ 1143000 w 1378744"/>
                  <a:gd name="connsiteY82" fmla="*/ 1123950 h 1138237"/>
                  <a:gd name="connsiteX83" fmla="*/ 1157288 w 1378744"/>
                  <a:gd name="connsiteY83" fmla="*/ 1112043 h 1138237"/>
                  <a:gd name="connsiteX84" fmla="*/ 1159669 w 1378744"/>
                  <a:gd name="connsiteY84" fmla="*/ 1085850 h 1138237"/>
                  <a:gd name="connsiteX85" fmla="*/ 1166813 w 1378744"/>
                  <a:gd name="connsiteY85" fmla="*/ 1052512 h 1138237"/>
                  <a:gd name="connsiteX86" fmla="*/ 1197769 w 1378744"/>
                  <a:gd name="connsiteY86" fmla="*/ 1016793 h 1138237"/>
                  <a:gd name="connsiteX87" fmla="*/ 1195388 w 1378744"/>
                  <a:gd name="connsiteY87" fmla="*/ 954881 h 1138237"/>
                  <a:gd name="connsiteX88" fmla="*/ 1209675 w 1378744"/>
                  <a:gd name="connsiteY88" fmla="*/ 945356 h 1138237"/>
                  <a:gd name="connsiteX89" fmla="*/ 1235869 w 1378744"/>
                  <a:gd name="connsiteY89" fmla="*/ 945356 h 1138237"/>
                  <a:gd name="connsiteX90" fmla="*/ 1235869 w 1378744"/>
                  <a:gd name="connsiteY90" fmla="*/ 931068 h 1138237"/>
                  <a:gd name="connsiteX91" fmla="*/ 1212057 w 1378744"/>
                  <a:gd name="connsiteY91" fmla="*/ 912018 h 1138237"/>
                  <a:gd name="connsiteX92" fmla="*/ 1195388 w 1378744"/>
                  <a:gd name="connsiteY92" fmla="*/ 881062 h 1138237"/>
                  <a:gd name="connsiteX93" fmla="*/ 1157288 w 1378744"/>
                  <a:gd name="connsiteY93" fmla="*/ 871537 h 1138237"/>
                  <a:gd name="connsiteX94" fmla="*/ 1119188 w 1378744"/>
                  <a:gd name="connsiteY94" fmla="*/ 859631 h 1138237"/>
                  <a:gd name="connsiteX95" fmla="*/ 1119188 w 1378744"/>
                  <a:gd name="connsiteY95" fmla="*/ 831056 h 1138237"/>
                  <a:gd name="connsiteX96" fmla="*/ 1135857 w 1378744"/>
                  <a:gd name="connsiteY96" fmla="*/ 807243 h 1138237"/>
                  <a:gd name="connsiteX97" fmla="*/ 1197769 w 1378744"/>
                  <a:gd name="connsiteY97" fmla="*/ 759618 h 1138237"/>
                  <a:gd name="connsiteX98" fmla="*/ 1247775 w 1378744"/>
                  <a:gd name="connsiteY98" fmla="*/ 762000 h 1138237"/>
                  <a:gd name="connsiteX99" fmla="*/ 1278732 w 1378744"/>
                  <a:gd name="connsiteY99" fmla="*/ 762000 h 1138237"/>
                  <a:gd name="connsiteX100" fmla="*/ 1271588 w 1378744"/>
                  <a:gd name="connsiteY100" fmla="*/ 735806 h 1138237"/>
                  <a:gd name="connsiteX101" fmla="*/ 1378744 w 1378744"/>
                  <a:gd name="connsiteY101" fmla="*/ 678656 h 1138237"/>
                  <a:gd name="connsiteX102" fmla="*/ 1331119 w 1378744"/>
                  <a:gd name="connsiteY102" fmla="*/ 552450 h 1138237"/>
                  <a:gd name="connsiteX103" fmla="*/ 1278732 w 1378744"/>
                  <a:gd name="connsiteY103" fmla="*/ 514350 h 1138237"/>
                  <a:gd name="connsiteX104" fmla="*/ 1252538 w 1378744"/>
                  <a:gd name="connsiteY104" fmla="*/ 431006 h 1138237"/>
                  <a:gd name="connsiteX105" fmla="*/ 1181100 w 1378744"/>
                  <a:gd name="connsiteY105" fmla="*/ 431006 h 1138237"/>
                  <a:gd name="connsiteX106" fmla="*/ 1166813 w 1378744"/>
                  <a:gd name="connsiteY106" fmla="*/ 395287 h 1138237"/>
                  <a:gd name="connsiteX107" fmla="*/ 1107282 w 1378744"/>
                  <a:gd name="connsiteY107" fmla="*/ 421481 h 1138237"/>
                  <a:gd name="connsiteX108" fmla="*/ 1054894 w 1378744"/>
                  <a:gd name="connsiteY108" fmla="*/ 414337 h 1138237"/>
                  <a:gd name="connsiteX109" fmla="*/ 1028700 w 1378744"/>
                  <a:gd name="connsiteY109" fmla="*/ 371475 h 1138237"/>
                  <a:gd name="connsiteX110" fmla="*/ 1023938 w 1378744"/>
                  <a:gd name="connsiteY110" fmla="*/ 288131 h 1138237"/>
                  <a:gd name="connsiteX111" fmla="*/ 1012032 w 1378744"/>
                  <a:gd name="connsiteY111" fmla="*/ 269081 h 1138237"/>
                  <a:gd name="connsiteX112" fmla="*/ 1012032 w 1378744"/>
                  <a:gd name="connsiteY112" fmla="*/ 211931 h 1138237"/>
                  <a:gd name="connsiteX113" fmla="*/ 959644 w 1378744"/>
                  <a:gd name="connsiteY113" fmla="*/ 190500 h 1138237"/>
                  <a:gd name="connsiteX114" fmla="*/ 914400 w 1378744"/>
                  <a:gd name="connsiteY114" fmla="*/ 111918 h 1138237"/>
                  <a:gd name="connsiteX115" fmla="*/ 854869 w 1378744"/>
                  <a:gd name="connsiteY115" fmla="*/ 76200 h 1138237"/>
                  <a:gd name="connsiteX116" fmla="*/ 873919 w 1378744"/>
                  <a:gd name="connsiteY116" fmla="*/ 16668 h 1138237"/>
                  <a:gd name="connsiteX117" fmla="*/ 783432 w 1378744"/>
                  <a:gd name="connsiteY117" fmla="*/ 0 h 1138237"/>
                  <a:gd name="connsiteX0" fmla="*/ 783432 w 1378744"/>
                  <a:gd name="connsiteY0" fmla="*/ 0 h 1181100"/>
                  <a:gd name="connsiteX1" fmla="*/ 738188 w 1378744"/>
                  <a:gd name="connsiteY1" fmla="*/ 26193 h 1181100"/>
                  <a:gd name="connsiteX2" fmla="*/ 685800 w 1378744"/>
                  <a:gd name="connsiteY2" fmla="*/ 28575 h 1181100"/>
                  <a:gd name="connsiteX3" fmla="*/ 635794 w 1378744"/>
                  <a:gd name="connsiteY3" fmla="*/ 73818 h 1181100"/>
                  <a:gd name="connsiteX4" fmla="*/ 633413 w 1378744"/>
                  <a:gd name="connsiteY4" fmla="*/ 114300 h 1181100"/>
                  <a:gd name="connsiteX5" fmla="*/ 561975 w 1378744"/>
                  <a:gd name="connsiteY5" fmla="*/ 190500 h 1181100"/>
                  <a:gd name="connsiteX6" fmla="*/ 519113 w 1378744"/>
                  <a:gd name="connsiteY6" fmla="*/ 214312 h 1181100"/>
                  <a:gd name="connsiteX7" fmla="*/ 485775 w 1378744"/>
                  <a:gd name="connsiteY7" fmla="*/ 252412 h 1181100"/>
                  <a:gd name="connsiteX8" fmla="*/ 461963 w 1378744"/>
                  <a:gd name="connsiteY8" fmla="*/ 273843 h 1181100"/>
                  <a:gd name="connsiteX9" fmla="*/ 423863 w 1378744"/>
                  <a:gd name="connsiteY9" fmla="*/ 333375 h 1181100"/>
                  <a:gd name="connsiteX10" fmla="*/ 378619 w 1378744"/>
                  <a:gd name="connsiteY10" fmla="*/ 357187 h 1181100"/>
                  <a:gd name="connsiteX11" fmla="*/ 292894 w 1378744"/>
                  <a:gd name="connsiteY11" fmla="*/ 376237 h 1181100"/>
                  <a:gd name="connsiteX12" fmla="*/ 264319 w 1378744"/>
                  <a:gd name="connsiteY12" fmla="*/ 373856 h 1181100"/>
                  <a:gd name="connsiteX13" fmla="*/ 240507 w 1378744"/>
                  <a:gd name="connsiteY13" fmla="*/ 359568 h 1181100"/>
                  <a:gd name="connsiteX14" fmla="*/ 226219 w 1378744"/>
                  <a:gd name="connsiteY14" fmla="*/ 338137 h 1181100"/>
                  <a:gd name="connsiteX15" fmla="*/ 219075 w 1378744"/>
                  <a:gd name="connsiteY15" fmla="*/ 311943 h 1181100"/>
                  <a:gd name="connsiteX16" fmla="*/ 204788 w 1378744"/>
                  <a:gd name="connsiteY16" fmla="*/ 309562 h 1181100"/>
                  <a:gd name="connsiteX17" fmla="*/ 188119 w 1378744"/>
                  <a:gd name="connsiteY17" fmla="*/ 304800 h 1181100"/>
                  <a:gd name="connsiteX18" fmla="*/ 173832 w 1378744"/>
                  <a:gd name="connsiteY18" fmla="*/ 302418 h 1181100"/>
                  <a:gd name="connsiteX19" fmla="*/ 128588 w 1378744"/>
                  <a:gd name="connsiteY19" fmla="*/ 352425 h 1181100"/>
                  <a:gd name="connsiteX20" fmla="*/ 97632 w 1378744"/>
                  <a:gd name="connsiteY20" fmla="*/ 371475 h 1181100"/>
                  <a:gd name="connsiteX21" fmla="*/ 80963 w 1378744"/>
                  <a:gd name="connsiteY21" fmla="*/ 390525 h 1181100"/>
                  <a:gd name="connsiteX22" fmla="*/ 66675 w 1378744"/>
                  <a:gd name="connsiteY22" fmla="*/ 435768 h 1181100"/>
                  <a:gd name="connsiteX23" fmla="*/ 54769 w 1378744"/>
                  <a:gd name="connsiteY23" fmla="*/ 447675 h 1181100"/>
                  <a:gd name="connsiteX24" fmla="*/ 9525 w 1378744"/>
                  <a:gd name="connsiteY24" fmla="*/ 466725 h 1181100"/>
                  <a:gd name="connsiteX25" fmla="*/ 2382 w 1378744"/>
                  <a:gd name="connsiteY25" fmla="*/ 481012 h 1181100"/>
                  <a:gd name="connsiteX26" fmla="*/ 4763 w 1378744"/>
                  <a:gd name="connsiteY26" fmla="*/ 533400 h 1181100"/>
                  <a:gd name="connsiteX27" fmla="*/ 0 w 1378744"/>
                  <a:gd name="connsiteY27" fmla="*/ 545306 h 1181100"/>
                  <a:gd name="connsiteX28" fmla="*/ 73819 w 1378744"/>
                  <a:gd name="connsiteY28" fmla="*/ 588168 h 1181100"/>
                  <a:gd name="connsiteX29" fmla="*/ 90488 w 1378744"/>
                  <a:gd name="connsiteY29" fmla="*/ 628650 h 1181100"/>
                  <a:gd name="connsiteX30" fmla="*/ 83344 w 1378744"/>
                  <a:gd name="connsiteY30" fmla="*/ 654843 h 1181100"/>
                  <a:gd name="connsiteX31" fmla="*/ 73819 w 1378744"/>
                  <a:gd name="connsiteY31" fmla="*/ 697706 h 1181100"/>
                  <a:gd name="connsiteX32" fmla="*/ 78582 w 1378744"/>
                  <a:gd name="connsiteY32" fmla="*/ 726281 h 1181100"/>
                  <a:gd name="connsiteX33" fmla="*/ 95250 w 1378744"/>
                  <a:gd name="connsiteY33" fmla="*/ 738187 h 1181100"/>
                  <a:gd name="connsiteX34" fmla="*/ 116682 w 1378744"/>
                  <a:gd name="connsiteY34" fmla="*/ 735806 h 1181100"/>
                  <a:gd name="connsiteX35" fmla="*/ 123825 w 1378744"/>
                  <a:gd name="connsiteY35" fmla="*/ 762000 h 1181100"/>
                  <a:gd name="connsiteX36" fmla="*/ 126207 w 1378744"/>
                  <a:gd name="connsiteY36" fmla="*/ 783431 h 1181100"/>
                  <a:gd name="connsiteX37" fmla="*/ 152400 w 1378744"/>
                  <a:gd name="connsiteY37" fmla="*/ 812006 h 1181100"/>
                  <a:gd name="connsiteX38" fmla="*/ 164307 w 1378744"/>
                  <a:gd name="connsiteY38" fmla="*/ 823912 h 1181100"/>
                  <a:gd name="connsiteX39" fmla="*/ 173832 w 1378744"/>
                  <a:gd name="connsiteY39" fmla="*/ 850106 h 1181100"/>
                  <a:gd name="connsiteX40" fmla="*/ 169069 w 1378744"/>
                  <a:gd name="connsiteY40" fmla="*/ 878681 h 1181100"/>
                  <a:gd name="connsiteX41" fmla="*/ 176213 w 1378744"/>
                  <a:gd name="connsiteY41" fmla="*/ 897731 h 1181100"/>
                  <a:gd name="connsiteX42" fmla="*/ 200025 w 1378744"/>
                  <a:gd name="connsiteY42" fmla="*/ 916781 h 1181100"/>
                  <a:gd name="connsiteX43" fmla="*/ 226219 w 1378744"/>
                  <a:gd name="connsiteY43" fmla="*/ 916781 h 1181100"/>
                  <a:gd name="connsiteX44" fmla="*/ 300038 w 1378744"/>
                  <a:gd name="connsiteY44" fmla="*/ 921543 h 1181100"/>
                  <a:gd name="connsiteX45" fmla="*/ 395288 w 1378744"/>
                  <a:gd name="connsiteY45" fmla="*/ 952500 h 1181100"/>
                  <a:gd name="connsiteX46" fmla="*/ 414338 w 1378744"/>
                  <a:gd name="connsiteY46" fmla="*/ 988218 h 1181100"/>
                  <a:gd name="connsiteX47" fmla="*/ 435769 w 1378744"/>
                  <a:gd name="connsiteY47" fmla="*/ 992981 h 1181100"/>
                  <a:gd name="connsiteX48" fmla="*/ 464344 w 1378744"/>
                  <a:gd name="connsiteY48" fmla="*/ 995362 h 1181100"/>
                  <a:gd name="connsiteX49" fmla="*/ 507207 w 1378744"/>
                  <a:gd name="connsiteY49" fmla="*/ 1026318 h 1181100"/>
                  <a:gd name="connsiteX50" fmla="*/ 521494 w 1378744"/>
                  <a:gd name="connsiteY50" fmla="*/ 1069181 h 1181100"/>
                  <a:gd name="connsiteX51" fmla="*/ 545307 w 1378744"/>
                  <a:gd name="connsiteY51" fmla="*/ 1107281 h 1181100"/>
                  <a:gd name="connsiteX52" fmla="*/ 573882 w 1378744"/>
                  <a:gd name="connsiteY52" fmla="*/ 1121568 h 1181100"/>
                  <a:gd name="connsiteX53" fmla="*/ 585788 w 1378744"/>
                  <a:gd name="connsiteY53" fmla="*/ 1131093 h 1181100"/>
                  <a:gd name="connsiteX54" fmla="*/ 597694 w 1378744"/>
                  <a:gd name="connsiteY54" fmla="*/ 1181100 h 1181100"/>
                  <a:gd name="connsiteX55" fmla="*/ 814388 w 1378744"/>
                  <a:gd name="connsiteY55" fmla="*/ 1138237 h 1181100"/>
                  <a:gd name="connsiteX56" fmla="*/ 828675 w 1378744"/>
                  <a:gd name="connsiteY56" fmla="*/ 1109662 h 1181100"/>
                  <a:gd name="connsiteX57" fmla="*/ 833438 w 1378744"/>
                  <a:gd name="connsiteY57" fmla="*/ 1085850 h 1181100"/>
                  <a:gd name="connsiteX58" fmla="*/ 797719 w 1378744"/>
                  <a:gd name="connsiteY58" fmla="*/ 1059656 h 1181100"/>
                  <a:gd name="connsiteX59" fmla="*/ 790575 w 1378744"/>
                  <a:gd name="connsiteY59" fmla="*/ 1038225 h 1181100"/>
                  <a:gd name="connsiteX60" fmla="*/ 790575 w 1378744"/>
                  <a:gd name="connsiteY60" fmla="*/ 1021556 h 1181100"/>
                  <a:gd name="connsiteX61" fmla="*/ 845344 w 1378744"/>
                  <a:gd name="connsiteY61" fmla="*/ 952500 h 1181100"/>
                  <a:gd name="connsiteX62" fmla="*/ 845344 w 1378744"/>
                  <a:gd name="connsiteY62" fmla="*/ 952500 h 1181100"/>
                  <a:gd name="connsiteX63" fmla="*/ 888207 w 1378744"/>
                  <a:gd name="connsiteY63" fmla="*/ 966787 h 1181100"/>
                  <a:gd name="connsiteX64" fmla="*/ 907257 w 1378744"/>
                  <a:gd name="connsiteY64" fmla="*/ 981075 h 1181100"/>
                  <a:gd name="connsiteX65" fmla="*/ 938213 w 1378744"/>
                  <a:gd name="connsiteY65" fmla="*/ 990600 h 1181100"/>
                  <a:gd name="connsiteX66" fmla="*/ 964407 w 1378744"/>
                  <a:gd name="connsiteY66" fmla="*/ 985837 h 1181100"/>
                  <a:gd name="connsiteX67" fmla="*/ 985838 w 1378744"/>
                  <a:gd name="connsiteY67" fmla="*/ 985837 h 1181100"/>
                  <a:gd name="connsiteX68" fmla="*/ 995363 w 1378744"/>
                  <a:gd name="connsiteY68" fmla="*/ 995362 h 1181100"/>
                  <a:gd name="connsiteX69" fmla="*/ 978694 w 1378744"/>
                  <a:gd name="connsiteY69" fmla="*/ 1012031 h 1181100"/>
                  <a:gd name="connsiteX70" fmla="*/ 969169 w 1378744"/>
                  <a:gd name="connsiteY70" fmla="*/ 1031081 h 1181100"/>
                  <a:gd name="connsiteX71" fmla="*/ 954882 w 1378744"/>
                  <a:gd name="connsiteY71" fmla="*/ 1054893 h 1181100"/>
                  <a:gd name="connsiteX72" fmla="*/ 950119 w 1378744"/>
                  <a:gd name="connsiteY72" fmla="*/ 1083468 h 1181100"/>
                  <a:gd name="connsiteX73" fmla="*/ 962025 w 1378744"/>
                  <a:gd name="connsiteY73" fmla="*/ 1107281 h 1181100"/>
                  <a:gd name="connsiteX74" fmla="*/ 983457 w 1378744"/>
                  <a:gd name="connsiteY74" fmla="*/ 1131093 h 1181100"/>
                  <a:gd name="connsiteX75" fmla="*/ 1002507 w 1378744"/>
                  <a:gd name="connsiteY75" fmla="*/ 1133475 h 1181100"/>
                  <a:gd name="connsiteX76" fmla="*/ 1028700 w 1378744"/>
                  <a:gd name="connsiteY76" fmla="*/ 1126331 h 1181100"/>
                  <a:gd name="connsiteX77" fmla="*/ 1031082 w 1378744"/>
                  <a:gd name="connsiteY77" fmla="*/ 1097756 h 1181100"/>
                  <a:gd name="connsiteX78" fmla="*/ 1057275 w 1378744"/>
                  <a:gd name="connsiteY78" fmla="*/ 1085850 h 1181100"/>
                  <a:gd name="connsiteX79" fmla="*/ 1076325 w 1378744"/>
                  <a:gd name="connsiteY79" fmla="*/ 1097756 h 1181100"/>
                  <a:gd name="connsiteX80" fmla="*/ 1100138 w 1378744"/>
                  <a:gd name="connsiteY80" fmla="*/ 1107281 h 1181100"/>
                  <a:gd name="connsiteX81" fmla="*/ 1123950 w 1378744"/>
                  <a:gd name="connsiteY81" fmla="*/ 1121568 h 1181100"/>
                  <a:gd name="connsiteX82" fmla="*/ 1143000 w 1378744"/>
                  <a:gd name="connsiteY82" fmla="*/ 1123950 h 1181100"/>
                  <a:gd name="connsiteX83" fmla="*/ 1157288 w 1378744"/>
                  <a:gd name="connsiteY83" fmla="*/ 1112043 h 1181100"/>
                  <a:gd name="connsiteX84" fmla="*/ 1159669 w 1378744"/>
                  <a:gd name="connsiteY84" fmla="*/ 1085850 h 1181100"/>
                  <a:gd name="connsiteX85" fmla="*/ 1166813 w 1378744"/>
                  <a:gd name="connsiteY85" fmla="*/ 1052512 h 1181100"/>
                  <a:gd name="connsiteX86" fmla="*/ 1197769 w 1378744"/>
                  <a:gd name="connsiteY86" fmla="*/ 1016793 h 1181100"/>
                  <a:gd name="connsiteX87" fmla="*/ 1195388 w 1378744"/>
                  <a:gd name="connsiteY87" fmla="*/ 954881 h 1181100"/>
                  <a:gd name="connsiteX88" fmla="*/ 1209675 w 1378744"/>
                  <a:gd name="connsiteY88" fmla="*/ 945356 h 1181100"/>
                  <a:gd name="connsiteX89" fmla="*/ 1235869 w 1378744"/>
                  <a:gd name="connsiteY89" fmla="*/ 945356 h 1181100"/>
                  <a:gd name="connsiteX90" fmla="*/ 1235869 w 1378744"/>
                  <a:gd name="connsiteY90" fmla="*/ 931068 h 1181100"/>
                  <a:gd name="connsiteX91" fmla="*/ 1212057 w 1378744"/>
                  <a:gd name="connsiteY91" fmla="*/ 912018 h 1181100"/>
                  <a:gd name="connsiteX92" fmla="*/ 1195388 w 1378744"/>
                  <a:gd name="connsiteY92" fmla="*/ 881062 h 1181100"/>
                  <a:gd name="connsiteX93" fmla="*/ 1157288 w 1378744"/>
                  <a:gd name="connsiteY93" fmla="*/ 871537 h 1181100"/>
                  <a:gd name="connsiteX94" fmla="*/ 1119188 w 1378744"/>
                  <a:gd name="connsiteY94" fmla="*/ 859631 h 1181100"/>
                  <a:gd name="connsiteX95" fmla="*/ 1119188 w 1378744"/>
                  <a:gd name="connsiteY95" fmla="*/ 831056 h 1181100"/>
                  <a:gd name="connsiteX96" fmla="*/ 1135857 w 1378744"/>
                  <a:gd name="connsiteY96" fmla="*/ 807243 h 1181100"/>
                  <a:gd name="connsiteX97" fmla="*/ 1197769 w 1378744"/>
                  <a:gd name="connsiteY97" fmla="*/ 759618 h 1181100"/>
                  <a:gd name="connsiteX98" fmla="*/ 1247775 w 1378744"/>
                  <a:gd name="connsiteY98" fmla="*/ 762000 h 1181100"/>
                  <a:gd name="connsiteX99" fmla="*/ 1278732 w 1378744"/>
                  <a:gd name="connsiteY99" fmla="*/ 762000 h 1181100"/>
                  <a:gd name="connsiteX100" fmla="*/ 1271588 w 1378744"/>
                  <a:gd name="connsiteY100" fmla="*/ 735806 h 1181100"/>
                  <a:gd name="connsiteX101" fmla="*/ 1378744 w 1378744"/>
                  <a:gd name="connsiteY101" fmla="*/ 678656 h 1181100"/>
                  <a:gd name="connsiteX102" fmla="*/ 1331119 w 1378744"/>
                  <a:gd name="connsiteY102" fmla="*/ 552450 h 1181100"/>
                  <a:gd name="connsiteX103" fmla="*/ 1278732 w 1378744"/>
                  <a:gd name="connsiteY103" fmla="*/ 514350 h 1181100"/>
                  <a:gd name="connsiteX104" fmla="*/ 1252538 w 1378744"/>
                  <a:gd name="connsiteY104" fmla="*/ 431006 h 1181100"/>
                  <a:gd name="connsiteX105" fmla="*/ 1181100 w 1378744"/>
                  <a:gd name="connsiteY105" fmla="*/ 431006 h 1181100"/>
                  <a:gd name="connsiteX106" fmla="*/ 1166813 w 1378744"/>
                  <a:gd name="connsiteY106" fmla="*/ 395287 h 1181100"/>
                  <a:gd name="connsiteX107" fmla="*/ 1107282 w 1378744"/>
                  <a:gd name="connsiteY107" fmla="*/ 421481 h 1181100"/>
                  <a:gd name="connsiteX108" fmla="*/ 1054894 w 1378744"/>
                  <a:gd name="connsiteY108" fmla="*/ 414337 h 1181100"/>
                  <a:gd name="connsiteX109" fmla="*/ 1028700 w 1378744"/>
                  <a:gd name="connsiteY109" fmla="*/ 371475 h 1181100"/>
                  <a:gd name="connsiteX110" fmla="*/ 1023938 w 1378744"/>
                  <a:gd name="connsiteY110" fmla="*/ 288131 h 1181100"/>
                  <a:gd name="connsiteX111" fmla="*/ 1012032 w 1378744"/>
                  <a:gd name="connsiteY111" fmla="*/ 269081 h 1181100"/>
                  <a:gd name="connsiteX112" fmla="*/ 1012032 w 1378744"/>
                  <a:gd name="connsiteY112" fmla="*/ 211931 h 1181100"/>
                  <a:gd name="connsiteX113" fmla="*/ 959644 w 1378744"/>
                  <a:gd name="connsiteY113" fmla="*/ 190500 h 1181100"/>
                  <a:gd name="connsiteX114" fmla="*/ 914400 w 1378744"/>
                  <a:gd name="connsiteY114" fmla="*/ 111918 h 1181100"/>
                  <a:gd name="connsiteX115" fmla="*/ 854869 w 1378744"/>
                  <a:gd name="connsiteY115" fmla="*/ 76200 h 1181100"/>
                  <a:gd name="connsiteX116" fmla="*/ 873919 w 1378744"/>
                  <a:gd name="connsiteY116" fmla="*/ 16668 h 1181100"/>
                  <a:gd name="connsiteX117" fmla="*/ 783432 w 1378744"/>
                  <a:gd name="connsiteY117" fmla="*/ 0 h 1181100"/>
                  <a:gd name="connsiteX0" fmla="*/ 783432 w 1378744"/>
                  <a:gd name="connsiteY0" fmla="*/ 0 h 1181100"/>
                  <a:gd name="connsiteX1" fmla="*/ 738188 w 1378744"/>
                  <a:gd name="connsiteY1" fmla="*/ 26193 h 1181100"/>
                  <a:gd name="connsiteX2" fmla="*/ 685800 w 1378744"/>
                  <a:gd name="connsiteY2" fmla="*/ 28575 h 1181100"/>
                  <a:gd name="connsiteX3" fmla="*/ 635794 w 1378744"/>
                  <a:gd name="connsiteY3" fmla="*/ 73818 h 1181100"/>
                  <a:gd name="connsiteX4" fmla="*/ 633413 w 1378744"/>
                  <a:gd name="connsiteY4" fmla="*/ 114300 h 1181100"/>
                  <a:gd name="connsiteX5" fmla="*/ 561975 w 1378744"/>
                  <a:gd name="connsiteY5" fmla="*/ 190500 h 1181100"/>
                  <a:gd name="connsiteX6" fmla="*/ 519113 w 1378744"/>
                  <a:gd name="connsiteY6" fmla="*/ 214312 h 1181100"/>
                  <a:gd name="connsiteX7" fmla="*/ 485775 w 1378744"/>
                  <a:gd name="connsiteY7" fmla="*/ 252412 h 1181100"/>
                  <a:gd name="connsiteX8" fmla="*/ 461963 w 1378744"/>
                  <a:gd name="connsiteY8" fmla="*/ 273843 h 1181100"/>
                  <a:gd name="connsiteX9" fmla="*/ 423863 w 1378744"/>
                  <a:gd name="connsiteY9" fmla="*/ 333375 h 1181100"/>
                  <a:gd name="connsiteX10" fmla="*/ 378619 w 1378744"/>
                  <a:gd name="connsiteY10" fmla="*/ 357187 h 1181100"/>
                  <a:gd name="connsiteX11" fmla="*/ 292894 w 1378744"/>
                  <a:gd name="connsiteY11" fmla="*/ 376237 h 1181100"/>
                  <a:gd name="connsiteX12" fmla="*/ 264319 w 1378744"/>
                  <a:gd name="connsiteY12" fmla="*/ 373856 h 1181100"/>
                  <a:gd name="connsiteX13" fmla="*/ 240507 w 1378744"/>
                  <a:gd name="connsiteY13" fmla="*/ 359568 h 1181100"/>
                  <a:gd name="connsiteX14" fmla="*/ 226219 w 1378744"/>
                  <a:gd name="connsiteY14" fmla="*/ 338137 h 1181100"/>
                  <a:gd name="connsiteX15" fmla="*/ 219075 w 1378744"/>
                  <a:gd name="connsiteY15" fmla="*/ 311943 h 1181100"/>
                  <a:gd name="connsiteX16" fmla="*/ 204788 w 1378744"/>
                  <a:gd name="connsiteY16" fmla="*/ 309562 h 1181100"/>
                  <a:gd name="connsiteX17" fmla="*/ 188119 w 1378744"/>
                  <a:gd name="connsiteY17" fmla="*/ 304800 h 1181100"/>
                  <a:gd name="connsiteX18" fmla="*/ 173832 w 1378744"/>
                  <a:gd name="connsiteY18" fmla="*/ 302418 h 1181100"/>
                  <a:gd name="connsiteX19" fmla="*/ 128588 w 1378744"/>
                  <a:gd name="connsiteY19" fmla="*/ 352425 h 1181100"/>
                  <a:gd name="connsiteX20" fmla="*/ 97632 w 1378744"/>
                  <a:gd name="connsiteY20" fmla="*/ 371475 h 1181100"/>
                  <a:gd name="connsiteX21" fmla="*/ 80963 w 1378744"/>
                  <a:gd name="connsiteY21" fmla="*/ 390525 h 1181100"/>
                  <a:gd name="connsiteX22" fmla="*/ 66675 w 1378744"/>
                  <a:gd name="connsiteY22" fmla="*/ 435768 h 1181100"/>
                  <a:gd name="connsiteX23" fmla="*/ 54769 w 1378744"/>
                  <a:gd name="connsiteY23" fmla="*/ 447675 h 1181100"/>
                  <a:gd name="connsiteX24" fmla="*/ 9525 w 1378744"/>
                  <a:gd name="connsiteY24" fmla="*/ 466725 h 1181100"/>
                  <a:gd name="connsiteX25" fmla="*/ 2382 w 1378744"/>
                  <a:gd name="connsiteY25" fmla="*/ 481012 h 1181100"/>
                  <a:gd name="connsiteX26" fmla="*/ 4763 w 1378744"/>
                  <a:gd name="connsiteY26" fmla="*/ 533400 h 1181100"/>
                  <a:gd name="connsiteX27" fmla="*/ 0 w 1378744"/>
                  <a:gd name="connsiteY27" fmla="*/ 545306 h 1181100"/>
                  <a:gd name="connsiteX28" fmla="*/ 73819 w 1378744"/>
                  <a:gd name="connsiteY28" fmla="*/ 588168 h 1181100"/>
                  <a:gd name="connsiteX29" fmla="*/ 90488 w 1378744"/>
                  <a:gd name="connsiteY29" fmla="*/ 628650 h 1181100"/>
                  <a:gd name="connsiteX30" fmla="*/ 83344 w 1378744"/>
                  <a:gd name="connsiteY30" fmla="*/ 654843 h 1181100"/>
                  <a:gd name="connsiteX31" fmla="*/ 73819 w 1378744"/>
                  <a:gd name="connsiteY31" fmla="*/ 697706 h 1181100"/>
                  <a:gd name="connsiteX32" fmla="*/ 78582 w 1378744"/>
                  <a:gd name="connsiteY32" fmla="*/ 726281 h 1181100"/>
                  <a:gd name="connsiteX33" fmla="*/ 95250 w 1378744"/>
                  <a:gd name="connsiteY33" fmla="*/ 738187 h 1181100"/>
                  <a:gd name="connsiteX34" fmla="*/ 116682 w 1378744"/>
                  <a:gd name="connsiteY34" fmla="*/ 735806 h 1181100"/>
                  <a:gd name="connsiteX35" fmla="*/ 123825 w 1378744"/>
                  <a:gd name="connsiteY35" fmla="*/ 762000 h 1181100"/>
                  <a:gd name="connsiteX36" fmla="*/ 126207 w 1378744"/>
                  <a:gd name="connsiteY36" fmla="*/ 783431 h 1181100"/>
                  <a:gd name="connsiteX37" fmla="*/ 152400 w 1378744"/>
                  <a:gd name="connsiteY37" fmla="*/ 812006 h 1181100"/>
                  <a:gd name="connsiteX38" fmla="*/ 164307 w 1378744"/>
                  <a:gd name="connsiteY38" fmla="*/ 823912 h 1181100"/>
                  <a:gd name="connsiteX39" fmla="*/ 173832 w 1378744"/>
                  <a:gd name="connsiteY39" fmla="*/ 850106 h 1181100"/>
                  <a:gd name="connsiteX40" fmla="*/ 169069 w 1378744"/>
                  <a:gd name="connsiteY40" fmla="*/ 878681 h 1181100"/>
                  <a:gd name="connsiteX41" fmla="*/ 176213 w 1378744"/>
                  <a:gd name="connsiteY41" fmla="*/ 897731 h 1181100"/>
                  <a:gd name="connsiteX42" fmla="*/ 200025 w 1378744"/>
                  <a:gd name="connsiteY42" fmla="*/ 916781 h 1181100"/>
                  <a:gd name="connsiteX43" fmla="*/ 226219 w 1378744"/>
                  <a:gd name="connsiteY43" fmla="*/ 916781 h 1181100"/>
                  <a:gd name="connsiteX44" fmla="*/ 300038 w 1378744"/>
                  <a:gd name="connsiteY44" fmla="*/ 921543 h 1181100"/>
                  <a:gd name="connsiteX45" fmla="*/ 395288 w 1378744"/>
                  <a:gd name="connsiteY45" fmla="*/ 952500 h 1181100"/>
                  <a:gd name="connsiteX46" fmla="*/ 414338 w 1378744"/>
                  <a:gd name="connsiteY46" fmla="*/ 988218 h 1181100"/>
                  <a:gd name="connsiteX47" fmla="*/ 435769 w 1378744"/>
                  <a:gd name="connsiteY47" fmla="*/ 992981 h 1181100"/>
                  <a:gd name="connsiteX48" fmla="*/ 464344 w 1378744"/>
                  <a:gd name="connsiteY48" fmla="*/ 995362 h 1181100"/>
                  <a:gd name="connsiteX49" fmla="*/ 507207 w 1378744"/>
                  <a:gd name="connsiteY49" fmla="*/ 1026318 h 1181100"/>
                  <a:gd name="connsiteX50" fmla="*/ 521494 w 1378744"/>
                  <a:gd name="connsiteY50" fmla="*/ 1069181 h 1181100"/>
                  <a:gd name="connsiteX51" fmla="*/ 545307 w 1378744"/>
                  <a:gd name="connsiteY51" fmla="*/ 1107281 h 1181100"/>
                  <a:gd name="connsiteX52" fmla="*/ 573882 w 1378744"/>
                  <a:gd name="connsiteY52" fmla="*/ 1121568 h 1181100"/>
                  <a:gd name="connsiteX53" fmla="*/ 585788 w 1378744"/>
                  <a:gd name="connsiteY53" fmla="*/ 1131093 h 1181100"/>
                  <a:gd name="connsiteX54" fmla="*/ 597694 w 1378744"/>
                  <a:gd name="connsiteY54" fmla="*/ 1181100 h 1181100"/>
                  <a:gd name="connsiteX55" fmla="*/ 626269 w 1378744"/>
                  <a:gd name="connsiteY55" fmla="*/ 1171574 h 1181100"/>
                  <a:gd name="connsiteX56" fmla="*/ 814388 w 1378744"/>
                  <a:gd name="connsiteY56" fmla="*/ 1138237 h 1181100"/>
                  <a:gd name="connsiteX57" fmla="*/ 828675 w 1378744"/>
                  <a:gd name="connsiteY57" fmla="*/ 1109662 h 1181100"/>
                  <a:gd name="connsiteX58" fmla="*/ 833438 w 1378744"/>
                  <a:gd name="connsiteY58" fmla="*/ 1085850 h 1181100"/>
                  <a:gd name="connsiteX59" fmla="*/ 797719 w 1378744"/>
                  <a:gd name="connsiteY59" fmla="*/ 1059656 h 1181100"/>
                  <a:gd name="connsiteX60" fmla="*/ 790575 w 1378744"/>
                  <a:gd name="connsiteY60" fmla="*/ 1038225 h 1181100"/>
                  <a:gd name="connsiteX61" fmla="*/ 790575 w 1378744"/>
                  <a:gd name="connsiteY61" fmla="*/ 1021556 h 1181100"/>
                  <a:gd name="connsiteX62" fmla="*/ 845344 w 1378744"/>
                  <a:gd name="connsiteY62" fmla="*/ 952500 h 1181100"/>
                  <a:gd name="connsiteX63" fmla="*/ 845344 w 1378744"/>
                  <a:gd name="connsiteY63" fmla="*/ 952500 h 1181100"/>
                  <a:gd name="connsiteX64" fmla="*/ 888207 w 1378744"/>
                  <a:gd name="connsiteY64" fmla="*/ 966787 h 1181100"/>
                  <a:gd name="connsiteX65" fmla="*/ 907257 w 1378744"/>
                  <a:gd name="connsiteY65" fmla="*/ 981075 h 1181100"/>
                  <a:gd name="connsiteX66" fmla="*/ 938213 w 1378744"/>
                  <a:gd name="connsiteY66" fmla="*/ 990600 h 1181100"/>
                  <a:gd name="connsiteX67" fmla="*/ 964407 w 1378744"/>
                  <a:gd name="connsiteY67" fmla="*/ 985837 h 1181100"/>
                  <a:gd name="connsiteX68" fmla="*/ 985838 w 1378744"/>
                  <a:gd name="connsiteY68" fmla="*/ 985837 h 1181100"/>
                  <a:gd name="connsiteX69" fmla="*/ 995363 w 1378744"/>
                  <a:gd name="connsiteY69" fmla="*/ 995362 h 1181100"/>
                  <a:gd name="connsiteX70" fmla="*/ 978694 w 1378744"/>
                  <a:gd name="connsiteY70" fmla="*/ 1012031 h 1181100"/>
                  <a:gd name="connsiteX71" fmla="*/ 969169 w 1378744"/>
                  <a:gd name="connsiteY71" fmla="*/ 1031081 h 1181100"/>
                  <a:gd name="connsiteX72" fmla="*/ 954882 w 1378744"/>
                  <a:gd name="connsiteY72" fmla="*/ 1054893 h 1181100"/>
                  <a:gd name="connsiteX73" fmla="*/ 950119 w 1378744"/>
                  <a:gd name="connsiteY73" fmla="*/ 1083468 h 1181100"/>
                  <a:gd name="connsiteX74" fmla="*/ 962025 w 1378744"/>
                  <a:gd name="connsiteY74" fmla="*/ 1107281 h 1181100"/>
                  <a:gd name="connsiteX75" fmla="*/ 983457 w 1378744"/>
                  <a:gd name="connsiteY75" fmla="*/ 1131093 h 1181100"/>
                  <a:gd name="connsiteX76" fmla="*/ 1002507 w 1378744"/>
                  <a:gd name="connsiteY76" fmla="*/ 1133475 h 1181100"/>
                  <a:gd name="connsiteX77" fmla="*/ 1028700 w 1378744"/>
                  <a:gd name="connsiteY77" fmla="*/ 1126331 h 1181100"/>
                  <a:gd name="connsiteX78" fmla="*/ 1031082 w 1378744"/>
                  <a:gd name="connsiteY78" fmla="*/ 1097756 h 1181100"/>
                  <a:gd name="connsiteX79" fmla="*/ 1057275 w 1378744"/>
                  <a:gd name="connsiteY79" fmla="*/ 1085850 h 1181100"/>
                  <a:gd name="connsiteX80" fmla="*/ 1076325 w 1378744"/>
                  <a:gd name="connsiteY80" fmla="*/ 1097756 h 1181100"/>
                  <a:gd name="connsiteX81" fmla="*/ 1100138 w 1378744"/>
                  <a:gd name="connsiteY81" fmla="*/ 1107281 h 1181100"/>
                  <a:gd name="connsiteX82" fmla="*/ 1123950 w 1378744"/>
                  <a:gd name="connsiteY82" fmla="*/ 1121568 h 1181100"/>
                  <a:gd name="connsiteX83" fmla="*/ 1143000 w 1378744"/>
                  <a:gd name="connsiteY83" fmla="*/ 1123950 h 1181100"/>
                  <a:gd name="connsiteX84" fmla="*/ 1157288 w 1378744"/>
                  <a:gd name="connsiteY84" fmla="*/ 1112043 h 1181100"/>
                  <a:gd name="connsiteX85" fmla="*/ 1159669 w 1378744"/>
                  <a:gd name="connsiteY85" fmla="*/ 1085850 h 1181100"/>
                  <a:gd name="connsiteX86" fmla="*/ 1166813 w 1378744"/>
                  <a:gd name="connsiteY86" fmla="*/ 1052512 h 1181100"/>
                  <a:gd name="connsiteX87" fmla="*/ 1197769 w 1378744"/>
                  <a:gd name="connsiteY87" fmla="*/ 1016793 h 1181100"/>
                  <a:gd name="connsiteX88" fmla="*/ 1195388 w 1378744"/>
                  <a:gd name="connsiteY88" fmla="*/ 954881 h 1181100"/>
                  <a:gd name="connsiteX89" fmla="*/ 1209675 w 1378744"/>
                  <a:gd name="connsiteY89" fmla="*/ 945356 h 1181100"/>
                  <a:gd name="connsiteX90" fmla="*/ 1235869 w 1378744"/>
                  <a:gd name="connsiteY90" fmla="*/ 945356 h 1181100"/>
                  <a:gd name="connsiteX91" fmla="*/ 1235869 w 1378744"/>
                  <a:gd name="connsiteY91" fmla="*/ 931068 h 1181100"/>
                  <a:gd name="connsiteX92" fmla="*/ 1212057 w 1378744"/>
                  <a:gd name="connsiteY92" fmla="*/ 912018 h 1181100"/>
                  <a:gd name="connsiteX93" fmla="*/ 1195388 w 1378744"/>
                  <a:gd name="connsiteY93" fmla="*/ 881062 h 1181100"/>
                  <a:gd name="connsiteX94" fmla="*/ 1157288 w 1378744"/>
                  <a:gd name="connsiteY94" fmla="*/ 871537 h 1181100"/>
                  <a:gd name="connsiteX95" fmla="*/ 1119188 w 1378744"/>
                  <a:gd name="connsiteY95" fmla="*/ 859631 h 1181100"/>
                  <a:gd name="connsiteX96" fmla="*/ 1119188 w 1378744"/>
                  <a:gd name="connsiteY96" fmla="*/ 831056 h 1181100"/>
                  <a:gd name="connsiteX97" fmla="*/ 1135857 w 1378744"/>
                  <a:gd name="connsiteY97" fmla="*/ 807243 h 1181100"/>
                  <a:gd name="connsiteX98" fmla="*/ 1197769 w 1378744"/>
                  <a:gd name="connsiteY98" fmla="*/ 759618 h 1181100"/>
                  <a:gd name="connsiteX99" fmla="*/ 1247775 w 1378744"/>
                  <a:gd name="connsiteY99" fmla="*/ 762000 h 1181100"/>
                  <a:gd name="connsiteX100" fmla="*/ 1278732 w 1378744"/>
                  <a:gd name="connsiteY100" fmla="*/ 762000 h 1181100"/>
                  <a:gd name="connsiteX101" fmla="*/ 1271588 w 1378744"/>
                  <a:gd name="connsiteY101" fmla="*/ 735806 h 1181100"/>
                  <a:gd name="connsiteX102" fmla="*/ 1378744 w 1378744"/>
                  <a:gd name="connsiteY102" fmla="*/ 678656 h 1181100"/>
                  <a:gd name="connsiteX103" fmla="*/ 1331119 w 1378744"/>
                  <a:gd name="connsiteY103" fmla="*/ 552450 h 1181100"/>
                  <a:gd name="connsiteX104" fmla="*/ 1278732 w 1378744"/>
                  <a:gd name="connsiteY104" fmla="*/ 514350 h 1181100"/>
                  <a:gd name="connsiteX105" fmla="*/ 1252538 w 1378744"/>
                  <a:gd name="connsiteY105" fmla="*/ 431006 h 1181100"/>
                  <a:gd name="connsiteX106" fmla="*/ 1181100 w 1378744"/>
                  <a:gd name="connsiteY106" fmla="*/ 431006 h 1181100"/>
                  <a:gd name="connsiteX107" fmla="*/ 1166813 w 1378744"/>
                  <a:gd name="connsiteY107" fmla="*/ 395287 h 1181100"/>
                  <a:gd name="connsiteX108" fmla="*/ 1107282 w 1378744"/>
                  <a:gd name="connsiteY108" fmla="*/ 421481 h 1181100"/>
                  <a:gd name="connsiteX109" fmla="*/ 1054894 w 1378744"/>
                  <a:gd name="connsiteY109" fmla="*/ 414337 h 1181100"/>
                  <a:gd name="connsiteX110" fmla="*/ 1028700 w 1378744"/>
                  <a:gd name="connsiteY110" fmla="*/ 371475 h 1181100"/>
                  <a:gd name="connsiteX111" fmla="*/ 1023938 w 1378744"/>
                  <a:gd name="connsiteY111" fmla="*/ 288131 h 1181100"/>
                  <a:gd name="connsiteX112" fmla="*/ 1012032 w 1378744"/>
                  <a:gd name="connsiteY112" fmla="*/ 269081 h 1181100"/>
                  <a:gd name="connsiteX113" fmla="*/ 1012032 w 1378744"/>
                  <a:gd name="connsiteY113" fmla="*/ 211931 h 1181100"/>
                  <a:gd name="connsiteX114" fmla="*/ 959644 w 1378744"/>
                  <a:gd name="connsiteY114" fmla="*/ 190500 h 1181100"/>
                  <a:gd name="connsiteX115" fmla="*/ 914400 w 1378744"/>
                  <a:gd name="connsiteY115" fmla="*/ 111918 h 1181100"/>
                  <a:gd name="connsiteX116" fmla="*/ 854869 w 1378744"/>
                  <a:gd name="connsiteY116" fmla="*/ 76200 h 1181100"/>
                  <a:gd name="connsiteX117" fmla="*/ 873919 w 1378744"/>
                  <a:gd name="connsiteY117" fmla="*/ 16668 h 1181100"/>
                  <a:gd name="connsiteX118" fmla="*/ 783432 w 1378744"/>
                  <a:gd name="connsiteY118" fmla="*/ 0 h 1181100"/>
                  <a:gd name="connsiteX0" fmla="*/ 783432 w 1378744"/>
                  <a:gd name="connsiteY0" fmla="*/ 0 h 1250156"/>
                  <a:gd name="connsiteX1" fmla="*/ 738188 w 1378744"/>
                  <a:gd name="connsiteY1" fmla="*/ 26193 h 1250156"/>
                  <a:gd name="connsiteX2" fmla="*/ 685800 w 1378744"/>
                  <a:gd name="connsiteY2" fmla="*/ 28575 h 1250156"/>
                  <a:gd name="connsiteX3" fmla="*/ 635794 w 1378744"/>
                  <a:gd name="connsiteY3" fmla="*/ 73818 h 1250156"/>
                  <a:gd name="connsiteX4" fmla="*/ 633413 w 1378744"/>
                  <a:gd name="connsiteY4" fmla="*/ 114300 h 1250156"/>
                  <a:gd name="connsiteX5" fmla="*/ 561975 w 1378744"/>
                  <a:gd name="connsiteY5" fmla="*/ 190500 h 1250156"/>
                  <a:gd name="connsiteX6" fmla="*/ 519113 w 1378744"/>
                  <a:gd name="connsiteY6" fmla="*/ 214312 h 1250156"/>
                  <a:gd name="connsiteX7" fmla="*/ 485775 w 1378744"/>
                  <a:gd name="connsiteY7" fmla="*/ 252412 h 1250156"/>
                  <a:gd name="connsiteX8" fmla="*/ 461963 w 1378744"/>
                  <a:gd name="connsiteY8" fmla="*/ 273843 h 1250156"/>
                  <a:gd name="connsiteX9" fmla="*/ 423863 w 1378744"/>
                  <a:gd name="connsiteY9" fmla="*/ 333375 h 1250156"/>
                  <a:gd name="connsiteX10" fmla="*/ 378619 w 1378744"/>
                  <a:gd name="connsiteY10" fmla="*/ 357187 h 1250156"/>
                  <a:gd name="connsiteX11" fmla="*/ 292894 w 1378744"/>
                  <a:gd name="connsiteY11" fmla="*/ 376237 h 1250156"/>
                  <a:gd name="connsiteX12" fmla="*/ 264319 w 1378744"/>
                  <a:gd name="connsiteY12" fmla="*/ 373856 h 1250156"/>
                  <a:gd name="connsiteX13" fmla="*/ 240507 w 1378744"/>
                  <a:gd name="connsiteY13" fmla="*/ 359568 h 1250156"/>
                  <a:gd name="connsiteX14" fmla="*/ 226219 w 1378744"/>
                  <a:gd name="connsiteY14" fmla="*/ 338137 h 1250156"/>
                  <a:gd name="connsiteX15" fmla="*/ 219075 w 1378744"/>
                  <a:gd name="connsiteY15" fmla="*/ 311943 h 1250156"/>
                  <a:gd name="connsiteX16" fmla="*/ 204788 w 1378744"/>
                  <a:gd name="connsiteY16" fmla="*/ 309562 h 1250156"/>
                  <a:gd name="connsiteX17" fmla="*/ 188119 w 1378744"/>
                  <a:gd name="connsiteY17" fmla="*/ 304800 h 1250156"/>
                  <a:gd name="connsiteX18" fmla="*/ 173832 w 1378744"/>
                  <a:gd name="connsiteY18" fmla="*/ 302418 h 1250156"/>
                  <a:gd name="connsiteX19" fmla="*/ 128588 w 1378744"/>
                  <a:gd name="connsiteY19" fmla="*/ 352425 h 1250156"/>
                  <a:gd name="connsiteX20" fmla="*/ 97632 w 1378744"/>
                  <a:gd name="connsiteY20" fmla="*/ 371475 h 1250156"/>
                  <a:gd name="connsiteX21" fmla="*/ 80963 w 1378744"/>
                  <a:gd name="connsiteY21" fmla="*/ 390525 h 1250156"/>
                  <a:gd name="connsiteX22" fmla="*/ 66675 w 1378744"/>
                  <a:gd name="connsiteY22" fmla="*/ 435768 h 1250156"/>
                  <a:gd name="connsiteX23" fmla="*/ 54769 w 1378744"/>
                  <a:gd name="connsiteY23" fmla="*/ 447675 h 1250156"/>
                  <a:gd name="connsiteX24" fmla="*/ 9525 w 1378744"/>
                  <a:gd name="connsiteY24" fmla="*/ 466725 h 1250156"/>
                  <a:gd name="connsiteX25" fmla="*/ 2382 w 1378744"/>
                  <a:gd name="connsiteY25" fmla="*/ 481012 h 1250156"/>
                  <a:gd name="connsiteX26" fmla="*/ 4763 w 1378744"/>
                  <a:gd name="connsiteY26" fmla="*/ 533400 h 1250156"/>
                  <a:gd name="connsiteX27" fmla="*/ 0 w 1378744"/>
                  <a:gd name="connsiteY27" fmla="*/ 545306 h 1250156"/>
                  <a:gd name="connsiteX28" fmla="*/ 73819 w 1378744"/>
                  <a:gd name="connsiteY28" fmla="*/ 588168 h 1250156"/>
                  <a:gd name="connsiteX29" fmla="*/ 90488 w 1378744"/>
                  <a:gd name="connsiteY29" fmla="*/ 628650 h 1250156"/>
                  <a:gd name="connsiteX30" fmla="*/ 83344 w 1378744"/>
                  <a:gd name="connsiteY30" fmla="*/ 654843 h 1250156"/>
                  <a:gd name="connsiteX31" fmla="*/ 73819 w 1378744"/>
                  <a:gd name="connsiteY31" fmla="*/ 697706 h 1250156"/>
                  <a:gd name="connsiteX32" fmla="*/ 78582 w 1378744"/>
                  <a:gd name="connsiteY32" fmla="*/ 726281 h 1250156"/>
                  <a:gd name="connsiteX33" fmla="*/ 95250 w 1378744"/>
                  <a:gd name="connsiteY33" fmla="*/ 738187 h 1250156"/>
                  <a:gd name="connsiteX34" fmla="*/ 116682 w 1378744"/>
                  <a:gd name="connsiteY34" fmla="*/ 735806 h 1250156"/>
                  <a:gd name="connsiteX35" fmla="*/ 123825 w 1378744"/>
                  <a:gd name="connsiteY35" fmla="*/ 762000 h 1250156"/>
                  <a:gd name="connsiteX36" fmla="*/ 126207 w 1378744"/>
                  <a:gd name="connsiteY36" fmla="*/ 783431 h 1250156"/>
                  <a:gd name="connsiteX37" fmla="*/ 152400 w 1378744"/>
                  <a:gd name="connsiteY37" fmla="*/ 812006 h 1250156"/>
                  <a:gd name="connsiteX38" fmla="*/ 164307 w 1378744"/>
                  <a:gd name="connsiteY38" fmla="*/ 823912 h 1250156"/>
                  <a:gd name="connsiteX39" fmla="*/ 173832 w 1378744"/>
                  <a:gd name="connsiteY39" fmla="*/ 850106 h 1250156"/>
                  <a:gd name="connsiteX40" fmla="*/ 169069 w 1378744"/>
                  <a:gd name="connsiteY40" fmla="*/ 878681 h 1250156"/>
                  <a:gd name="connsiteX41" fmla="*/ 176213 w 1378744"/>
                  <a:gd name="connsiteY41" fmla="*/ 897731 h 1250156"/>
                  <a:gd name="connsiteX42" fmla="*/ 200025 w 1378744"/>
                  <a:gd name="connsiteY42" fmla="*/ 916781 h 1250156"/>
                  <a:gd name="connsiteX43" fmla="*/ 226219 w 1378744"/>
                  <a:gd name="connsiteY43" fmla="*/ 916781 h 1250156"/>
                  <a:gd name="connsiteX44" fmla="*/ 300038 w 1378744"/>
                  <a:gd name="connsiteY44" fmla="*/ 921543 h 1250156"/>
                  <a:gd name="connsiteX45" fmla="*/ 395288 w 1378744"/>
                  <a:gd name="connsiteY45" fmla="*/ 952500 h 1250156"/>
                  <a:gd name="connsiteX46" fmla="*/ 414338 w 1378744"/>
                  <a:gd name="connsiteY46" fmla="*/ 988218 h 1250156"/>
                  <a:gd name="connsiteX47" fmla="*/ 435769 w 1378744"/>
                  <a:gd name="connsiteY47" fmla="*/ 992981 h 1250156"/>
                  <a:gd name="connsiteX48" fmla="*/ 464344 w 1378744"/>
                  <a:gd name="connsiteY48" fmla="*/ 995362 h 1250156"/>
                  <a:gd name="connsiteX49" fmla="*/ 507207 w 1378744"/>
                  <a:gd name="connsiteY49" fmla="*/ 1026318 h 1250156"/>
                  <a:gd name="connsiteX50" fmla="*/ 521494 w 1378744"/>
                  <a:gd name="connsiteY50" fmla="*/ 1069181 h 1250156"/>
                  <a:gd name="connsiteX51" fmla="*/ 545307 w 1378744"/>
                  <a:gd name="connsiteY51" fmla="*/ 1107281 h 1250156"/>
                  <a:gd name="connsiteX52" fmla="*/ 573882 w 1378744"/>
                  <a:gd name="connsiteY52" fmla="*/ 1121568 h 1250156"/>
                  <a:gd name="connsiteX53" fmla="*/ 585788 w 1378744"/>
                  <a:gd name="connsiteY53" fmla="*/ 1131093 h 1250156"/>
                  <a:gd name="connsiteX54" fmla="*/ 597694 w 1378744"/>
                  <a:gd name="connsiteY54" fmla="*/ 1181100 h 1250156"/>
                  <a:gd name="connsiteX55" fmla="*/ 633413 w 1378744"/>
                  <a:gd name="connsiteY55" fmla="*/ 1250156 h 1250156"/>
                  <a:gd name="connsiteX56" fmla="*/ 814388 w 1378744"/>
                  <a:gd name="connsiteY56" fmla="*/ 1138237 h 1250156"/>
                  <a:gd name="connsiteX57" fmla="*/ 828675 w 1378744"/>
                  <a:gd name="connsiteY57" fmla="*/ 1109662 h 1250156"/>
                  <a:gd name="connsiteX58" fmla="*/ 833438 w 1378744"/>
                  <a:gd name="connsiteY58" fmla="*/ 1085850 h 1250156"/>
                  <a:gd name="connsiteX59" fmla="*/ 797719 w 1378744"/>
                  <a:gd name="connsiteY59" fmla="*/ 1059656 h 1250156"/>
                  <a:gd name="connsiteX60" fmla="*/ 790575 w 1378744"/>
                  <a:gd name="connsiteY60" fmla="*/ 1038225 h 1250156"/>
                  <a:gd name="connsiteX61" fmla="*/ 790575 w 1378744"/>
                  <a:gd name="connsiteY61" fmla="*/ 1021556 h 1250156"/>
                  <a:gd name="connsiteX62" fmla="*/ 845344 w 1378744"/>
                  <a:gd name="connsiteY62" fmla="*/ 952500 h 1250156"/>
                  <a:gd name="connsiteX63" fmla="*/ 845344 w 1378744"/>
                  <a:gd name="connsiteY63" fmla="*/ 952500 h 1250156"/>
                  <a:gd name="connsiteX64" fmla="*/ 888207 w 1378744"/>
                  <a:gd name="connsiteY64" fmla="*/ 966787 h 1250156"/>
                  <a:gd name="connsiteX65" fmla="*/ 907257 w 1378744"/>
                  <a:gd name="connsiteY65" fmla="*/ 981075 h 1250156"/>
                  <a:gd name="connsiteX66" fmla="*/ 938213 w 1378744"/>
                  <a:gd name="connsiteY66" fmla="*/ 990600 h 1250156"/>
                  <a:gd name="connsiteX67" fmla="*/ 964407 w 1378744"/>
                  <a:gd name="connsiteY67" fmla="*/ 985837 h 1250156"/>
                  <a:gd name="connsiteX68" fmla="*/ 985838 w 1378744"/>
                  <a:gd name="connsiteY68" fmla="*/ 985837 h 1250156"/>
                  <a:gd name="connsiteX69" fmla="*/ 995363 w 1378744"/>
                  <a:gd name="connsiteY69" fmla="*/ 995362 h 1250156"/>
                  <a:gd name="connsiteX70" fmla="*/ 978694 w 1378744"/>
                  <a:gd name="connsiteY70" fmla="*/ 1012031 h 1250156"/>
                  <a:gd name="connsiteX71" fmla="*/ 969169 w 1378744"/>
                  <a:gd name="connsiteY71" fmla="*/ 1031081 h 1250156"/>
                  <a:gd name="connsiteX72" fmla="*/ 954882 w 1378744"/>
                  <a:gd name="connsiteY72" fmla="*/ 1054893 h 1250156"/>
                  <a:gd name="connsiteX73" fmla="*/ 950119 w 1378744"/>
                  <a:gd name="connsiteY73" fmla="*/ 1083468 h 1250156"/>
                  <a:gd name="connsiteX74" fmla="*/ 962025 w 1378744"/>
                  <a:gd name="connsiteY74" fmla="*/ 1107281 h 1250156"/>
                  <a:gd name="connsiteX75" fmla="*/ 983457 w 1378744"/>
                  <a:gd name="connsiteY75" fmla="*/ 1131093 h 1250156"/>
                  <a:gd name="connsiteX76" fmla="*/ 1002507 w 1378744"/>
                  <a:gd name="connsiteY76" fmla="*/ 1133475 h 1250156"/>
                  <a:gd name="connsiteX77" fmla="*/ 1028700 w 1378744"/>
                  <a:gd name="connsiteY77" fmla="*/ 1126331 h 1250156"/>
                  <a:gd name="connsiteX78" fmla="*/ 1031082 w 1378744"/>
                  <a:gd name="connsiteY78" fmla="*/ 1097756 h 1250156"/>
                  <a:gd name="connsiteX79" fmla="*/ 1057275 w 1378744"/>
                  <a:gd name="connsiteY79" fmla="*/ 1085850 h 1250156"/>
                  <a:gd name="connsiteX80" fmla="*/ 1076325 w 1378744"/>
                  <a:gd name="connsiteY80" fmla="*/ 1097756 h 1250156"/>
                  <a:gd name="connsiteX81" fmla="*/ 1100138 w 1378744"/>
                  <a:gd name="connsiteY81" fmla="*/ 1107281 h 1250156"/>
                  <a:gd name="connsiteX82" fmla="*/ 1123950 w 1378744"/>
                  <a:gd name="connsiteY82" fmla="*/ 1121568 h 1250156"/>
                  <a:gd name="connsiteX83" fmla="*/ 1143000 w 1378744"/>
                  <a:gd name="connsiteY83" fmla="*/ 1123950 h 1250156"/>
                  <a:gd name="connsiteX84" fmla="*/ 1157288 w 1378744"/>
                  <a:gd name="connsiteY84" fmla="*/ 1112043 h 1250156"/>
                  <a:gd name="connsiteX85" fmla="*/ 1159669 w 1378744"/>
                  <a:gd name="connsiteY85" fmla="*/ 1085850 h 1250156"/>
                  <a:gd name="connsiteX86" fmla="*/ 1166813 w 1378744"/>
                  <a:gd name="connsiteY86" fmla="*/ 1052512 h 1250156"/>
                  <a:gd name="connsiteX87" fmla="*/ 1197769 w 1378744"/>
                  <a:gd name="connsiteY87" fmla="*/ 1016793 h 1250156"/>
                  <a:gd name="connsiteX88" fmla="*/ 1195388 w 1378744"/>
                  <a:gd name="connsiteY88" fmla="*/ 954881 h 1250156"/>
                  <a:gd name="connsiteX89" fmla="*/ 1209675 w 1378744"/>
                  <a:gd name="connsiteY89" fmla="*/ 945356 h 1250156"/>
                  <a:gd name="connsiteX90" fmla="*/ 1235869 w 1378744"/>
                  <a:gd name="connsiteY90" fmla="*/ 945356 h 1250156"/>
                  <a:gd name="connsiteX91" fmla="*/ 1235869 w 1378744"/>
                  <a:gd name="connsiteY91" fmla="*/ 931068 h 1250156"/>
                  <a:gd name="connsiteX92" fmla="*/ 1212057 w 1378744"/>
                  <a:gd name="connsiteY92" fmla="*/ 912018 h 1250156"/>
                  <a:gd name="connsiteX93" fmla="*/ 1195388 w 1378744"/>
                  <a:gd name="connsiteY93" fmla="*/ 881062 h 1250156"/>
                  <a:gd name="connsiteX94" fmla="*/ 1157288 w 1378744"/>
                  <a:gd name="connsiteY94" fmla="*/ 871537 h 1250156"/>
                  <a:gd name="connsiteX95" fmla="*/ 1119188 w 1378744"/>
                  <a:gd name="connsiteY95" fmla="*/ 859631 h 1250156"/>
                  <a:gd name="connsiteX96" fmla="*/ 1119188 w 1378744"/>
                  <a:gd name="connsiteY96" fmla="*/ 831056 h 1250156"/>
                  <a:gd name="connsiteX97" fmla="*/ 1135857 w 1378744"/>
                  <a:gd name="connsiteY97" fmla="*/ 807243 h 1250156"/>
                  <a:gd name="connsiteX98" fmla="*/ 1197769 w 1378744"/>
                  <a:gd name="connsiteY98" fmla="*/ 759618 h 1250156"/>
                  <a:gd name="connsiteX99" fmla="*/ 1247775 w 1378744"/>
                  <a:gd name="connsiteY99" fmla="*/ 762000 h 1250156"/>
                  <a:gd name="connsiteX100" fmla="*/ 1278732 w 1378744"/>
                  <a:gd name="connsiteY100" fmla="*/ 762000 h 1250156"/>
                  <a:gd name="connsiteX101" fmla="*/ 1271588 w 1378744"/>
                  <a:gd name="connsiteY101" fmla="*/ 735806 h 1250156"/>
                  <a:gd name="connsiteX102" fmla="*/ 1378744 w 1378744"/>
                  <a:gd name="connsiteY102" fmla="*/ 678656 h 1250156"/>
                  <a:gd name="connsiteX103" fmla="*/ 1331119 w 1378744"/>
                  <a:gd name="connsiteY103" fmla="*/ 552450 h 1250156"/>
                  <a:gd name="connsiteX104" fmla="*/ 1278732 w 1378744"/>
                  <a:gd name="connsiteY104" fmla="*/ 514350 h 1250156"/>
                  <a:gd name="connsiteX105" fmla="*/ 1252538 w 1378744"/>
                  <a:gd name="connsiteY105" fmla="*/ 431006 h 1250156"/>
                  <a:gd name="connsiteX106" fmla="*/ 1181100 w 1378744"/>
                  <a:gd name="connsiteY106" fmla="*/ 431006 h 1250156"/>
                  <a:gd name="connsiteX107" fmla="*/ 1166813 w 1378744"/>
                  <a:gd name="connsiteY107" fmla="*/ 395287 h 1250156"/>
                  <a:gd name="connsiteX108" fmla="*/ 1107282 w 1378744"/>
                  <a:gd name="connsiteY108" fmla="*/ 421481 h 1250156"/>
                  <a:gd name="connsiteX109" fmla="*/ 1054894 w 1378744"/>
                  <a:gd name="connsiteY109" fmla="*/ 414337 h 1250156"/>
                  <a:gd name="connsiteX110" fmla="*/ 1028700 w 1378744"/>
                  <a:gd name="connsiteY110" fmla="*/ 371475 h 1250156"/>
                  <a:gd name="connsiteX111" fmla="*/ 1023938 w 1378744"/>
                  <a:gd name="connsiteY111" fmla="*/ 288131 h 1250156"/>
                  <a:gd name="connsiteX112" fmla="*/ 1012032 w 1378744"/>
                  <a:gd name="connsiteY112" fmla="*/ 269081 h 1250156"/>
                  <a:gd name="connsiteX113" fmla="*/ 1012032 w 1378744"/>
                  <a:gd name="connsiteY113" fmla="*/ 211931 h 1250156"/>
                  <a:gd name="connsiteX114" fmla="*/ 959644 w 1378744"/>
                  <a:gd name="connsiteY114" fmla="*/ 190500 h 1250156"/>
                  <a:gd name="connsiteX115" fmla="*/ 914400 w 1378744"/>
                  <a:gd name="connsiteY115" fmla="*/ 111918 h 1250156"/>
                  <a:gd name="connsiteX116" fmla="*/ 854869 w 1378744"/>
                  <a:gd name="connsiteY116" fmla="*/ 76200 h 1250156"/>
                  <a:gd name="connsiteX117" fmla="*/ 873919 w 1378744"/>
                  <a:gd name="connsiteY117" fmla="*/ 16668 h 1250156"/>
                  <a:gd name="connsiteX118" fmla="*/ 783432 w 1378744"/>
                  <a:gd name="connsiteY118" fmla="*/ 0 h 1250156"/>
                  <a:gd name="connsiteX0" fmla="*/ 783432 w 1378744"/>
                  <a:gd name="connsiteY0" fmla="*/ 0 h 1250156"/>
                  <a:gd name="connsiteX1" fmla="*/ 738188 w 1378744"/>
                  <a:gd name="connsiteY1" fmla="*/ 26193 h 1250156"/>
                  <a:gd name="connsiteX2" fmla="*/ 685800 w 1378744"/>
                  <a:gd name="connsiteY2" fmla="*/ 28575 h 1250156"/>
                  <a:gd name="connsiteX3" fmla="*/ 635794 w 1378744"/>
                  <a:gd name="connsiteY3" fmla="*/ 73818 h 1250156"/>
                  <a:gd name="connsiteX4" fmla="*/ 633413 w 1378744"/>
                  <a:gd name="connsiteY4" fmla="*/ 114300 h 1250156"/>
                  <a:gd name="connsiteX5" fmla="*/ 561975 w 1378744"/>
                  <a:gd name="connsiteY5" fmla="*/ 190500 h 1250156"/>
                  <a:gd name="connsiteX6" fmla="*/ 519113 w 1378744"/>
                  <a:gd name="connsiteY6" fmla="*/ 214312 h 1250156"/>
                  <a:gd name="connsiteX7" fmla="*/ 485775 w 1378744"/>
                  <a:gd name="connsiteY7" fmla="*/ 252412 h 1250156"/>
                  <a:gd name="connsiteX8" fmla="*/ 461963 w 1378744"/>
                  <a:gd name="connsiteY8" fmla="*/ 273843 h 1250156"/>
                  <a:gd name="connsiteX9" fmla="*/ 423863 w 1378744"/>
                  <a:gd name="connsiteY9" fmla="*/ 333375 h 1250156"/>
                  <a:gd name="connsiteX10" fmla="*/ 378619 w 1378744"/>
                  <a:gd name="connsiteY10" fmla="*/ 357187 h 1250156"/>
                  <a:gd name="connsiteX11" fmla="*/ 292894 w 1378744"/>
                  <a:gd name="connsiteY11" fmla="*/ 376237 h 1250156"/>
                  <a:gd name="connsiteX12" fmla="*/ 264319 w 1378744"/>
                  <a:gd name="connsiteY12" fmla="*/ 373856 h 1250156"/>
                  <a:gd name="connsiteX13" fmla="*/ 240507 w 1378744"/>
                  <a:gd name="connsiteY13" fmla="*/ 359568 h 1250156"/>
                  <a:gd name="connsiteX14" fmla="*/ 226219 w 1378744"/>
                  <a:gd name="connsiteY14" fmla="*/ 338137 h 1250156"/>
                  <a:gd name="connsiteX15" fmla="*/ 219075 w 1378744"/>
                  <a:gd name="connsiteY15" fmla="*/ 311943 h 1250156"/>
                  <a:gd name="connsiteX16" fmla="*/ 204788 w 1378744"/>
                  <a:gd name="connsiteY16" fmla="*/ 309562 h 1250156"/>
                  <a:gd name="connsiteX17" fmla="*/ 188119 w 1378744"/>
                  <a:gd name="connsiteY17" fmla="*/ 304800 h 1250156"/>
                  <a:gd name="connsiteX18" fmla="*/ 173832 w 1378744"/>
                  <a:gd name="connsiteY18" fmla="*/ 302418 h 1250156"/>
                  <a:gd name="connsiteX19" fmla="*/ 128588 w 1378744"/>
                  <a:gd name="connsiteY19" fmla="*/ 352425 h 1250156"/>
                  <a:gd name="connsiteX20" fmla="*/ 97632 w 1378744"/>
                  <a:gd name="connsiteY20" fmla="*/ 371475 h 1250156"/>
                  <a:gd name="connsiteX21" fmla="*/ 80963 w 1378744"/>
                  <a:gd name="connsiteY21" fmla="*/ 390525 h 1250156"/>
                  <a:gd name="connsiteX22" fmla="*/ 66675 w 1378744"/>
                  <a:gd name="connsiteY22" fmla="*/ 435768 h 1250156"/>
                  <a:gd name="connsiteX23" fmla="*/ 54769 w 1378744"/>
                  <a:gd name="connsiteY23" fmla="*/ 447675 h 1250156"/>
                  <a:gd name="connsiteX24" fmla="*/ 9525 w 1378744"/>
                  <a:gd name="connsiteY24" fmla="*/ 466725 h 1250156"/>
                  <a:gd name="connsiteX25" fmla="*/ 2382 w 1378744"/>
                  <a:gd name="connsiteY25" fmla="*/ 481012 h 1250156"/>
                  <a:gd name="connsiteX26" fmla="*/ 4763 w 1378744"/>
                  <a:gd name="connsiteY26" fmla="*/ 533400 h 1250156"/>
                  <a:gd name="connsiteX27" fmla="*/ 0 w 1378744"/>
                  <a:gd name="connsiteY27" fmla="*/ 545306 h 1250156"/>
                  <a:gd name="connsiteX28" fmla="*/ 73819 w 1378744"/>
                  <a:gd name="connsiteY28" fmla="*/ 588168 h 1250156"/>
                  <a:gd name="connsiteX29" fmla="*/ 90488 w 1378744"/>
                  <a:gd name="connsiteY29" fmla="*/ 628650 h 1250156"/>
                  <a:gd name="connsiteX30" fmla="*/ 83344 w 1378744"/>
                  <a:gd name="connsiteY30" fmla="*/ 654843 h 1250156"/>
                  <a:gd name="connsiteX31" fmla="*/ 73819 w 1378744"/>
                  <a:gd name="connsiteY31" fmla="*/ 697706 h 1250156"/>
                  <a:gd name="connsiteX32" fmla="*/ 78582 w 1378744"/>
                  <a:gd name="connsiteY32" fmla="*/ 726281 h 1250156"/>
                  <a:gd name="connsiteX33" fmla="*/ 95250 w 1378744"/>
                  <a:gd name="connsiteY33" fmla="*/ 738187 h 1250156"/>
                  <a:gd name="connsiteX34" fmla="*/ 116682 w 1378744"/>
                  <a:gd name="connsiteY34" fmla="*/ 735806 h 1250156"/>
                  <a:gd name="connsiteX35" fmla="*/ 123825 w 1378744"/>
                  <a:gd name="connsiteY35" fmla="*/ 762000 h 1250156"/>
                  <a:gd name="connsiteX36" fmla="*/ 126207 w 1378744"/>
                  <a:gd name="connsiteY36" fmla="*/ 783431 h 1250156"/>
                  <a:gd name="connsiteX37" fmla="*/ 152400 w 1378744"/>
                  <a:gd name="connsiteY37" fmla="*/ 812006 h 1250156"/>
                  <a:gd name="connsiteX38" fmla="*/ 164307 w 1378744"/>
                  <a:gd name="connsiteY38" fmla="*/ 823912 h 1250156"/>
                  <a:gd name="connsiteX39" fmla="*/ 173832 w 1378744"/>
                  <a:gd name="connsiteY39" fmla="*/ 850106 h 1250156"/>
                  <a:gd name="connsiteX40" fmla="*/ 169069 w 1378744"/>
                  <a:gd name="connsiteY40" fmla="*/ 878681 h 1250156"/>
                  <a:gd name="connsiteX41" fmla="*/ 176213 w 1378744"/>
                  <a:gd name="connsiteY41" fmla="*/ 897731 h 1250156"/>
                  <a:gd name="connsiteX42" fmla="*/ 200025 w 1378744"/>
                  <a:gd name="connsiteY42" fmla="*/ 916781 h 1250156"/>
                  <a:gd name="connsiteX43" fmla="*/ 226219 w 1378744"/>
                  <a:gd name="connsiteY43" fmla="*/ 916781 h 1250156"/>
                  <a:gd name="connsiteX44" fmla="*/ 300038 w 1378744"/>
                  <a:gd name="connsiteY44" fmla="*/ 921543 h 1250156"/>
                  <a:gd name="connsiteX45" fmla="*/ 395288 w 1378744"/>
                  <a:gd name="connsiteY45" fmla="*/ 952500 h 1250156"/>
                  <a:gd name="connsiteX46" fmla="*/ 414338 w 1378744"/>
                  <a:gd name="connsiteY46" fmla="*/ 988218 h 1250156"/>
                  <a:gd name="connsiteX47" fmla="*/ 435769 w 1378744"/>
                  <a:gd name="connsiteY47" fmla="*/ 992981 h 1250156"/>
                  <a:gd name="connsiteX48" fmla="*/ 464344 w 1378744"/>
                  <a:gd name="connsiteY48" fmla="*/ 995362 h 1250156"/>
                  <a:gd name="connsiteX49" fmla="*/ 507207 w 1378744"/>
                  <a:gd name="connsiteY49" fmla="*/ 1026318 h 1250156"/>
                  <a:gd name="connsiteX50" fmla="*/ 521494 w 1378744"/>
                  <a:gd name="connsiteY50" fmla="*/ 1069181 h 1250156"/>
                  <a:gd name="connsiteX51" fmla="*/ 545307 w 1378744"/>
                  <a:gd name="connsiteY51" fmla="*/ 1107281 h 1250156"/>
                  <a:gd name="connsiteX52" fmla="*/ 573882 w 1378744"/>
                  <a:gd name="connsiteY52" fmla="*/ 1121568 h 1250156"/>
                  <a:gd name="connsiteX53" fmla="*/ 585788 w 1378744"/>
                  <a:gd name="connsiteY53" fmla="*/ 1131093 h 1250156"/>
                  <a:gd name="connsiteX54" fmla="*/ 597694 w 1378744"/>
                  <a:gd name="connsiteY54" fmla="*/ 1181100 h 1250156"/>
                  <a:gd name="connsiteX55" fmla="*/ 633413 w 1378744"/>
                  <a:gd name="connsiteY55" fmla="*/ 1250156 h 1250156"/>
                  <a:gd name="connsiteX56" fmla="*/ 681038 w 1378744"/>
                  <a:gd name="connsiteY56" fmla="*/ 1216817 h 1250156"/>
                  <a:gd name="connsiteX57" fmla="*/ 814388 w 1378744"/>
                  <a:gd name="connsiteY57" fmla="*/ 1138237 h 1250156"/>
                  <a:gd name="connsiteX58" fmla="*/ 828675 w 1378744"/>
                  <a:gd name="connsiteY58" fmla="*/ 1109662 h 1250156"/>
                  <a:gd name="connsiteX59" fmla="*/ 833438 w 1378744"/>
                  <a:gd name="connsiteY59" fmla="*/ 1085850 h 1250156"/>
                  <a:gd name="connsiteX60" fmla="*/ 797719 w 1378744"/>
                  <a:gd name="connsiteY60" fmla="*/ 1059656 h 1250156"/>
                  <a:gd name="connsiteX61" fmla="*/ 790575 w 1378744"/>
                  <a:gd name="connsiteY61" fmla="*/ 1038225 h 1250156"/>
                  <a:gd name="connsiteX62" fmla="*/ 790575 w 1378744"/>
                  <a:gd name="connsiteY62" fmla="*/ 1021556 h 1250156"/>
                  <a:gd name="connsiteX63" fmla="*/ 845344 w 1378744"/>
                  <a:gd name="connsiteY63" fmla="*/ 952500 h 1250156"/>
                  <a:gd name="connsiteX64" fmla="*/ 845344 w 1378744"/>
                  <a:gd name="connsiteY64" fmla="*/ 952500 h 1250156"/>
                  <a:gd name="connsiteX65" fmla="*/ 888207 w 1378744"/>
                  <a:gd name="connsiteY65" fmla="*/ 966787 h 1250156"/>
                  <a:gd name="connsiteX66" fmla="*/ 907257 w 1378744"/>
                  <a:gd name="connsiteY66" fmla="*/ 981075 h 1250156"/>
                  <a:gd name="connsiteX67" fmla="*/ 938213 w 1378744"/>
                  <a:gd name="connsiteY67" fmla="*/ 990600 h 1250156"/>
                  <a:gd name="connsiteX68" fmla="*/ 964407 w 1378744"/>
                  <a:gd name="connsiteY68" fmla="*/ 985837 h 1250156"/>
                  <a:gd name="connsiteX69" fmla="*/ 985838 w 1378744"/>
                  <a:gd name="connsiteY69" fmla="*/ 985837 h 1250156"/>
                  <a:gd name="connsiteX70" fmla="*/ 995363 w 1378744"/>
                  <a:gd name="connsiteY70" fmla="*/ 995362 h 1250156"/>
                  <a:gd name="connsiteX71" fmla="*/ 978694 w 1378744"/>
                  <a:gd name="connsiteY71" fmla="*/ 1012031 h 1250156"/>
                  <a:gd name="connsiteX72" fmla="*/ 969169 w 1378744"/>
                  <a:gd name="connsiteY72" fmla="*/ 1031081 h 1250156"/>
                  <a:gd name="connsiteX73" fmla="*/ 954882 w 1378744"/>
                  <a:gd name="connsiteY73" fmla="*/ 1054893 h 1250156"/>
                  <a:gd name="connsiteX74" fmla="*/ 950119 w 1378744"/>
                  <a:gd name="connsiteY74" fmla="*/ 1083468 h 1250156"/>
                  <a:gd name="connsiteX75" fmla="*/ 962025 w 1378744"/>
                  <a:gd name="connsiteY75" fmla="*/ 1107281 h 1250156"/>
                  <a:gd name="connsiteX76" fmla="*/ 983457 w 1378744"/>
                  <a:gd name="connsiteY76" fmla="*/ 1131093 h 1250156"/>
                  <a:gd name="connsiteX77" fmla="*/ 1002507 w 1378744"/>
                  <a:gd name="connsiteY77" fmla="*/ 1133475 h 1250156"/>
                  <a:gd name="connsiteX78" fmla="*/ 1028700 w 1378744"/>
                  <a:gd name="connsiteY78" fmla="*/ 1126331 h 1250156"/>
                  <a:gd name="connsiteX79" fmla="*/ 1031082 w 1378744"/>
                  <a:gd name="connsiteY79" fmla="*/ 1097756 h 1250156"/>
                  <a:gd name="connsiteX80" fmla="*/ 1057275 w 1378744"/>
                  <a:gd name="connsiteY80" fmla="*/ 1085850 h 1250156"/>
                  <a:gd name="connsiteX81" fmla="*/ 1076325 w 1378744"/>
                  <a:gd name="connsiteY81" fmla="*/ 1097756 h 1250156"/>
                  <a:gd name="connsiteX82" fmla="*/ 1100138 w 1378744"/>
                  <a:gd name="connsiteY82" fmla="*/ 1107281 h 1250156"/>
                  <a:gd name="connsiteX83" fmla="*/ 1123950 w 1378744"/>
                  <a:gd name="connsiteY83" fmla="*/ 1121568 h 1250156"/>
                  <a:gd name="connsiteX84" fmla="*/ 1143000 w 1378744"/>
                  <a:gd name="connsiteY84" fmla="*/ 1123950 h 1250156"/>
                  <a:gd name="connsiteX85" fmla="*/ 1157288 w 1378744"/>
                  <a:gd name="connsiteY85" fmla="*/ 1112043 h 1250156"/>
                  <a:gd name="connsiteX86" fmla="*/ 1159669 w 1378744"/>
                  <a:gd name="connsiteY86" fmla="*/ 1085850 h 1250156"/>
                  <a:gd name="connsiteX87" fmla="*/ 1166813 w 1378744"/>
                  <a:gd name="connsiteY87" fmla="*/ 1052512 h 1250156"/>
                  <a:gd name="connsiteX88" fmla="*/ 1197769 w 1378744"/>
                  <a:gd name="connsiteY88" fmla="*/ 1016793 h 1250156"/>
                  <a:gd name="connsiteX89" fmla="*/ 1195388 w 1378744"/>
                  <a:gd name="connsiteY89" fmla="*/ 954881 h 1250156"/>
                  <a:gd name="connsiteX90" fmla="*/ 1209675 w 1378744"/>
                  <a:gd name="connsiteY90" fmla="*/ 945356 h 1250156"/>
                  <a:gd name="connsiteX91" fmla="*/ 1235869 w 1378744"/>
                  <a:gd name="connsiteY91" fmla="*/ 945356 h 1250156"/>
                  <a:gd name="connsiteX92" fmla="*/ 1235869 w 1378744"/>
                  <a:gd name="connsiteY92" fmla="*/ 931068 h 1250156"/>
                  <a:gd name="connsiteX93" fmla="*/ 1212057 w 1378744"/>
                  <a:gd name="connsiteY93" fmla="*/ 912018 h 1250156"/>
                  <a:gd name="connsiteX94" fmla="*/ 1195388 w 1378744"/>
                  <a:gd name="connsiteY94" fmla="*/ 881062 h 1250156"/>
                  <a:gd name="connsiteX95" fmla="*/ 1157288 w 1378744"/>
                  <a:gd name="connsiteY95" fmla="*/ 871537 h 1250156"/>
                  <a:gd name="connsiteX96" fmla="*/ 1119188 w 1378744"/>
                  <a:gd name="connsiteY96" fmla="*/ 859631 h 1250156"/>
                  <a:gd name="connsiteX97" fmla="*/ 1119188 w 1378744"/>
                  <a:gd name="connsiteY97" fmla="*/ 831056 h 1250156"/>
                  <a:gd name="connsiteX98" fmla="*/ 1135857 w 1378744"/>
                  <a:gd name="connsiteY98" fmla="*/ 807243 h 1250156"/>
                  <a:gd name="connsiteX99" fmla="*/ 1197769 w 1378744"/>
                  <a:gd name="connsiteY99" fmla="*/ 759618 h 1250156"/>
                  <a:gd name="connsiteX100" fmla="*/ 1247775 w 1378744"/>
                  <a:gd name="connsiteY100" fmla="*/ 762000 h 1250156"/>
                  <a:gd name="connsiteX101" fmla="*/ 1278732 w 1378744"/>
                  <a:gd name="connsiteY101" fmla="*/ 762000 h 1250156"/>
                  <a:gd name="connsiteX102" fmla="*/ 1271588 w 1378744"/>
                  <a:gd name="connsiteY102" fmla="*/ 735806 h 1250156"/>
                  <a:gd name="connsiteX103" fmla="*/ 1378744 w 1378744"/>
                  <a:gd name="connsiteY103" fmla="*/ 678656 h 1250156"/>
                  <a:gd name="connsiteX104" fmla="*/ 1331119 w 1378744"/>
                  <a:gd name="connsiteY104" fmla="*/ 552450 h 1250156"/>
                  <a:gd name="connsiteX105" fmla="*/ 1278732 w 1378744"/>
                  <a:gd name="connsiteY105" fmla="*/ 514350 h 1250156"/>
                  <a:gd name="connsiteX106" fmla="*/ 1252538 w 1378744"/>
                  <a:gd name="connsiteY106" fmla="*/ 431006 h 1250156"/>
                  <a:gd name="connsiteX107" fmla="*/ 1181100 w 1378744"/>
                  <a:gd name="connsiteY107" fmla="*/ 431006 h 1250156"/>
                  <a:gd name="connsiteX108" fmla="*/ 1166813 w 1378744"/>
                  <a:gd name="connsiteY108" fmla="*/ 395287 h 1250156"/>
                  <a:gd name="connsiteX109" fmla="*/ 1107282 w 1378744"/>
                  <a:gd name="connsiteY109" fmla="*/ 421481 h 1250156"/>
                  <a:gd name="connsiteX110" fmla="*/ 1054894 w 1378744"/>
                  <a:gd name="connsiteY110" fmla="*/ 414337 h 1250156"/>
                  <a:gd name="connsiteX111" fmla="*/ 1028700 w 1378744"/>
                  <a:gd name="connsiteY111" fmla="*/ 371475 h 1250156"/>
                  <a:gd name="connsiteX112" fmla="*/ 1023938 w 1378744"/>
                  <a:gd name="connsiteY112" fmla="*/ 288131 h 1250156"/>
                  <a:gd name="connsiteX113" fmla="*/ 1012032 w 1378744"/>
                  <a:gd name="connsiteY113" fmla="*/ 269081 h 1250156"/>
                  <a:gd name="connsiteX114" fmla="*/ 1012032 w 1378744"/>
                  <a:gd name="connsiteY114" fmla="*/ 211931 h 1250156"/>
                  <a:gd name="connsiteX115" fmla="*/ 959644 w 1378744"/>
                  <a:gd name="connsiteY115" fmla="*/ 190500 h 1250156"/>
                  <a:gd name="connsiteX116" fmla="*/ 914400 w 1378744"/>
                  <a:gd name="connsiteY116" fmla="*/ 111918 h 1250156"/>
                  <a:gd name="connsiteX117" fmla="*/ 854869 w 1378744"/>
                  <a:gd name="connsiteY117" fmla="*/ 76200 h 1250156"/>
                  <a:gd name="connsiteX118" fmla="*/ 873919 w 1378744"/>
                  <a:gd name="connsiteY118" fmla="*/ 16668 h 1250156"/>
                  <a:gd name="connsiteX119" fmla="*/ 783432 w 1378744"/>
                  <a:gd name="connsiteY119" fmla="*/ 0 h 1250156"/>
                  <a:gd name="connsiteX0" fmla="*/ 783432 w 1378744"/>
                  <a:gd name="connsiteY0" fmla="*/ 0 h 1278730"/>
                  <a:gd name="connsiteX1" fmla="*/ 738188 w 1378744"/>
                  <a:gd name="connsiteY1" fmla="*/ 26193 h 1278730"/>
                  <a:gd name="connsiteX2" fmla="*/ 685800 w 1378744"/>
                  <a:gd name="connsiteY2" fmla="*/ 28575 h 1278730"/>
                  <a:gd name="connsiteX3" fmla="*/ 635794 w 1378744"/>
                  <a:gd name="connsiteY3" fmla="*/ 73818 h 1278730"/>
                  <a:gd name="connsiteX4" fmla="*/ 633413 w 1378744"/>
                  <a:gd name="connsiteY4" fmla="*/ 114300 h 1278730"/>
                  <a:gd name="connsiteX5" fmla="*/ 561975 w 1378744"/>
                  <a:gd name="connsiteY5" fmla="*/ 190500 h 1278730"/>
                  <a:gd name="connsiteX6" fmla="*/ 519113 w 1378744"/>
                  <a:gd name="connsiteY6" fmla="*/ 214312 h 1278730"/>
                  <a:gd name="connsiteX7" fmla="*/ 485775 w 1378744"/>
                  <a:gd name="connsiteY7" fmla="*/ 252412 h 1278730"/>
                  <a:gd name="connsiteX8" fmla="*/ 461963 w 1378744"/>
                  <a:gd name="connsiteY8" fmla="*/ 273843 h 1278730"/>
                  <a:gd name="connsiteX9" fmla="*/ 423863 w 1378744"/>
                  <a:gd name="connsiteY9" fmla="*/ 333375 h 1278730"/>
                  <a:gd name="connsiteX10" fmla="*/ 378619 w 1378744"/>
                  <a:gd name="connsiteY10" fmla="*/ 357187 h 1278730"/>
                  <a:gd name="connsiteX11" fmla="*/ 292894 w 1378744"/>
                  <a:gd name="connsiteY11" fmla="*/ 376237 h 1278730"/>
                  <a:gd name="connsiteX12" fmla="*/ 264319 w 1378744"/>
                  <a:gd name="connsiteY12" fmla="*/ 373856 h 1278730"/>
                  <a:gd name="connsiteX13" fmla="*/ 240507 w 1378744"/>
                  <a:gd name="connsiteY13" fmla="*/ 359568 h 1278730"/>
                  <a:gd name="connsiteX14" fmla="*/ 226219 w 1378744"/>
                  <a:gd name="connsiteY14" fmla="*/ 338137 h 1278730"/>
                  <a:gd name="connsiteX15" fmla="*/ 219075 w 1378744"/>
                  <a:gd name="connsiteY15" fmla="*/ 311943 h 1278730"/>
                  <a:gd name="connsiteX16" fmla="*/ 204788 w 1378744"/>
                  <a:gd name="connsiteY16" fmla="*/ 309562 h 1278730"/>
                  <a:gd name="connsiteX17" fmla="*/ 188119 w 1378744"/>
                  <a:gd name="connsiteY17" fmla="*/ 304800 h 1278730"/>
                  <a:gd name="connsiteX18" fmla="*/ 173832 w 1378744"/>
                  <a:gd name="connsiteY18" fmla="*/ 302418 h 1278730"/>
                  <a:gd name="connsiteX19" fmla="*/ 128588 w 1378744"/>
                  <a:gd name="connsiteY19" fmla="*/ 352425 h 1278730"/>
                  <a:gd name="connsiteX20" fmla="*/ 97632 w 1378744"/>
                  <a:gd name="connsiteY20" fmla="*/ 371475 h 1278730"/>
                  <a:gd name="connsiteX21" fmla="*/ 80963 w 1378744"/>
                  <a:gd name="connsiteY21" fmla="*/ 390525 h 1278730"/>
                  <a:gd name="connsiteX22" fmla="*/ 66675 w 1378744"/>
                  <a:gd name="connsiteY22" fmla="*/ 435768 h 1278730"/>
                  <a:gd name="connsiteX23" fmla="*/ 54769 w 1378744"/>
                  <a:gd name="connsiteY23" fmla="*/ 447675 h 1278730"/>
                  <a:gd name="connsiteX24" fmla="*/ 9525 w 1378744"/>
                  <a:gd name="connsiteY24" fmla="*/ 466725 h 1278730"/>
                  <a:gd name="connsiteX25" fmla="*/ 2382 w 1378744"/>
                  <a:gd name="connsiteY25" fmla="*/ 481012 h 1278730"/>
                  <a:gd name="connsiteX26" fmla="*/ 4763 w 1378744"/>
                  <a:gd name="connsiteY26" fmla="*/ 533400 h 1278730"/>
                  <a:gd name="connsiteX27" fmla="*/ 0 w 1378744"/>
                  <a:gd name="connsiteY27" fmla="*/ 545306 h 1278730"/>
                  <a:gd name="connsiteX28" fmla="*/ 73819 w 1378744"/>
                  <a:gd name="connsiteY28" fmla="*/ 588168 h 1278730"/>
                  <a:gd name="connsiteX29" fmla="*/ 90488 w 1378744"/>
                  <a:gd name="connsiteY29" fmla="*/ 628650 h 1278730"/>
                  <a:gd name="connsiteX30" fmla="*/ 83344 w 1378744"/>
                  <a:gd name="connsiteY30" fmla="*/ 654843 h 1278730"/>
                  <a:gd name="connsiteX31" fmla="*/ 73819 w 1378744"/>
                  <a:gd name="connsiteY31" fmla="*/ 697706 h 1278730"/>
                  <a:gd name="connsiteX32" fmla="*/ 78582 w 1378744"/>
                  <a:gd name="connsiteY32" fmla="*/ 726281 h 1278730"/>
                  <a:gd name="connsiteX33" fmla="*/ 95250 w 1378744"/>
                  <a:gd name="connsiteY33" fmla="*/ 738187 h 1278730"/>
                  <a:gd name="connsiteX34" fmla="*/ 116682 w 1378744"/>
                  <a:gd name="connsiteY34" fmla="*/ 735806 h 1278730"/>
                  <a:gd name="connsiteX35" fmla="*/ 123825 w 1378744"/>
                  <a:gd name="connsiteY35" fmla="*/ 762000 h 1278730"/>
                  <a:gd name="connsiteX36" fmla="*/ 126207 w 1378744"/>
                  <a:gd name="connsiteY36" fmla="*/ 783431 h 1278730"/>
                  <a:gd name="connsiteX37" fmla="*/ 152400 w 1378744"/>
                  <a:gd name="connsiteY37" fmla="*/ 812006 h 1278730"/>
                  <a:gd name="connsiteX38" fmla="*/ 164307 w 1378744"/>
                  <a:gd name="connsiteY38" fmla="*/ 823912 h 1278730"/>
                  <a:gd name="connsiteX39" fmla="*/ 173832 w 1378744"/>
                  <a:gd name="connsiteY39" fmla="*/ 850106 h 1278730"/>
                  <a:gd name="connsiteX40" fmla="*/ 169069 w 1378744"/>
                  <a:gd name="connsiteY40" fmla="*/ 878681 h 1278730"/>
                  <a:gd name="connsiteX41" fmla="*/ 176213 w 1378744"/>
                  <a:gd name="connsiteY41" fmla="*/ 897731 h 1278730"/>
                  <a:gd name="connsiteX42" fmla="*/ 200025 w 1378744"/>
                  <a:gd name="connsiteY42" fmla="*/ 916781 h 1278730"/>
                  <a:gd name="connsiteX43" fmla="*/ 226219 w 1378744"/>
                  <a:gd name="connsiteY43" fmla="*/ 916781 h 1278730"/>
                  <a:gd name="connsiteX44" fmla="*/ 300038 w 1378744"/>
                  <a:gd name="connsiteY44" fmla="*/ 921543 h 1278730"/>
                  <a:gd name="connsiteX45" fmla="*/ 395288 w 1378744"/>
                  <a:gd name="connsiteY45" fmla="*/ 952500 h 1278730"/>
                  <a:gd name="connsiteX46" fmla="*/ 414338 w 1378744"/>
                  <a:gd name="connsiteY46" fmla="*/ 988218 h 1278730"/>
                  <a:gd name="connsiteX47" fmla="*/ 435769 w 1378744"/>
                  <a:gd name="connsiteY47" fmla="*/ 992981 h 1278730"/>
                  <a:gd name="connsiteX48" fmla="*/ 464344 w 1378744"/>
                  <a:gd name="connsiteY48" fmla="*/ 995362 h 1278730"/>
                  <a:gd name="connsiteX49" fmla="*/ 507207 w 1378744"/>
                  <a:gd name="connsiteY49" fmla="*/ 1026318 h 1278730"/>
                  <a:gd name="connsiteX50" fmla="*/ 521494 w 1378744"/>
                  <a:gd name="connsiteY50" fmla="*/ 1069181 h 1278730"/>
                  <a:gd name="connsiteX51" fmla="*/ 545307 w 1378744"/>
                  <a:gd name="connsiteY51" fmla="*/ 1107281 h 1278730"/>
                  <a:gd name="connsiteX52" fmla="*/ 573882 w 1378744"/>
                  <a:gd name="connsiteY52" fmla="*/ 1121568 h 1278730"/>
                  <a:gd name="connsiteX53" fmla="*/ 585788 w 1378744"/>
                  <a:gd name="connsiteY53" fmla="*/ 1131093 h 1278730"/>
                  <a:gd name="connsiteX54" fmla="*/ 597694 w 1378744"/>
                  <a:gd name="connsiteY54" fmla="*/ 1181100 h 1278730"/>
                  <a:gd name="connsiteX55" fmla="*/ 633413 w 1378744"/>
                  <a:gd name="connsiteY55" fmla="*/ 1250156 h 1278730"/>
                  <a:gd name="connsiteX56" fmla="*/ 692944 w 1378744"/>
                  <a:gd name="connsiteY56" fmla="*/ 1278730 h 1278730"/>
                  <a:gd name="connsiteX57" fmla="*/ 814388 w 1378744"/>
                  <a:gd name="connsiteY57" fmla="*/ 1138237 h 1278730"/>
                  <a:gd name="connsiteX58" fmla="*/ 828675 w 1378744"/>
                  <a:gd name="connsiteY58" fmla="*/ 1109662 h 1278730"/>
                  <a:gd name="connsiteX59" fmla="*/ 833438 w 1378744"/>
                  <a:gd name="connsiteY59" fmla="*/ 1085850 h 1278730"/>
                  <a:gd name="connsiteX60" fmla="*/ 797719 w 1378744"/>
                  <a:gd name="connsiteY60" fmla="*/ 1059656 h 1278730"/>
                  <a:gd name="connsiteX61" fmla="*/ 790575 w 1378744"/>
                  <a:gd name="connsiteY61" fmla="*/ 1038225 h 1278730"/>
                  <a:gd name="connsiteX62" fmla="*/ 790575 w 1378744"/>
                  <a:gd name="connsiteY62" fmla="*/ 1021556 h 1278730"/>
                  <a:gd name="connsiteX63" fmla="*/ 845344 w 1378744"/>
                  <a:gd name="connsiteY63" fmla="*/ 952500 h 1278730"/>
                  <a:gd name="connsiteX64" fmla="*/ 845344 w 1378744"/>
                  <a:gd name="connsiteY64" fmla="*/ 952500 h 1278730"/>
                  <a:gd name="connsiteX65" fmla="*/ 888207 w 1378744"/>
                  <a:gd name="connsiteY65" fmla="*/ 966787 h 1278730"/>
                  <a:gd name="connsiteX66" fmla="*/ 907257 w 1378744"/>
                  <a:gd name="connsiteY66" fmla="*/ 981075 h 1278730"/>
                  <a:gd name="connsiteX67" fmla="*/ 938213 w 1378744"/>
                  <a:gd name="connsiteY67" fmla="*/ 990600 h 1278730"/>
                  <a:gd name="connsiteX68" fmla="*/ 964407 w 1378744"/>
                  <a:gd name="connsiteY68" fmla="*/ 985837 h 1278730"/>
                  <a:gd name="connsiteX69" fmla="*/ 985838 w 1378744"/>
                  <a:gd name="connsiteY69" fmla="*/ 985837 h 1278730"/>
                  <a:gd name="connsiteX70" fmla="*/ 995363 w 1378744"/>
                  <a:gd name="connsiteY70" fmla="*/ 995362 h 1278730"/>
                  <a:gd name="connsiteX71" fmla="*/ 978694 w 1378744"/>
                  <a:gd name="connsiteY71" fmla="*/ 1012031 h 1278730"/>
                  <a:gd name="connsiteX72" fmla="*/ 969169 w 1378744"/>
                  <a:gd name="connsiteY72" fmla="*/ 1031081 h 1278730"/>
                  <a:gd name="connsiteX73" fmla="*/ 954882 w 1378744"/>
                  <a:gd name="connsiteY73" fmla="*/ 1054893 h 1278730"/>
                  <a:gd name="connsiteX74" fmla="*/ 950119 w 1378744"/>
                  <a:gd name="connsiteY74" fmla="*/ 1083468 h 1278730"/>
                  <a:gd name="connsiteX75" fmla="*/ 962025 w 1378744"/>
                  <a:gd name="connsiteY75" fmla="*/ 1107281 h 1278730"/>
                  <a:gd name="connsiteX76" fmla="*/ 983457 w 1378744"/>
                  <a:gd name="connsiteY76" fmla="*/ 1131093 h 1278730"/>
                  <a:gd name="connsiteX77" fmla="*/ 1002507 w 1378744"/>
                  <a:gd name="connsiteY77" fmla="*/ 1133475 h 1278730"/>
                  <a:gd name="connsiteX78" fmla="*/ 1028700 w 1378744"/>
                  <a:gd name="connsiteY78" fmla="*/ 1126331 h 1278730"/>
                  <a:gd name="connsiteX79" fmla="*/ 1031082 w 1378744"/>
                  <a:gd name="connsiteY79" fmla="*/ 1097756 h 1278730"/>
                  <a:gd name="connsiteX80" fmla="*/ 1057275 w 1378744"/>
                  <a:gd name="connsiteY80" fmla="*/ 1085850 h 1278730"/>
                  <a:gd name="connsiteX81" fmla="*/ 1076325 w 1378744"/>
                  <a:gd name="connsiteY81" fmla="*/ 1097756 h 1278730"/>
                  <a:gd name="connsiteX82" fmla="*/ 1100138 w 1378744"/>
                  <a:gd name="connsiteY82" fmla="*/ 1107281 h 1278730"/>
                  <a:gd name="connsiteX83" fmla="*/ 1123950 w 1378744"/>
                  <a:gd name="connsiteY83" fmla="*/ 1121568 h 1278730"/>
                  <a:gd name="connsiteX84" fmla="*/ 1143000 w 1378744"/>
                  <a:gd name="connsiteY84" fmla="*/ 1123950 h 1278730"/>
                  <a:gd name="connsiteX85" fmla="*/ 1157288 w 1378744"/>
                  <a:gd name="connsiteY85" fmla="*/ 1112043 h 1278730"/>
                  <a:gd name="connsiteX86" fmla="*/ 1159669 w 1378744"/>
                  <a:gd name="connsiteY86" fmla="*/ 1085850 h 1278730"/>
                  <a:gd name="connsiteX87" fmla="*/ 1166813 w 1378744"/>
                  <a:gd name="connsiteY87" fmla="*/ 1052512 h 1278730"/>
                  <a:gd name="connsiteX88" fmla="*/ 1197769 w 1378744"/>
                  <a:gd name="connsiteY88" fmla="*/ 1016793 h 1278730"/>
                  <a:gd name="connsiteX89" fmla="*/ 1195388 w 1378744"/>
                  <a:gd name="connsiteY89" fmla="*/ 954881 h 1278730"/>
                  <a:gd name="connsiteX90" fmla="*/ 1209675 w 1378744"/>
                  <a:gd name="connsiteY90" fmla="*/ 945356 h 1278730"/>
                  <a:gd name="connsiteX91" fmla="*/ 1235869 w 1378744"/>
                  <a:gd name="connsiteY91" fmla="*/ 945356 h 1278730"/>
                  <a:gd name="connsiteX92" fmla="*/ 1235869 w 1378744"/>
                  <a:gd name="connsiteY92" fmla="*/ 931068 h 1278730"/>
                  <a:gd name="connsiteX93" fmla="*/ 1212057 w 1378744"/>
                  <a:gd name="connsiteY93" fmla="*/ 912018 h 1278730"/>
                  <a:gd name="connsiteX94" fmla="*/ 1195388 w 1378744"/>
                  <a:gd name="connsiteY94" fmla="*/ 881062 h 1278730"/>
                  <a:gd name="connsiteX95" fmla="*/ 1157288 w 1378744"/>
                  <a:gd name="connsiteY95" fmla="*/ 871537 h 1278730"/>
                  <a:gd name="connsiteX96" fmla="*/ 1119188 w 1378744"/>
                  <a:gd name="connsiteY96" fmla="*/ 859631 h 1278730"/>
                  <a:gd name="connsiteX97" fmla="*/ 1119188 w 1378744"/>
                  <a:gd name="connsiteY97" fmla="*/ 831056 h 1278730"/>
                  <a:gd name="connsiteX98" fmla="*/ 1135857 w 1378744"/>
                  <a:gd name="connsiteY98" fmla="*/ 807243 h 1278730"/>
                  <a:gd name="connsiteX99" fmla="*/ 1197769 w 1378744"/>
                  <a:gd name="connsiteY99" fmla="*/ 759618 h 1278730"/>
                  <a:gd name="connsiteX100" fmla="*/ 1247775 w 1378744"/>
                  <a:gd name="connsiteY100" fmla="*/ 762000 h 1278730"/>
                  <a:gd name="connsiteX101" fmla="*/ 1278732 w 1378744"/>
                  <a:gd name="connsiteY101" fmla="*/ 762000 h 1278730"/>
                  <a:gd name="connsiteX102" fmla="*/ 1271588 w 1378744"/>
                  <a:gd name="connsiteY102" fmla="*/ 735806 h 1278730"/>
                  <a:gd name="connsiteX103" fmla="*/ 1378744 w 1378744"/>
                  <a:gd name="connsiteY103" fmla="*/ 678656 h 1278730"/>
                  <a:gd name="connsiteX104" fmla="*/ 1331119 w 1378744"/>
                  <a:gd name="connsiteY104" fmla="*/ 552450 h 1278730"/>
                  <a:gd name="connsiteX105" fmla="*/ 1278732 w 1378744"/>
                  <a:gd name="connsiteY105" fmla="*/ 514350 h 1278730"/>
                  <a:gd name="connsiteX106" fmla="*/ 1252538 w 1378744"/>
                  <a:gd name="connsiteY106" fmla="*/ 431006 h 1278730"/>
                  <a:gd name="connsiteX107" fmla="*/ 1181100 w 1378744"/>
                  <a:gd name="connsiteY107" fmla="*/ 431006 h 1278730"/>
                  <a:gd name="connsiteX108" fmla="*/ 1166813 w 1378744"/>
                  <a:gd name="connsiteY108" fmla="*/ 395287 h 1278730"/>
                  <a:gd name="connsiteX109" fmla="*/ 1107282 w 1378744"/>
                  <a:gd name="connsiteY109" fmla="*/ 421481 h 1278730"/>
                  <a:gd name="connsiteX110" fmla="*/ 1054894 w 1378744"/>
                  <a:gd name="connsiteY110" fmla="*/ 414337 h 1278730"/>
                  <a:gd name="connsiteX111" fmla="*/ 1028700 w 1378744"/>
                  <a:gd name="connsiteY111" fmla="*/ 371475 h 1278730"/>
                  <a:gd name="connsiteX112" fmla="*/ 1023938 w 1378744"/>
                  <a:gd name="connsiteY112" fmla="*/ 288131 h 1278730"/>
                  <a:gd name="connsiteX113" fmla="*/ 1012032 w 1378744"/>
                  <a:gd name="connsiteY113" fmla="*/ 269081 h 1278730"/>
                  <a:gd name="connsiteX114" fmla="*/ 1012032 w 1378744"/>
                  <a:gd name="connsiteY114" fmla="*/ 211931 h 1278730"/>
                  <a:gd name="connsiteX115" fmla="*/ 959644 w 1378744"/>
                  <a:gd name="connsiteY115" fmla="*/ 190500 h 1278730"/>
                  <a:gd name="connsiteX116" fmla="*/ 914400 w 1378744"/>
                  <a:gd name="connsiteY116" fmla="*/ 111918 h 1278730"/>
                  <a:gd name="connsiteX117" fmla="*/ 854869 w 1378744"/>
                  <a:gd name="connsiteY117" fmla="*/ 76200 h 1278730"/>
                  <a:gd name="connsiteX118" fmla="*/ 873919 w 1378744"/>
                  <a:gd name="connsiteY118" fmla="*/ 16668 h 1278730"/>
                  <a:gd name="connsiteX119" fmla="*/ 783432 w 1378744"/>
                  <a:gd name="connsiteY119" fmla="*/ 0 h 1278730"/>
                  <a:gd name="connsiteX0" fmla="*/ 783432 w 1378744"/>
                  <a:gd name="connsiteY0" fmla="*/ 0 h 1278730"/>
                  <a:gd name="connsiteX1" fmla="*/ 738188 w 1378744"/>
                  <a:gd name="connsiteY1" fmla="*/ 26193 h 1278730"/>
                  <a:gd name="connsiteX2" fmla="*/ 685800 w 1378744"/>
                  <a:gd name="connsiteY2" fmla="*/ 28575 h 1278730"/>
                  <a:gd name="connsiteX3" fmla="*/ 635794 w 1378744"/>
                  <a:gd name="connsiteY3" fmla="*/ 73818 h 1278730"/>
                  <a:gd name="connsiteX4" fmla="*/ 633413 w 1378744"/>
                  <a:gd name="connsiteY4" fmla="*/ 114300 h 1278730"/>
                  <a:gd name="connsiteX5" fmla="*/ 561975 w 1378744"/>
                  <a:gd name="connsiteY5" fmla="*/ 190500 h 1278730"/>
                  <a:gd name="connsiteX6" fmla="*/ 519113 w 1378744"/>
                  <a:gd name="connsiteY6" fmla="*/ 214312 h 1278730"/>
                  <a:gd name="connsiteX7" fmla="*/ 485775 w 1378744"/>
                  <a:gd name="connsiteY7" fmla="*/ 252412 h 1278730"/>
                  <a:gd name="connsiteX8" fmla="*/ 461963 w 1378744"/>
                  <a:gd name="connsiteY8" fmla="*/ 273843 h 1278730"/>
                  <a:gd name="connsiteX9" fmla="*/ 423863 w 1378744"/>
                  <a:gd name="connsiteY9" fmla="*/ 333375 h 1278730"/>
                  <a:gd name="connsiteX10" fmla="*/ 378619 w 1378744"/>
                  <a:gd name="connsiteY10" fmla="*/ 357187 h 1278730"/>
                  <a:gd name="connsiteX11" fmla="*/ 292894 w 1378744"/>
                  <a:gd name="connsiteY11" fmla="*/ 376237 h 1278730"/>
                  <a:gd name="connsiteX12" fmla="*/ 264319 w 1378744"/>
                  <a:gd name="connsiteY12" fmla="*/ 373856 h 1278730"/>
                  <a:gd name="connsiteX13" fmla="*/ 240507 w 1378744"/>
                  <a:gd name="connsiteY13" fmla="*/ 359568 h 1278730"/>
                  <a:gd name="connsiteX14" fmla="*/ 226219 w 1378744"/>
                  <a:gd name="connsiteY14" fmla="*/ 338137 h 1278730"/>
                  <a:gd name="connsiteX15" fmla="*/ 219075 w 1378744"/>
                  <a:gd name="connsiteY15" fmla="*/ 311943 h 1278730"/>
                  <a:gd name="connsiteX16" fmla="*/ 204788 w 1378744"/>
                  <a:gd name="connsiteY16" fmla="*/ 309562 h 1278730"/>
                  <a:gd name="connsiteX17" fmla="*/ 188119 w 1378744"/>
                  <a:gd name="connsiteY17" fmla="*/ 304800 h 1278730"/>
                  <a:gd name="connsiteX18" fmla="*/ 173832 w 1378744"/>
                  <a:gd name="connsiteY18" fmla="*/ 302418 h 1278730"/>
                  <a:gd name="connsiteX19" fmla="*/ 128588 w 1378744"/>
                  <a:gd name="connsiteY19" fmla="*/ 352425 h 1278730"/>
                  <a:gd name="connsiteX20" fmla="*/ 97632 w 1378744"/>
                  <a:gd name="connsiteY20" fmla="*/ 371475 h 1278730"/>
                  <a:gd name="connsiteX21" fmla="*/ 80963 w 1378744"/>
                  <a:gd name="connsiteY21" fmla="*/ 390525 h 1278730"/>
                  <a:gd name="connsiteX22" fmla="*/ 66675 w 1378744"/>
                  <a:gd name="connsiteY22" fmla="*/ 435768 h 1278730"/>
                  <a:gd name="connsiteX23" fmla="*/ 54769 w 1378744"/>
                  <a:gd name="connsiteY23" fmla="*/ 447675 h 1278730"/>
                  <a:gd name="connsiteX24" fmla="*/ 9525 w 1378744"/>
                  <a:gd name="connsiteY24" fmla="*/ 466725 h 1278730"/>
                  <a:gd name="connsiteX25" fmla="*/ 2382 w 1378744"/>
                  <a:gd name="connsiteY25" fmla="*/ 481012 h 1278730"/>
                  <a:gd name="connsiteX26" fmla="*/ 4763 w 1378744"/>
                  <a:gd name="connsiteY26" fmla="*/ 533400 h 1278730"/>
                  <a:gd name="connsiteX27" fmla="*/ 0 w 1378744"/>
                  <a:gd name="connsiteY27" fmla="*/ 545306 h 1278730"/>
                  <a:gd name="connsiteX28" fmla="*/ 73819 w 1378744"/>
                  <a:gd name="connsiteY28" fmla="*/ 588168 h 1278730"/>
                  <a:gd name="connsiteX29" fmla="*/ 90488 w 1378744"/>
                  <a:gd name="connsiteY29" fmla="*/ 628650 h 1278730"/>
                  <a:gd name="connsiteX30" fmla="*/ 83344 w 1378744"/>
                  <a:gd name="connsiteY30" fmla="*/ 654843 h 1278730"/>
                  <a:gd name="connsiteX31" fmla="*/ 73819 w 1378744"/>
                  <a:gd name="connsiteY31" fmla="*/ 697706 h 1278730"/>
                  <a:gd name="connsiteX32" fmla="*/ 78582 w 1378744"/>
                  <a:gd name="connsiteY32" fmla="*/ 726281 h 1278730"/>
                  <a:gd name="connsiteX33" fmla="*/ 95250 w 1378744"/>
                  <a:gd name="connsiteY33" fmla="*/ 738187 h 1278730"/>
                  <a:gd name="connsiteX34" fmla="*/ 116682 w 1378744"/>
                  <a:gd name="connsiteY34" fmla="*/ 735806 h 1278730"/>
                  <a:gd name="connsiteX35" fmla="*/ 123825 w 1378744"/>
                  <a:gd name="connsiteY35" fmla="*/ 762000 h 1278730"/>
                  <a:gd name="connsiteX36" fmla="*/ 126207 w 1378744"/>
                  <a:gd name="connsiteY36" fmla="*/ 783431 h 1278730"/>
                  <a:gd name="connsiteX37" fmla="*/ 152400 w 1378744"/>
                  <a:gd name="connsiteY37" fmla="*/ 812006 h 1278730"/>
                  <a:gd name="connsiteX38" fmla="*/ 164307 w 1378744"/>
                  <a:gd name="connsiteY38" fmla="*/ 823912 h 1278730"/>
                  <a:gd name="connsiteX39" fmla="*/ 173832 w 1378744"/>
                  <a:gd name="connsiteY39" fmla="*/ 850106 h 1278730"/>
                  <a:gd name="connsiteX40" fmla="*/ 169069 w 1378744"/>
                  <a:gd name="connsiteY40" fmla="*/ 878681 h 1278730"/>
                  <a:gd name="connsiteX41" fmla="*/ 176213 w 1378744"/>
                  <a:gd name="connsiteY41" fmla="*/ 897731 h 1278730"/>
                  <a:gd name="connsiteX42" fmla="*/ 200025 w 1378744"/>
                  <a:gd name="connsiteY42" fmla="*/ 916781 h 1278730"/>
                  <a:gd name="connsiteX43" fmla="*/ 226219 w 1378744"/>
                  <a:gd name="connsiteY43" fmla="*/ 916781 h 1278730"/>
                  <a:gd name="connsiteX44" fmla="*/ 300038 w 1378744"/>
                  <a:gd name="connsiteY44" fmla="*/ 921543 h 1278730"/>
                  <a:gd name="connsiteX45" fmla="*/ 395288 w 1378744"/>
                  <a:gd name="connsiteY45" fmla="*/ 952500 h 1278730"/>
                  <a:gd name="connsiteX46" fmla="*/ 414338 w 1378744"/>
                  <a:gd name="connsiteY46" fmla="*/ 988218 h 1278730"/>
                  <a:gd name="connsiteX47" fmla="*/ 435769 w 1378744"/>
                  <a:gd name="connsiteY47" fmla="*/ 992981 h 1278730"/>
                  <a:gd name="connsiteX48" fmla="*/ 464344 w 1378744"/>
                  <a:gd name="connsiteY48" fmla="*/ 995362 h 1278730"/>
                  <a:gd name="connsiteX49" fmla="*/ 507207 w 1378744"/>
                  <a:gd name="connsiteY49" fmla="*/ 1026318 h 1278730"/>
                  <a:gd name="connsiteX50" fmla="*/ 521494 w 1378744"/>
                  <a:gd name="connsiteY50" fmla="*/ 1069181 h 1278730"/>
                  <a:gd name="connsiteX51" fmla="*/ 545307 w 1378744"/>
                  <a:gd name="connsiteY51" fmla="*/ 1107281 h 1278730"/>
                  <a:gd name="connsiteX52" fmla="*/ 573882 w 1378744"/>
                  <a:gd name="connsiteY52" fmla="*/ 1121568 h 1278730"/>
                  <a:gd name="connsiteX53" fmla="*/ 585788 w 1378744"/>
                  <a:gd name="connsiteY53" fmla="*/ 1131093 h 1278730"/>
                  <a:gd name="connsiteX54" fmla="*/ 597694 w 1378744"/>
                  <a:gd name="connsiteY54" fmla="*/ 1181100 h 1278730"/>
                  <a:gd name="connsiteX55" fmla="*/ 633413 w 1378744"/>
                  <a:gd name="connsiteY55" fmla="*/ 1250156 h 1278730"/>
                  <a:gd name="connsiteX56" fmla="*/ 692944 w 1378744"/>
                  <a:gd name="connsiteY56" fmla="*/ 1278730 h 1278730"/>
                  <a:gd name="connsiteX57" fmla="*/ 721519 w 1378744"/>
                  <a:gd name="connsiteY57" fmla="*/ 1245392 h 1278730"/>
                  <a:gd name="connsiteX58" fmla="*/ 814388 w 1378744"/>
                  <a:gd name="connsiteY58" fmla="*/ 1138237 h 1278730"/>
                  <a:gd name="connsiteX59" fmla="*/ 828675 w 1378744"/>
                  <a:gd name="connsiteY59" fmla="*/ 1109662 h 1278730"/>
                  <a:gd name="connsiteX60" fmla="*/ 833438 w 1378744"/>
                  <a:gd name="connsiteY60" fmla="*/ 1085850 h 1278730"/>
                  <a:gd name="connsiteX61" fmla="*/ 797719 w 1378744"/>
                  <a:gd name="connsiteY61" fmla="*/ 1059656 h 1278730"/>
                  <a:gd name="connsiteX62" fmla="*/ 790575 w 1378744"/>
                  <a:gd name="connsiteY62" fmla="*/ 1038225 h 1278730"/>
                  <a:gd name="connsiteX63" fmla="*/ 790575 w 1378744"/>
                  <a:gd name="connsiteY63" fmla="*/ 1021556 h 1278730"/>
                  <a:gd name="connsiteX64" fmla="*/ 845344 w 1378744"/>
                  <a:gd name="connsiteY64" fmla="*/ 952500 h 1278730"/>
                  <a:gd name="connsiteX65" fmla="*/ 845344 w 1378744"/>
                  <a:gd name="connsiteY65" fmla="*/ 952500 h 1278730"/>
                  <a:gd name="connsiteX66" fmla="*/ 888207 w 1378744"/>
                  <a:gd name="connsiteY66" fmla="*/ 966787 h 1278730"/>
                  <a:gd name="connsiteX67" fmla="*/ 907257 w 1378744"/>
                  <a:gd name="connsiteY67" fmla="*/ 981075 h 1278730"/>
                  <a:gd name="connsiteX68" fmla="*/ 938213 w 1378744"/>
                  <a:gd name="connsiteY68" fmla="*/ 990600 h 1278730"/>
                  <a:gd name="connsiteX69" fmla="*/ 964407 w 1378744"/>
                  <a:gd name="connsiteY69" fmla="*/ 985837 h 1278730"/>
                  <a:gd name="connsiteX70" fmla="*/ 985838 w 1378744"/>
                  <a:gd name="connsiteY70" fmla="*/ 985837 h 1278730"/>
                  <a:gd name="connsiteX71" fmla="*/ 995363 w 1378744"/>
                  <a:gd name="connsiteY71" fmla="*/ 995362 h 1278730"/>
                  <a:gd name="connsiteX72" fmla="*/ 978694 w 1378744"/>
                  <a:gd name="connsiteY72" fmla="*/ 1012031 h 1278730"/>
                  <a:gd name="connsiteX73" fmla="*/ 969169 w 1378744"/>
                  <a:gd name="connsiteY73" fmla="*/ 1031081 h 1278730"/>
                  <a:gd name="connsiteX74" fmla="*/ 954882 w 1378744"/>
                  <a:gd name="connsiteY74" fmla="*/ 1054893 h 1278730"/>
                  <a:gd name="connsiteX75" fmla="*/ 950119 w 1378744"/>
                  <a:gd name="connsiteY75" fmla="*/ 1083468 h 1278730"/>
                  <a:gd name="connsiteX76" fmla="*/ 962025 w 1378744"/>
                  <a:gd name="connsiteY76" fmla="*/ 1107281 h 1278730"/>
                  <a:gd name="connsiteX77" fmla="*/ 983457 w 1378744"/>
                  <a:gd name="connsiteY77" fmla="*/ 1131093 h 1278730"/>
                  <a:gd name="connsiteX78" fmla="*/ 1002507 w 1378744"/>
                  <a:gd name="connsiteY78" fmla="*/ 1133475 h 1278730"/>
                  <a:gd name="connsiteX79" fmla="*/ 1028700 w 1378744"/>
                  <a:gd name="connsiteY79" fmla="*/ 1126331 h 1278730"/>
                  <a:gd name="connsiteX80" fmla="*/ 1031082 w 1378744"/>
                  <a:gd name="connsiteY80" fmla="*/ 1097756 h 1278730"/>
                  <a:gd name="connsiteX81" fmla="*/ 1057275 w 1378744"/>
                  <a:gd name="connsiteY81" fmla="*/ 1085850 h 1278730"/>
                  <a:gd name="connsiteX82" fmla="*/ 1076325 w 1378744"/>
                  <a:gd name="connsiteY82" fmla="*/ 1097756 h 1278730"/>
                  <a:gd name="connsiteX83" fmla="*/ 1100138 w 1378744"/>
                  <a:gd name="connsiteY83" fmla="*/ 1107281 h 1278730"/>
                  <a:gd name="connsiteX84" fmla="*/ 1123950 w 1378744"/>
                  <a:gd name="connsiteY84" fmla="*/ 1121568 h 1278730"/>
                  <a:gd name="connsiteX85" fmla="*/ 1143000 w 1378744"/>
                  <a:gd name="connsiteY85" fmla="*/ 1123950 h 1278730"/>
                  <a:gd name="connsiteX86" fmla="*/ 1157288 w 1378744"/>
                  <a:gd name="connsiteY86" fmla="*/ 1112043 h 1278730"/>
                  <a:gd name="connsiteX87" fmla="*/ 1159669 w 1378744"/>
                  <a:gd name="connsiteY87" fmla="*/ 1085850 h 1278730"/>
                  <a:gd name="connsiteX88" fmla="*/ 1166813 w 1378744"/>
                  <a:gd name="connsiteY88" fmla="*/ 1052512 h 1278730"/>
                  <a:gd name="connsiteX89" fmla="*/ 1197769 w 1378744"/>
                  <a:gd name="connsiteY89" fmla="*/ 1016793 h 1278730"/>
                  <a:gd name="connsiteX90" fmla="*/ 1195388 w 1378744"/>
                  <a:gd name="connsiteY90" fmla="*/ 954881 h 1278730"/>
                  <a:gd name="connsiteX91" fmla="*/ 1209675 w 1378744"/>
                  <a:gd name="connsiteY91" fmla="*/ 945356 h 1278730"/>
                  <a:gd name="connsiteX92" fmla="*/ 1235869 w 1378744"/>
                  <a:gd name="connsiteY92" fmla="*/ 945356 h 1278730"/>
                  <a:gd name="connsiteX93" fmla="*/ 1235869 w 1378744"/>
                  <a:gd name="connsiteY93" fmla="*/ 931068 h 1278730"/>
                  <a:gd name="connsiteX94" fmla="*/ 1212057 w 1378744"/>
                  <a:gd name="connsiteY94" fmla="*/ 912018 h 1278730"/>
                  <a:gd name="connsiteX95" fmla="*/ 1195388 w 1378744"/>
                  <a:gd name="connsiteY95" fmla="*/ 881062 h 1278730"/>
                  <a:gd name="connsiteX96" fmla="*/ 1157288 w 1378744"/>
                  <a:gd name="connsiteY96" fmla="*/ 871537 h 1278730"/>
                  <a:gd name="connsiteX97" fmla="*/ 1119188 w 1378744"/>
                  <a:gd name="connsiteY97" fmla="*/ 859631 h 1278730"/>
                  <a:gd name="connsiteX98" fmla="*/ 1119188 w 1378744"/>
                  <a:gd name="connsiteY98" fmla="*/ 831056 h 1278730"/>
                  <a:gd name="connsiteX99" fmla="*/ 1135857 w 1378744"/>
                  <a:gd name="connsiteY99" fmla="*/ 807243 h 1278730"/>
                  <a:gd name="connsiteX100" fmla="*/ 1197769 w 1378744"/>
                  <a:gd name="connsiteY100" fmla="*/ 759618 h 1278730"/>
                  <a:gd name="connsiteX101" fmla="*/ 1247775 w 1378744"/>
                  <a:gd name="connsiteY101" fmla="*/ 762000 h 1278730"/>
                  <a:gd name="connsiteX102" fmla="*/ 1278732 w 1378744"/>
                  <a:gd name="connsiteY102" fmla="*/ 762000 h 1278730"/>
                  <a:gd name="connsiteX103" fmla="*/ 1271588 w 1378744"/>
                  <a:gd name="connsiteY103" fmla="*/ 735806 h 1278730"/>
                  <a:gd name="connsiteX104" fmla="*/ 1378744 w 1378744"/>
                  <a:gd name="connsiteY104" fmla="*/ 678656 h 1278730"/>
                  <a:gd name="connsiteX105" fmla="*/ 1331119 w 1378744"/>
                  <a:gd name="connsiteY105" fmla="*/ 552450 h 1278730"/>
                  <a:gd name="connsiteX106" fmla="*/ 1278732 w 1378744"/>
                  <a:gd name="connsiteY106" fmla="*/ 514350 h 1278730"/>
                  <a:gd name="connsiteX107" fmla="*/ 1252538 w 1378744"/>
                  <a:gd name="connsiteY107" fmla="*/ 431006 h 1278730"/>
                  <a:gd name="connsiteX108" fmla="*/ 1181100 w 1378744"/>
                  <a:gd name="connsiteY108" fmla="*/ 431006 h 1278730"/>
                  <a:gd name="connsiteX109" fmla="*/ 1166813 w 1378744"/>
                  <a:gd name="connsiteY109" fmla="*/ 395287 h 1278730"/>
                  <a:gd name="connsiteX110" fmla="*/ 1107282 w 1378744"/>
                  <a:gd name="connsiteY110" fmla="*/ 421481 h 1278730"/>
                  <a:gd name="connsiteX111" fmla="*/ 1054894 w 1378744"/>
                  <a:gd name="connsiteY111" fmla="*/ 414337 h 1278730"/>
                  <a:gd name="connsiteX112" fmla="*/ 1028700 w 1378744"/>
                  <a:gd name="connsiteY112" fmla="*/ 371475 h 1278730"/>
                  <a:gd name="connsiteX113" fmla="*/ 1023938 w 1378744"/>
                  <a:gd name="connsiteY113" fmla="*/ 288131 h 1278730"/>
                  <a:gd name="connsiteX114" fmla="*/ 1012032 w 1378744"/>
                  <a:gd name="connsiteY114" fmla="*/ 269081 h 1278730"/>
                  <a:gd name="connsiteX115" fmla="*/ 1012032 w 1378744"/>
                  <a:gd name="connsiteY115" fmla="*/ 211931 h 1278730"/>
                  <a:gd name="connsiteX116" fmla="*/ 959644 w 1378744"/>
                  <a:gd name="connsiteY116" fmla="*/ 190500 h 1278730"/>
                  <a:gd name="connsiteX117" fmla="*/ 914400 w 1378744"/>
                  <a:gd name="connsiteY117" fmla="*/ 111918 h 1278730"/>
                  <a:gd name="connsiteX118" fmla="*/ 854869 w 1378744"/>
                  <a:gd name="connsiteY118" fmla="*/ 76200 h 1278730"/>
                  <a:gd name="connsiteX119" fmla="*/ 873919 w 1378744"/>
                  <a:gd name="connsiteY119" fmla="*/ 16668 h 1278730"/>
                  <a:gd name="connsiteX120" fmla="*/ 783432 w 1378744"/>
                  <a:gd name="connsiteY120" fmla="*/ 0 h 1278730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814388 w 1378744"/>
                  <a:gd name="connsiteY58" fmla="*/ 1138237 h 1288255"/>
                  <a:gd name="connsiteX59" fmla="*/ 828675 w 1378744"/>
                  <a:gd name="connsiteY59" fmla="*/ 1109662 h 1288255"/>
                  <a:gd name="connsiteX60" fmla="*/ 833438 w 1378744"/>
                  <a:gd name="connsiteY60" fmla="*/ 1085850 h 1288255"/>
                  <a:gd name="connsiteX61" fmla="*/ 797719 w 1378744"/>
                  <a:gd name="connsiteY61" fmla="*/ 1059656 h 1288255"/>
                  <a:gd name="connsiteX62" fmla="*/ 790575 w 1378744"/>
                  <a:gd name="connsiteY62" fmla="*/ 1038225 h 1288255"/>
                  <a:gd name="connsiteX63" fmla="*/ 790575 w 1378744"/>
                  <a:gd name="connsiteY63" fmla="*/ 1021556 h 1288255"/>
                  <a:gd name="connsiteX64" fmla="*/ 845344 w 1378744"/>
                  <a:gd name="connsiteY64" fmla="*/ 952500 h 1288255"/>
                  <a:gd name="connsiteX65" fmla="*/ 845344 w 1378744"/>
                  <a:gd name="connsiteY65" fmla="*/ 952500 h 1288255"/>
                  <a:gd name="connsiteX66" fmla="*/ 888207 w 1378744"/>
                  <a:gd name="connsiteY66" fmla="*/ 966787 h 1288255"/>
                  <a:gd name="connsiteX67" fmla="*/ 907257 w 1378744"/>
                  <a:gd name="connsiteY67" fmla="*/ 981075 h 1288255"/>
                  <a:gd name="connsiteX68" fmla="*/ 938213 w 1378744"/>
                  <a:gd name="connsiteY68" fmla="*/ 990600 h 1288255"/>
                  <a:gd name="connsiteX69" fmla="*/ 964407 w 1378744"/>
                  <a:gd name="connsiteY69" fmla="*/ 985837 h 1288255"/>
                  <a:gd name="connsiteX70" fmla="*/ 985838 w 1378744"/>
                  <a:gd name="connsiteY70" fmla="*/ 985837 h 1288255"/>
                  <a:gd name="connsiteX71" fmla="*/ 995363 w 1378744"/>
                  <a:gd name="connsiteY71" fmla="*/ 995362 h 1288255"/>
                  <a:gd name="connsiteX72" fmla="*/ 978694 w 1378744"/>
                  <a:gd name="connsiteY72" fmla="*/ 1012031 h 1288255"/>
                  <a:gd name="connsiteX73" fmla="*/ 969169 w 1378744"/>
                  <a:gd name="connsiteY73" fmla="*/ 1031081 h 1288255"/>
                  <a:gd name="connsiteX74" fmla="*/ 954882 w 1378744"/>
                  <a:gd name="connsiteY74" fmla="*/ 1054893 h 1288255"/>
                  <a:gd name="connsiteX75" fmla="*/ 950119 w 1378744"/>
                  <a:gd name="connsiteY75" fmla="*/ 1083468 h 1288255"/>
                  <a:gd name="connsiteX76" fmla="*/ 962025 w 1378744"/>
                  <a:gd name="connsiteY76" fmla="*/ 1107281 h 1288255"/>
                  <a:gd name="connsiteX77" fmla="*/ 983457 w 1378744"/>
                  <a:gd name="connsiteY77" fmla="*/ 1131093 h 1288255"/>
                  <a:gd name="connsiteX78" fmla="*/ 1002507 w 1378744"/>
                  <a:gd name="connsiteY78" fmla="*/ 1133475 h 1288255"/>
                  <a:gd name="connsiteX79" fmla="*/ 1028700 w 1378744"/>
                  <a:gd name="connsiteY79" fmla="*/ 1126331 h 1288255"/>
                  <a:gd name="connsiteX80" fmla="*/ 1031082 w 1378744"/>
                  <a:gd name="connsiteY80" fmla="*/ 1097756 h 1288255"/>
                  <a:gd name="connsiteX81" fmla="*/ 1057275 w 1378744"/>
                  <a:gd name="connsiteY81" fmla="*/ 1085850 h 1288255"/>
                  <a:gd name="connsiteX82" fmla="*/ 1076325 w 1378744"/>
                  <a:gd name="connsiteY82" fmla="*/ 1097756 h 1288255"/>
                  <a:gd name="connsiteX83" fmla="*/ 1100138 w 1378744"/>
                  <a:gd name="connsiteY83" fmla="*/ 1107281 h 1288255"/>
                  <a:gd name="connsiteX84" fmla="*/ 1123950 w 1378744"/>
                  <a:gd name="connsiteY84" fmla="*/ 1121568 h 1288255"/>
                  <a:gd name="connsiteX85" fmla="*/ 1143000 w 1378744"/>
                  <a:gd name="connsiteY85" fmla="*/ 1123950 h 1288255"/>
                  <a:gd name="connsiteX86" fmla="*/ 1157288 w 1378744"/>
                  <a:gd name="connsiteY86" fmla="*/ 1112043 h 1288255"/>
                  <a:gd name="connsiteX87" fmla="*/ 1159669 w 1378744"/>
                  <a:gd name="connsiteY87" fmla="*/ 1085850 h 1288255"/>
                  <a:gd name="connsiteX88" fmla="*/ 1166813 w 1378744"/>
                  <a:gd name="connsiteY88" fmla="*/ 1052512 h 1288255"/>
                  <a:gd name="connsiteX89" fmla="*/ 1197769 w 1378744"/>
                  <a:gd name="connsiteY89" fmla="*/ 1016793 h 1288255"/>
                  <a:gd name="connsiteX90" fmla="*/ 1195388 w 1378744"/>
                  <a:gd name="connsiteY90" fmla="*/ 954881 h 1288255"/>
                  <a:gd name="connsiteX91" fmla="*/ 1209675 w 1378744"/>
                  <a:gd name="connsiteY91" fmla="*/ 945356 h 1288255"/>
                  <a:gd name="connsiteX92" fmla="*/ 1235869 w 1378744"/>
                  <a:gd name="connsiteY92" fmla="*/ 945356 h 1288255"/>
                  <a:gd name="connsiteX93" fmla="*/ 1235869 w 1378744"/>
                  <a:gd name="connsiteY93" fmla="*/ 931068 h 1288255"/>
                  <a:gd name="connsiteX94" fmla="*/ 1212057 w 1378744"/>
                  <a:gd name="connsiteY94" fmla="*/ 912018 h 1288255"/>
                  <a:gd name="connsiteX95" fmla="*/ 1195388 w 1378744"/>
                  <a:gd name="connsiteY95" fmla="*/ 881062 h 1288255"/>
                  <a:gd name="connsiteX96" fmla="*/ 1157288 w 1378744"/>
                  <a:gd name="connsiteY96" fmla="*/ 871537 h 1288255"/>
                  <a:gd name="connsiteX97" fmla="*/ 1119188 w 1378744"/>
                  <a:gd name="connsiteY97" fmla="*/ 859631 h 1288255"/>
                  <a:gd name="connsiteX98" fmla="*/ 1119188 w 1378744"/>
                  <a:gd name="connsiteY98" fmla="*/ 831056 h 1288255"/>
                  <a:gd name="connsiteX99" fmla="*/ 1135857 w 1378744"/>
                  <a:gd name="connsiteY99" fmla="*/ 807243 h 1288255"/>
                  <a:gd name="connsiteX100" fmla="*/ 1197769 w 1378744"/>
                  <a:gd name="connsiteY100" fmla="*/ 759618 h 1288255"/>
                  <a:gd name="connsiteX101" fmla="*/ 1247775 w 1378744"/>
                  <a:gd name="connsiteY101" fmla="*/ 762000 h 1288255"/>
                  <a:gd name="connsiteX102" fmla="*/ 1278732 w 1378744"/>
                  <a:gd name="connsiteY102" fmla="*/ 762000 h 1288255"/>
                  <a:gd name="connsiteX103" fmla="*/ 1271588 w 1378744"/>
                  <a:gd name="connsiteY103" fmla="*/ 735806 h 1288255"/>
                  <a:gd name="connsiteX104" fmla="*/ 1378744 w 1378744"/>
                  <a:gd name="connsiteY104" fmla="*/ 678656 h 1288255"/>
                  <a:gd name="connsiteX105" fmla="*/ 1331119 w 1378744"/>
                  <a:gd name="connsiteY105" fmla="*/ 552450 h 1288255"/>
                  <a:gd name="connsiteX106" fmla="*/ 1278732 w 1378744"/>
                  <a:gd name="connsiteY106" fmla="*/ 514350 h 1288255"/>
                  <a:gd name="connsiteX107" fmla="*/ 1252538 w 1378744"/>
                  <a:gd name="connsiteY107" fmla="*/ 431006 h 1288255"/>
                  <a:gd name="connsiteX108" fmla="*/ 1181100 w 1378744"/>
                  <a:gd name="connsiteY108" fmla="*/ 431006 h 1288255"/>
                  <a:gd name="connsiteX109" fmla="*/ 1166813 w 1378744"/>
                  <a:gd name="connsiteY109" fmla="*/ 395287 h 1288255"/>
                  <a:gd name="connsiteX110" fmla="*/ 1107282 w 1378744"/>
                  <a:gd name="connsiteY110" fmla="*/ 421481 h 1288255"/>
                  <a:gd name="connsiteX111" fmla="*/ 1054894 w 1378744"/>
                  <a:gd name="connsiteY111" fmla="*/ 414337 h 1288255"/>
                  <a:gd name="connsiteX112" fmla="*/ 1028700 w 1378744"/>
                  <a:gd name="connsiteY112" fmla="*/ 371475 h 1288255"/>
                  <a:gd name="connsiteX113" fmla="*/ 1023938 w 1378744"/>
                  <a:gd name="connsiteY113" fmla="*/ 288131 h 1288255"/>
                  <a:gd name="connsiteX114" fmla="*/ 1012032 w 1378744"/>
                  <a:gd name="connsiteY114" fmla="*/ 269081 h 1288255"/>
                  <a:gd name="connsiteX115" fmla="*/ 1012032 w 1378744"/>
                  <a:gd name="connsiteY115" fmla="*/ 211931 h 1288255"/>
                  <a:gd name="connsiteX116" fmla="*/ 959644 w 1378744"/>
                  <a:gd name="connsiteY116" fmla="*/ 190500 h 1288255"/>
                  <a:gd name="connsiteX117" fmla="*/ 914400 w 1378744"/>
                  <a:gd name="connsiteY117" fmla="*/ 111918 h 1288255"/>
                  <a:gd name="connsiteX118" fmla="*/ 854869 w 1378744"/>
                  <a:gd name="connsiteY118" fmla="*/ 76200 h 1288255"/>
                  <a:gd name="connsiteX119" fmla="*/ 873919 w 1378744"/>
                  <a:gd name="connsiteY119" fmla="*/ 16668 h 1288255"/>
                  <a:gd name="connsiteX120" fmla="*/ 783432 w 1378744"/>
                  <a:gd name="connsiteY120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47713 w 1378744"/>
                  <a:gd name="connsiteY58" fmla="*/ 1257299 h 1288255"/>
                  <a:gd name="connsiteX59" fmla="*/ 814388 w 1378744"/>
                  <a:gd name="connsiteY59" fmla="*/ 1138237 h 1288255"/>
                  <a:gd name="connsiteX60" fmla="*/ 828675 w 1378744"/>
                  <a:gd name="connsiteY60" fmla="*/ 1109662 h 1288255"/>
                  <a:gd name="connsiteX61" fmla="*/ 833438 w 1378744"/>
                  <a:gd name="connsiteY61" fmla="*/ 1085850 h 1288255"/>
                  <a:gd name="connsiteX62" fmla="*/ 797719 w 1378744"/>
                  <a:gd name="connsiteY62" fmla="*/ 1059656 h 1288255"/>
                  <a:gd name="connsiteX63" fmla="*/ 790575 w 1378744"/>
                  <a:gd name="connsiteY63" fmla="*/ 1038225 h 1288255"/>
                  <a:gd name="connsiteX64" fmla="*/ 790575 w 1378744"/>
                  <a:gd name="connsiteY64" fmla="*/ 1021556 h 1288255"/>
                  <a:gd name="connsiteX65" fmla="*/ 845344 w 1378744"/>
                  <a:gd name="connsiteY65" fmla="*/ 952500 h 1288255"/>
                  <a:gd name="connsiteX66" fmla="*/ 845344 w 1378744"/>
                  <a:gd name="connsiteY66" fmla="*/ 952500 h 1288255"/>
                  <a:gd name="connsiteX67" fmla="*/ 888207 w 1378744"/>
                  <a:gd name="connsiteY67" fmla="*/ 966787 h 1288255"/>
                  <a:gd name="connsiteX68" fmla="*/ 907257 w 1378744"/>
                  <a:gd name="connsiteY68" fmla="*/ 981075 h 1288255"/>
                  <a:gd name="connsiteX69" fmla="*/ 938213 w 1378744"/>
                  <a:gd name="connsiteY69" fmla="*/ 990600 h 1288255"/>
                  <a:gd name="connsiteX70" fmla="*/ 964407 w 1378744"/>
                  <a:gd name="connsiteY70" fmla="*/ 985837 h 1288255"/>
                  <a:gd name="connsiteX71" fmla="*/ 985838 w 1378744"/>
                  <a:gd name="connsiteY71" fmla="*/ 985837 h 1288255"/>
                  <a:gd name="connsiteX72" fmla="*/ 995363 w 1378744"/>
                  <a:gd name="connsiteY72" fmla="*/ 995362 h 1288255"/>
                  <a:gd name="connsiteX73" fmla="*/ 978694 w 1378744"/>
                  <a:gd name="connsiteY73" fmla="*/ 1012031 h 1288255"/>
                  <a:gd name="connsiteX74" fmla="*/ 969169 w 1378744"/>
                  <a:gd name="connsiteY74" fmla="*/ 1031081 h 1288255"/>
                  <a:gd name="connsiteX75" fmla="*/ 954882 w 1378744"/>
                  <a:gd name="connsiteY75" fmla="*/ 1054893 h 1288255"/>
                  <a:gd name="connsiteX76" fmla="*/ 950119 w 1378744"/>
                  <a:gd name="connsiteY76" fmla="*/ 1083468 h 1288255"/>
                  <a:gd name="connsiteX77" fmla="*/ 962025 w 1378744"/>
                  <a:gd name="connsiteY77" fmla="*/ 1107281 h 1288255"/>
                  <a:gd name="connsiteX78" fmla="*/ 983457 w 1378744"/>
                  <a:gd name="connsiteY78" fmla="*/ 1131093 h 1288255"/>
                  <a:gd name="connsiteX79" fmla="*/ 1002507 w 1378744"/>
                  <a:gd name="connsiteY79" fmla="*/ 1133475 h 1288255"/>
                  <a:gd name="connsiteX80" fmla="*/ 1028700 w 1378744"/>
                  <a:gd name="connsiteY80" fmla="*/ 1126331 h 1288255"/>
                  <a:gd name="connsiteX81" fmla="*/ 1031082 w 1378744"/>
                  <a:gd name="connsiteY81" fmla="*/ 1097756 h 1288255"/>
                  <a:gd name="connsiteX82" fmla="*/ 1057275 w 1378744"/>
                  <a:gd name="connsiteY82" fmla="*/ 1085850 h 1288255"/>
                  <a:gd name="connsiteX83" fmla="*/ 1076325 w 1378744"/>
                  <a:gd name="connsiteY83" fmla="*/ 1097756 h 1288255"/>
                  <a:gd name="connsiteX84" fmla="*/ 1100138 w 1378744"/>
                  <a:gd name="connsiteY84" fmla="*/ 1107281 h 1288255"/>
                  <a:gd name="connsiteX85" fmla="*/ 1123950 w 1378744"/>
                  <a:gd name="connsiteY85" fmla="*/ 1121568 h 1288255"/>
                  <a:gd name="connsiteX86" fmla="*/ 1143000 w 1378744"/>
                  <a:gd name="connsiteY86" fmla="*/ 1123950 h 1288255"/>
                  <a:gd name="connsiteX87" fmla="*/ 1157288 w 1378744"/>
                  <a:gd name="connsiteY87" fmla="*/ 1112043 h 1288255"/>
                  <a:gd name="connsiteX88" fmla="*/ 1159669 w 1378744"/>
                  <a:gd name="connsiteY88" fmla="*/ 1085850 h 1288255"/>
                  <a:gd name="connsiteX89" fmla="*/ 1166813 w 1378744"/>
                  <a:gd name="connsiteY89" fmla="*/ 1052512 h 1288255"/>
                  <a:gd name="connsiteX90" fmla="*/ 1197769 w 1378744"/>
                  <a:gd name="connsiteY90" fmla="*/ 1016793 h 1288255"/>
                  <a:gd name="connsiteX91" fmla="*/ 1195388 w 1378744"/>
                  <a:gd name="connsiteY91" fmla="*/ 954881 h 1288255"/>
                  <a:gd name="connsiteX92" fmla="*/ 1209675 w 1378744"/>
                  <a:gd name="connsiteY92" fmla="*/ 945356 h 1288255"/>
                  <a:gd name="connsiteX93" fmla="*/ 1235869 w 1378744"/>
                  <a:gd name="connsiteY93" fmla="*/ 945356 h 1288255"/>
                  <a:gd name="connsiteX94" fmla="*/ 1235869 w 1378744"/>
                  <a:gd name="connsiteY94" fmla="*/ 931068 h 1288255"/>
                  <a:gd name="connsiteX95" fmla="*/ 1212057 w 1378744"/>
                  <a:gd name="connsiteY95" fmla="*/ 912018 h 1288255"/>
                  <a:gd name="connsiteX96" fmla="*/ 1195388 w 1378744"/>
                  <a:gd name="connsiteY96" fmla="*/ 881062 h 1288255"/>
                  <a:gd name="connsiteX97" fmla="*/ 1157288 w 1378744"/>
                  <a:gd name="connsiteY97" fmla="*/ 871537 h 1288255"/>
                  <a:gd name="connsiteX98" fmla="*/ 1119188 w 1378744"/>
                  <a:gd name="connsiteY98" fmla="*/ 859631 h 1288255"/>
                  <a:gd name="connsiteX99" fmla="*/ 1119188 w 1378744"/>
                  <a:gd name="connsiteY99" fmla="*/ 831056 h 1288255"/>
                  <a:gd name="connsiteX100" fmla="*/ 1135857 w 1378744"/>
                  <a:gd name="connsiteY100" fmla="*/ 807243 h 1288255"/>
                  <a:gd name="connsiteX101" fmla="*/ 1197769 w 1378744"/>
                  <a:gd name="connsiteY101" fmla="*/ 759618 h 1288255"/>
                  <a:gd name="connsiteX102" fmla="*/ 1247775 w 1378744"/>
                  <a:gd name="connsiteY102" fmla="*/ 762000 h 1288255"/>
                  <a:gd name="connsiteX103" fmla="*/ 1278732 w 1378744"/>
                  <a:gd name="connsiteY103" fmla="*/ 762000 h 1288255"/>
                  <a:gd name="connsiteX104" fmla="*/ 1271588 w 1378744"/>
                  <a:gd name="connsiteY104" fmla="*/ 735806 h 1288255"/>
                  <a:gd name="connsiteX105" fmla="*/ 1378744 w 1378744"/>
                  <a:gd name="connsiteY105" fmla="*/ 678656 h 1288255"/>
                  <a:gd name="connsiteX106" fmla="*/ 1331119 w 1378744"/>
                  <a:gd name="connsiteY106" fmla="*/ 552450 h 1288255"/>
                  <a:gd name="connsiteX107" fmla="*/ 1278732 w 1378744"/>
                  <a:gd name="connsiteY107" fmla="*/ 514350 h 1288255"/>
                  <a:gd name="connsiteX108" fmla="*/ 1252538 w 1378744"/>
                  <a:gd name="connsiteY108" fmla="*/ 431006 h 1288255"/>
                  <a:gd name="connsiteX109" fmla="*/ 1181100 w 1378744"/>
                  <a:gd name="connsiteY109" fmla="*/ 431006 h 1288255"/>
                  <a:gd name="connsiteX110" fmla="*/ 1166813 w 1378744"/>
                  <a:gd name="connsiteY110" fmla="*/ 395287 h 1288255"/>
                  <a:gd name="connsiteX111" fmla="*/ 1107282 w 1378744"/>
                  <a:gd name="connsiteY111" fmla="*/ 421481 h 1288255"/>
                  <a:gd name="connsiteX112" fmla="*/ 1054894 w 1378744"/>
                  <a:gd name="connsiteY112" fmla="*/ 414337 h 1288255"/>
                  <a:gd name="connsiteX113" fmla="*/ 1028700 w 1378744"/>
                  <a:gd name="connsiteY113" fmla="*/ 371475 h 1288255"/>
                  <a:gd name="connsiteX114" fmla="*/ 1023938 w 1378744"/>
                  <a:gd name="connsiteY114" fmla="*/ 288131 h 1288255"/>
                  <a:gd name="connsiteX115" fmla="*/ 1012032 w 1378744"/>
                  <a:gd name="connsiteY115" fmla="*/ 269081 h 1288255"/>
                  <a:gd name="connsiteX116" fmla="*/ 1012032 w 1378744"/>
                  <a:gd name="connsiteY116" fmla="*/ 211931 h 1288255"/>
                  <a:gd name="connsiteX117" fmla="*/ 959644 w 1378744"/>
                  <a:gd name="connsiteY117" fmla="*/ 190500 h 1288255"/>
                  <a:gd name="connsiteX118" fmla="*/ 914400 w 1378744"/>
                  <a:gd name="connsiteY118" fmla="*/ 111918 h 1288255"/>
                  <a:gd name="connsiteX119" fmla="*/ 854869 w 1378744"/>
                  <a:gd name="connsiteY119" fmla="*/ 76200 h 1288255"/>
                  <a:gd name="connsiteX120" fmla="*/ 873919 w 1378744"/>
                  <a:gd name="connsiteY120" fmla="*/ 16668 h 1288255"/>
                  <a:gd name="connsiteX121" fmla="*/ 783432 w 1378744"/>
                  <a:gd name="connsiteY121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814388 w 1378744"/>
                  <a:gd name="connsiteY59" fmla="*/ 1138237 h 1288255"/>
                  <a:gd name="connsiteX60" fmla="*/ 828675 w 1378744"/>
                  <a:gd name="connsiteY60" fmla="*/ 1109662 h 1288255"/>
                  <a:gd name="connsiteX61" fmla="*/ 833438 w 1378744"/>
                  <a:gd name="connsiteY61" fmla="*/ 1085850 h 1288255"/>
                  <a:gd name="connsiteX62" fmla="*/ 797719 w 1378744"/>
                  <a:gd name="connsiteY62" fmla="*/ 1059656 h 1288255"/>
                  <a:gd name="connsiteX63" fmla="*/ 790575 w 1378744"/>
                  <a:gd name="connsiteY63" fmla="*/ 1038225 h 1288255"/>
                  <a:gd name="connsiteX64" fmla="*/ 790575 w 1378744"/>
                  <a:gd name="connsiteY64" fmla="*/ 1021556 h 1288255"/>
                  <a:gd name="connsiteX65" fmla="*/ 845344 w 1378744"/>
                  <a:gd name="connsiteY65" fmla="*/ 952500 h 1288255"/>
                  <a:gd name="connsiteX66" fmla="*/ 845344 w 1378744"/>
                  <a:gd name="connsiteY66" fmla="*/ 952500 h 1288255"/>
                  <a:gd name="connsiteX67" fmla="*/ 888207 w 1378744"/>
                  <a:gd name="connsiteY67" fmla="*/ 966787 h 1288255"/>
                  <a:gd name="connsiteX68" fmla="*/ 907257 w 1378744"/>
                  <a:gd name="connsiteY68" fmla="*/ 981075 h 1288255"/>
                  <a:gd name="connsiteX69" fmla="*/ 938213 w 1378744"/>
                  <a:gd name="connsiteY69" fmla="*/ 990600 h 1288255"/>
                  <a:gd name="connsiteX70" fmla="*/ 964407 w 1378744"/>
                  <a:gd name="connsiteY70" fmla="*/ 985837 h 1288255"/>
                  <a:gd name="connsiteX71" fmla="*/ 985838 w 1378744"/>
                  <a:gd name="connsiteY71" fmla="*/ 985837 h 1288255"/>
                  <a:gd name="connsiteX72" fmla="*/ 995363 w 1378744"/>
                  <a:gd name="connsiteY72" fmla="*/ 995362 h 1288255"/>
                  <a:gd name="connsiteX73" fmla="*/ 978694 w 1378744"/>
                  <a:gd name="connsiteY73" fmla="*/ 1012031 h 1288255"/>
                  <a:gd name="connsiteX74" fmla="*/ 969169 w 1378744"/>
                  <a:gd name="connsiteY74" fmla="*/ 1031081 h 1288255"/>
                  <a:gd name="connsiteX75" fmla="*/ 954882 w 1378744"/>
                  <a:gd name="connsiteY75" fmla="*/ 1054893 h 1288255"/>
                  <a:gd name="connsiteX76" fmla="*/ 950119 w 1378744"/>
                  <a:gd name="connsiteY76" fmla="*/ 1083468 h 1288255"/>
                  <a:gd name="connsiteX77" fmla="*/ 962025 w 1378744"/>
                  <a:gd name="connsiteY77" fmla="*/ 1107281 h 1288255"/>
                  <a:gd name="connsiteX78" fmla="*/ 983457 w 1378744"/>
                  <a:gd name="connsiteY78" fmla="*/ 1131093 h 1288255"/>
                  <a:gd name="connsiteX79" fmla="*/ 1002507 w 1378744"/>
                  <a:gd name="connsiteY79" fmla="*/ 1133475 h 1288255"/>
                  <a:gd name="connsiteX80" fmla="*/ 1028700 w 1378744"/>
                  <a:gd name="connsiteY80" fmla="*/ 1126331 h 1288255"/>
                  <a:gd name="connsiteX81" fmla="*/ 1031082 w 1378744"/>
                  <a:gd name="connsiteY81" fmla="*/ 1097756 h 1288255"/>
                  <a:gd name="connsiteX82" fmla="*/ 1057275 w 1378744"/>
                  <a:gd name="connsiteY82" fmla="*/ 1085850 h 1288255"/>
                  <a:gd name="connsiteX83" fmla="*/ 1076325 w 1378744"/>
                  <a:gd name="connsiteY83" fmla="*/ 1097756 h 1288255"/>
                  <a:gd name="connsiteX84" fmla="*/ 1100138 w 1378744"/>
                  <a:gd name="connsiteY84" fmla="*/ 1107281 h 1288255"/>
                  <a:gd name="connsiteX85" fmla="*/ 1123950 w 1378744"/>
                  <a:gd name="connsiteY85" fmla="*/ 1121568 h 1288255"/>
                  <a:gd name="connsiteX86" fmla="*/ 1143000 w 1378744"/>
                  <a:gd name="connsiteY86" fmla="*/ 1123950 h 1288255"/>
                  <a:gd name="connsiteX87" fmla="*/ 1157288 w 1378744"/>
                  <a:gd name="connsiteY87" fmla="*/ 1112043 h 1288255"/>
                  <a:gd name="connsiteX88" fmla="*/ 1159669 w 1378744"/>
                  <a:gd name="connsiteY88" fmla="*/ 1085850 h 1288255"/>
                  <a:gd name="connsiteX89" fmla="*/ 1166813 w 1378744"/>
                  <a:gd name="connsiteY89" fmla="*/ 1052512 h 1288255"/>
                  <a:gd name="connsiteX90" fmla="*/ 1197769 w 1378744"/>
                  <a:gd name="connsiteY90" fmla="*/ 1016793 h 1288255"/>
                  <a:gd name="connsiteX91" fmla="*/ 1195388 w 1378744"/>
                  <a:gd name="connsiteY91" fmla="*/ 954881 h 1288255"/>
                  <a:gd name="connsiteX92" fmla="*/ 1209675 w 1378744"/>
                  <a:gd name="connsiteY92" fmla="*/ 945356 h 1288255"/>
                  <a:gd name="connsiteX93" fmla="*/ 1235869 w 1378744"/>
                  <a:gd name="connsiteY93" fmla="*/ 945356 h 1288255"/>
                  <a:gd name="connsiteX94" fmla="*/ 1235869 w 1378744"/>
                  <a:gd name="connsiteY94" fmla="*/ 931068 h 1288255"/>
                  <a:gd name="connsiteX95" fmla="*/ 1212057 w 1378744"/>
                  <a:gd name="connsiteY95" fmla="*/ 912018 h 1288255"/>
                  <a:gd name="connsiteX96" fmla="*/ 1195388 w 1378744"/>
                  <a:gd name="connsiteY96" fmla="*/ 881062 h 1288255"/>
                  <a:gd name="connsiteX97" fmla="*/ 1157288 w 1378744"/>
                  <a:gd name="connsiteY97" fmla="*/ 871537 h 1288255"/>
                  <a:gd name="connsiteX98" fmla="*/ 1119188 w 1378744"/>
                  <a:gd name="connsiteY98" fmla="*/ 859631 h 1288255"/>
                  <a:gd name="connsiteX99" fmla="*/ 1119188 w 1378744"/>
                  <a:gd name="connsiteY99" fmla="*/ 831056 h 1288255"/>
                  <a:gd name="connsiteX100" fmla="*/ 1135857 w 1378744"/>
                  <a:gd name="connsiteY100" fmla="*/ 807243 h 1288255"/>
                  <a:gd name="connsiteX101" fmla="*/ 1197769 w 1378744"/>
                  <a:gd name="connsiteY101" fmla="*/ 759618 h 1288255"/>
                  <a:gd name="connsiteX102" fmla="*/ 1247775 w 1378744"/>
                  <a:gd name="connsiteY102" fmla="*/ 762000 h 1288255"/>
                  <a:gd name="connsiteX103" fmla="*/ 1278732 w 1378744"/>
                  <a:gd name="connsiteY103" fmla="*/ 762000 h 1288255"/>
                  <a:gd name="connsiteX104" fmla="*/ 1271588 w 1378744"/>
                  <a:gd name="connsiteY104" fmla="*/ 735806 h 1288255"/>
                  <a:gd name="connsiteX105" fmla="*/ 1378744 w 1378744"/>
                  <a:gd name="connsiteY105" fmla="*/ 678656 h 1288255"/>
                  <a:gd name="connsiteX106" fmla="*/ 1331119 w 1378744"/>
                  <a:gd name="connsiteY106" fmla="*/ 552450 h 1288255"/>
                  <a:gd name="connsiteX107" fmla="*/ 1278732 w 1378744"/>
                  <a:gd name="connsiteY107" fmla="*/ 514350 h 1288255"/>
                  <a:gd name="connsiteX108" fmla="*/ 1252538 w 1378744"/>
                  <a:gd name="connsiteY108" fmla="*/ 431006 h 1288255"/>
                  <a:gd name="connsiteX109" fmla="*/ 1181100 w 1378744"/>
                  <a:gd name="connsiteY109" fmla="*/ 431006 h 1288255"/>
                  <a:gd name="connsiteX110" fmla="*/ 1166813 w 1378744"/>
                  <a:gd name="connsiteY110" fmla="*/ 395287 h 1288255"/>
                  <a:gd name="connsiteX111" fmla="*/ 1107282 w 1378744"/>
                  <a:gd name="connsiteY111" fmla="*/ 421481 h 1288255"/>
                  <a:gd name="connsiteX112" fmla="*/ 1054894 w 1378744"/>
                  <a:gd name="connsiteY112" fmla="*/ 414337 h 1288255"/>
                  <a:gd name="connsiteX113" fmla="*/ 1028700 w 1378744"/>
                  <a:gd name="connsiteY113" fmla="*/ 371475 h 1288255"/>
                  <a:gd name="connsiteX114" fmla="*/ 1023938 w 1378744"/>
                  <a:gd name="connsiteY114" fmla="*/ 288131 h 1288255"/>
                  <a:gd name="connsiteX115" fmla="*/ 1012032 w 1378744"/>
                  <a:gd name="connsiteY115" fmla="*/ 269081 h 1288255"/>
                  <a:gd name="connsiteX116" fmla="*/ 1012032 w 1378744"/>
                  <a:gd name="connsiteY116" fmla="*/ 211931 h 1288255"/>
                  <a:gd name="connsiteX117" fmla="*/ 959644 w 1378744"/>
                  <a:gd name="connsiteY117" fmla="*/ 190500 h 1288255"/>
                  <a:gd name="connsiteX118" fmla="*/ 914400 w 1378744"/>
                  <a:gd name="connsiteY118" fmla="*/ 111918 h 1288255"/>
                  <a:gd name="connsiteX119" fmla="*/ 854869 w 1378744"/>
                  <a:gd name="connsiteY119" fmla="*/ 76200 h 1288255"/>
                  <a:gd name="connsiteX120" fmla="*/ 873919 w 1378744"/>
                  <a:gd name="connsiteY120" fmla="*/ 16668 h 1288255"/>
                  <a:gd name="connsiteX121" fmla="*/ 783432 w 1378744"/>
                  <a:gd name="connsiteY121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81050 w 1378744"/>
                  <a:gd name="connsiteY59" fmla="*/ 1240630 h 1288255"/>
                  <a:gd name="connsiteX60" fmla="*/ 814388 w 1378744"/>
                  <a:gd name="connsiteY60" fmla="*/ 1138237 h 1288255"/>
                  <a:gd name="connsiteX61" fmla="*/ 828675 w 1378744"/>
                  <a:gd name="connsiteY61" fmla="*/ 1109662 h 1288255"/>
                  <a:gd name="connsiteX62" fmla="*/ 833438 w 1378744"/>
                  <a:gd name="connsiteY62" fmla="*/ 1085850 h 1288255"/>
                  <a:gd name="connsiteX63" fmla="*/ 797719 w 1378744"/>
                  <a:gd name="connsiteY63" fmla="*/ 1059656 h 1288255"/>
                  <a:gd name="connsiteX64" fmla="*/ 790575 w 1378744"/>
                  <a:gd name="connsiteY64" fmla="*/ 1038225 h 1288255"/>
                  <a:gd name="connsiteX65" fmla="*/ 790575 w 1378744"/>
                  <a:gd name="connsiteY65" fmla="*/ 1021556 h 1288255"/>
                  <a:gd name="connsiteX66" fmla="*/ 845344 w 1378744"/>
                  <a:gd name="connsiteY66" fmla="*/ 952500 h 1288255"/>
                  <a:gd name="connsiteX67" fmla="*/ 845344 w 1378744"/>
                  <a:gd name="connsiteY67" fmla="*/ 952500 h 1288255"/>
                  <a:gd name="connsiteX68" fmla="*/ 888207 w 1378744"/>
                  <a:gd name="connsiteY68" fmla="*/ 966787 h 1288255"/>
                  <a:gd name="connsiteX69" fmla="*/ 907257 w 1378744"/>
                  <a:gd name="connsiteY69" fmla="*/ 981075 h 1288255"/>
                  <a:gd name="connsiteX70" fmla="*/ 938213 w 1378744"/>
                  <a:gd name="connsiteY70" fmla="*/ 990600 h 1288255"/>
                  <a:gd name="connsiteX71" fmla="*/ 964407 w 1378744"/>
                  <a:gd name="connsiteY71" fmla="*/ 985837 h 1288255"/>
                  <a:gd name="connsiteX72" fmla="*/ 985838 w 1378744"/>
                  <a:gd name="connsiteY72" fmla="*/ 985837 h 1288255"/>
                  <a:gd name="connsiteX73" fmla="*/ 995363 w 1378744"/>
                  <a:gd name="connsiteY73" fmla="*/ 995362 h 1288255"/>
                  <a:gd name="connsiteX74" fmla="*/ 978694 w 1378744"/>
                  <a:gd name="connsiteY74" fmla="*/ 1012031 h 1288255"/>
                  <a:gd name="connsiteX75" fmla="*/ 969169 w 1378744"/>
                  <a:gd name="connsiteY75" fmla="*/ 1031081 h 1288255"/>
                  <a:gd name="connsiteX76" fmla="*/ 954882 w 1378744"/>
                  <a:gd name="connsiteY76" fmla="*/ 1054893 h 1288255"/>
                  <a:gd name="connsiteX77" fmla="*/ 950119 w 1378744"/>
                  <a:gd name="connsiteY77" fmla="*/ 1083468 h 1288255"/>
                  <a:gd name="connsiteX78" fmla="*/ 962025 w 1378744"/>
                  <a:gd name="connsiteY78" fmla="*/ 1107281 h 1288255"/>
                  <a:gd name="connsiteX79" fmla="*/ 983457 w 1378744"/>
                  <a:gd name="connsiteY79" fmla="*/ 1131093 h 1288255"/>
                  <a:gd name="connsiteX80" fmla="*/ 1002507 w 1378744"/>
                  <a:gd name="connsiteY80" fmla="*/ 1133475 h 1288255"/>
                  <a:gd name="connsiteX81" fmla="*/ 1028700 w 1378744"/>
                  <a:gd name="connsiteY81" fmla="*/ 1126331 h 1288255"/>
                  <a:gd name="connsiteX82" fmla="*/ 1031082 w 1378744"/>
                  <a:gd name="connsiteY82" fmla="*/ 1097756 h 1288255"/>
                  <a:gd name="connsiteX83" fmla="*/ 1057275 w 1378744"/>
                  <a:gd name="connsiteY83" fmla="*/ 1085850 h 1288255"/>
                  <a:gd name="connsiteX84" fmla="*/ 1076325 w 1378744"/>
                  <a:gd name="connsiteY84" fmla="*/ 1097756 h 1288255"/>
                  <a:gd name="connsiteX85" fmla="*/ 1100138 w 1378744"/>
                  <a:gd name="connsiteY85" fmla="*/ 1107281 h 1288255"/>
                  <a:gd name="connsiteX86" fmla="*/ 1123950 w 1378744"/>
                  <a:gd name="connsiteY86" fmla="*/ 1121568 h 1288255"/>
                  <a:gd name="connsiteX87" fmla="*/ 1143000 w 1378744"/>
                  <a:gd name="connsiteY87" fmla="*/ 1123950 h 1288255"/>
                  <a:gd name="connsiteX88" fmla="*/ 1157288 w 1378744"/>
                  <a:gd name="connsiteY88" fmla="*/ 1112043 h 1288255"/>
                  <a:gd name="connsiteX89" fmla="*/ 1159669 w 1378744"/>
                  <a:gd name="connsiteY89" fmla="*/ 1085850 h 1288255"/>
                  <a:gd name="connsiteX90" fmla="*/ 1166813 w 1378744"/>
                  <a:gd name="connsiteY90" fmla="*/ 1052512 h 1288255"/>
                  <a:gd name="connsiteX91" fmla="*/ 1197769 w 1378744"/>
                  <a:gd name="connsiteY91" fmla="*/ 1016793 h 1288255"/>
                  <a:gd name="connsiteX92" fmla="*/ 1195388 w 1378744"/>
                  <a:gd name="connsiteY92" fmla="*/ 954881 h 1288255"/>
                  <a:gd name="connsiteX93" fmla="*/ 1209675 w 1378744"/>
                  <a:gd name="connsiteY93" fmla="*/ 945356 h 1288255"/>
                  <a:gd name="connsiteX94" fmla="*/ 1235869 w 1378744"/>
                  <a:gd name="connsiteY94" fmla="*/ 945356 h 1288255"/>
                  <a:gd name="connsiteX95" fmla="*/ 1235869 w 1378744"/>
                  <a:gd name="connsiteY95" fmla="*/ 931068 h 1288255"/>
                  <a:gd name="connsiteX96" fmla="*/ 1212057 w 1378744"/>
                  <a:gd name="connsiteY96" fmla="*/ 912018 h 1288255"/>
                  <a:gd name="connsiteX97" fmla="*/ 1195388 w 1378744"/>
                  <a:gd name="connsiteY97" fmla="*/ 881062 h 1288255"/>
                  <a:gd name="connsiteX98" fmla="*/ 1157288 w 1378744"/>
                  <a:gd name="connsiteY98" fmla="*/ 871537 h 1288255"/>
                  <a:gd name="connsiteX99" fmla="*/ 1119188 w 1378744"/>
                  <a:gd name="connsiteY99" fmla="*/ 859631 h 1288255"/>
                  <a:gd name="connsiteX100" fmla="*/ 1119188 w 1378744"/>
                  <a:gd name="connsiteY100" fmla="*/ 831056 h 1288255"/>
                  <a:gd name="connsiteX101" fmla="*/ 1135857 w 1378744"/>
                  <a:gd name="connsiteY101" fmla="*/ 807243 h 1288255"/>
                  <a:gd name="connsiteX102" fmla="*/ 1197769 w 1378744"/>
                  <a:gd name="connsiteY102" fmla="*/ 759618 h 1288255"/>
                  <a:gd name="connsiteX103" fmla="*/ 1247775 w 1378744"/>
                  <a:gd name="connsiteY103" fmla="*/ 762000 h 1288255"/>
                  <a:gd name="connsiteX104" fmla="*/ 1278732 w 1378744"/>
                  <a:gd name="connsiteY104" fmla="*/ 762000 h 1288255"/>
                  <a:gd name="connsiteX105" fmla="*/ 1271588 w 1378744"/>
                  <a:gd name="connsiteY105" fmla="*/ 735806 h 1288255"/>
                  <a:gd name="connsiteX106" fmla="*/ 1378744 w 1378744"/>
                  <a:gd name="connsiteY106" fmla="*/ 678656 h 1288255"/>
                  <a:gd name="connsiteX107" fmla="*/ 1331119 w 1378744"/>
                  <a:gd name="connsiteY107" fmla="*/ 552450 h 1288255"/>
                  <a:gd name="connsiteX108" fmla="*/ 1278732 w 1378744"/>
                  <a:gd name="connsiteY108" fmla="*/ 514350 h 1288255"/>
                  <a:gd name="connsiteX109" fmla="*/ 1252538 w 1378744"/>
                  <a:gd name="connsiteY109" fmla="*/ 431006 h 1288255"/>
                  <a:gd name="connsiteX110" fmla="*/ 1181100 w 1378744"/>
                  <a:gd name="connsiteY110" fmla="*/ 431006 h 1288255"/>
                  <a:gd name="connsiteX111" fmla="*/ 1166813 w 1378744"/>
                  <a:gd name="connsiteY111" fmla="*/ 395287 h 1288255"/>
                  <a:gd name="connsiteX112" fmla="*/ 1107282 w 1378744"/>
                  <a:gd name="connsiteY112" fmla="*/ 421481 h 1288255"/>
                  <a:gd name="connsiteX113" fmla="*/ 1054894 w 1378744"/>
                  <a:gd name="connsiteY113" fmla="*/ 414337 h 1288255"/>
                  <a:gd name="connsiteX114" fmla="*/ 1028700 w 1378744"/>
                  <a:gd name="connsiteY114" fmla="*/ 371475 h 1288255"/>
                  <a:gd name="connsiteX115" fmla="*/ 1023938 w 1378744"/>
                  <a:gd name="connsiteY115" fmla="*/ 288131 h 1288255"/>
                  <a:gd name="connsiteX116" fmla="*/ 1012032 w 1378744"/>
                  <a:gd name="connsiteY116" fmla="*/ 269081 h 1288255"/>
                  <a:gd name="connsiteX117" fmla="*/ 1012032 w 1378744"/>
                  <a:gd name="connsiteY117" fmla="*/ 211931 h 1288255"/>
                  <a:gd name="connsiteX118" fmla="*/ 959644 w 1378744"/>
                  <a:gd name="connsiteY118" fmla="*/ 190500 h 1288255"/>
                  <a:gd name="connsiteX119" fmla="*/ 914400 w 1378744"/>
                  <a:gd name="connsiteY119" fmla="*/ 111918 h 1288255"/>
                  <a:gd name="connsiteX120" fmla="*/ 854869 w 1378744"/>
                  <a:gd name="connsiteY120" fmla="*/ 76200 h 1288255"/>
                  <a:gd name="connsiteX121" fmla="*/ 873919 w 1378744"/>
                  <a:gd name="connsiteY121" fmla="*/ 16668 h 1288255"/>
                  <a:gd name="connsiteX122" fmla="*/ 783432 w 1378744"/>
                  <a:gd name="connsiteY122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814388 w 1378744"/>
                  <a:gd name="connsiteY60" fmla="*/ 1138237 h 1288255"/>
                  <a:gd name="connsiteX61" fmla="*/ 828675 w 1378744"/>
                  <a:gd name="connsiteY61" fmla="*/ 1109662 h 1288255"/>
                  <a:gd name="connsiteX62" fmla="*/ 833438 w 1378744"/>
                  <a:gd name="connsiteY62" fmla="*/ 1085850 h 1288255"/>
                  <a:gd name="connsiteX63" fmla="*/ 797719 w 1378744"/>
                  <a:gd name="connsiteY63" fmla="*/ 1059656 h 1288255"/>
                  <a:gd name="connsiteX64" fmla="*/ 790575 w 1378744"/>
                  <a:gd name="connsiteY64" fmla="*/ 1038225 h 1288255"/>
                  <a:gd name="connsiteX65" fmla="*/ 790575 w 1378744"/>
                  <a:gd name="connsiteY65" fmla="*/ 1021556 h 1288255"/>
                  <a:gd name="connsiteX66" fmla="*/ 845344 w 1378744"/>
                  <a:gd name="connsiteY66" fmla="*/ 952500 h 1288255"/>
                  <a:gd name="connsiteX67" fmla="*/ 845344 w 1378744"/>
                  <a:gd name="connsiteY67" fmla="*/ 952500 h 1288255"/>
                  <a:gd name="connsiteX68" fmla="*/ 888207 w 1378744"/>
                  <a:gd name="connsiteY68" fmla="*/ 966787 h 1288255"/>
                  <a:gd name="connsiteX69" fmla="*/ 907257 w 1378744"/>
                  <a:gd name="connsiteY69" fmla="*/ 981075 h 1288255"/>
                  <a:gd name="connsiteX70" fmla="*/ 938213 w 1378744"/>
                  <a:gd name="connsiteY70" fmla="*/ 990600 h 1288255"/>
                  <a:gd name="connsiteX71" fmla="*/ 964407 w 1378744"/>
                  <a:gd name="connsiteY71" fmla="*/ 985837 h 1288255"/>
                  <a:gd name="connsiteX72" fmla="*/ 985838 w 1378744"/>
                  <a:gd name="connsiteY72" fmla="*/ 985837 h 1288255"/>
                  <a:gd name="connsiteX73" fmla="*/ 995363 w 1378744"/>
                  <a:gd name="connsiteY73" fmla="*/ 995362 h 1288255"/>
                  <a:gd name="connsiteX74" fmla="*/ 978694 w 1378744"/>
                  <a:gd name="connsiteY74" fmla="*/ 1012031 h 1288255"/>
                  <a:gd name="connsiteX75" fmla="*/ 969169 w 1378744"/>
                  <a:gd name="connsiteY75" fmla="*/ 1031081 h 1288255"/>
                  <a:gd name="connsiteX76" fmla="*/ 954882 w 1378744"/>
                  <a:gd name="connsiteY76" fmla="*/ 1054893 h 1288255"/>
                  <a:gd name="connsiteX77" fmla="*/ 950119 w 1378744"/>
                  <a:gd name="connsiteY77" fmla="*/ 1083468 h 1288255"/>
                  <a:gd name="connsiteX78" fmla="*/ 962025 w 1378744"/>
                  <a:gd name="connsiteY78" fmla="*/ 1107281 h 1288255"/>
                  <a:gd name="connsiteX79" fmla="*/ 983457 w 1378744"/>
                  <a:gd name="connsiteY79" fmla="*/ 1131093 h 1288255"/>
                  <a:gd name="connsiteX80" fmla="*/ 1002507 w 1378744"/>
                  <a:gd name="connsiteY80" fmla="*/ 1133475 h 1288255"/>
                  <a:gd name="connsiteX81" fmla="*/ 1028700 w 1378744"/>
                  <a:gd name="connsiteY81" fmla="*/ 1126331 h 1288255"/>
                  <a:gd name="connsiteX82" fmla="*/ 1031082 w 1378744"/>
                  <a:gd name="connsiteY82" fmla="*/ 1097756 h 1288255"/>
                  <a:gd name="connsiteX83" fmla="*/ 1057275 w 1378744"/>
                  <a:gd name="connsiteY83" fmla="*/ 1085850 h 1288255"/>
                  <a:gd name="connsiteX84" fmla="*/ 1076325 w 1378744"/>
                  <a:gd name="connsiteY84" fmla="*/ 1097756 h 1288255"/>
                  <a:gd name="connsiteX85" fmla="*/ 1100138 w 1378744"/>
                  <a:gd name="connsiteY85" fmla="*/ 1107281 h 1288255"/>
                  <a:gd name="connsiteX86" fmla="*/ 1123950 w 1378744"/>
                  <a:gd name="connsiteY86" fmla="*/ 1121568 h 1288255"/>
                  <a:gd name="connsiteX87" fmla="*/ 1143000 w 1378744"/>
                  <a:gd name="connsiteY87" fmla="*/ 1123950 h 1288255"/>
                  <a:gd name="connsiteX88" fmla="*/ 1157288 w 1378744"/>
                  <a:gd name="connsiteY88" fmla="*/ 1112043 h 1288255"/>
                  <a:gd name="connsiteX89" fmla="*/ 1159669 w 1378744"/>
                  <a:gd name="connsiteY89" fmla="*/ 1085850 h 1288255"/>
                  <a:gd name="connsiteX90" fmla="*/ 1166813 w 1378744"/>
                  <a:gd name="connsiteY90" fmla="*/ 1052512 h 1288255"/>
                  <a:gd name="connsiteX91" fmla="*/ 1197769 w 1378744"/>
                  <a:gd name="connsiteY91" fmla="*/ 1016793 h 1288255"/>
                  <a:gd name="connsiteX92" fmla="*/ 1195388 w 1378744"/>
                  <a:gd name="connsiteY92" fmla="*/ 954881 h 1288255"/>
                  <a:gd name="connsiteX93" fmla="*/ 1209675 w 1378744"/>
                  <a:gd name="connsiteY93" fmla="*/ 945356 h 1288255"/>
                  <a:gd name="connsiteX94" fmla="*/ 1235869 w 1378744"/>
                  <a:gd name="connsiteY94" fmla="*/ 945356 h 1288255"/>
                  <a:gd name="connsiteX95" fmla="*/ 1235869 w 1378744"/>
                  <a:gd name="connsiteY95" fmla="*/ 931068 h 1288255"/>
                  <a:gd name="connsiteX96" fmla="*/ 1212057 w 1378744"/>
                  <a:gd name="connsiteY96" fmla="*/ 912018 h 1288255"/>
                  <a:gd name="connsiteX97" fmla="*/ 1195388 w 1378744"/>
                  <a:gd name="connsiteY97" fmla="*/ 881062 h 1288255"/>
                  <a:gd name="connsiteX98" fmla="*/ 1157288 w 1378744"/>
                  <a:gd name="connsiteY98" fmla="*/ 871537 h 1288255"/>
                  <a:gd name="connsiteX99" fmla="*/ 1119188 w 1378744"/>
                  <a:gd name="connsiteY99" fmla="*/ 859631 h 1288255"/>
                  <a:gd name="connsiteX100" fmla="*/ 1119188 w 1378744"/>
                  <a:gd name="connsiteY100" fmla="*/ 831056 h 1288255"/>
                  <a:gd name="connsiteX101" fmla="*/ 1135857 w 1378744"/>
                  <a:gd name="connsiteY101" fmla="*/ 807243 h 1288255"/>
                  <a:gd name="connsiteX102" fmla="*/ 1197769 w 1378744"/>
                  <a:gd name="connsiteY102" fmla="*/ 759618 h 1288255"/>
                  <a:gd name="connsiteX103" fmla="*/ 1247775 w 1378744"/>
                  <a:gd name="connsiteY103" fmla="*/ 762000 h 1288255"/>
                  <a:gd name="connsiteX104" fmla="*/ 1278732 w 1378744"/>
                  <a:gd name="connsiteY104" fmla="*/ 762000 h 1288255"/>
                  <a:gd name="connsiteX105" fmla="*/ 1271588 w 1378744"/>
                  <a:gd name="connsiteY105" fmla="*/ 735806 h 1288255"/>
                  <a:gd name="connsiteX106" fmla="*/ 1378744 w 1378744"/>
                  <a:gd name="connsiteY106" fmla="*/ 678656 h 1288255"/>
                  <a:gd name="connsiteX107" fmla="*/ 1331119 w 1378744"/>
                  <a:gd name="connsiteY107" fmla="*/ 552450 h 1288255"/>
                  <a:gd name="connsiteX108" fmla="*/ 1278732 w 1378744"/>
                  <a:gd name="connsiteY108" fmla="*/ 514350 h 1288255"/>
                  <a:gd name="connsiteX109" fmla="*/ 1252538 w 1378744"/>
                  <a:gd name="connsiteY109" fmla="*/ 431006 h 1288255"/>
                  <a:gd name="connsiteX110" fmla="*/ 1181100 w 1378744"/>
                  <a:gd name="connsiteY110" fmla="*/ 431006 h 1288255"/>
                  <a:gd name="connsiteX111" fmla="*/ 1166813 w 1378744"/>
                  <a:gd name="connsiteY111" fmla="*/ 395287 h 1288255"/>
                  <a:gd name="connsiteX112" fmla="*/ 1107282 w 1378744"/>
                  <a:gd name="connsiteY112" fmla="*/ 421481 h 1288255"/>
                  <a:gd name="connsiteX113" fmla="*/ 1054894 w 1378744"/>
                  <a:gd name="connsiteY113" fmla="*/ 414337 h 1288255"/>
                  <a:gd name="connsiteX114" fmla="*/ 1028700 w 1378744"/>
                  <a:gd name="connsiteY114" fmla="*/ 371475 h 1288255"/>
                  <a:gd name="connsiteX115" fmla="*/ 1023938 w 1378744"/>
                  <a:gd name="connsiteY115" fmla="*/ 288131 h 1288255"/>
                  <a:gd name="connsiteX116" fmla="*/ 1012032 w 1378744"/>
                  <a:gd name="connsiteY116" fmla="*/ 269081 h 1288255"/>
                  <a:gd name="connsiteX117" fmla="*/ 1012032 w 1378744"/>
                  <a:gd name="connsiteY117" fmla="*/ 211931 h 1288255"/>
                  <a:gd name="connsiteX118" fmla="*/ 959644 w 1378744"/>
                  <a:gd name="connsiteY118" fmla="*/ 190500 h 1288255"/>
                  <a:gd name="connsiteX119" fmla="*/ 914400 w 1378744"/>
                  <a:gd name="connsiteY119" fmla="*/ 111918 h 1288255"/>
                  <a:gd name="connsiteX120" fmla="*/ 854869 w 1378744"/>
                  <a:gd name="connsiteY120" fmla="*/ 76200 h 1288255"/>
                  <a:gd name="connsiteX121" fmla="*/ 873919 w 1378744"/>
                  <a:gd name="connsiteY121" fmla="*/ 16668 h 1288255"/>
                  <a:gd name="connsiteX122" fmla="*/ 783432 w 1378744"/>
                  <a:gd name="connsiteY122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814388 w 1378744"/>
                  <a:gd name="connsiteY60" fmla="*/ 1138237 h 1288255"/>
                  <a:gd name="connsiteX61" fmla="*/ 788194 w 1378744"/>
                  <a:gd name="connsiteY61" fmla="*/ 1193005 h 1288255"/>
                  <a:gd name="connsiteX62" fmla="*/ 828675 w 1378744"/>
                  <a:gd name="connsiteY62" fmla="*/ 1109662 h 1288255"/>
                  <a:gd name="connsiteX63" fmla="*/ 833438 w 1378744"/>
                  <a:gd name="connsiteY63" fmla="*/ 1085850 h 1288255"/>
                  <a:gd name="connsiteX64" fmla="*/ 797719 w 1378744"/>
                  <a:gd name="connsiteY64" fmla="*/ 1059656 h 1288255"/>
                  <a:gd name="connsiteX65" fmla="*/ 790575 w 1378744"/>
                  <a:gd name="connsiteY65" fmla="*/ 1038225 h 1288255"/>
                  <a:gd name="connsiteX66" fmla="*/ 790575 w 1378744"/>
                  <a:gd name="connsiteY66" fmla="*/ 1021556 h 1288255"/>
                  <a:gd name="connsiteX67" fmla="*/ 845344 w 1378744"/>
                  <a:gd name="connsiteY67" fmla="*/ 952500 h 1288255"/>
                  <a:gd name="connsiteX68" fmla="*/ 845344 w 1378744"/>
                  <a:gd name="connsiteY68" fmla="*/ 952500 h 1288255"/>
                  <a:gd name="connsiteX69" fmla="*/ 888207 w 1378744"/>
                  <a:gd name="connsiteY69" fmla="*/ 966787 h 1288255"/>
                  <a:gd name="connsiteX70" fmla="*/ 907257 w 1378744"/>
                  <a:gd name="connsiteY70" fmla="*/ 981075 h 1288255"/>
                  <a:gd name="connsiteX71" fmla="*/ 938213 w 1378744"/>
                  <a:gd name="connsiteY71" fmla="*/ 990600 h 1288255"/>
                  <a:gd name="connsiteX72" fmla="*/ 964407 w 1378744"/>
                  <a:gd name="connsiteY72" fmla="*/ 985837 h 1288255"/>
                  <a:gd name="connsiteX73" fmla="*/ 985838 w 1378744"/>
                  <a:gd name="connsiteY73" fmla="*/ 985837 h 1288255"/>
                  <a:gd name="connsiteX74" fmla="*/ 995363 w 1378744"/>
                  <a:gd name="connsiteY74" fmla="*/ 995362 h 1288255"/>
                  <a:gd name="connsiteX75" fmla="*/ 978694 w 1378744"/>
                  <a:gd name="connsiteY75" fmla="*/ 1012031 h 1288255"/>
                  <a:gd name="connsiteX76" fmla="*/ 969169 w 1378744"/>
                  <a:gd name="connsiteY76" fmla="*/ 1031081 h 1288255"/>
                  <a:gd name="connsiteX77" fmla="*/ 954882 w 1378744"/>
                  <a:gd name="connsiteY77" fmla="*/ 1054893 h 1288255"/>
                  <a:gd name="connsiteX78" fmla="*/ 950119 w 1378744"/>
                  <a:gd name="connsiteY78" fmla="*/ 1083468 h 1288255"/>
                  <a:gd name="connsiteX79" fmla="*/ 962025 w 1378744"/>
                  <a:gd name="connsiteY79" fmla="*/ 1107281 h 1288255"/>
                  <a:gd name="connsiteX80" fmla="*/ 983457 w 1378744"/>
                  <a:gd name="connsiteY80" fmla="*/ 1131093 h 1288255"/>
                  <a:gd name="connsiteX81" fmla="*/ 1002507 w 1378744"/>
                  <a:gd name="connsiteY81" fmla="*/ 1133475 h 1288255"/>
                  <a:gd name="connsiteX82" fmla="*/ 1028700 w 1378744"/>
                  <a:gd name="connsiteY82" fmla="*/ 1126331 h 1288255"/>
                  <a:gd name="connsiteX83" fmla="*/ 1031082 w 1378744"/>
                  <a:gd name="connsiteY83" fmla="*/ 1097756 h 1288255"/>
                  <a:gd name="connsiteX84" fmla="*/ 1057275 w 1378744"/>
                  <a:gd name="connsiteY84" fmla="*/ 1085850 h 1288255"/>
                  <a:gd name="connsiteX85" fmla="*/ 1076325 w 1378744"/>
                  <a:gd name="connsiteY85" fmla="*/ 1097756 h 1288255"/>
                  <a:gd name="connsiteX86" fmla="*/ 1100138 w 1378744"/>
                  <a:gd name="connsiteY86" fmla="*/ 1107281 h 1288255"/>
                  <a:gd name="connsiteX87" fmla="*/ 1123950 w 1378744"/>
                  <a:gd name="connsiteY87" fmla="*/ 1121568 h 1288255"/>
                  <a:gd name="connsiteX88" fmla="*/ 1143000 w 1378744"/>
                  <a:gd name="connsiteY88" fmla="*/ 1123950 h 1288255"/>
                  <a:gd name="connsiteX89" fmla="*/ 1157288 w 1378744"/>
                  <a:gd name="connsiteY89" fmla="*/ 1112043 h 1288255"/>
                  <a:gd name="connsiteX90" fmla="*/ 1159669 w 1378744"/>
                  <a:gd name="connsiteY90" fmla="*/ 1085850 h 1288255"/>
                  <a:gd name="connsiteX91" fmla="*/ 1166813 w 1378744"/>
                  <a:gd name="connsiteY91" fmla="*/ 1052512 h 1288255"/>
                  <a:gd name="connsiteX92" fmla="*/ 1197769 w 1378744"/>
                  <a:gd name="connsiteY92" fmla="*/ 1016793 h 1288255"/>
                  <a:gd name="connsiteX93" fmla="*/ 1195388 w 1378744"/>
                  <a:gd name="connsiteY93" fmla="*/ 954881 h 1288255"/>
                  <a:gd name="connsiteX94" fmla="*/ 1209675 w 1378744"/>
                  <a:gd name="connsiteY94" fmla="*/ 945356 h 1288255"/>
                  <a:gd name="connsiteX95" fmla="*/ 1235869 w 1378744"/>
                  <a:gd name="connsiteY95" fmla="*/ 945356 h 1288255"/>
                  <a:gd name="connsiteX96" fmla="*/ 1235869 w 1378744"/>
                  <a:gd name="connsiteY96" fmla="*/ 931068 h 1288255"/>
                  <a:gd name="connsiteX97" fmla="*/ 1212057 w 1378744"/>
                  <a:gd name="connsiteY97" fmla="*/ 912018 h 1288255"/>
                  <a:gd name="connsiteX98" fmla="*/ 1195388 w 1378744"/>
                  <a:gd name="connsiteY98" fmla="*/ 881062 h 1288255"/>
                  <a:gd name="connsiteX99" fmla="*/ 1157288 w 1378744"/>
                  <a:gd name="connsiteY99" fmla="*/ 871537 h 1288255"/>
                  <a:gd name="connsiteX100" fmla="*/ 1119188 w 1378744"/>
                  <a:gd name="connsiteY100" fmla="*/ 859631 h 1288255"/>
                  <a:gd name="connsiteX101" fmla="*/ 1119188 w 1378744"/>
                  <a:gd name="connsiteY101" fmla="*/ 831056 h 1288255"/>
                  <a:gd name="connsiteX102" fmla="*/ 1135857 w 1378744"/>
                  <a:gd name="connsiteY102" fmla="*/ 807243 h 1288255"/>
                  <a:gd name="connsiteX103" fmla="*/ 1197769 w 1378744"/>
                  <a:gd name="connsiteY103" fmla="*/ 759618 h 1288255"/>
                  <a:gd name="connsiteX104" fmla="*/ 1247775 w 1378744"/>
                  <a:gd name="connsiteY104" fmla="*/ 762000 h 1288255"/>
                  <a:gd name="connsiteX105" fmla="*/ 1278732 w 1378744"/>
                  <a:gd name="connsiteY105" fmla="*/ 762000 h 1288255"/>
                  <a:gd name="connsiteX106" fmla="*/ 1271588 w 1378744"/>
                  <a:gd name="connsiteY106" fmla="*/ 735806 h 1288255"/>
                  <a:gd name="connsiteX107" fmla="*/ 1378744 w 1378744"/>
                  <a:gd name="connsiteY107" fmla="*/ 678656 h 1288255"/>
                  <a:gd name="connsiteX108" fmla="*/ 1331119 w 1378744"/>
                  <a:gd name="connsiteY108" fmla="*/ 552450 h 1288255"/>
                  <a:gd name="connsiteX109" fmla="*/ 1278732 w 1378744"/>
                  <a:gd name="connsiteY109" fmla="*/ 514350 h 1288255"/>
                  <a:gd name="connsiteX110" fmla="*/ 1252538 w 1378744"/>
                  <a:gd name="connsiteY110" fmla="*/ 431006 h 1288255"/>
                  <a:gd name="connsiteX111" fmla="*/ 1181100 w 1378744"/>
                  <a:gd name="connsiteY111" fmla="*/ 431006 h 1288255"/>
                  <a:gd name="connsiteX112" fmla="*/ 1166813 w 1378744"/>
                  <a:gd name="connsiteY112" fmla="*/ 395287 h 1288255"/>
                  <a:gd name="connsiteX113" fmla="*/ 1107282 w 1378744"/>
                  <a:gd name="connsiteY113" fmla="*/ 421481 h 1288255"/>
                  <a:gd name="connsiteX114" fmla="*/ 1054894 w 1378744"/>
                  <a:gd name="connsiteY114" fmla="*/ 414337 h 1288255"/>
                  <a:gd name="connsiteX115" fmla="*/ 1028700 w 1378744"/>
                  <a:gd name="connsiteY115" fmla="*/ 371475 h 1288255"/>
                  <a:gd name="connsiteX116" fmla="*/ 1023938 w 1378744"/>
                  <a:gd name="connsiteY116" fmla="*/ 288131 h 1288255"/>
                  <a:gd name="connsiteX117" fmla="*/ 1012032 w 1378744"/>
                  <a:gd name="connsiteY117" fmla="*/ 269081 h 1288255"/>
                  <a:gd name="connsiteX118" fmla="*/ 1012032 w 1378744"/>
                  <a:gd name="connsiteY118" fmla="*/ 211931 h 1288255"/>
                  <a:gd name="connsiteX119" fmla="*/ 959644 w 1378744"/>
                  <a:gd name="connsiteY119" fmla="*/ 190500 h 1288255"/>
                  <a:gd name="connsiteX120" fmla="*/ 914400 w 1378744"/>
                  <a:gd name="connsiteY120" fmla="*/ 111918 h 1288255"/>
                  <a:gd name="connsiteX121" fmla="*/ 854869 w 1378744"/>
                  <a:gd name="connsiteY121" fmla="*/ 76200 h 1288255"/>
                  <a:gd name="connsiteX122" fmla="*/ 873919 w 1378744"/>
                  <a:gd name="connsiteY122" fmla="*/ 16668 h 1288255"/>
                  <a:gd name="connsiteX123" fmla="*/ 783432 w 1378744"/>
                  <a:gd name="connsiteY123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814388 w 1378744"/>
                  <a:gd name="connsiteY60" fmla="*/ 1138237 h 1288255"/>
                  <a:gd name="connsiteX61" fmla="*/ 795337 w 1378744"/>
                  <a:gd name="connsiteY61" fmla="*/ 1212055 h 1288255"/>
                  <a:gd name="connsiteX62" fmla="*/ 828675 w 1378744"/>
                  <a:gd name="connsiteY62" fmla="*/ 1109662 h 1288255"/>
                  <a:gd name="connsiteX63" fmla="*/ 833438 w 1378744"/>
                  <a:gd name="connsiteY63" fmla="*/ 1085850 h 1288255"/>
                  <a:gd name="connsiteX64" fmla="*/ 797719 w 1378744"/>
                  <a:gd name="connsiteY64" fmla="*/ 1059656 h 1288255"/>
                  <a:gd name="connsiteX65" fmla="*/ 790575 w 1378744"/>
                  <a:gd name="connsiteY65" fmla="*/ 1038225 h 1288255"/>
                  <a:gd name="connsiteX66" fmla="*/ 790575 w 1378744"/>
                  <a:gd name="connsiteY66" fmla="*/ 1021556 h 1288255"/>
                  <a:gd name="connsiteX67" fmla="*/ 845344 w 1378744"/>
                  <a:gd name="connsiteY67" fmla="*/ 952500 h 1288255"/>
                  <a:gd name="connsiteX68" fmla="*/ 845344 w 1378744"/>
                  <a:gd name="connsiteY68" fmla="*/ 952500 h 1288255"/>
                  <a:gd name="connsiteX69" fmla="*/ 888207 w 1378744"/>
                  <a:gd name="connsiteY69" fmla="*/ 966787 h 1288255"/>
                  <a:gd name="connsiteX70" fmla="*/ 907257 w 1378744"/>
                  <a:gd name="connsiteY70" fmla="*/ 981075 h 1288255"/>
                  <a:gd name="connsiteX71" fmla="*/ 938213 w 1378744"/>
                  <a:gd name="connsiteY71" fmla="*/ 990600 h 1288255"/>
                  <a:gd name="connsiteX72" fmla="*/ 964407 w 1378744"/>
                  <a:gd name="connsiteY72" fmla="*/ 985837 h 1288255"/>
                  <a:gd name="connsiteX73" fmla="*/ 985838 w 1378744"/>
                  <a:gd name="connsiteY73" fmla="*/ 985837 h 1288255"/>
                  <a:gd name="connsiteX74" fmla="*/ 995363 w 1378744"/>
                  <a:gd name="connsiteY74" fmla="*/ 995362 h 1288255"/>
                  <a:gd name="connsiteX75" fmla="*/ 978694 w 1378744"/>
                  <a:gd name="connsiteY75" fmla="*/ 1012031 h 1288255"/>
                  <a:gd name="connsiteX76" fmla="*/ 969169 w 1378744"/>
                  <a:gd name="connsiteY76" fmla="*/ 1031081 h 1288255"/>
                  <a:gd name="connsiteX77" fmla="*/ 954882 w 1378744"/>
                  <a:gd name="connsiteY77" fmla="*/ 1054893 h 1288255"/>
                  <a:gd name="connsiteX78" fmla="*/ 950119 w 1378744"/>
                  <a:gd name="connsiteY78" fmla="*/ 1083468 h 1288255"/>
                  <a:gd name="connsiteX79" fmla="*/ 962025 w 1378744"/>
                  <a:gd name="connsiteY79" fmla="*/ 1107281 h 1288255"/>
                  <a:gd name="connsiteX80" fmla="*/ 983457 w 1378744"/>
                  <a:gd name="connsiteY80" fmla="*/ 1131093 h 1288255"/>
                  <a:gd name="connsiteX81" fmla="*/ 1002507 w 1378744"/>
                  <a:gd name="connsiteY81" fmla="*/ 1133475 h 1288255"/>
                  <a:gd name="connsiteX82" fmla="*/ 1028700 w 1378744"/>
                  <a:gd name="connsiteY82" fmla="*/ 1126331 h 1288255"/>
                  <a:gd name="connsiteX83" fmla="*/ 1031082 w 1378744"/>
                  <a:gd name="connsiteY83" fmla="*/ 1097756 h 1288255"/>
                  <a:gd name="connsiteX84" fmla="*/ 1057275 w 1378744"/>
                  <a:gd name="connsiteY84" fmla="*/ 1085850 h 1288255"/>
                  <a:gd name="connsiteX85" fmla="*/ 1076325 w 1378744"/>
                  <a:gd name="connsiteY85" fmla="*/ 1097756 h 1288255"/>
                  <a:gd name="connsiteX86" fmla="*/ 1100138 w 1378744"/>
                  <a:gd name="connsiteY86" fmla="*/ 1107281 h 1288255"/>
                  <a:gd name="connsiteX87" fmla="*/ 1123950 w 1378744"/>
                  <a:gd name="connsiteY87" fmla="*/ 1121568 h 1288255"/>
                  <a:gd name="connsiteX88" fmla="*/ 1143000 w 1378744"/>
                  <a:gd name="connsiteY88" fmla="*/ 1123950 h 1288255"/>
                  <a:gd name="connsiteX89" fmla="*/ 1157288 w 1378744"/>
                  <a:gd name="connsiteY89" fmla="*/ 1112043 h 1288255"/>
                  <a:gd name="connsiteX90" fmla="*/ 1159669 w 1378744"/>
                  <a:gd name="connsiteY90" fmla="*/ 1085850 h 1288255"/>
                  <a:gd name="connsiteX91" fmla="*/ 1166813 w 1378744"/>
                  <a:gd name="connsiteY91" fmla="*/ 1052512 h 1288255"/>
                  <a:gd name="connsiteX92" fmla="*/ 1197769 w 1378744"/>
                  <a:gd name="connsiteY92" fmla="*/ 1016793 h 1288255"/>
                  <a:gd name="connsiteX93" fmla="*/ 1195388 w 1378744"/>
                  <a:gd name="connsiteY93" fmla="*/ 954881 h 1288255"/>
                  <a:gd name="connsiteX94" fmla="*/ 1209675 w 1378744"/>
                  <a:gd name="connsiteY94" fmla="*/ 945356 h 1288255"/>
                  <a:gd name="connsiteX95" fmla="*/ 1235869 w 1378744"/>
                  <a:gd name="connsiteY95" fmla="*/ 945356 h 1288255"/>
                  <a:gd name="connsiteX96" fmla="*/ 1235869 w 1378744"/>
                  <a:gd name="connsiteY96" fmla="*/ 931068 h 1288255"/>
                  <a:gd name="connsiteX97" fmla="*/ 1212057 w 1378744"/>
                  <a:gd name="connsiteY97" fmla="*/ 912018 h 1288255"/>
                  <a:gd name="connsiteX98" fmla="*/ 1195388 w 1378744"/>
                  <a:gd name="connsiteY98" fmla="*/ 881062 h 1288255"/>
                  <a:gd name="connsiteX99" fmla="*/ 1157288 w 1378744"/>
                  <a:gd name="connsiteY99" fmla="*/ 871537 h 1288255"/>
                  <a:gd name="connsiteX100" fmla="*/ 1119188 w 1378744"/>
                  <a:gd name="connsiteY100" fmla="*/ 859631 h 1288255"/>
                  <a:gd name="connsiteX101" fmla="*/ 1119188 w 1378744"/>
                  <a:gd name="connsiteY101" fmla="*/ 831056 h 1288255"/>
                  <a:gd name="connsiteX102" fmla="*/ 1135857 w 1378744"/>
                  <a:gd name="connsiteY102" fmla="*/ 807243 h 1288255"/>
                  <a:gd name="connsiteX103" fmla="*/ 1197769 w 1378744"/>
                  <a:gd name="connsiteY103" fmla="*/ 759618 h 1288255"/>
                  <a:gd name="connsiteX104" fmla="*/ 1247775 w 1378744"/>
                  <a:gd name="connsiteY104" fmla="*/ 762000 h 1288255"/>
                  <a:gd name="connsiteX105" fmla="*/ 1278732 w 1378744"/>
                  <a:gd name="connsiteY105" fmla="*/ 762000 h 1288255"/>
                  <a:gd name="connsiteX106" fmla="*/ 1271588 w 1378744"/>
                  <a:gd name="connsiteY106" fmla="*/ 735806 h 1288255"/>
                  <a:gd name="connsiteX107" fmla="*/ 1378744 w 1378744"/>
                  <a:gd name="connsiteY107" fmla="*/ 678656 h 1288255"/>
                  <a:gd name="connsiteX108" fmla="*/ 1331119 w 1378744"/>
                  <a:gd name="connsiteY108" fmla="*/ 552450 h 1288255"/>
                  <a:gd name="connsiteX109" fmla="*/ 1278732 w 1378744"/>
                  <a:gd name="connsiteY109" fmla="*/ 514350 h 1288255"/>
                  <a:gd name="connsiteX110" fmla="*/ 1252538 w 1378744"/>
                  <a:gd name="connsiteY110" fmla="*/ 431006 h 1288255"/>
                  <a:gd name="connsiteX111" fmla="*/ 1181100 w 1378744"/>
                  <a:gd name="connsiteY111" fmla="*/ 431006 h 1288255"/>
                  <a:gd name="connsiteX112" fmla="*/ 1166813 w 1378744"/>
                  <a:gd name="connsiteY112" fmla="*/ 395287 h 1288255"/>
                  <a:gd name="connsiteX113" fmla="*/ 1107282 w 1378744"/>
                  <a:gd name="connsiteY113" fmla="*/ 421481 h 1288255"/>
                  <a:gd name="connsiteX114" fmla="*/ 1054894 w 1378744"/>
                  <a:gd name="connsiteY114" fmla="*/ 414337 h 1288255"/>
                  <a:gd name="connsiteX115" fmla="*/ 1028700 w 1378744"/>
                  <a:gd name="connsiteY115" fmla="*/ 371475 h 1288255"/>
                  <a:gd name="connsiteX116" fmla="*/ 1023938 w 1378744"/>
                  <a:gd name="connsiteY116" fmla="*/ 288131 h 1288255"/>
                  <a:gd name="connsiteX117" fmla="*/ 1012032 w 1378744"/>
                  <a:gd name="connsiteY117" fmla="*/ 269081 h 1288255"/>
                  <a:gd name="connsiteX118" fmla="*/ 1012032 w 1378744"/>
                  <a:gd name="connsiteY118" fmla="*/ 211931 h 1288255"/>
                  <a:gd name="connsiteX119" fmla="*/ 959644 w 1378744"/>
                  <a:gd name="connsiteY119" fmla="*/ 190500 h 1288255"/>
                  <a:gd name="connsiteX120" fmla="*/ 914400 w 1378744"/>
                  <a:gd name="connsiteY120" fmla="*/ 111918 h 1288255"/>
                  <a:gd name="connsiteX121" fmla="*/ 854869 w 1378744"/>
                  <a:gd name="connsiteY121" fmla="*/ 76200 h 1288255"/>
                  <a:gd name="connsiteX122" fmla="*/ 873919 w 1378744"/>
                  <a:gd name="connsiteY122" fmla="*/ 16668 h 1288255"/>
                  <a:gd name="connsiteX123" fmla="*/ 783432 w 1378744"/>
                  <a:gd name="connsiteY123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814388 w 1378744"/>
                  <a:gd name="connsiteY60" fmla="*/ 1138237 h 1288255"/>
                  <a:gd name="connsiteX61" fmla="*/ 795337 w 1378744"/>
                  <a:gd name="connsiteY61" fmla="*/ 1212055 h 1288255"/>
                  <a:gd name="connsiteX62" fmla="*/ 828675 w 1378744"/>
                  <a:gd name="connsiteY62" fmla="*/ 1109662 h 1288255"/>
                  <a:gd name="connsiteX63" fmla="*/ 812007 w 1378744"/>
                  <a:gd name="connsiteY63" fmla="*/ 1171574 h 1288255"/>
                  <a:gd name="connsiteX64" fmla="*/ 833438 w 1378744"/>
                  <a:gd name="connsiteY64" fmla="*/ 1085850 h 1288255"/>
                  <a:gd name="connsiteX65" fmla="*/ 797719 w 1378744"/>
                  <a:gd name="connsiteY65" fmla="*/ 1059656 h 1288255"/>
                  <a:gd name="connsiteX66" fmla="*/ 790575 w 1378744"/>
                  <a:gd name="connsiteY66" fmla="*/ 1038225 h 1288255"/>
                  <a:gd name="connsiteX67" fmla="*/ 790575 w 1378744"/>
                  <a:gd name="connsiteY67" fmla="*/ 1021556 h 1288255"/>
                  <a:gd name="connsiteX68" fmla="*/ 845344 w 1378744"/>
                  <a:gd name="connsiteY68" fmla="*/ 952500 h 1288255"/>
                  <a:gd name="connsiteX69" fmla="*/ 845344 w 1378744"/>
                  <a:gd name="connsiteY69" fmla="*/ 952500 h 1288255"/>
                  <a:gd name="connsiteX70" fmla="*/ 888207 w 1378744"/>
                  <a:gd name="connsiteY70" fmla="*/ 966787 h 1288255"/>
                  <a:gd name="connsiteX71" fmla="*/ 907257 w 1378744"/>
                  <a:gd name="connsiteY71" fmla="*/ 981075 h 1288255"/>
                  <a:gd name="connsiteX72" fmla="*/ 938213 w 1378744"/>
                  <a:gd name="connsiteY72" fmla="*/ 990600 h 1288255"/>
                  <a:gd name="connsiteX73" fmla="*/ 964407 w 1378744"/>
                  <a:gd name="connsiteY73" fmla="*/ 985837 h 1288255"/>
                  <a:gd name="connsiteX74" fmla="*/ 985838 w 1378744"/>
                  <a:gd name="connsiteY74" fmla="*/ 985837 h 1288255"/>
                  <a:gd name="connsiteX75" fmla="*/ 995363 w 1378744"/>
                  <a:gd name="connsiteY75" fmla="*/ 995362 h 1288255"/>
                  <a:gd name="connsiteX76" fmla="*/ 978694 w 1378744"/>
                  <a:gd name="connsiteY76" fmla="*/ 1012031 h 1288255"/>
                  <a:gd name="connsiteX77" fmla="*/ 969169 w 1378744"/>
                  <a:gd name="connsiteY77" fmla="*/ 1031081 h 1288255"/>
                  <a:gd name="connsiteX78" fmla="*/ 954882 w 1378744"/>
                  <a:gd name="connsiteY78" fmla="*/ 1054893 h 1288255"/>
                  <a:gd name="connsiteX79" fmla="*/ 950119 w 1378744"/>
                  <a:gd name="connsiteY79" fmla="*/ 1083468 h 1288255"/>
                  <a:gd name="connsiteX80" fmla="*/ 962025 w 1378744"/>
                  <a:gd name="connsiteY80" fmla="*/ 1107281 h 1288255"/>
                  <a:gd name="connsiteX81" fmla="*/ 983457 w 1378744"/>
                  <a:gd name="connsiteY81" fmla="*/ 1131093 h 1288255"/>
                  <a:gd name="connsiteX82" fmla="*/ 1002507 w 1378744"/>
                  <a:gd name="connsiteY82" fmla="*/ 1133475 h 1288255"/>
                  <a:gd name="connsiteX83" fmla="*/ 1028700 w 1378744"/>
                  <a:gd name="connsiteY83" fmla="*/ 1126331 h 1288255"/>
                  <a:gd name="connsiteX84" fmla="*/ 1031082 w 1378744"/>
                  <a:gd name="connsiteY84" fmla="*/ 1097756 h 1288255"/>
                  <a:gd name="connsiteX85" fmla="*/ 1057275 w 1378744"/>
                  <a:gd name="connsiteY85" fmla="*/ 1085850 h 1288255"/>
                  <a:gd name="connsiteX86" fmla="*/ 1076325 w 1378744"/>
                  <a:gd name="connsiteY86" fmla="*/ 1097756 h 1288255"/>
                  <a:gd name="connsiteX87" fmla="*/ 1100138 w 1378744"/>
                  <a:gd name="connsiteY87" fmla="*/ 1107281 h 1288255"/>
                  <a:gd name="connsiteX88" fmla="*/ 1123950 w 1378744"/>
                  <a:gd name="connsiteY88" fmla="*/ 1121568 h 1288255"/>
                  <a:gd name="connsiteX89" fmla="*/ 1143000 w 1378744"/>
                  <a:gd name="connsiteY89" fmla="*/ 1123950 h 1288255"/>
                  <a:gd name="connsiteX90" fmla="*/ 1157288 w 1378744"/>
                  <a:gd name="connsiteY90" fmla="*/ 1112043 h 1288255"/>
                  <a:gd name="connsiteX91" fmla="*/ 1159669 w 1378744"/>
                  <a:gd name="connsiteY91" fmla="*/ 1085850 h 1288255"/>
                  <a:gd name="connsiteX92" fmla="*/ 1166813 w 1378744"/>
                  <a:gd name="connsiteY92" fmla="*/ 1052512 h 1288255"/>
                  <a:gd name="connsiteX93" fmla="*/ 1197769 w 1378744"/>
                  <a:gd name="connsiteY93" fmla="*/ 1016793 h 1288255"/>
                  <a:gd name="connsiteX94" fmla="*/ 1195388 w 1378744"/>
                  <a:gd name="connsiteY94" fmla="*/ 954881 h 1288255"/>
                  <a:gd name="connsiteX95" fmla="*/ 1209675 w 1378744"/>
                  <a:gd name="connsiteY95" fmla="*/ 945356 h 1288255"/>
                  <a:gd name="connsiteX96" fmla="*/ 1235869 w 1378744"/>
                  <a:gd name="connsiteY96" fmla="*/ 945356 h 1288255"/>
                  <a:gd name="connsiteX97" fmla="*/ 1235869 w 1378744"/>
                  <a:gd name="connsiteY97" fmla="*/ 931068 h 1288255"/>
                  <a:gd name="connsiteX98" fmla="*/ 1212057 w 1378744"/>
                  <a:gd name="connsiteY98" fmla="*/ 912018 h 1288255"/>
                  <a:gd name="connsiteX99" fmla="*/ 1195388 w 1378744"/>
                  <a:gd name="connsiteY99" fmla="*/ 881062 h 1288255"/>
                  <a:gd name="connsiteX100" fmla="*/ 1157288 w 1378744"/>
                  <a:gd name="connsiteY100" fmla="*/ 871537 h 1288255"/>
                  <a:gd name="connsiteX101" fmla="*/ 1119188 w 1378744"/>
                  <a:gd name="connsiteY101" fmla="*/ 859631 h 1288255"/>
                  <a:gd name="connsiteX102" fmla="*/ 1119188 w 1378744"/>
                  <a:gd name="connsiteY102" fmla="*/ 831056 h 1288255"/>
                  <a:gd name="connsiteX103" fmla="*/ 1135857 w 1378744"/>
                  <a:gd name="connsiteY103" fmla="*/ 807243 h 1288255"/>
                  <a:gd name="connsiteX104" fmla="*/ 1197769 w 1378744"/>
                  <a:gd name="connsiteY104" fmla="*/ 759618 h 1288255"/>
                  <a:gd name="connsiteX105" fmla="*/ 1247775 w 1378744"/>
                  <a:gd name="connsiteY105" fmla="*/ 762000 h 1288255"/>
                  <a:gd name="connsiteX106" fmla="*/ 1278732 w 1378744"/>
                  <a:gd name="connsiteY106" fmla="*/ 762000 h 1288255"/>
                  <a:gd name="connsiteX107" fmla="*/ 1271588 w 1378744"/>
                  <a:gd name="connsiteY107" fmla="*/ 735806 h 1288255"/>
                  <a:gd name="connsiteX108" fmla="*/ 1378744 w 1378744"/>
                  <a:gd name="connsiteY108" fmla="*/ 678656 h 1288255"/>
                  <a:gd name="connsiteX109" fmla="*/ 1331119 w 1378744"/>
                  <a:gd name="connsiteY109" fmla="*/ 552450 h 1288255"/>
                  <a:gd name="connsiteX110" fmla="*/ 1278732 w 1378744"/>
                  <a:gd name="connsiteY110" fmla="*/ 514350 h 1288255"/>
                  <a:gd name="connsiteX111" fmla="*/ 1252538 w 1378744"/>
                  <a:gd name="connsiteY111" fmla="*/ 431006 h 1288255"/>
                  <a:gd name="connsiteX112" fmla="*/ 1181100 w 1378744"/>
                  <a:gd name="connsiteY112" fmla="*/ 431006 h 1288255"/>
                  <a:gd name="connsiteX113" fmla="*/ 1166813 w 1378744"/>
                  <a:gd name="connsiteY113" fmla="*/ 395287 h 1288255"/>
                  <a:gd name="connsiteX114" fmla="*/ 1107282 w 1378744"/>
                  <a:gd name="connsiteY114" fmla="*/ 421481 h 1288255"/>
                  <a:gd name="connsiteX115" fmla="*/ 1054894 w 1378744"/>
                  <a:gd name="connsiteY115" fmla="*/ 414337 h 1288255"/>
                  <a:gd name="connsiteX116" fmla="*/ 1028700 w 1378744"/>
                  <a:gd name="connsiteY116" fmla="*/ 371475 h 1288255"/>
                  <a:gd name="connsiteX117" fmla="*/ 1023938 w 1378744"/>
                  <a:gd name="connsiteY117" fmla="*/ 288131 h 1288255"/>
                  <a:gd name="connsiteX118" fmla="*/ 1012032 w 1378744"/>
                  <a:gd name="connsiteY118" fmla="*/ 269081 h 1288255"/>
                  <a:gd name="connsiteX119" fmla="*/ 1012032 w 1378744"/>
                  <a:gd name="connsiteY119" fmla="*/ 211931 h 1288255"/>
                  <a:gd name="connsiteX120" fmla="*/ 959644 w 1378744"/>
                  <a:gd name="connsiteY120" fmla="*/ 190500 h 1288255"/>
                  <a:gd name="connsiteX121" fmla="*/ 914400 w 1378744"/>
                  <a:gd name="connsiteY121" fmla="*/ 111918 h 1288255"/>
                  <a:gd name="connsiteX122" fmla="*/ 854869 w 1378744"/>
                  <a:gd name="connsiteY122" fmla="*/ 76200 h 1288255"/>
                  <a:gd name="connsiteX123" fmla="*/ 873919 w 1378744"/>
                  <a:gd name="connsiteY123" fmla="*/ 16668 h 1288255"/>
                  <a:gd name="connsiteX124" fmla="*/ 783432 w 1378744"/>
                  <a:gd name="connsiteY124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814388 w 1378744"/>
                  <a:gd name="connsiteY60" fmla="*/ 1138237 h 1288255"/>
                  <a:gd name="connsiteX61" fmla="*/ 795337 w 1378744"/>
                  <a:gd name="connsiteY61" fmla="*/ 1212055 h 1288255"/>
                  <a:gd name="connsiteX62" fmla="*/ 828675 w 1378744"/>
                  <a:gd name="connsiteY62" fmla="*/ 1109662 h 1288255"/>
                  <a:gd name="connsiteX63" fmla="*/ 809625 w 1378744"/>
                  <a:gd name="connsiteY63" fmla="*/ 1197768 h 1288255"/>
                  <a:gd name="connsiteX64" fmla="*/ 833438 w 1378744"/>
                  <a:gd name="connsiteY64" fmla="*/ 1085850 h 1288255"/>
                  <a:gd name="connsiteX65" fmla="*/ 797719 w 1378744"/>
                  <a:gd name="connsiteY65" fmla="*/ 1059656 h 1288255"/>
                  <a:gd name="connsiteX66" fmla="*/ 790575 w 1378744"/>
                  <a:gd name="connsiteY66" fmla="*/ 1038225 h 1288255"/>
                  <a:gd name="connsiteX67" fmla="*/ 790575 w 1378744"/>
                  <a:gd name="connsiteY67" fmla="*/ 1021556 h 1288255"/>
                  <a:gd name="connsiteX68" fmla="*/ 845344 w 1378744"/>
                  <a:gd name="connsiteY68" fmla="*/ 952500 h 1288255"/>
                  <a:gd name="connsiteX69" fmla="*/ 845344 w 1378744"/>
                  <a:gd name="connsiteY69" fmla="*/ 952500 h 1288255"/>
                  <a:gd name="connsiteX70" fmla="*/ 888207 w 1378744"/>
                  <a:gd name="connsiteY70" fmla="*/ 966787 h 1288255"/>
                  <a:gd name="connsiteX71" fmla="*/ 907257 w 1378744"/>
                  <a:gd name="connsiteY71" fmla="*/ 981075 h 1288255"/>
                  <a:gd name="connsiteX72" fmla="*/ 938213 w 1378744"/>
                  <a:gd name="connsiteY72" fmla="*/ 990600 h 1288255"/>
                  <a:gd name="connsiteX73" fmla="*/ 964407 w 1378744"/>
                  <a:gd name="connsiteY73" fmla="*/ 985837 h 1288255"/>
                  <a:gd name="connsiteX74" fmla="*/ 985838 w 1378744"/>
                  <a:gd name="connsiteY74" fmla="*/ 985837 h 1288255"/>
                  <a:gd name="connsiteX75" fmla="*/ 995363 w 1378744"/>
                  <a:gd name="connsiteY75" fmla="*/ 995362 h 1288255"/>
                  <a:gd name="connsiteX76" fmla="*/ 978694 w 1378744"/>
                  <a:gd name="connsiteY76" fmla="*/ 1012031 h 1288255"/>
                  <a:gd name="connsiteX77" fmla="*/ 969169 w 1378744"/>
                  <a:gd name="connsiteY77" fmla="*/ 1031081 h 1288255"/>
                  <a:gd name="connsiteX78" fmla="*/ 954882 w 1378744"/>
                  <a:gd name="connsiteY78" fmla="*/ 1054893 h 1288255"/>
                  <a:gd name="connsiteX79" fmla="*/ 950119 w 1378744"/>
                  <a:gd name="connsiteY79" fmla="*/ 1083468 h 1288255"/>
                  <a:gd name="connsiteX80" fmla="*/ 962025 w 1378744"/>
                  <a:gd name="connsiteY80" fmla="*/ 1107281 h 1288255"/>
                  <a:gd name="connsiteX81" fmla="*/ 983457 w 1378744"/>
                  <a:gd name="connsiteY81" fmla="*/ 1131093 h 1288255"/>
                  <a:gd name="connsiteX82" fmla="*/ 1002507 w 1378744"/>
                  <a:gd name="connsiteY82" fmla="*/ 1133475 h 1288255"/>
                  <a:gd name="connsiteX83" fmla="*/ 1028700 w 1378744"/>
                  <a:gd name="connsiteY83" fmla="*/ 1126331 h 1288255"/>
                  <a:gd name="connsiteX84" fmla="*/ 1031082 w 1378744"/>
                  <a:gd name="connsiteY84" fmla="*/ 1097756 h 1288255"/>
                  <a:gd name="connsiteX85" fmla="*/ 1057275 w 1378744"/>
                  <a:gd name="connsiteY85" fmla="*/ 1085850 h 1288255"/>
                  <a:gd name="connsiteX86" fmla="*/ 1076325 w 1378744"/>
                  <a:gd name="connsiteY86" fmla="*/ 1097756 h 1288255"/>
                  <a:gd name="connsiteX87" fmla="*/ 1100138 w 1378744"/>
                  <a:gd name="connsiteY87" fmla="*/ 1107281 h 1288255"/>
                  <a:gd name="connsiteX88" fmla="*/ 1123950 w 1378744"/>
                  <a:gd name="connsiteY88" fmla="*/ 1121568 h 1288255"/>
                  <a:gd name="connsiteX89" fmla="*/ 1143000 w 1378744"/>
                  <a:gd name="connsiteY89" fmla="*/ 1123950 h 1288255"/>
                  <a:gd name="connsiteX90" fmla="*/ 1157288 w 1378744"/>
                  <a:gd name="connsiteY90" fmla="*/ 1112043 h 1288255"/>
                  <a:gd name="connsiteX91" fmla="*/ 1159669 w 1378744"/>
                  <a:gd name="connsiteY91" fmla="*/ 1085850 h 1288255"/>
                  <a:gd name="connsiteX92" fmla="*/ 1166813 w 1378744"/>
                  <a:gd name="connsiteY92" fmla="*/ 1052512 h 1288255"/>
                  <a:gd name="connsiteX93" fmla="*/ 1197769 w 1378744"/>
                  <a:gd name="connsiteY93" fmla="*/ 1016793 h 1288255"/>
                  <a:gd name="connsiteX94" fmla="*/ 1195388 w 1378744"/>
                  <a:gd name="connsiteY94" fmla="*/ 954881 h 1288255"/>
                  <a:gd name="connsiteX95" fmla="*/ 1209675 w 1378744"/>
                  <a:gd name="connsiteY95" fmla="*/ 945356 h 1288255"/>
                  <a:gd name="connsiteX96" fmla="*/ 1235869 w 1378744"/>
                  <a:gd name="connsiteY96" fmla="*/ 945356 h 1288255"/>
                  <a:gd name="connsiteX97" fmla="*/ 1235869 w 1378744"/>
                  <a:gd name="connsiteY97" fmla="*/ 931068 h 1288255"/>
                  <a:gd name="connsiteX98" fmla="*/ 1212057 w 1378744"/>
                  <a:gd name="connsiteY98" fmla="*/ 912018 h 1288255"/>
                  <a:gd name="connsiteX99" fmla="*/ 1195388 w 1378744"/>
                  <a:gd name="connsiteY99" fmla="*/ 881062 h 1288255"/>
                  <a:gd name="connsiteX100" fmla="*/ 1157288 w 1378744"/>
                  <a:gd name="connsiteY100" fmla="*/ 871537 h 1288255"/>
                  <a:gd name="connsiteX101" fmla="*/ 1119188 w 1378744"/>
                  <a:gd name="connsiteY101" fmla="*/ 859631 h 1288255"/>
                  <a:gd name="connsiteX102" fmla="*/ 1119188 w 1378744"/>
                  <a:gd name="connsiteY102" fmla="*/ 831056 h 1288255"/>
                  <a:gd name="connsiteX103" fmla="*/ 1135857 w 1378744"/>
                  <a:gd name="connsiteY103" fmla="*/ 807243 h 1288255"/>
                  <a:gd name="connsiteX104" fmla="*/ 1197769 w 1378744"/>
                  <a:gd name="connsiteY104" fmla="*/ 759618 h 1288255"/>
                  <a:gd name="connsiteX105" fmla="*/ 1247775 w 1378744"/>
                  <a:gd name="connsiteY105" fmla="*/ 762000 h 1288255"/>
                  <a:gd name="connsiteX106" fmla="*/ 1278732 w 1378744"/>
                  <a:gd name="connsiteY106" fmla="*/ 762000 h 1288255"/>
                  <a:gd name="connsiteX107" fmla="*/ 1271588 w 1378744"/>
                  <a:gd name="connsiteY107" fmla="*/ 735806 h 1288255"/>
                  <a:gd name="connsiteX108" fmla="*/ 1378744 w 1378744"/>
                  <a:gd name="connsiteY108" fmla="*/ 678656 h 1288255"/>
                  <a:gd name="connsiteX109" fmla="*/ 1331119 w 1378744"/>
                  <a:gd name="connsiteY109" fmla="*/ 552450 h 1288255"/>
                  <a:gd name="connsiteX110" fmla="*/ 1278732 w 1378744"/>
                  <a:gd name="connsiteY110" fmla="*/ 514350 h 1288255"/>
                  <a:gd name="connsiteX111" fmla="*/ 1252538 w 1378744"/>
                  <a:gd name="connsiteY111" fmla="*/ 431006 h 1288255"/>
                  <a:gd name="connsiteX112" fmla="*/ 1181100 w 1378744"/>
                  <a:gd name="connsiteY112" fmla="*/ 431006 h 1288255"/>
                  <a:gd name="connsiteX113" fmla="*/ 1166813 w 1378744"/>
                  <a:gd name="connsiteY113" fmla="*/ 395287 h 1288255"/>
                  <a:gd name="connsiteX114" fmla="*/ 1107282 w 1378744"/>
                  <a:gd name="connsiteY114" fmla="*/ 421481 h 1288255"/>
                  <a:gd name="connsiteX115" fmla="*/ 1054894 w 1378744"/>
                  <a:gd name="connsiteY115" fmla="*/ 414337 h 1288255"/>
                  <a:gd name="connsiteX116" fmla="*/ 1028700 w 1378744"/>
                  <a:gd name="connsiteY116" fmla="*/ 371475 h 1288255"/>
                  <a:gd name="connsiteX117" fmla="*/ 1023938 w 1378744"/>
                  <a:gd name="connsiteY117" fmla="*/ 288131 h 1288255"/>
                  <a:gd name="connsiteX118" fmla="*/ 1012032 w 1378744"/>
                  <a:gd name="connsiteY118" fmla="*/ 269081 h 1288255"/>
                  <a:gd name="connsiteX119" fmla="*/ 1012032 w 1378744"/>
                  <a:gd name="connsiteY119" fmla="*/ 211931 h 1288255"/>
                  <a:gd name="connsiteX120" fmla="*/ 959644 w 1378744"/>
                  <a:gd name="connsiteY120" fmla="*/ 190500 h 1288255"/>
                  <a:gd name="connsiteX121" fmla="*/ 914400 w 1378744"/>
                  <a:gd name="connsiteY121" fmla="*/ 111918 h 1288255"/>
                  <a:gd name="connsiteX122" fmla="*/ 854869 w 1378744"/>
                  <a:gd name="connsiteY122" fmla="*/ 76200 h 1288255"/>
                  <a:gd name="connsiteX123" fmla="*/ 873919 w 1378744"/>
                  <a:gd name="connsiteY123" fmla="*/ 16668 h 1288255"/>
                  <a:gd name="connsiteX124" fmla="*/ 783432 w 1378744"/>
                  <a:gd name="connsiteY124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800101 w 1378744"/>
                  <a:gd name="connsiteY60" fmla="*/ 1142999 h 1288255"/>
                  <a:gd name="connsiteX61" fmla="*/ 795337 w 1378744"/>
                  <a:gd name="connsiteY61" fmla="*/ 1212055 h 1288255"/>
                  <a:gd name="connsiteX62" fmla="*/ 828675 w 1378744"/>
                  <a:gd name="connsiteY62" fmla="*/ 1109662 h 1288255"/>
                  <a:gd name="connsiteX63" fmla="*/ 809625 w 1378744"/>
                  <a:gd name="connsiteY63" fmla="*/ 1197768 h 1288255"/>
                  <a:gd name="connsiteX64" fmla="*/ 833438 w 1378744"/>
                  <a:gd name="connsiteY64" fmla="*/ 1085850 h 1288255"/>
                  <a:gd name="connsiteX65" fmla="*/ 797719 w 1378744"/>
                  <a:gd name="connsiteY65" fmla="*/ 1059656 h 1288255"/>
                  <a:gd name="connsiteX66" fmla="*/ 790575 w 1378744"/>
                  <a:gd name="connsiteY66" fmla="*/ 1038225 h 1288255"/>
                  <a:gd name="connsiteX67" fmla="*/ 790575 w 1378744"/>
                  <a:gd name="connsiteY67" fmla="*/ 1021556 h 1288255"/>
                  <a:gd name="connsiteX68" fmla="*/ 845344 w 1378744"/>
                  <a:gd name="connsiteY68" fmla="*/ 952500 h 1288255"/>
                  <a:gd name="connsiteX69" fmla="*/ 845344 w 1378744"/>
                  <a:gd name="connsiteY69" fmla="*/ 952500 h 1288255"/>
                  <a:gd name="connsiteX70" fmla="*/ 888207 w 1378744"/>
                  <a:gd name="connsiteY70" fmla="*/ 966787 h 1288255"/>
                  <a:gd name="connsiteX71" fmla="*/ 907257 w 1378744"/>
                  <a:gd name="connsiteY71" fmla="*/ 981075 h 1288255"/>
                  <a:gd name="connsiteX72" fmla="*/ 938213 w 1378744"/>
                  <a:gd name="connsiteY72" fmla="*/ 990600 h 1288255"/>
                  <a:gd name="connsiteX73" fmla="*/ 964407 w 1378744"/>
                  <a:gd name="connsiteY73" fmla="*/ 985837 h 1288255"/>
                  <a:gd name="connsiteX74" fmla="*/ 985838 w 1378744"/>
                  <a:gd name="connsiteY74" fmla="*/ 985837 h 1288255"/>
                  <a:gd name="connsiteX75" fmla="*/ 995363 w 1378744"/>
                  <a:gd name="connsiteY75" fmla="*/ 995362 h 1288255"/>
                  <a:gd name="connsiteX76" fmla="*/ 978694 w 1378744"/>
                  <a:gd name="connsiteY76" fmla="*/ 1012031 h 1288255"/>
                  <a:gd name="connsiteX77" fmla="*/ 969169 w 1378744"/>
                  <a:gd name="connsiteY77" fmla="*/ 1031081 h 1288255"/>
                  <a:gd name="connsiteX78" fmla="*/ 954882 w 1378744"/>
                  <a:gd name="connsiteY78" fmla="*/ 1054893 h 1288255"/>
                  <a:gd name="connsiteX79" fmla="*/ 950119 w 1378744"/>
                  <a:gd name="connsiteY79" fmla="*/ 1083468 h 1288255"/>
                  <a:gd name="connsiteX80" fmla="*/ 962025 w 1378744"/>
                  <a:gd name="connsiteY80" fmla="*/ 1107281 h 1288255"/>
                  <a:gd name="connsiteX81" fmla="*/ 983457 w 1378744"/>
                  <a:gd name="connsiteY81" fmla="*/ 1131093 h 1288255"/>
                  <a:gd name="connsiteX82" fmla="*/ 1002507 w 1378744"/>
                  <a:gd name="connsiteY82" fmla="*/ 1133475 h 1288255"/>
                  <a:gd name="connsiteX83" fmla="*/ 1028700 w 1378744"/>
                  <a:gd name="connsiteY83" fmla="*/ 1126331 h 1288255"/>
                  <a:gd name="connsiteX84" fmla="*/ 1031082 w 1378744"/>
                  <a:gd name="connsiteY84" fmla="*/ 1097756 h 1288255"/>
                  <a:gd name="connsiteX85" fmla="*/ 1057275 w 1378744"/>
                  <a:gd name="connsiteY85" fmla="*/ 1085850 h 1288255"/>
                  <a:gd name="connsiteX86" fmla="*/ 1076325 w 1378744"/>
                  <a:gd name="connsiteY86" fmla="*/ 1097756 h 1288255"/>
                  <a:gd name="connsiteX87" fmla="*/ 1100138 w 1378744"/>
                  <a:gd name="connsiteY87" fmla="*/ 1107281 h 1288255"/>
                  <a:gd name="connsiteX88" fmla="*/ 1123950 w 1378744"/>
                  <a:gd name="connsiteY88" fmla="*/ 1121568 h 1288255"/>
                  <a:gd name="connsiteX89" fmla="*/ 1143000 w 1378744"/>
                  <a:gd name="connsiteY89" fmla="*/ 1123950 h 1288255"/>
                  <a:gd name="connsiteX90" fmla="*/ 1157288 w 1378744"/>
                  <a:gd name="connsiteY90" fmla="*/ 1112043 h 1288255"/>
                  <a:gd name="connsiteX91" fmla="*/ 1159669 w 1378744"/>
                  <a:gd name="connsiteY91" fmla="*/ 1085850 h 1288255"/>
                  <a:gd name="connsiteX92" fmla="*/ 1166813 w 1378744"/>
                  <a:gd name="connsiteY92" fmla="*/ 1052512 h 1288255"/>
                  <a:gd name="connsiteX93" fmla="*/ 1197769 w 1378744"/>
                  <a:gd name="connsiteY93" fmla="*/ 1016793 h 1288255"/>
                  <a:gd name="connsiteX94" fmla="*/ 1195388 w 1378744"/>
                  <a:gd name="connsiteY94" fmla="*/ 954881 h 1288255"/>
                  <a:gd name="connsiteX95" fmla="*/ 1209675 w 1378744"/>
                  <a:gd name="connsiteY95" fmla="*/ 945356 h 1288255"/>
                  <a:gd name="connsiteX96" fmla="*/ 1235869 w 1378744"/>
                  <a:gd name="connsiteY96" fmla="*/ 945356 h 1288255"/>
                  <a:gd name="connsiteX97" fmla="*/ 1235869 w 1378744"/>
                  <a:gd name="connsiteY97" fmla="*/ 931068 h 1288255"/>
                  <a:gd name="connsiteX98" fmla="*/ 1212057 w 1378744"/>
                  <a:gd name="connsiteY98" fmla="*/ 912018 h 1288255"/>
                  <a:gd name="connsiteX99" fmla="*/ 1195388 w 1378744"/>
                  <a:gd name="connsiteY99" fmla="*/ 881062 h 1288255"/>
                  <a:gd name="connsiteX100" fmla="*/ 1157288 w 1378744"/>
                  <a:gd name="connsiteY100" fmla="*/ 871537 h 1288255"/>
                  <a:gd name="connsiteX101" fmla="*/ 1119188 w 1378744"/>
                  <a:gd name="connsiteY101" fmla="*/ 859631 h 1288255"/>
                  <a:gd name="connsiteX102" fmla="*/ 1119188 w 1378744"/>
                  <a:gd name="connsiteY102" fmla="*/ 831056 h 1288255"/>
                  <a:gd name="connsiteX103" fmla="*/ 1135857 w 1378744"/>
                  <a:gd name="connsiteY103" fmla="*/ 807243 h 1288255"/>
                  <a:gd name="connsiteX104" fmla="*/ 1197769 w 1378744"/>
                  <a:gd name="connsiteY104" fmla="*/ 759618 h 1288255"/>
                  <a:gd name="connsiteX105" fmla="*/ 1247775 w 1378744"/>
                  <a:gd name="connsiteY105" fmla="*/ 762000 h 1288255"/>
                  <a:gd name="connsiteX106" fmla="*/ 1278732 w 1378744"/>
                  <a:gd name="connsiteY106" fmla="*/ 762000 h 1288255"/>
                  <a:gd name="connsiteX107" fmla="*/ 1271588 w 1378744"/>
                  <a:gd name="connsiteY107" fmla="*/ 735806 h 1288255"/>
                  <a:gd name="connsiteX108" fmla="*/ 1378744 w 1378744"/>
                  <a:gd name="connsiteY108" fmla="*/ 678656 h 1288255"/>
                  <a:gd name="connsiteX109" fmla="*/ 1331119 w 1378744"/>
                  <a:gd name="connsiteY109" fmla="*/ 552450 h 1288255"/>
                  <a:gd name="connsiteX110" fmla="*/ 1278732 w 1378744"/>
                  <a:gd name="connsiteY110" fmla="*/ 514350 h 1288255"/>
                  <a:gd name="connsiteX111" fmla="*/ 1252538 w 1378744"/>
                  <a:gd name="connsiteY111" fmla="*/ 431006 h 1288255"/>
                  <a:gd name="connsiteX112" fmla="*/ 1181100 w 1378744"/>
                  <a:gd name="connsiteY112" fmla="*/ 431006 h 1288255"/>
                  <a:gd name="connsiteX113" fmla="*/ 1166813 w 1378744"/>
                  <a:gd name="connsiteY113" fmla="*/ 395287 h 1288255"/>
                  <a:gd name="connsiteX114" fmla="*/ 1107282 w 1378744"/>
                  <a:gd name="connsiteY114" fmla="*/ 421481 h 1288255"/>
                  <a:gd name="connsiteX115" fmla="*/ 1054894 w 1378744"/>
                  <a:gd name="connsiteY115" fmla="*/ 414337 h 1288255"/>
                  <a:gd name="connsiteX116" fmla="*/ 1028700 w 1378744"/>
                  <a:gd name="connsiteY116" fmla="*/ 371475 h 1288255"/>
                  <a:gd name="connsiteX117" fmla="*/ 1023938 w 1378744"/>
                  <a:gd name="connsiteY117" fmla="*/ 288131 h 1288255"/>
                  <a:gd name="connsiteX118" fmla="*/ 1012032 w 1378744"/>
                  <a:gd name="connsiteY118" fmla="*/ 269081 h 1288255"/>
                  <a:gd name="connsiteX119" fmla="*/ 1012032 w 1378744"/>
                  <a:gd name="connsiteY119" fmla="*/ 211931 h 1288255"/>
                  <a:gd name="connsiteX120" fmla="*/ 959644 w 1378744"/>
                  <a:gd name="connsiteY120" fmla="*/ 190500 h 1288255"/>
                  <a:gd name="connsiteX121" fmla="*/ 914400 w 1378744"/>
                  <a:gd name="connsiteY121" fmla="*/ 111918 h 1288255"/>
                  <a:gd name="connsiteX122" fmla="*/ 854869 w 1378744"/>
                  <a:gd name="connsiteY122" fmla="*/ 76200 h 1288255"/>
                  <a:gd name="connsiteX123" fmla="*/ 873919 w 1378744"/>
                  <a:gd name="connsiteY123" fmla="*/ 16668 h 1288255"/>
                  <a:gd name="connsiteX124" fmla="*/ 783432 w 1378744"/>
                  <a:gd name="connsiteY124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795338 w 1378744"/>
                  <a:gd name="connsiteY60" fmla="*/ 1209674 h 1288255"/>
                  <a:gd name="connsiteX61" fmla="*/ 795337 w 1378744"/>
                  <a:gd name="connsiteY61" fmla="*/ 1212055 h 1288255"/>
                  <a:gd name="connsiteX62" fmla="*/ 828675 w 1378744"/>
                  <a:gd name="connsiteY62" fmla="*/ 1109662 h 1288255"/>
                  <a:gd name="connsiteX63" fmla="*/ 809625 w 1378744"/>
                  <a:gd name="connsiteY63" fmla="*/ 1197768 h 1288255"/>
                  <a:gd name="connsiteX64" fmla="*/ 833438 w 1378744"/>
                  <a:gd name="connsiteY64" fmla="*/ 1085850 h 1288255"/>
                  <a:gd name="connsiteX65" fmla="*/ 797719 w 1378744"/>
                  <a:gd name="connsiteY65" fmla="*/ 1059656 h 1288255"/>
                  <a:gd name="connsiteX66" fmla="*/ 790575 w 1378744"/>
                  <a:gd name="connsiteY66" fmla="*/ 1038225 h 1288255"/>
                  <a:gd name="connsiteX67" fmla="*/ 790575 w 1378744"/>
                  <a:gd name="connsiteY67" fmla="*/ 1021556 h 1288255"/>
                  <a:gd name="connsiteX68" fmla="*/ 845344 w 1378744"/>
                  <a:gd name="connsiteY68" fmla="*/ 952500 h 1288255"/>
                  <a:gd name="connsiteX69" fmla="*/ 845344 w 1378744"/>
                  <a:gd name="connsiteY69" fmla="*/ 952500 h 1288255"/>
                  <a:gd name="connsiteX70" fmla="*/ 888207 w 1378744"/>
                  <a:gd name="connsiteY70" fmla="*/ 966787 h 1288255"/>
                  <a:gd name="connsiteX71" fmla="*/ 907257 w 1378744"/>
                  <a:gd name="connsiteY71" fmla="*/ 981075 h 1288255"/>
                  <a:gd name="connsiteX72" fmla="*/ 938213 w 1378744"/>
                  <a:gd name="connsiteY72" fmla="*/ 990600 h 1288255"/>
                  <a:gd name="connsiteX73" fmla="*/ 964407 w 1378744"/>
                  <a:gd name="connsiteY73" fmla="*/ 985837 h 1288255"/>
                  <a:gd name="connsiteX74" fmla="*/ 985838 w 1378744"/>
                  <a:gd name="connsiteY74" fmla="*/ 985837 h 1288255"/>
                  <a:gd name="connsiteX75" fmla="*/ 995363 w 1378744"/>
                  <a:gd name="connsiteY75" fmla="*/ 995362 h 1288255"/>
                  <a:gd name="connsiteX76" fmla="*/ 978694 w 1378744"/>
                  <a:gd name="connsiteY76" fmla="*/ 1012031 h 1288255"/>
                  <a:gd name="connsiteX77" fmla="*/ 969169 w 1378744"/>
                  <a:gd name="connsiteY77" fmla="*/ 1031081 h 1288255"/>
                  <a:gd name="connsiteX78" fmla="*/ 954882 w 1378744"/>
                  <a:gd name="connsiteY78" fmla="*/ 1054893 h 1288255"/>
                  <a:gd name="connsiteX79" fmla="*/ 950119 w 1378744"/>
                  <a:gd name="connsiteY79" fmla="*/ 1083468 h 1288255"/>
                  <a:gd name="connsiteX80" fmla="*/ 962025 w 1378744"/>
                  <a:gd name="connsiteY80" fmla="*/ 1107281 h 1288255"/>
                  <a:gd name="connsiteX81" fmla="*/ 983457 w 1378744"/>
                  <a:gd name="connsiteY81" fmla="*/ 1131093 h 1288255"/>
                  <a:gd name="connsiteX82" fmla="*/ 1002507 w 1378744"/>
                  <a:gd name="connsiteY82" fmla="*/ 1133475 h 1288255"/>
                  <a:gd name="connsiteX83" fmla="*/ 1028700 w 1378744"/>
                  <a:gd name="connsiteY83" fmla="*/ 1126331 h 1288255"/>
                  <a:gd name="connsiteX84" fmla="*/ 1031082 w 1378744"/>
                  <a:gd name="connsiteY84" fmla="*/ 1097756 h 1288255"/>
                  <a:gd name="connsiteX85" fmla="*/ 1057275 w 1378744"/>
                  <a:gd name="connsiteY85" fmla="*/ 1085850 h 1288255"/>
                  <a:gd name="connsiteX86" fmla="*/ 1076325 w 1378744"/>
                  <a:gd name="connsiteY86" fmla="*/ 1097756 h 1288255"/>
                  <a:gd name="connsiteX87" fmla="*/ 1100138 w 1378744"/>
                  <a:gd name="connsiteY87" fmla="*/ 1107281 h 1288255"/>
                  <a:gd name="connsiteX88" fmla="*/ 1123950 w 1378744"/>
                  <a:gd name="connsiteY88" fmla="*/ 1121568 h 1288255"/>
                  <a:gd name="connsiteX89" fmla="*/ 1143000 w 1378744"/>
                  <a:gd name="connsiteY89" fmla="*/ 1123950 h 1288255"/>
                  <a:gd name="connsiteX90" fmla="*/ 1157288 w 1378744"/>
                  <a:gd name="connsiteY90" fmla="*/ 1112043 h 1288255"/>
                  <a:gd name="connsiteX91" fmla="*/ 1159669 w 1378744"/>
                  <a:gd name="connsiteY91" fmla="*/ 1085850 h 1288255"/>
                  <a:gd name="connsiteX92" fmla="*/ 1166813 w 1378744"/>
                  <a:gd name="connsiteY92" fmla="*/ 1052512 h 1288255"/>
                  <a:gd name="connsiteX93" fmla="*/ 1197769 w 1378744"/>
                  <a:gd name="connsiteY93" fmla="*/ 1016793 h 1288255"/>
                  <a:gd name="connsiteX94" fmla="*/ 1195388 w 1378744"/>
                  <a:gd name="connsiteY94" fmla="*/ 954881 h 1288255"/>
                  <a:gd name="connsiteX95" fmla="*/ 1209675 w 1378744"/>
                  <a:gd name="connsiteY95" fmla="*/ 945356 h 1288255"/>
                  <a:gd name="connsiteX96" fmla="*/ 1235869 w 1378744"/>
                  <a:gd name="connsiteY96" fmla="*/ 945356 h 1288255"/>
                  <a:gd name="connsiteX97" fmla="*/ 1235869 w 1378744"/>
                  <a:gd name="connsiteY97" fmla="*/ 931068 h 1288255"/>
                  <a:gd name="connsiteX98" fmla="*/ 1212057 w 1378744"/>
                  <a:gd name="connsiteY98" fmla="*/ 912018 h 1288255"/>
                  <a:gd name="connsiteX99" fmla="*/ 1195388 w 1378744"/>
                  <a:gd name="connsiteY99" fmla="*/ 881062 h 1288255"/>
                  <a:gd name="connsiteX100" fmla="*/ 1157288 w 1378744"/>
                  <a:gd name="connsiteY100" fmla="*/ 871537 h 1288255"/>
                  <a:gd name="connsiteX101" fmla="*/ 1119188 w 1378744"/>
                  <a:gd name="connsiteY101" fmla="*/ 859631 h 1288255"/>
                  <a:gd name="connsiteX102" fmla="*/ 1119188 w 1378744"/>
                  <a:gd name="connsiteY102" fmla="*/ 831056 h 1288255"/>
                  <a:gd name="connsiteX103" fmla="*/ 1135857 w 1378744"/>
                  <a:gd name="connsiteY103" fmla="*/ 807243 h 1288255"/>
                  <a:gd name="connsiteX104" fmla="*/ 1197769 w 1378744"/>
                  <a:gd name="connsiteY104" fmla="*/ 759618 h 1288255"/>
                  <a:gd name="connsiteX105" fmla="*/ 1247775 w 1378744"/>
                  <a:gd name="connsiteY105" fmla="*/ 762000 h 1288255"/>
                  <a:gd name="connsiteX106" fmla="*/ 1278732 w 1378744"/>
                  <a:gd name="connsiteY106" fmla="*/ 762000 h 1288255"/>
                  <a:gd name="connsiteX107" fmla="*/ 1271588 w 1378744"/>
                  <a:gd name="connsiteY107" fmla="*/ 735806 h 1288255"/>
                  <a:gd name="connsiteX108" fmla="*/ 1378744 w 1378744"/>
                  <a:gd name="connsiteY108" fmla="*/ 678656 h 1288255"/>
                  <a:gd name="connsiteX109" fmla="*/ 1331119 w 1378744"/>
                  <a:gd name="connsiteY109" fmla="*/ 552450 h 1288255"/>
                  <a:gd name="connsiteX110" fmla="*/ 1278732 w 1378744"/>
                  <a:gd name="connsiteY110" fmla="*/ 514350 h 1288255"/>
                  <a:gd name="connsiteX111" fmla="*/ 1252538 w 1378744"/>
                  <a:gd name="connsiteY111" fmla="*/ 431006 h 1288255"/>
                  <a:gd name="connsiteX112" fmla="*/ 1181100 w 1378744"/>
                  <a:gd name="connsiteY112" fmla="*/ 431006 h 1288255"/>
                  <a:gd name="connsiteX113" fmla="*/ 1166813 w 1378744"/>
                  <a:gd name="connsiteY113" fmla="*/ 395287 h 1288255"/>
                  <a:gd name="connsiteX114" fmla="*/ 1107282 w 1378744"/>
                  <a:gd name="connsiteY114" fmla="*/ 421481 h 1288255"/>
                  <a:gd name="connsiteX115" fmla="*/ 1054894 w 1378744"/>
                  <a:gd name="connsiteY115" fmla="*/ 414337 h 1288255"/>
                  <a:gd name="connsiteX116" fmla="*/ 1028700 w 1378744"/>
                  <a:gd name="connsiteY116" fmla="*/ 371475 h 1288255"/>
                  <a:gd name="connsiteX117" fmla="*/ 1023938 w 1378744"/>
                  <a:gd name="connsiteY117" fmla="*/ 288131 h 1288255"/>
                  <a:gd name="connsiteX118" fmla="*/ 1012032 w 1378744"/>
                  <a:gd name="connsiteY118" fmla="*/ 269081 h 1288255"/>
                  <a:gd name="connsiteX119" fmla="*/ 1012032 w 1378744"/>
                  <a:gd name="connsiteY119" fmla="*/ 211931 h 1288255"/>
                  <a:gd name="connsiteX120" fmla="*/ 959644 w 1378744"/>
                  <a:gd name="connsiteY120" fmla="*/ 190500 h 1288255"/>
                  <a:gd name="connsiteX121" fmla="*/ 914400 w 1378744"/>
                  <a:gd name="connsiteY121" fmla="*/ 111918 h 1288255"/>
                  <a:gd name="connsiteX122" fmla="*/ 854869 w 1378744"/>
                  <a:gd name="connsiteY122" fmla="*/ 76200 h 1288255"/>
                  <a:gd name="connsiteX123" fmla="*/ 873919 w 1378744"/>
                  <a:gd name="connsiteY123" fmla="*/ 16668 h 1288255"/>
                  <a:gd name="connsiteX124" fmla="*/ 783432 w 1378744"/>
                  <a:gd name="connsiteY124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795338 w 1378744"/>
                  <a:gd name="connsiteY60" fmla="*/ 1209674 h 1288255"/>
                  <a:gd name="connsiteX61" fmla="*/ 795337 w 1378744"/>
                  <a:gd name="connsiteY61" fmla="*/ 1212055 h 1288255"/>
                  <a:gd name="connsiteX62" fmla="*/ 809625 w 1378744"/>
                  <a:gd name="connsiteY62" fmla="*/ 1197768 h 1288255"/>
                  <a:gd name="connsiteX63" fmla="*/ 833438 w 1378744"/>
                  <a:gd name="connsiteY63" fmla="*/ 1085850 h 1288255"/>
                  <a:gd name="connsiteX64" fmla="*/ 797719 w 1378744"/>
                  <a:gd name="connsiteY64" fmla="*/ 1059656 h 1288255"/>
                  <a:gd name="connsiteX65" fmla="*/ 790575 w 1378744"/>
                  <a:gd name="connsiteY65" fmla="*/ 1038225 h 1288255"/>
                  <a:gd name="connsiteX66" fmla="*/ 790575 w 1378744"/>
                  <a:gd name="connsiteY66" fmla="*/ 1021556 h 1288255"/>
                  <a:gd name="connsiteX67" fmla="*/ 845344 w 1378744"/>
                  <a:gd name="connsiteY67" fmla="*/ 952500 h 1288255"/>
                  <a:gd name="connsiteX68" fmla="*/ 845344 w 1378744"/>
                  <a:gd name="connsiteY68" fmla="*/ 952500 h 1288255"/>
                  <a:gd name="connsiteX69" fmla="*/ 888207 w 1378744"/>
                  <a:gd name="connsiteY69" fmla="*/ 966787 h 1288255"/>
                  <a:gd name="connsiteX70" fmla="*/ 907257 w 1378744"/>
                  <a:gd name="connsiteY70" fmla="*/ 981075 h 1288255"/>
                  <a:gd name="connsiteX71" fmla="*/ 938213 w 1378744"/>
                  <a:gd name="connsiteY71" fmla="*/ 990600 h 1288255"/>
                  <a:gd name="connsiteX72" fmla="*/ 964407 w 1378744"/>
                  <a:gd name="connsiteY72" fmla="*/ 985837 h 1288255"/>
                  <a:gd name="connsiteX73" fmla="*/ 985838 w 1378744"/>
                  <a:gd name="connsiteY73" fmla="*/ 985837 h 1288255"/>
                  <a:gd name="connsiteX74" fmla="*/ 995363 w 1378744"/>
                  <a:gd name="connsiteY74" fmla="*/ 995362 h 1288255"/>
                  <a:gd name="connsiteX75" fmla="*/ 978694 w 1378744"/>
                  <a:gd name="connsiteY75" fmla="*/ 1012031 h 1288255"/>
                  <a:gd name="connsiteX76" fmla="*/ 969169 w 1378744"/>
                  <a:gd name="connsiteY76" fmla="*/ 1031081 h 1288255"/>
                  <a:gd name="connsiteX77" fmla="*/ 954882 w 1378744"/>
                  <a:gd name="connsiteY77" fmla="*/ 1054893 h 1288255"/>
                  <a:gd name="connsiteX78" fmla="*/ 950119 w 1378744"/>
                  <a:gd name="connsiteY78" fmla="*/ 1083468 h 1288255"/>
                  <a:gd name="connsiteX79" fmla="*/ 962025 w 1378744"/>
                  <a:gd name="connsiteY79" fmla="*/ 1107281 h 1288255"/>
                  <a:gd name="connsiteX80" fmla="*/ 983457 w 1378744"/>
                  <a:gd name="connsiteY80" fmla="*/ 1131093 h 1288255"/>
                  <a:gd name="connsiteX81" fmla="*/ 1002507 w 1378744"/>
                  <a:gd name="connsiteY81" fmla="*/ 1133475 h 1288255"/>
                  <a:gd name="connsiteX82" fmla="*/ 1028700 w 1378744"/>
                  <a:gd name="connsiteY82" fmla="*/ 1126331 h 1288255"/>
                  <a:gd name="connsiteX83" fmla="*/ 1031082 w 1378744"/>
                  <a:gd name="connsiteY83" fmla="*/ 1097756 h 1288255"/>
                  <a:gd name="connsiteX84" fmla="*/ 1057275 w 1378744"/>
                  <a:gd name="connsiteY84" fmla="*/ 1085850 h 1288255"/>
                  <a:gd name="connsiteX85" fmla="*/ 1076325 w 1378744"/>
                  <a:gd name="connsiteY85" fmla="*/ 1097756 h 1288255"/>
                  <a:gd name="connsiteX86" fmla="*/ 1100138 w 1378744"/>
                  <a:gd name="connsiteY86" fmla="*/ 1107281 h 1288255"/>
                  <a:gd name="connsiteX87" fmla="*/ 1123950 w 1378744"/>
                  <a:gd name="connsiteY87" fmla="*/ 1121568 h 1288255"/>
                  <a:gd name="connsiteX88" fmla="*/ 1143000 w 1378744"/>
                  <a:gd name="connsiteY88" fmla="*/ 1123950 h 1288255"/>
                  <a:gd name="connsiteX89" fmla="*/ 1157288 w 1378744"/>
                  <a:gd name="connsiteY89" fmla="*/ 1112043 h 1288255"/>
                  <a:gd name="connsiteX90" fmla="*/ 1159669 w 1378744"/>
                  <a:gd name="connsiteY90" fmla="*/ 1085850 h 1288255"/>
                  <a:gd name="connsiteX91" fmla="*/ 1166813 w 1378744"/>
                  <a:gd name="connsiteY91" fmla="*/ 1052512 h 1288255"/>
                  <a:gd name="connsiteX92" fmla="*/ 1197769 w 1378744"/>
                  <a:gd name="connsiteY92" fmla="*/ 1016793 h 1288255"/>
                  <a:gd name="connsiteX93" fmla="*/ 1195388 w 1378744"/>
                  <a:gd name="connsiteY93" fmla="*/ 954881 h 1288255"/>
                  <a:gd name="connsiteX94" fmla="*/ 1209675 w 1378744"/>
                  <a:gd name="connsiteY94" fmla="*/ 945356 h 1288255"/>
                  <a:gd name="connsiteX95" fmla="*/ 1235869 w 1378744"/>
                  <a:gd name="connsiteY95" fmla="*/ 945356 h 1288255"/>
                  <a:gd name="connsiteX96" fmla="*/ 1235869 w 1378744"/>
                  <a:gd name="connsiteY96" fmla="*/ 931068 h 1288255"/>
                  <a:gd name="connsiteX97" fmla="*/ 1212057 w 1378744"/>
                  <a:gd name="connsiteY97" fmla="*/ 912018 h 1288255"/>
                  <a:gd name="connsiteX98" fmla="*/ 1195388 w 1378744"/>
                  <a:gd name="connsiteY98" fmla="*/ 881062 h 1288255"/>
                  <a:gd name="connsiteX99" fmla="*/ 1157288 w 1378744"/>
                  <a:gd name="connsiteY99" fmla="*/ 871537 h 1288255"/>
                  <a:gd name="connsiteX100" fmla="*/ 1119188 w 1378744"/>
                  <a:gd name="connsiteY100" fmla="*/ 859631 h 1288255"/>
                  <a:gd name="connsiteX101" fmla="*/ 1119188 w 1378744"/>
                  <a:gd name="connsiteY101" fmla="*/ 831056 h 1288255"/>
                  <a:gd name="connsiteX102" fmla="*/ 1135857 w 1378744"/>
                  <a:gd name="connsiteY102" fmla="*/ 807243 h 1288255"/>
                  <a:gd name="connsiteX103" fmla="*/ 1197769 w 1378744"/>
                  <a:gd name="connsiteY103" fmla="*/ 759618 h 1288255"/>
                  <a:gd name="connsiteX104" fmla="*/ 1247775 w 1378744"/>
                  <a:gd name="connsiteY104" fmla="*/ 762000 h 1288255"/>
                  <a:gd name="connsiteX105" fmla="*/ 1278732 w 1378744"/>
                  <a:gd name="connsiteY105" fmla="*/ 762000 h 1288255"/>
                  <a:gd name="connsiteX106" fmla="*/ 1271588 w 1378744"/>
                  <a:gd name="connsiteY106" fmla="*/ 735806 h 1288255"/>
                  <a:gd name="connsiteX107" fmla="*/ 1378744 w 1378744"/>
                  <a:gd name="connsiteY107" fmla="*/ 678656 h 1288255"/>
                  <a:gd name="connsiteX108" fmla="*/ 1331119 w 1378744"/>
                  <a:gd name="connsiteY108" fmla="*/ 552450 h 1288255"/>
                  <a:gd name="connsiteX109" fmla="*/ 1278732 w 1378744"/>
                  <a:gd name="connsiteY109" fmla="*/ 514350 h 1288255"/>
                  <a:gd name="connsiteX110" fmla="*/ 1252538 w 1378744"/>
                  <a:gd name="connsiteY110" fmla="*/ 431006 h 1288255"/>
                  <a:gd name="connsiteX111" fmla="*/ 1181100 w 1378744"/>
                  <a:gd name="connsiteY111" fmla="*/ 431006 h 1288255"/>
                  <a:gd name="connsiteX112" fmla="*/ 1166813 w 1378744"/>
                  <a:gd name="connsiteY112" fmla="*/ 395287 h 1288255"/>
                  <a:gd name="connsiteX113" fmla="*/ 1107282 w 1378744"/>
                  <a:gd name="connsiteY113" fmla="*/ 421481 h 1288255"/>
                  <a:gd name="connsiteX114" fmla="*/ 1054894 w 1378744"/>
                  <a:gd name="connsiteY114" fmla="*/ 414337 h 1288255"/>
                  <a:gd name="connsiteX115" fmla="*/ 1028700 w 1378744"/>
                  <a:gd name="connsiteY115" fmla="*/ 371475 h 1288255"/>
                  <a:gd name="connsiteX116" fmla="*/ 1023938 w 1378744"/>
                  <a:gd name="connsiteY116" fmla="*/ 288131 h 1288255"/>
                  <a:gd name="connsiteX117" fmla="*/ 1012032 w 1378744"/>
                  <a:gd name="connsiteY117" fmla="*/ 269081 h 1288255"/>
                  <a:gd name="connsiteX118" fmla="*/ 1012032 w 1378744"/>
                  <a:gd name="connsiteY118" fmla="*/ 211931 h 1288255"/>
                  <a:gd name="connsiteX119" fmla="*/ 959644 w 1378744"/>
                  <a:gd name="connsiteY119" fmla="*/ 190500 h 1288255"/>
                  <a:gd name="connsiteX120" fmla="*/ 914400 w 1378744"/>
                  <a:gd name="connsiteY120" fmla="*/ 111918 h 1288255"/>
                  <a:gd name="connsiteX121" fmla="*/ 854869 w 1378744"/>
                  <a:gd name="connsiteY121" fmla="*/ 76200 h 1288255"/>
                  <a:gd name="connsiteX122" fmla="*/ 873919 w 1378744"/>
                  <a:gd name="connsiteY122" fmla="*/ 16668 h 1288255"/>
                  <a:gd name="connsiteX123" fmla="*/ 783432 w 1378744"/>
                  <a:gd name="connsiteY123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795338 w 1378744"/>
                  <a:gd name="connsiteY60" fmla="*/ 1209674 h 1288255"/>
                  <a:gd name="connsiteX61" fmla="*/ 795337 w 1378744"/>
                  <a:gd name="connsiteY61" fmla="*/ 1212055 h 1288255"/>
                  <a:gd name="connsiteX62" fmla="*/ 809625 w 1378744"/>
                  <a:gd name="connsiteY62" fmla="*/ 1197768 h 1288255"/>
                  <a:gd name="connsiteX63" fmla="*/ 821532 w 1378744"/>
                  <a:gd name="connsiteY63" fmla="*/ 1133474 h 1288255"/>
                  <a:gd name="connsiteX64" fmla="*/ 833438 w 1378744"/>
                  <a:gd name="connsiteY64" fmla="*/ 1085850 h 1288255"/>
                  <a:gd name="connsiteX65" fmla="*/ 797719 w 1378744"/>
                  <a:gd name="connsiteY65" fmla="*/ 1059656 h 1288255"/>
                  <a:gd name="connsiteX66" fmla="*/ 790575 w 1378744"/>
                  <a:gd name="connsiteY66" fmla="*/ 1038225 h 1288255"/>
                  <a:gd name="connsiteX67" fmla="*/ 790575 w 1378744"/>
                  <a:gd name="connsiteY67" fmla="*/ 1021556 h 1288255"/>
                  <a:gd name="connsiteX68" fmla="*/ 845344 w 1378744"/>
                  <a:gd name="connsiteY68" fmla="*/ 952500 h 1288255"/>
                  <a:gd name="connsiteX69" fmla="*/ 845344 w 1378744"/>
                  <a:gd name="connsiteY69" fmla="*/ 952500 h 1288255"/>
                  <a:gd name="connsiteX70" fmla="*/ 888207 w 1378744"/>
                  <a:gd name="connsiteY70" fmla="*/ 966787 h 1288255"/>
                  <a:gd name="connsiteX71" fmla="*/ 907257 w 1378744"/>
                  <a:gd name="connsiteY71" fmla="*/ 981075 h 1288255"/>
                  <a:gd name="connsiteX72" fmla="*/ 938213 w 1378744"/>
                  <a:gd name="connsiteY72" fmla="*/ 990600 h 1288255"/>
                  <a:gd name="connsiteX73" fmla="*/ 964407 w 1378744"/>
                  <a:gd name="connsiteY73" fmla="*/ 985837 h 1288255"/>
                  <a:gd name="connsiteX74" fmla="*/ 985838 w 1378744"/>
                  <a:gd name="connsiteY74" fmla="*/ 985837 h 1288255"/>
                  <a:gd name="connsiteX75" fmla="*/ 995363 w 1378744"/>
                  <a:gd name="connsiteY75" fmla="*/ 995362 h 1288255"/>
                  <a:gd name="connsiteX76" fmla="*/ 978694 w 1378744"/>
                  <a:gd name="connsiteY76" fmla="*/ 1012031 h 1288255"/>
                  <a:gd name="connsiteX77" fmla="*/ 969169 w 1378744"/>
                  <a:gd name="connsiteY77" fmla="*/ 1031081 h 1288255"/>
                  <a:gd name="connsiteX78" fmla="*/ 954882 w 1378744"/>
                  <a:gd name="connsiteY78" fmla="*/ 1054893 h 1288255"/>
                  <a:gd name="connsiteX79" fmla="*/ 950119 w 1378744"/>
                  <a:gd name="connsiteY79" fmla="*/ 1083468 h 1288255"/>
                  <a:gd name="connsiteX80" fmla="*/ 962025 w 1378744"/>
                  <a:gd name="connsiteY80" fmla="*/ 1107281 h 1288255"/>
                  <a:gd name="connsiteX81" fmla="*/ 983457 w 1378744"/>
                  <a:gd name="connsiteY81" fmla="*/ 1131093 h 1288255"/>
                  <a:gd name="connsiteX82" fmla="*/ 1002507 w 1378744"/>
                  <a:gd name="connsiteY82" fmla="*/ 1133475 h 1288255"/>
                  <a:gd name="connsiteX83" fmla="*/ 1028700 w 1378744"/>
                  <a:gd name="connsiteY83" fmla="*/ 1126331 h 1288255"/>
                  <a:gd name="connsiteX84" fmla="*/ 1031082 w 1378744"/>
                  <a:gd name="connsiteY84" fmla="*/ 1097756 h 1288255"/>
                  <a:gd name="connsiteX85" fmla="*/ 1057275 w 1378744"/>
                  <a:gd name="connsiteY85" fmla="*/ 1085850 h 1288255"/>
                  <a:gd name="connsiteX86" fmla="*/ 1076325 w 1378744"/>
                  <a:gd name="connsiteY86" fmla="*/ 1097756 h 1288255"/>
                  <a:gd name="connsiteX87" fmla="*/ 1100138 w 1378744"/>
                  <a:gd name="connsiteY87" fmla="*/ 1107281 h 1288255"/>
                  <a:gd name="connsiteX88" fmla="*/ 1123950 w 1378744"/>
                  <a:gd name="connsiteY88" fmla="*/ 1121568 h 1288255"/>
                  <a:gd name="connsiteX89" fmla="*/ 1143000 w 1378744"/>
                  <a:gd name="connsiteY89" fmla="*/ 1123950 h 1288255"/>
                  <a:gd name="connsiteX90" fmla="*/ 1157288 w 1378744"/>
                  <a:gd name="connsiteY90" fmla="*/ 1112043 h 1288255"/>
                  <a:gd name="connsiteX91" fmla="*/ 1159669 w 1378744"/>
                  <a:gd name="connsiteY91" fmla="*/ 1085850 h 1288255"/>
                  <a:gd name="connsiteX92" fmla="*/ 1166813 w 1378744"/>
                  <a:gd name="connsiteY92" fmla="*/ 1052512 h 1288255"/>
                  <a:gd name="connsiteX93" fmla="*/ 1197769 w 1378744"/>
                  <a:gd name="connsiteY93" fmla="*/ 1016793 h 1288255"/>
                  <a:gd name="connsiteX94" fmla="*/ 1195388 w 1378744"/>
                  <a:gd name="connsiteY94" fmla="*/ 954881 h 1288255"/>
                  <a:gd name="connsiteX95" fmla="*/ 1209675 w 1378744"/>
                  <a:gd name="connsiteY95" fmla="*/ 945356 h 1288255"/>
                  <a:gd name="connsiteX96" fmla="*/ 1235869 w 1378744"/>
                  <a:gd name="connsiteY96" fmla="*/ 945356 h 1288255"/>
                  <a:gd name="connsiteX97" fmla="*/ 1235869 w 1378744"/>
                  <a:gd name="connsiteY97" fmla="*/ 931068 h 1288255"/>
                  <a:gd name="connsiteX98" fmla="*/ 1212057 w 1378744"/>
                  <a:gd name="connsiteY98" fmla="*/ 912018 h 1288255"/>
                  <a:gd name="connsiteX99" fmla="*/ 1195388 w 1378744"/>
                  <a:gd name="connsiteY99" fmla="*/ 881062 h 1288255"/>
                  <a:gd name="connsiteX100" fmla="*/ 1157288 w 1378744"/>
                  <a:gd name="connsiteY100" fmla="*/ 871537 h 1288255"/>
                  <a:gd name="connsiteX101" fmla="*/ 1119188 w 1378744"/>
                  <a:gd name="connsiteY101" fmla="*/ 859631 h 1288255"/>
                  <a:gd name="connsiteX102" fmla="*/ 1119188 w 1378744"/>
                  <a:gd name="connsiteY102" fmla="*/ 831056 h 1288255"/>
                  <a:gd name="connsiteX103" fmla="*/ 1135857 w 1378744"/>
                  <a:gd name="connsiteY103" fmla="*/ 807243 h 1288255"/>
                  <a:gd name="connsiteX104" fmla="*/ 1197769 w 1378744"/>
                  <a:gd name="connsiteY104" fmla="*/ 759618 h 1288255"/>
                  <a:gd name="connsiteX105" fmla="*/ 1247775 w 1378744"/>
                  <a:gd name="connsiteY105" fmla="*/ 762000 h 1288255"/>
                  <a:gd name="connsiteX106" fmla="*/ 1278732 w 1378744"/>
                  <a:gd name="connsiteY106" fmla="*/ 762000 h 1288255"/>
                  <a:gd name="connsiteX107" fmla="*/ 1271588 w 1378744"/>
                  <a:gd name="connsiteY107" fmla="*/ 735806 h 1288255"/>
                  <a:gd name="connsiteX108" fmla="*/ 1378744 w 1378744"/>
                  <a:gd name="connsiteY108" fmla="*/ 678656 h 1288255"/>
                  <a:gd name="connsiteX109" fmla="*/ 1331119 w 1378744"/>
                  <a:gd name="connsiteY109" fmla="*/ 552450 h 1288255"/>
                  <a:gd name="connsiteX110" fmla="*/ 1278732 w 1378744"/>
                  <a:gd name="connsiteY110" fmla="*/ 514350 h 1288255"/>
                  <a:gd name="connsiteX111" fmla="*/ 1252538 w 1378744"/>
                  <a:gd name="connsiteY111" fmla="*/ 431006 h 1288255"/>
                  <a:gd name="connsiteX112" fmla="*/ 1181100 w 1378744"/>
                  <a:gd name="connsiteY112" fmla="*/ 431006 h 1288255"/>
                  <a:gd name="connsiteX113" fmla="*/ 1166813 w 1378744"/>
                  <a:gd name="connsiteY113" fmla="*/ 395287 h 1288255"/>
                  <a:gd name="connsiteX114" fmla="*/ 1107282 w 1378744"/>
                  <a:gd name="connsiteY114" fmla="*/ 421481 h 1288255"/>
                  <a:gd name="connsiteX115" fmla="*/ 1054894 w 1378744"/>
                  <a:gd name="connsiteY115" fmla="*/ 414337 h 1288255"/>
                  <a:gd name="connsiteX116" fmla="*/ 1028700 w 1378744"/>
                  <a:gd name="connsiteY116" fmla="*/ 371475 h 1288255"/>
                  <a:gd name="connsiteX117" fmla="*/ 1023938 w 1378744"/>
                  <a:gd name="connsiteY117" fmla="*/ 288131 h 1288255"/>
                  <a:gd name="connsiteX118" fmla="*/ 1012032 w 1378744"/>
                  <a:gd name="connsiteY118" fmla="*/ 269081 h 1288255"/>
                  <a:gd name="connsiteX119" fmla="*/ 1012032 w 1378744"/>
                  <a:gd name="connsiteY119" fmla="*/ 211931 h 1288255"/>
                  <a:gd name="connsiteX120" fmla="*/ 959644 w 1378744"/>
                  <a:gd name="connsiteY120" fmla="*/ 190500 h 1288255"/>
                  <a:gd name="connsiteX121" fmla="*/ 914400 w 1378744"/>
                  <a:gd name="connsiteY121" fmla="*/ 111918 h 1288255"/>
                  <a:gd name="connsiteX122" fmla="*/ 854869 w 1378744"/>
                  <a:gd name="connsiteY122" fmla="*/ 76200 h 1288255"/>
                  <a:gd name="connsiteX123" fmla="*/ 873919 w 1378744"/>
                  <a:gd name="connsiteY123" fmla="*/ 16668 h 1288255"/>
                  <a:gd name="connsiteX124" fmla="*/ 783432 w 1378744"/>
                  <a:gd name="connsiteY124" fmla="*/ 0 h 1288255"/>
                  <a:gd name="connsiteX0" fmla="*/ 783432 w 1378744"/>
                  <a:gd name="connsiteY0" fmla="*/ 0 h 1288255"/>
                  <a:gd name="connsiteX1" fmla="*/ 738188 w 1378744"/>
                  <a:gd name="connsiteY1" fmla="*/ 26193 h 1288255"/>
                  <a:gd name="connsiteX2" fmla="*/ 685800 w 1378744"/>
                  <a:gd name="connsiteY2" fmla="*/ 28575 h 1288255"/>
                  <a:gd name="connsiteX3" fmla="*/ 635794 w 1378744"/>
                  <a:gd name="connsiteY3" fmla="*/ 73818 h 1288255"/>
                  <a:gd name="connsiteX4" fmla="*/ 633413 w 1378744"/>
                  <a:gd name="connsiteY4" fmla="*/ 114300 h 1288255"/>
                  <a:gd name="connsiteX5" fmla="*/ 561975 w 1378744"/>
                  <a:gd name="connsiteY5" fmla="*/ 190500 h 1288255"/>
                  <a:gd name="connsiteX6" fmla="*/ 519113 w 1378744"/>
                  <a:gd name="connsiteY6" fmla="*/ 214312 h 1288255"/>
                  <a:gd name="connsiteX7" fmla="*/ 485775 w 1378744"/>
                  <a:gd name="connsiteY7" fmla="*/ 252412 h 1288255"/>
                  <a:gd name="connsiteX8" fmla="*/ 461963 w 1378744"/>
                  <a:gd name="connsiteY8" fmla="*/ 273843 h 1288255"/>
                  <a:gd name="connsiteX9" fmla="*/ 423863 w 1378744"/>
                  <a:gd name="connsiteY9" fmla="*/ 333375 h 1288255"/>
                  <a:gd name="connsiteX10" fmla="*/ 378619 w 1378744"/>
                  <a:gd name="connsiteY10" fmla="*/ 357187 h 1288255"/>
                  <a:gd name="connsiteX11" fmla="*/ 292894 w 1378744"/>
                  <a:gd name="connsiteY11" fmla="*/ 376237 h 1288255"/>
                  <a:gd name="connsiteX12" fmla="*/ 264319 w 1378744"/>
                  <a:gd name="connsiteY12" fmla="*/ 373856 h 1288255"/>
                  <a:gd name="connsiteX13" fmla="*/ 240507 w 1378744"/>
                  <a:gd name="connsiteY13" fmla="*/ 359568 h 1288255"/>
                  <a:gd name="connsiteX14" fmla="*/ 226219 w 1378744"/>
                  <a:gd name="connsiteY14" fmla="*/ 338137 h 1288255"/>
                  <a:gd name="connsiteX15" fmla="*/ 219075 w 1378744"/>
                  <a:gd name="connsiteY15" fmla="*/ 311943 h 1288255"/>
                  <a:gd name="connsiteX16" fmla="*/ 204788 w 1378744"/>
                  <a:gd name="connsiteY16" fmla="*/ 309562 h 1288255"/>
                  <a:gd name="connsiteX17" fmla="*/ 188119 w 1378744"/>
                  <a:gd name="connsiteY17" fmla="*/ 304800 h 1288255"/>
                  <a:gd name="connsiteX18" fmla="*/ 173832 w 1378744"/>
                  <a:gd name="connsiteY18" fmla="*/ 302418 h 1288255"/>
                  <a:gd name="connsiteX19" fmla="*/ 128588 w 1378744"/>
                  <a:gd name="connsiteY19" fmla="*/ 352425 h 1288255"/>
                  <a:gd name="connsiteX20" fmla="*/ 97632 w 1378744"/>
                  <a:gd name="connsiteY20" fmla="*/ 371475 h 1288255"/>
                  <a:gd name="connsiteX21" fmla="*/ 80963 w 1378744"/>
                  <a:gd name="connsiteY21" fmla="*/ 390525 h 1288255"/>
                  <a:gd name="connsiteX22" fmla="*/ 66675 w 1378744"/>
                  <a:gd name="connsiteY22" fmla="*/ 435768 h 1288255"/>
                  <a:gd name="connsiteX23" fmla="*/ 54769 w 1378744"/>
                  <a:gd name="connsiteY23" fmla="*/ 447675 h 1288255"/>
                  <a:gd name="connsiteX24" fmla="*/ 9525 w 1378744"/>
                  <a:gd name="connsiteY24" fmla="*/ 466725 h 1288255"/>
                  <a:gd name="connsiteX25" fmla="*/ 2382 w 1378744"/>
                  <a:gd name="connsiteY25" fmla="*/ 481012 h 1288255"/>
                  <a:gd name="connsiteX26" fmla="*/ 4763 w 1378744"/>
                  <a:gd name="connsiteY26" fmla="*/ 533400 h 1288255"/>
                  <a:gd name="connsiteX27" fmla="*/ 0 w 1378744"/>
                  <a:gd name="connsiteY27" fmla="*/ 545306 h 1288255"/>
                  <a:gd name="connsiteX28" fmla="*/ 73819 w 1378744"/>
                  <a:gd name="connsiteY28" fmla="*/ 588168 h 1288255"/>
                  <a:gd name="connsiteX29" fmla="*/ 90488 w 1378744"/>
                  <a:gd name="connsiteY29" fmla="*/ 628650 h 1288255"/>
                  <a:gd name="connsiteX30" fmla="*/ 83344 w 1378744"/>
                  <a:gd name="connsiteY30" fmla="*/ 654843 h 1288255"/>
                  <a:gd name="connsiteX31" fmla="*/ 73819 w 1378744"/>
                  <a:gd name="connsiteY31" fmla="*/ 697706 h 1288255"/>
                  <a:gd name="connsiteX32" fmla="*/ 78582 w 1378744"/>
                  <a:gd name="connsiteY32" fmla="*/ 726281 h 1288255"/>
                  <a:gd name="connsiteX33" fmla="*/ 95250 w 1378744"/>
                  <a:gd name="connsiteY33" fmla="*/ 738187 h 1288255"/>
                  <a:gd name="connsiteX34" fmla="*/ 116682 w 1378744"/>
                  <a:gd name="connsiteY34" fmla="*/ 735806 h 1288255"/>
                  <a:gd name="connsiteX35" fmla="*/ 123825 w 1378744"/>
                  <a:gd name="connsiteY35" fmla="*/ 762000 h 1288255"/>
                  <a:gd name="connsiteX36" fmla="*/ 126207 w 1378744"/>
                  <a:gd name="connsiteY36" fmla="*/ 783431 h 1288255"/>
                  <a:gd name="connsiteX37" fmla="*/ 152400 w 1378744"/>
                  <a:gd name="connsiteY37" fmla="*/ 812006 h 1288255"/>
                  <a:gd name="connsiteX38" fmla="*/ 164307 w 1378744"/>
                  <a:gd name="connsiteY38" fmla="*/ 823912 h 1288255"/>
                  <a:gd name="connsiteX39" fmla="*/ 173832 w 1378744"/>
                  <a:gd name="connsiteY39" fmla="*/ 850106 h 1288255"/>
                  <a:gd name="connsiteX40" fmla="*/ 169069 w 1378744"/>
                  <a:gd name="connsiteY40" fmla="*/ 878681 h 1288255"/>
                  <a:gd name="connsiteX41" fmla="*/ 176213 w 1378744"/>
                  <a:gd name="connsiteY41" fmla="*/ 897731 h 1288255"/>
                  <a:gd name="connsiteX42" fmla="*/ 200025 w 1378744"/>
                  <a:gd name="connsiteY42" fmla="*/ 916781 h 1288255"/>
                  <a:gd name="connsiteX43" fmla="*/ 226219 w 1378744"/>
                  <a:gd name="connsiteY43" fmla="*/ 916781 h 1288255"/>
                  <a:gd name="connsiteX44" fmla="*/ 300038 w 1378744"/>
                  <a:gd name="connsiteY44" fmla="*/ 921543 h 1288255"/>
                  <a:gd name="connsiteX45" fmla="*/ 395288 w 1378744"/>
                  <a:gd name="connsiteY45" fmla="*/ 952500 h 1288255"/>
                  <a:gd name="connsiteX46" fmla="*/ 414338 w 1378744"/>
                  <a:gd name="connsiteY46" fmla="*/ 988218 h 1288255"/>
                  <a:gd name="connsiteX47" fmla="*/ 435769 w 1378744"/>
                  <a:gd name="connsiteY47" fmla="*/ 992981 h 1288255"/>
                  <a:gd name="connsiteX48" fmla="*/ 464344 w 1378744"/>
                  <a:gd name="connsiteY48" fmla="*/ 995362 h 1288255"/>
                  <a:gd name="connsiteX49" fmla="*/ 507207 w 1378744"/>
                  <a:gd name="connsiteY49" fmla="*/ 1026318 h 1288255"/>
                  <a:gd name="connsiteX50" fmla="*/ 521494 w 1378744"/>
                  <a:gd name="connsiteY50" fmla="*/ 1069181 h 1288255"/>
                  <a:gd name="connsiteX51" fmla="*/ 545307 w 1378744"/>
                  <a:gd name="connsiteY51" fmla="*/ 1107281 h 1288255"/>
                  <a:gd name="connsiteX52" fmla="*/ 573882 w 1378744"/>
                  <a:gd name="connsiteY52" fmla="*/ 1121568 h 1288255"/>
                  <a:gd name="connsiteX53" fmla="*/ 585788 w 1378744"/>
                  <a:gd name="connsiteY53" fmla="*/ 1131093 h 1288255"/>
                  <a:gd name="connsiteX54" fmla="*/ 597694 w 1378744"/>
                  <a:gd name="connsiteY54" fmla="*/ 1181100 h 1288255"/>
                  <a:gd name="connsiteX55" fmla="*/ 633413 w 1378744"/>
                  <a:gd name="connsiteY55" fmla="*/ 1250156 h 1288255"/>
                  <a:gd name="connsiteX56" fmla="*/ 692944 w 1378744"/>
                  <a:gd name="connsiteY56" fmla="*/ 1278730 h 1288255"/>
                  <a:gd name="connsiteX57" fmla="*/ 728663 w 1378744"/>
                  <a:gd name="connsiteY57" fmla="*/ 1288255 h 1288255"/>
                  <a:gd name="connsiteX58" fmla="*/ 771525 w 1378744"/>
                  <a:gd name="connsiteY58" fmla="*/ 1269205 h 1288255"/>
                  <a:gd name="connsiteX59" fmla="*/ 771525 w 1378744"/>
                  <a:gd name="connsiteY59" fmla="*/ 1235868 h 1288255"/>
                  <a:gd name="connsiteX60" fmla="*/ 795338 w 1378744"/>
                  <a:gd name="connsiteY60" fmla="*/ 1209674 h 1288255"/>
                  <a:gd name="connsiteX61" fmla="*/ 795337 w 1378744"/>
                  <a:gd name="connsiteY61" fmla="*/ 1212055 h 1288255"/>
                  <a:gd name="connsiteX62" fmla="*/ 809625 w 1378744"/>
                  <a:gd name="connsiteY62" fmla="*/ 1197768 h 1288255"/>
                  <a:gd name="connsiteX63" fmla="*/ 823914 w 1378744"/>
                  <a:gd name="connsiteY63" fmla="*/ 1147762 h 1288255"/>
                  <a:gd name="connsiteX64" fmla="*/ 833438 w 1378744"/>
                  <a:gd name="connsiteY64" fmla="*/ 1085850 h 1288255"/>
                  <a:gd name="connsiteX65" fmla="*/ 797719 w 1378744"/>
                  <a:gd name="connsiteY65" fmla="*/ 1059656 h 1288255"/>
                  <a:gd name="connsiteX66" fmla="*/ 790575 w 1378744"/>
                  <a:gd name="connsiteY66" fmla="*/ 1038225 h 1288255"/>
                  <a:gd name="connsiteX67" fmla="*/ 790575 w 1378744"/>
                  <a:gd name="connsiteY67" fmla="*/ 1021556 h 1288255"/>
                  <a:gd name="connsiteX68" fmla="*/ 845344 w 1378744"/>
                  <a:gd name="connsiteY68" fmla="*/ 952500 h 1288255"/>
                  <a:gd name="connsiteX69" fmla="*/ 845344 w 1378744"/>
                  <a:gd name="connsiteY69" fmla="*/ 952500 h 1288255"/>
                  <a:gd name="connsiteX70" fmla="*/ 888207 w 1378744"/>
                  <a:gd name="connsiteY70" fmla="*/ 966787 h 1288255"/>
                  <a:gd name="connsiteX71" fmla="*/ 907257 w 1378744"/>
                  <a:gd name="connsiteY71" fmla="*/ 981075 h 1288255"/>
                  <a:gd name="connsiteX72" fmla="*/ 938213 w 1378744"/>
                  <a:gd name="connsiteY72" fmla="*/ 990600 h 1288255"/>
                  <a:gd name="connsiteX73" fmla="*/ 964407 w 1378744"/>
                  <a:gd name="connsiteY73" fmla="*/ 985837 h 1288255"/>
                  <a:gd name="connsiteX74" fmla="*/ 985838 w 1378744"/>
                  <a:gd name="connsiteY74" fmla="*/ 985837 h 1288255"/>
                  <a:gd name="connsiteX75" fmla="*/ 995363 w 1378744"/>
                  <a:gd name="connsiteY75" fmla="*/ 995362 h 1288255"/>
                  <a:gd name="connsiteX76" fmla="*/ 978694 w 1378744"/>
                  <a:gd name="connsiteY76" fmla="*/ 1012031 h 1288255"/>
                  <a:gd name="connsiteX77" fmla="*/ 969169 w 1378744"/>
                  <a:gd name="connsiteY77" fmla="*/ 1031081 h 1288255"/>
                  <a:gd name="connsiteX78" fmla="*/ 954882 w 1378744"/>
                  <a:gd name="connsiteY78" fmla="*/ 1054893 h 1288255"/>
                  <a:gd name="connsiteX79" fmla="*/ 950119 w 1378744"/>
                  <a:gd name="connsiteY79" fmla="*/ 1083468 h 1288255"/>
                  <a:gd name="connsiteX80" fmla="*/ 962025 w 1378744"/>
                  <a:gd name="connsiteY80" fmla="*/ 1107281 h 1288255"/>
                  <a:gd name="connsiteX81" fmla="*/ 983457 w 1378744"/>
                  <a:gd name="connsiteY81" fmla="*/ 1131093 h 1288255"/>
                  <a:gd name="connsiteX82" fmla="*/ 1002507 w 1378744"/>
                  <a:gd name="connsiteY82" fmla="*/ 1133475 h 1288255"/>
                  <a:gd name="connsiteX83" fmla="*/ 1028700 w 1378744"/>
                  <a:gd name="connsiteY83" fmla="*/ 1126331 h 1288255"/>
                  <a:gd name="connsiteX84" fmla="*/ 1031082 w 1378744"/>
                  <a:gd name="connsiteY84" fmla="*/ 1097756 h 1288255"/>
                  <a:gd name="connsiteX85" fmla="*/ 1057275 w 1378744"/>
                  <a:gd name="connsiteY85" fmla="*/ 1085850 h 1288255"/>
                  <a:gd name="connsiteX86" fmla="*/ 1076325 w 1378744"/>
                  <a:gd name="connsiteY86" fmla="*/ 1097756 h 1288255"/>
                  <a:gd name="connsiteX87" fmla="*/ 1100138 w 1378744"/>
                  <a:gd name="connsiteY87" fmla="*/ 1107281 h 1288255"/>
                  <a:gd name="connsiteX88" fmla="*/ 1123950 w 1378744"/>
                  <a:gd name="connsiteY88" fmla="*/ 1121568 h 1288255"/>
                  <a:gd name="connsiteX89" fmla="*/ 1143000 w 1378744"/>
                  <a:gd name="connsiteY89" fmla="*/ 1123950 h 1288255"/>
                  <a:gd name="connsiteX90" fmla="*/ 1157288 w 1378744"/>
                  <a:gd name="connsiteY90" fmla="*/ 1112043 h 1288255"/>
                  <a:gd name="connsiteX91" fmla="*/ 1159669 w 1378744"/>
                  <a:gd name="connsiteY91" fmla="*/ 1085850 h 1288255"/>
                  <a:gd name="connsiteX92" fmla="*/ 1166813 w 1378744"/>
                  <a:gd name="connsiteY92" fmla="*/ 1052512 h 1288255"/>
                  <a:gd name="connsiteX93" fmla="*/ 1197769 w 1378744"/>
                  <a:gd name="connsiteY93" fmla="*/ 1016793 h 1288255"/>
                  <a:gd name="connsiteX94" fmla="*/ 1195388 w 1378744"/>
                  <a:gd name="connsiteY94" fmla="*/ 954881 h 1288255"/>
                  <a:gd name="connsiteX95" fmla="*/ 1209675 w 1378744"/>
                  <a:gd name="connsiteY95" fmla="*/ 945356 h 1288255"/>
                  <a:gd name="connsiteX96" fmla="*/ 1235869 w 1378744"/>
                  <a:gd name="connsiteY96" fmla="*/ 945356 h 1288255"/>
                  <a:gd name="connsiteX97" fmla="*/ 1235869 w 1378744"/>
                  <a:gd name="connsiteY97" fmla="*/ 931068 h 1288255"/>
                  <a:gd name="connsiteX98" fmla="*/ 1212057 w 1378744"/>
                  <a:gd name="connsiteY98" fmla="*/ 912018 h 1288255"/>
                  <a:gd name="connsiteX99" fmla="*/ 1195388 w 1378744"/>
                  <a:gd name="connsiteY99" fmla="*/ 881062 h 1288255"/>
                  <a:gd name="connsiteX100" fmla="*/ 1157288 w 1378744"/>
                  <a:gd name="connsiteY100" fmla="*/ 871537 h 1288255"/>
                  <a:gd name="connsiteX101" fmla="*/ 1119188 w 1378744"/>
                  <a:gd name="connsiteY101" fmla="*/ 859631 h 1288255"/>
                  <a:gd name="connsiteX102" fmla="*/ 1119188 w 1378744"/>
                  <a:gd name="connsiteY102" fmla="*/ 831056 h 1288255"/>
                  <a:gd name="connsiteX103" fmla="*/ 1135857 w 1378744"/>
                  <a:gd name="connsiteY103" fmla="*/ 807243 h 1288255"/>
                  <a:gd name="connsiteX104" fmla="*/ 1197769 w 1378744"/>
                  <a:gd name="connsiteY104" fmla="*/ 759618 h 1288255"/>
                  <a:gd name="connsiteX105" fmla="*/ 1247775 w 1378744"/>
                  <a:gd name="connsiteY105" fmla="*/ 762000 h 1288255"/>
                  <a:gd name="connsiteX106" fmla="*/ 1278732 w 1378744"/>
                  <a:gd name="connsiteY106" fmla="*/ 762000 h 1288255"/>
                  <a:gd name="connsiteX107" fmla="*/ 1271588 w 1378744"/>
                  <a:gd name="connsiteY107" fmla="*/ 735806 h 1288255"/>
                  <a:gd name="connsiteX108" fmla="*/ 1378744 w 1378744"/>
                  <a:gd name="connsiteY108" fmla="*/ 678656 h 1288255"/>
                  <a:gd name="connsiteX109" fmla="*/ 1331119 w 1378744"/>
                  <a:gd name="connsiteY109" fmla="*/ 552450 h 1288255"/>
                  <a:gd name="connsiteX110" fmla="*/ 1278732 w 1378744"/>
                  <a:gd name="connsiteY110" fmla="*/ 514350 h 1288255"/>
                  <a:gd name="connsiteX111" fmla="*/ 1252538 w 1378744"/>
                  <a:gd name="connsiteY111" fmla="*/ 431006 h 1288255"/>
                  <a:gd name="connsiteX112" fmla="*/ 1181100 w 1378744"/>
                  <a:gd name="connsiteY112" fmla="*/ 431006 h 1288255"/>
                  <a:gd name="connsiteX113" fmla="*/ 1166813 w 1378744"/>
                  <a:gd name="connsiteY113" fmla="*/ 395287 h 1288255"/>
                  <a:gd name="connsiteX114" fmla="*/ 1107282 w 1378744"/>
                  <a:gd name="connsiteY114" fmla="*/ 421481 h 1288255"/>
                  <a:gd name="connsiteX115" fmla="*/ 1054894 w 1378744"/>
                  <a:gd name="connsiteY115" fmla="*/ 414337 h 1288255"/>
                  <a:gd name="connsiteX116" fmla="*/ 1028700 w 1378744"/>
                  <a:gd name="connsiteY116" fmla="*/ 371475 h 1288255"/>
                  <a:gd name="connsiteX117" fmla="*/ 1023938 w 1378744"/>
                  <a:gd name="connsiteY117" fmla="*/ 288131 h 1288255"/>
                  <a:gd name="connsiteX118" fmla="*/ 1012032 w 1378744"/>
                  <a:gd name="connsiteY118" fmla="*/ 269081 h 1288255"/>
                  <a:gd name="connsiteX119" fmla="*/ 1012032 w 1378744"/>
                  <a:gd name="connsiteY119" fmla="*/ 211931 h 1288255"/>
                  <a:gd name="connsiteX120" fmla="*/ 959644 w 1378744"/>
                  <a:gd name="connsiteY120" fmla="*/ 190500 h 1288255"/>
                  <a:gd name="connsiteX121" fmla="*/ 914400 w 1378744"/>
                  <a:gd name="connsiteY121" fmla="*/ 111918 h 1288255"/>
                  <a:gd name="connsiteX122" fmla="*/ 854869 w 1378744"/>
                  <a:gd name="connsiteY122" fmla="*/ 76200 h 1288255"/>
                  <a:gd name="connsiteX123" fmla="*/ 873919 w 1378744"/>
                  <a:gd name="connsiteY123" fmla="*/ 16668 h 1288255"/>
                  <a:gd name="connsiteX124" fmla="*/ 783432 w 1378744"/>
                  <a:gd name="connsiteY124" fmla="*/ 0 h 1288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1378744" h="1288255">
                    <a:moveTo>
                      <a:pt x="783432" y="0"/>
                    </a:moveTo>
                    <a:lnTo>
                      <a:pt x="738188" y="26193"/>
                    </a:lnTo>
                    <a:lnTo>
                      <a:pt x="685800" y="28575"/>
                    </a:lnTo>
                    <a:lnTo>
                      <a:pt x="635794" y="73818"/>
                    </a:lnTo>
                    <a:lnTo>
                      <a:pt x="633413" y="114300"/>
                    </a:lnTo>
                    <a:lnTo>
                      <a:pt x="561975" y="190500"/>
                    </a:lnTo>
                    <a:lnTo>
                      <a:pt x="519113" y="214312"/>
                    </a:lnTo>
                    <a:lnTo>
                      <a:pt x="485775" y="252412"/>
                    </a:lnTo>
                    <a:lnTo>
                      <a:pt x="461963" y="273843"/>
                    </a:lnTo>
                    <a:lnTo>
                      <a:pt x="423863" y="333375"/>
                    </a:lnTo>
                    <a:lnTo>
                      <a:pt x="378619" y="357187"/>
                    </a:lnTo>
                    <a:lnTo>
                      <a:pt x="292894" y="376237"/>
                    </a:lnTo>
                    <a:lnTo>
                      <a:pt x="264319" y="373856"/>
                    </a:lnTo>
                    <a:lnTo>
                      <a:pt x="240507" y="359568"/>
                    </a:lnTo>
                    <a:lnTo>
                      <a:pt x="226219" y="338137"/>
                    </a:lnTo>
                    <a:lnTo>
                      <a:pt x="219075" y="311943"/>
                    </a:lnTo>
                    <a:lnTo>
                      <a:pt x="204788" y="309562"/>
                    </a:lnTo>
                    <a:lnTo>
                      <a:pt x="188119" y="304800"/>
                    </a:lnTo>
                    <a:lnTo>
                      <a:pt x="173832" y="302418"/>
                    </a:lnTo>
                    <a:lnTo>
                      <a:pt x="128588" y="352425"/>
                    </a:lnTo>
                    <a:lnTo>
                      <a:pt x="97632" y="371475"/>
                    </a:lnTo>
                    <a:lnTo>
                      <a:pt x="80963" y="390525"/>
                    </a:lnTo>
                    <a:lnTo>
                      <a:pt x="66675" y="435768"/>
                    </a:lnTo>
                    <a:lnTo>
                      <a:pt x="54769" y="447675"/>
                    </a:lnTo>
                    <a:lnTo>
                      <a:pt x="9525" y="466725"/>
                    </a:lnTo>
                    <a:lnTo>
                      <a:pt x="2382" y="481012"/>
                    </a:lnTo>
                    <a:lnTo>
                      <a:pt x="4763" y="533400"/>
                    </a:lnTo>
                    <a:lnTo>
                      <a:pt x="0" y="545306"/>
                    </a:lnTo>
                    <a:lnTo>
                      <a:pt x="73819" y="588168"/>
                    </a:lnTo>
                    <a:lnTo>
                      <a:pt x="90488" y="628650"/>
                    </a:lnTo>
                    <a:lnTo>
                      <a:pt x="83344" y="654843"/>
                    </a:lnTo>
                    <a:lnTo>
                      <a:pt x="73819" y="697706"/>
                    </a:lnTo>
                    <a:lnTo>
                      <a:pt x="78582" y="726281"/>
                    </a:lnTo>
                    <a:lnTo>
                      <a:pt x="95250" y="738187"/>
                    </a:lnTo>
                    <a:lnTo>
                      <a:pt x="116682" y="735806"/>
                    </a:lnTo>
                    <a:lnTo>
                      <a:pt x="123825" y="762000"/>
                    </a:lnTo>
                    <a:lnTo>
                      <a:pt x="126207" y="783431"/>
                    </a:lnTo>
                    <a:lnTo>
                      <a:pt x="152400" y="812006"/>
                    </a:lnTo>
                    <a:lnTo>
                      <a:pt x="164307" y="823912"/>
                    </a:lnTo>
                    <a:lnTo>
                      <a:pt x="173832" y="850106"/>
                    </a:lnTo>
                    <a:lnTo>
                      <a:pt x="169069" y="878681"/>
                    </a:lnTo>
                    <a:lnTo>
                      <a:pt x="176213" y="897731"/>
                    </a:lnTo>
                    <a:lnTo>
                      <a:pt x="200025" y="916781"/>
                    </a:lnTo>
                    <a:lnTo>
                      <a:pt x="226219" y="916781"/>
                    </a:lnTo>
                    <a:lnTo>
                      <a:pt x="300038" y="921543"/>
                    </a:lnTo>
                    <a:lnTo>
                      <a:pt x="395288" y="952500"/>
                    </a:lnTo>
                    <a:lnTo>
                      <a:pt x="414338" y="988218"/>
                    </a:lnTo>
                    <a:lnTo>
                      <a:pt x="435769" y="992981"/>
                    </a:lnTo>
                    <a:lnTo>
                      <a:pt x="464344" y="995362"/>
                    </a:lnTo>
                    <a:lnTo>
                      <a:pt x="507207" y="1026318"/>
                    </a:lnTo>
                    <a:lnTo>
                      <a:pt x="521494" y="1069181"/>
                    </a:lnTo>
                    <a:lnTo>
                      <a:pt x="545307" y="1107281"/>
                    </a:lnTo>
                    <a:lnTo>
                      <a:pt x="573882" y="1121568"/>
                    </a:lnTo>
                    <a:lnTo>
                      <a:pt x="585788" y="1131093"/>
                    </a:lnTo>
                    <a:lnTo>
                      <a:pt x="597694" y="1181100"/>
                    </a:lnTo>
                    <a:lnTo>
                      <a:pt x="633413" y="1250156"/>
                    </a:lnTo>
                    <a:lnTo>
                      <a:pt x="692944" y="1278730"/>
                    </a:lnTo>
                    <a:lnTo>
                      <a:pt x="728663" y="1288255"/>
                    </a:lnTo>
                    <a:lnTo>
                      <a:pt x="771525" y="1269205"/>
                    </a:lnTo>
                    <a:lnTo>
                      <a:pt x="771525" y="1235868"/>
                    </a:lnTo>
                    <a:lnTo>
                      <a:pt x="795338" y="1209674"/>
                    </a:lnTo>
                    <a:cubicBezTo>
                      <a:pt x="795338" y="1210468"/>
                      <a:pt x="795337" y="1211261"/>
                      <a:pt x="795337" y="1212055"/>
                    </a:cubicBezTo>
                    <a:lnTo>
                      <a:pt x="809625" y="1197768"/>
                    </a:lnTo>
                    <a:lnTo>
                      <a:pt x="823914" y="1147762"/>
                    </a:lnTo>
                    <a:lnTo>
                      <a:pt x="833438" y="1085850"/>
                    </a:lnTo>
                    <a:lnTo>
                      <a:pt x="797719" y="1059656"/>
                    </a:lnTo>
                    <a:lnTo>
                      <a:pt x="790575" y="1038225"/>
                    </a:lnTo>
                    <a:lnTo>
                      <a:pt x="790575" y="1021556"/>
                    </a:lnTo>
                    <a:lnTo>
                      <a:pt x="845344" y="952500"/>
                    </a:lnTo>
                    <a:lnTo>
                      <a:pt x="845344" y="952500"/>
                    </a:lnTo>
                    <a:lnTo>
                      <a:pt x="888207" y="966787"/>
                    </a:lnTo>
                    <a:lnTo>
                      <a:pt x="907257" y="981075"/>
                    </a:lnTo>
                    <a:lnTo>
                      <a:pt x="938213" y="990600"/>
                    </a:lnTo>
                    <a:lnTo>
                      <a:pt x="964407" y="985837"/>
                    </a:lnTo>
                    <a:lnTo>
                      <a:pt x="985838" y="985837"/>
                    </a:lnTo>
                    <a:lnTo>
                      <a:pt x="995363" y="995362"/>
                    </a:lnTo>
                    <a:lnTo>
                      <a:pt x="978694" y="1012031"/>
                    </a:lnTo>
                    <a:lnTo>
                      <a:pt x="969169" y="1031081"/>
                    </a:lnTo>
                    <a:lnTo>
                      <a:pt x="954882" y="1054893"/>
                    </a:lnTo>
                    <a:lnTo>
                      <a:pt x="950119" y="1083468"/>
                    </a:lnTo>
                    <a:lnTo>
                      <a:pt x="962025" y="1107281"/>
                    </a:lnTo>
                    <a:lnTo>
                      <a:pt x="983457" y="1131093"/>
                    </a:lnTo>
                    <a:lnTo>
                      <a:pt x="1002507" y="1133475"/>
                    </a:lnTo>
                    <a:lnTo>
                      <a:pt x="1028700" y="1126331"/>
                    </a:lnTo>
                    <a:lnTo>
                      <a:pt x="1031082" y="1097756"/>
                    </a:lnTo>
                    <a:lnTo>
                      <a:pt x="1057275" y="1085850"/>
                    </a:lnTo>
                    <a:lnTo>
                      <a:pt x="1076325" y="1097756"/>
                    </a:lnTo>
                    <a:lnTo>
                      <a:pt x="1100138" y="1107281"/>
                    </a:lnTo>
                    <a:lnTo>
                      <a:pt x="1123950" y="1121568"/>
                    </a:lnTo>
                    <a:lnTo>
                      <a:pt x="1143000" y="1123950"/>
                    </a:lnTo>
                    <a:lnTo>
                      <a:pt x="1157288" y="1112043"/>
                    </a:lnTo>
                    <a:lnTo>
                      <a:pt x="1159669" y="1085850"/>
                    </a:lnTo>
                    <a:lnTo>
                      <a:pt x="1166813" y="1052512"/>
                    </a:lnTo>
                    <a:lnTo>
                      <a:pt x="1197769" y="1016793"/>
                    </a:lnTo>
                    <a:cubicBezTo>
                      <a:pt x="1196975" y="996156"/>
                      <a:pt x="1196182" y="975518"/>
                      <a:pt x="1195388" y="954881"/>
                    </a:cubicBezTo>
                    <a:lnTo>
                      <a:pt x="1209675" y="945356"/>
                    </a:lnTo>
                    <a:lnTo>
                      <a:pt x="1235869" y="945356"/>
                    </a:lnTo>
                    <a:lnTo>
                      <a:pt x="1235869" y="931068"/>
                    </a:lnTo>
                    <a:lnTo>
                      <a:pt x="1212057" y="912018"/>
                    </a:lnTo>
                    <a:lnTo>
                      <a:pt x="1195388" y="881062"/>
                    </a:lnTo>
                    <a:lnTo>
                      <a:pt x="1157288" y="871537"/>
                    </a:lnTo>
                    <a:lnTo>
                      <a:pt x="1119188" y="859631"/>
                    </a:lnTo>
                    <a:lnTo>
                      <a:pt x="1119188" y="831056"/>
                    </a:lnTo>
                    <a:lnTo>
                      <a:pt x="1135857" y="807243"/>
                    </a:lnTo>
                    <a:lnTo>
                      <a:pt x="1197769" y="759618"/>
                    </a:lnTo>
                    <a:lnTo>
                      <a:pt x="1247775" y="762000"/>
                    </a:lnTo>
                    <a:lnTo>
                      <a:pt x="1278732" y="762000"/>
                    </a:lnTo>
                    <a:lnTo>
                      <a:pt x="1271588" y="735806"/>
                    </a:lnTo>
                    <a:lnTo>
                      <a:pt x="1378744" y="678656"/>
                    </a:lnTo>
                    <a:lnTo>
                      <a:pt x="1331119" y="552450"/>
                    </a:lnTo>
                    <a:lnTo>
                      <a:pt x="1278732" y="514350"/>
                    </a:lnTo>
                    <a:lnTo>
                      <a:pt x="1252538" y="431006"/>
                    </a:lnTo>
                    <a:lnTo>
                      <a:pt x="1181100" y="431006"/>
                    </a:lnTo>
                    <a:lnTo>
                      <a:pt x="1166813" y="395287"/>
                    </a:lnTo>
                    <a:lnTo>
                      <a:pt x="1107282" y="421481"/>
                    </a:lnTo>
                    <a:lnTo>
                      <a:pt x="1054894" y="414337"/>
                    </a:lnTo>
                    <a:lnTo>
                      <a:pt x="1028700" y="371475"/>
                    </a:lnTo>
                    <a:lnTo>
                      <a:pt x="1023938" y="288131"/>
                    </a:lnTo>
                    <a:lnTo>
                      <a:pt x="1012032" y="269081"/>
                    </a:lnTo>
                    <a:lnTo>
                      <a:pt x="1012032" y="211931"/>
                    </a:lnTo>
                    <a:lnTo>
                      <a:pt x="959644" y="190500"/>
                    </a:lnTo>
                    <a:lnTo>
                      <a:pt x="914400" y="111918"/>
                    </a:lnTo>
                    <a:lnTo>
                      <a:pt x="854869" y="76200"/>
                    </a:lnTo>
                    <a:lnTo>
                      <a:pt x="873919" y="16668"/>
                    </a:lnTo>
                    <a:lnTo>
                      <a:pt x="783432" y="0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145" name="Freeform 10">
                <a:extLst>
                  <a:ext uri="{FF2B5EF4-FFF2-40B4-BE49-F238E27FC236}">
                    <a16:creationId xmlns:a16="http://schemas.microsoft.com/office/drawing/2014/main" id="{06DDE2B2-183F-4A7E-A65E-7B56A17BAB51}"/>
                  </a:ext>
                </a:extLst>
              </p:cNvPr>
              <p:cNvSpPr/>
              <p:nvPr/>
            </p:nvSpPr>
            <p:spPr>
              <a:xfrm>
                <a:off x="3782392" y="3186049"/>
                <a:ext cx="1584328" cy="1038225"/>
              </a:xfrm>
              <a:custGeom>
                <a:avLst/>
                <a:gdLst>
                  <a:gd name="connsiteX0" fmla="*/ 33338 w 1583531"/>
                  <a:gd name="connsiteY0" fmla="*/ 840582 h 1038225"/>
                  <a:gd name="connsiteX1" fmla="*/ 116681 w 1583531"/>
                  <a:gd name="connsiteY1" fmla="*/ 862013 h 1038225"/>
                  <a:gd name="connsiteX2" fmla="*/ 126206 w 1583531"/>
                  <a:gd name="connsiteY2" fmla="*/ 878682 h 1038225"/>
                  <a:gd name="connsiteX3" fmla="*/ 123825 w 1583531"/>
                  <a:gd name="connsiteY3" fmla="*/ 935832 h 1038225"/>
                  <a:gd name="connsiteX4" fmla="*/ 130969 w 1583531"/>
                  <a:gd name="connsiteY4" fmla="*/ 942975 h 1038225"/>
                  <a:gd name="connsiteX5" fmla="*/ 188119 w 1583531"/>
                  <a:gd name="connsiteY5" fmla="*/ 964407 h 1038225"/>
                  <a:gd name="connsiteX6" fmla="*/ 204788 w 1583531"/>
                  <a:gd name="connsiteY6" fmla="*/ 997744 h 1038225"/>
                  <a:gd name="connsiteX7" fmla="*/ 228600 w 1583531"/>
                  <a:gd name="connsiteY7" fmla="*/ 1002507 h 1038225"/>
                  <a:gd name="connsiteX8" fmla="*/ 250031 w 1583531"/>
                  <a:gd name="connsiteY8" fmla="*/ 990600 h 1038225"/>
                  <a:gd name="connsiteX9" fmla="*/ 278606 w 1583531"/>
                  <a:gd name="connsiteY9" fmla="*/ 973932 h 1038225"/>
                  <a:gd name="connsiteX10" fmla="*/ 300038 w 1583531"/>
                  <a:gd name="connsiteY10" fmla="*/ 981075 h 1038225"/>
                  <a:gd name="connsiteX11" fmla="*/ 316706 w 1583531"/>
                  <a:gd name="connsiteY11" fmla="*/ 1004888 h 1038225"/>
                  <a:gd name="connsiteX12" fmla="*/ 326231 w 1583531"/>
                  <a:gd name="connsiteY12" fmla="*/ 1023938 h 1038225"/>
                  <a:gd name="connsiteX13" fmla="*/ 347663 w 1583531"/>
                  <a:gd name="connsiteY13" fmla="*/ 1035844 h 1038225"/>
                  <a:gd name="connsiteX14" fmla="*/ 402431 w 1583531"/>
                  <a:gd name="connsiteY14" fmla="*/ 1038225 h 1038225"/>
                  <a:gd name="connsiteX15" fmla="*/ 407194 w 1583531"/>
                  <a:gd name="connsiteY15" fmla="*/ 1014413 h 1038225"/>
                  <a:gd name="connsiteX16" fmla="*/ 411956 w 1583531"/>
                  <a:gd name="connsiteY16" fmla="*/ 985838 h 1038225"/>
                  <a:gd name="connsiteX17" fmla="*/ 428625 w 1583531"/>
                  <a:gd name="connsiteY17" fmla="*/ 959644 h 1038225"/>
                  <a:gd name="connsiteX18" fmla="*/ 535781 w 1583531"/>
                  <a:gd name="connsiteY18" fmla="*/ 912019 h 1038225"/>
                  <a:gd name="connsiteX19" fmla="*/ 557213 w 1583531"/>
                  <a:gd name="connsiteY19" fmla="*/ 931069 h 1038225"/>
                  <a:gd name="connsiteX20" fmla="*/ 566738 w 1583531"/>
                  <a:gd name="connsiteY20" fmla="*/ 1004888 h 1038225"/>
                  <a:gd name="connsiteX21" fmla="*/ 631031 w 1583531"/>
                  <a:gd name="connsiteY21" fmla="*/ 1019175 h 1038225"/>
                  <a:gd name="connsiteX22" fmla="*/ 669131 w 1583531"/>
                  <a:gd name="connsiteY22" fmla="*/ 1019175 h 1038225"/>
                  <a:gd name="connsiteX23" fmla="*/ 700088 w 1583531"/>
                  <a:gd name="connsiteY23" fmla="*/ 995363 h 1038225"/>
                  <a:gd name="connsiteX24" fmla="*/ 750094 w 1583531"/>
                  <a:gd name="connsiteY24" fmla="*/ 978694 h 1038225"/>
                  <a:gd name="connsiteX25" fmla="*/ 771525 w 1583531"/>
                  <a:gd name="connsiteY25" fmla="*/ 985838 h 1038225"/>
                  <a:gd name="connsiteX26" fmla="*/ 812006 w 1583531"/>
                  <a:gd name="connsiteY26" fmla="*/ 1028700 h 1038225"/>
                  <a:gd name="connsiteX27" fmla="*/ 826294 w 1583531"/>
                  <a:gd name="connsiteY27" fmla="*/ 1028700 h 1038225"/>
                  <a:gd name="connsiteX28" fmla="*/ 850106 w 1583531"/>
                  <a:gd name="connsiteY28" fmla="*/ 992982 h 1038225"/>
                  <a:gd name="connsiteX29" fmla="*/ 871538 w 1583531"/>
                  <a:gd name="connsiteY29" fmla="*/ 966788 h 1038225"/>
                  <a:gd name="connsiteX30" fmla="*/ 902494 w 1583531"/>
                  <a:gd name="connsiteY30" fmla="*/ 959644 h 1038225"/>
                  <a:gd name="connsiteX31" fmla="*/ 928688 w 1583531"/>
                  <a:gd name="connsiteY31" fmla="*/ 964407 h 1038225"/>
                  <a:gd name="connsiteX32" fmla="*/ 981075 w 1583531"/>
                  <a:gd name="connsiteY32" fmla="*/ 995363 h 1038225"/>
                  <a:gd name="connsiteX33" fmla="*/ 1047750 w 1583531"/>
                  <a:gd name="connsiteY33" fmla="*/ 995363 h 1038225"/>
                  <a:gd name="connsiteX34" fmla="*/ 1100138 w 1583531"/>
                  <a:gd name="connsiteY34" fmla="*/ 1012032 h 1038225"/>
                  <a:gd name="connsiteX35" fmla="*/ 1202531 w 1583531"/>
                  <a:gd name="connsiteY35" fmla="*/ 862013 h 1038225"/>
                  <a:gd name="connsiteX36" fmla="*/ 1243013 w 1583531"/>
                  <a:gd name="connsiteY36" fmla="*/ 876300 h 1038225"/>
                  <a:gd name="connsiteX37" fmla="*/ 1331119 w 1583531"/>
                  <a:gd name="connsiteY37" fmla="*/ 752475 h 1038225"/>
                  <a:gd name="connsiteX38" fmla="*/ 1269206 w 1583531"/>
                  <a:gd name="connsiteY38" fmla="*/ 695325 h 1038225"/>
                  <a:gd name="connsiteX39" fmla="*/ 1269206 w 1583531"/>
                  <a:gd name="connsiteY39" fmla="*/ 685800 h 1038225"/>
                  <a:gd name="connsiteX40" fmla="*/ 1364456 w 1583531"/>
                  <a:gd name="connsiteY40" fmla="*/ 683419 h 1038225"/>
                  <a:gd name="connsiteX41" fmla="*/ 1407319 w 1583531"/>
                  <a:gd name="connsiteY41" fmla="*/ 700088 h 1038225"/>
                  <a:gd name="connsiteX42" fmla="*/ 1431131 w 1583531"/>
                  <a:gd name="connsiteY42" fmla="*/ 657225 h 1038225"/>
                  <a:gd name="connsiteX43" fmla="*/ 1531144 w 1583531"/>
                  <a:gd name="connsiteY43" fmla="*/ 623888 h 1038225"/>
                  <a:gd name="connsiteX44" fmla="*/ 1578769 w 1583531"/>
                  <a:gd name="connsiteY44" fmla="*/ 588169 h 1038225"/>
                  <a:gd name="connsiteX45" fmla="*/ 1583531 w 1583531"/>
                  <a:gd name="connsiteY45" fmla="*/ 564357 h 1038225"/>
                  <a:gd name="connsiteX46" fmla="*/ 1564481 w 1583531"/>
                  <a:gd name="connsiteY46" fmla="*/ 557213 h 1038225"/>
                  <a:gd name="connsiteX47" fmla="*/ 1547813 w 1583531"/>
                  <a:gd name="connsiteY47" fmla="*/ 466725 h 1038225"/>
                  <a:gd name="connsiteX48" fmla="*/ 1519238 w 1583531"/>
                  <a:gd name="connsiteY48" fmla="*/ 433388 h 1038225"/>
                  <a:gd name="connsiteX49" fmla="*/ 1443038 w 1583531"/>
                  <a:gd name="connsiteY49" fmla="*/ 426244 h 1038225"/>
                  <a:gd name="connsiteX50" fmla="*/ 1431131 w 1583531"/>
                  <a:gd name="connsiteY50" fmla="*/ 404813 h 1038225"/>
                  <a:gd name="connsiteX51" fmla="*/ 1412081 w 1583531"/>
                  <a:gd name="connsiteY51" fmla="*/ 388144 h 1038225"/>
                  <a:gd name="connsiteX52" fmla="*/ 1373981 w 1583531"/>
                  <a:gd name="connsiteY52" fmla="*/ 385763 h 1038225"/>
                  <a:gd name="connsiteX53" fmla="*/ 1323975 w 1583531"/>
                  <a:gd name="connsiteY53" fmla="*/ 342900 h 1038225"/>
                  <a:gd name="connsiteX54" fmla="*/ 1276350 w 1583531"/>
                  <a:gd name="connsiteY54" fmla="*/ 383382 h 1038225"/>
                  <a:gd name="connsiteX55" fmla="*/ 1252538 w 1583531"/>
                  <a:gd name="connsiteY55" fmla="*/ 383382 h 1038225"/>
                  <a:gd name="connsiteX56" fmla="*/ 1219200 w 1583531"/>
                  <a:gd name="connsiteY56" fmla="*/ 340519 h 1038225"/>
                  <a:gd name="connsiteX57" fmla="*/ 1171575 w 1583531"/>
                  <a:gd name="connsiteY57" fmla="*/ 340519 h 1038225"/>
                  <a:gd name="connsiteX58" fmla="*/ 1135856 w 1583531"/>
                  <a:gd name="connsiteY58" fmla="*/ 311944 h 1038225"/>
                  <a:gd name="connsiteX59" fmla="*/ 1095375 w 1583531"/>
                  <a:gd name="connsiteY59" fmla="*/ 319088 h 1038225"/>
                  <a:gd name="connsiteX60" fmla="*/ 992981 w 1583531"/>
                  <a:gd name="connsiteY60" fmla="*/ 309563 h 1038225"/>
                  <a:gd name="connsiteX61" fmla="*/ 940594 w 1583531"/>
                  <a:gd name="connsiteY61" fmla="*/ 326232 h 1038225"/>
                  <a:gd name="connsiteX62" fmla="*/ 919163 w 1583531"/>
                  <a:gd name="connsiteY62" fmla="*/ 304800 h 1038225"/>
                  <a:gd name="connsiteX63" fmla="*/ 904875 w 1583531"/>
                  <a:gd name="connsiteY63" fmla="*/ 302419 h 1038225"/>
                  <a:gd name="connsiteX64" fmla="*/ 900113 w 1583531"/>
                  <a:gd name="connsiteY64" fmla="*/ 269082 h 1038225"/>
                  <a:gd name="connsiteX65" fmla="*/ 895350 w 1583531"/>
                  <a:gd name="connsiteY65" fmla="*/ 261938 h 1038225"/>
                  <a:gd name="connsiteX66" fmla="*/ 845344 w 1583531"/>
                  <a:gd name="connsiteY66" fmla="*/ 297657 h 1038225"/>
                  <a:gd name="connsiteX67" fmla="*/ 833438 w 1583531"/>
                  <a:gd name="connsiteY67" fmla="*/ 345282 h 1038225"/>
                  <a:gd name="connsiteX68" fmla="*/ 850106 w 1583531"/>
                  <a:gd name="connsiteY68" fmla="*/ 369094 h 1038225"/>
                  <a:gd name="connsiteX69" fmla="*/ 850106 w 1583531"/>
                  <a:gd name="connsiteY69" fmla="*/ 438150 h 1038225"/>
                  <a:gd name="connsiteX70" fmla="*/ 876300 w 1583531"/>
                  <a:gd name="connsiteY70" fmla="*/ 450057 h 1038225"/>
                  <a:gd name="connsiteX71" fmla="*/ 881063 w 1583531"/>
                  <a:gd name="connsiteY71" fmla="*/ 469107 h 1038225"/>
                  <a:gd name="connsiteX72" fmla="*/ 864394 w 1583531"/>
                  <a:gd name="connsiteY72" fmla="*/ 495300 h 1038225"/>
                  <a:gd name="connsiteX73" fmla="*/ 842963 w 1583531"/>
                  <a:gd name="connsiteY73" fmla="*/ 495300 h 1038225"/>
                  <a:gd name="connsiteX74" fmla="*/ 821531 w 1583531"/>
                  <a:gd name="connsiteY74" fmla="*/ 447675 h 1038225"/>
                  <a:gd name="connsiteX75" fmla="*/ 778669 w 1583531"/>
                  <a:gd name="connsiteY75" fmla="*/ 433388 h 1038225"/>
                  <a:gd name="connsiteX76" fmla="*/ 771525 w 1583531"/>
                  <a:gd name="connsiteY76" fmla="*/ 414338 h 1038225"/>
                  <a:gd name="connsiteX77" fmla="*/ 807244 w 1583531"/>
                  <a:gd name="connsiteY77" fmla="*/ 340519 h 1038225"/>
                  <a:gd name="connsiteX78" fmla="*/ 826294 w 1583531"/>
                  <a:gd name="connsiteY78" fmla="*/ 269082 h 1038225"/>
                  <a:gd name="connsiteX79" fmla="*/ 842963 w 1583531"/>
                  <a:gd name="connsiteY79" fmla="*/ 259557 h 1038225"/>
                  <a:gd name="connsiteX80" fmla="*/ 883444 w 1583531"/>
                  <a:gd name="connsiteY80" fmla="*/ 192882 h 1038225"/>
                  <a:gd name="connsiteX81" fmla="*/ 931069 w 1583531"/>
                  <a:gd name="connsiteY81" fmla="*/ 171450 h 1038225"/>
                  <a:gd name="connsiteX82" fmla="*/ 935831 w 1583531"/>
                  <a:gd name="connsiteY82" fmla="*/ 140494 h 1038225"/>
                  <a:gd name="connsiteX83" fmla="*/ 950119 w 1583531"/>
                  <a:gd name="connsiteY83" fmla="*/ 123825 h 1038225"/>
                  <a:gd name="connsiteX84" fmla="*/ 945356 w 1583531"/>
                  <a:gd name="connsiteY84" fmla="*/ 83344 h 1038225"/>
                  <a:gd name="connsiteX85" fmla="*/ 890588 w 1583531"/>
                  <a:gd name="connsiteY85" fmla="*/ 69057 h 1038225"/>
                  <a:gd name="connsiteX86" fmla="*/ 864394 w 1583531"/>
                  <a:gd name="connsiteY86" fmla="*/ 38100 h 1038225"/>
                  <a:gd name="connsiteX87" fmla="*/ 792956 w 1583531"/>
                  <a:gd name="connsiteY87" fmla="*/ 33338 h 1038225"/>
                  <a:gd name="connsiteX88" fmla="*/ 759619 w 1583531"/>
                  <a:gd name="connsiteY88" fmla="*/ 0 h 1038225"/>
                  <a:gd name="connsiteX89" fmla="*/ 757238 w 1583531"/>
                  <a:gd name="connsiteY89" fmla="*/ 30957 h 1038225"/>
                  <a:gd name="connsiteX90" fmla="*/ 745331 w 1583531"/>
                  <a:gd name="connsiteY90" fmla="*/ 52388 h 1038225"/>
                  <a:gd name="connsiteX91" fmla="*/ 635794 w 1583531"/>
                  <a:gd name="connsiteY91" fmla="*/ 114300 h 1038225"/>
                  <a:gd name="connsiteX92" fmla="*/ 642938 w 1583531"/>
                  <a:gd name="connsiteY92" fmla="*/ 135732 h 1038225"/>
                  <a:gd name="connsiteX93" fmla="*/ 561975 w 1583531"/>
                  <a:gd name="connsiteY93" fmla="*/ 138113 h 1038225"/>
                  <a:gd name="connsiteX94" fmla="*/ 495300 w 1583531"/>
                  <a:gd name="connsiteY94" fmla="*/ 185738 h 1038225"/>
                  <a:gd name="connsiteX95" fmla="*/ 483394 w 1583531"/>
                  <a:gd name="connsiteY95" fmla="*/ 202407 h 1038225"/>
                  <a:gd name="connsiteX96" fmla="*/ 485775 w 1583531"/>
                  <a:gd name="connsiteY96" fmla="*/ 233363 h 1038225"/>
                  <a:gd name="connsiteX97" fmla="*/ 552450 w 1583531"/>
                  <a:gd name="connsiteY97" fmla="*/ 257175 h 1038225"/>
                  <a:gd name="connsiteX98" fmla="*/ 571500 w 1583531"/>
                  <a:gd name="connsiteY98" fmla="*/ 283369 h 1038225"/>
                  <a:gd name="connsiteX99" fmla="*/ 597694 w 1583531"/>
                  <a:gd name="connsiteY99" fmla="*/ 307182 h 1038225"/>
                  <a:gd name="connsiteX100" fmla="*/ 597694 w 1583531"/>
                  <a:gd name="connsiteY100" fmla="*/ 321469 h 1038225"/>
                  <a:gd name="connsiteX101" fmla="*/ 573881 w 1583531"/>
                  <a:gd name="connsiteY101" fmla="*/ 321469 h 1038225"/>
                  <a:gd name="connsiteX102" fmla="*/ 566738 w 1583531"/>
                  <a:gd name="connsiteY102" fmla="*/ 330994 h 1038225"/>
                  <a:gd name="connsiteX103" fmla="*/ 557213 w 1583531"/>
                  <a:gd name="connsiteY103" fmla="*/ 400050 h 1038225"/>
                  <a:gd name="connsiteX104" fmla="*/ 538163 w 1583531"/>
                  <a:gd name="connsiteY104" fmla="*/ 426244 h 1038225"/>
                  <a:gd name="connsiteX105" fmla="*/ 523875 w 1583531"/>
                  <a:gd name="connsiteY105" fmla="*/ 490538 h 1038225"/>
                  <a:gd name="connsiteX106" fmla="*/ 495300 w 1583531"/>
                  <a:gd name="connsiteY106" fmla="*/ 500063 h 1038225"/>
                  <a:gd name="connsiteX107" fmla="*/ 454819 w 1583531"/>
                  <a:gd name="connsiteY107" fmla="*/ 481013 h 1038225"/>
                  <a:gd name="connsiteX108" fmla="*/ 428625 w 1583531"/>
                  <a:gd name="connsiteY108" fmla="*/ 471488 h 1038225"/>
                  <a:gd name="connsiteX109" fmla="*/ 428625 w 1583531"/>
                  <a:gd name="connsiteY109" fmla="*/ 471488 h 1038225"/>
                  <a:gd name="connsiteX110" fmla="*/ 392906 w 1583531"/>
                  <a:gd name="connsiteY110" fmla="*/ 478632 h 1038225"/>
                  <a:gd name="connsiteX111" fmla="*/ 388144 w 1583531"/>
                  <a:gd name="connsiteY111" fmla="*/ 502444 h 1038225"/>
                  <a:gd name="connsiteX112" fmla="*/ 352425 w 1583531"/>
                  <a:gd name="connsiteY112" fmla="*/ 507207 h 1038225"/>
                  <a:gd name="connsiteX113" fmla="*/ 319088 w 1583531"/>
                  <a:gd name="connsiteY113" fmla="*/ 466725 h 1038225"/>
                  <a:gd name="connsiteX114" fmla="*/ 316706 w 1583531"/>
                  <a:gd name="connsiteY114" fmla="*/ 442913 h 1038225"/>
                  <a:gd name="connsiteX115" fmla="*/ 326231 w 1583531"/>
                  <a:gd name="connsiteY115" fmla="*/ 407194 h 1038225"/>
                  <a:gd name="connsiteX116" fmla="*/ 345281 w 1583531"/>
                  <a:gd name="connsiteY116" fmla="*/ 383382 h 1038225"/>
                  <a:gd name="connsiteX117" fmla="*/ 359569 w 1583531"/>
                  <a:gd name="connsiteY117" fmla="*/ 369094 h 1038225"/>
                  <a:gd name="connsiteX118" fmla="*/ 345281 w 1583531"/>
                  <a:gd name="connsiteY118" fmla="*/ 357188 h 1038225"/>
                  <a:gd name="connsiteX119" fmla="*/ 302419 w 1583531"/>
                  <a:gd name="connsiteY119" fmla="*/ 366713 h 1038225"/>
                  <a:gd name="connsiteX120" fmla="*/ 266700 w 1583531"/>
                  <a:gd name="connsiteY120" fmla="*/ 352425 h 1038225"/>
                  <a:gd name="connsiteX121" fmla="*/ 242888 w 1583531"/>
                  <a:gd name="connsiteY121" fmla="*/ 342900 h 1038225"/>
                  <a:gd name="connsiteX122" fmla="*/ 211931 w 1583531"/>
                  <a:gd name="connsiteY122" fmla="*/ 328613 h 1038225"/>
                  <a:gd name="connsiteX123" fmla="*/ 154781 w 1583531"/>
                  <a:gd name="connsiteY123" fmla="*/ 392907 h 1038225"/>
                  <a:gd name="connsiteX124" fmla="*/ 157163 w 1583531"/>
                  <a:gd name="connsiteY124" fmla="*/ 435769 h 1038225"/>
                  <a:gd name="connsiteX125" fmla="*/ 190500 w 1583531"/>
                  <a:gd name="connsiteY125" fmla="*/ 466725 h 1038225"/>
                  <a:gd name="connsiteX126" fmla="*/ 169069 w 1583531"/>
                  <a:gd name="connsiteY126" fmla="*/ 578644 h 1038225"/>
                  <a:gd name="connsiteX127" fmla="*/ 138113 w 1583531"/>
                  <a:gd name="connsiteY127" fmla="*/ 604838 h 1038225"/>
                  <a:gd name="connsiteX128" fmla="*/ 130969 w 1583531"/>
                  <a:gd name="connsiteY128" fmla="*/ 650082 h 1038225"/>
                  <a:gd name="connsiteX129" fmla="*/ 85725 w 1583531"/>
                  <a:gd name="connsiteY129" fmla="*/ 661988 h 1038225"/>
                  <a:gd name="connsiteX130" fmla="*/ 80963 w 1583531"/>
                  <a:gd name="connsiteY130" fmla="*/ 688182 h 1038225"/>
                  <a:gd name="connsiteX131" fmla="*/ 11906 w 1583531"/>
                  <a:gd name="connsiteY131" fmla="*/ 721519 h 1038225"/>
                  <a:gd name="connsiteX132" fmla="*/ 0 w 1583531"/>
                  <a:gd name="connsiteY132" fmla="*/ 738188 h 1038225"/>
                  <a:gd name="connsiteX133" fmla="*/ 16669 w 1583531"/>
                  <a:gd name="connsiteY133" fmla="*/ 771525 h 1038225"/>
                  <a:gd name="connsiteX134" fmla="*/ 33338 w 1583531"/>
                  <a:gd name="connsiteY134" fmla="*/ 840582 h 1038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</a:cxnLst>
                <a:rect l="l" t="t" r="r" b="b"/>
                <a:pathLst>
                  <a:path w="1583531" h="1038225">
                    <a:moveTo>
                      <a:pt x="33338" y="840582"/>
                    </a:moveTo>
                    <a:lnTo>
                      <a:pt x="116681" y="862013"/>
                    </a:lnTo>
                    <a:lnTo>
                      <a:pt x="126206" y="878682"/>
                    </a:lnTo>
                    <a:cubicBezTo>
                      <a:pt x="125412" y="897732"/>
                      <a:pt x="124619" y="916782"/>
                      <a:pt x="123825" y="935832"/>
                    </a:cubicBezTo>
                    <a:lnTo>
                      <a:pt x="130969" y="942975"/>
                    </a:lnTo>
                    <a:lnTo>
                      <a:pt x="188119" y="964407"/>
                    </a:lnTo>
                    <a:lnTo>
                      <a:pt x="204788" y="997744"/>
                    </a:lnTo>
                    <a:lnTo>
                      <a:pt x="228600" y="1002507"/>
                    </a:lnTo>
                    <a:lnTo>
                      <a:pt x="250031" y="990600"/>
                    </a:lnTo>
                    <a:lnTo>
                      <a:pt x="278606" y="973932"/>
                    </a:lnTo>
                    <a:lnTo>
                      <a:pt x="300038" y="981075"/>
                    </a:lnTo>
                    <a:lnTo>
                      <a:pt x="316706" y="1004888"/>
                    </a:lnTo>
                    <a:lnTo>
                      <a:pt x="326231" y="1023938"/>
                    </a:lnTo>
                    <a:lnTo>
                      <a:pt x="347663" y="1035844"/>
                    </a:lnTo>
                    <a:lnTo>
                      <a:pt x="402431" y="1038225"/>
                    </a:lnTo>
                    <a:lnTo>
                      <a:pt x="407194" y="1014413"/>
                    </a:lnTo>
                    <a:lnTo>
                      <a:pt x="411956" y="985838"/>
                    </a:lnTo>
                    <a:lnTo>
                      <a:pt x="428625" y="959644"/>
                    </a:lnTo>
                    <a:lnTo>
                      <a:pt x="535781" y="912019"/>
                    </a:lnTo>
                    <a:lnTo>
                      <a:pt x="557213" y="931069"/>
                    </a:lnTo>
                    <a:lnTo>
                      <a:pt x="566738" y="1004888"/>
                    </a:lnTo>
                    <a:lnTo>
                      <a:pt x="631031" y="1019175"/>
                    </a:lnTo>
                    <a:lnTo>
                      <a:pt x="669131" y="1019175"/>
                    </a:lnTo>
                    <a:lnTo>
                      <a:pt x="700088" y="995363"/>
                    </a:lnTo>
                    <a:lnTo>
                      <a:pt x="750094" y="978694"/>
                    </a:lnTo>
                    <a:lnTo>
                      <a:pt x="771525" y="985838"/>
                    </a:lnTo>
                    <a:lnTo>
                      <a:pt x="812006" y="1028700"/>
                    </a:lnTo>
                    <a:lnTo>
                      <a:pt x="826294" y="1028700"/>
                    </a:lnTo>
                    <a:lnTo>
                      <a:pt x="850106" y="992982"/>
                    </a:lnTo>
                    <a:lnTo>
                      <a:pt x="871538" y="966788"/>
                    </a:lnTo>
                    <a:lnTo>
                      <a:pt x="902494" y="959644"/>
                    </a:lnTo>
                    <a:lnTo>
                      <a:pt x="928688" y="964407"/>
                    </a:lnTo>
                    <a:lnTo>
                      <a:pt x="981075" y="995363"/>
                    </a:lnTo>
                    <a:lnTo>
                      <a:pt x="1047750" y="995363"/>
                    </a:lnTo>
                    <a:lnTo>
                      <a:pt x="1100138" y="1012032"/>
                    </a:lnTo>
                    <a:lnTo>
                      <a:pt x="1202531" y="862013"/>
                    </a:lnTo>
                    <a:lnTo>
                      <a:pt x="1243013" y="876300"/>
                    </a:lnTo>
                    <a:lnTo>
                      <a:pt x="1331119" y="752475"/>
                    </a:lnTo>
                    <a:lnTo>
                      <a:pt x="1269206" y="695325"/>
                    </a:lnTo>
                    <a:lnTo>
                      <a:pt x="1269206" y="685800"/>
                    </a:lnTo>
                    <a:lnTo>
                      <a:pt x="1364456" y="683419"/>
                    </a:lnTo>
                    <a:lnTo>
                      <a:pt x="1407319" y="700088"/>
                    </a:lnTo>
                    <a:lnTo>
                      <a:pt x="1431131" y="657225"/>
                    </a:lnTo>
                    <a:lnTo>
                      <a:pt x="1531144" y="623888"/>
                    </a:lnTo>
                    <a:lnTo>
                      <a:pt x="1578769" y="588169"/>
                    </a:lnTo>
                    <a:lnTo>
                      <a:pt x="1583531" y="564357"/>
                    </a:lnTo>
                    <a:lnTo>
                      <a:pt x="1564481" y="557213"/>
                    </a:lnTo>
                    <a:lnTo>
                      <a:pt x="1547813" y="466725"/>
                    </a:lnTo>
                    <a:lnTo>
                      <a:pt x="1519238" y="433388"/>
                    </a:lnTo>
                    <a:lnTo>
                      <a:pt x="1443038" y="426244"/>
                    </a:lnTo>
                    <a:lnTo>
                      <a:pt x="1431131" y="404813"/>
                    </a:lnTo>
                    <a:lnTo>
                      <a:pt x="1412081" y="388144"/>
                    </a:lnTo>
                    <a:lnTo>
                      <a:pt x="1373981" y="385763"/>
                    </a:lnTo>
                    <a:lnTo>
                      <a:pt x="1323975" y="342900"/>
                    </a:lnTo>
                    <a:lnTo>
                      <a:pt x="1276350" y="383382"/>
                    </a:lnTo>
                    <a:lnTo>
                      <a:pt x="1252538" y="383382"/>
                    </a:lnTo>
                    <a:lnTo>
                      <a:pt x="1219200" y="340519"/>
                    </a:lnTo>
                    <a:lnTo>
                      <a:pt x="1171575" y="340519"/>
                    </a:lnTo>
                    <a:lnTo>
                      <a:pt x="1135856" y="311944"/>
                    </a:lnTo>
                    <a:lnTo>
                      <a:pt x="1095375" y="319088"/>
                    </a:lnTo>
                    <a:lnTo>
                      <a:pt x="992981" y="309563"/>
                    </a:lnTo>
                    <a:lnTo>
                      <a:pt x="940594" y="326232"/>
                    </a:lnTo>
                    <a:lnTo>
                      <a:pt x="919163" y="304800"/>
                    </a:lnTo>
                    <a:lnTo>
                      <a:pt x="904875" y="302419"/>
                    </a:lnTo>
                    <a:lnTo>
                      <a:pt x="900113" y="269082"/>
                    </a:lnTo>
                    <a:lnTo>
                      <a:pt x="895350" y="261938"/>
                    </a:lnTo>
                    <a:lnTo>
                      <a:pt x="845344" y="297657"/>
                    </a:lnTo>
                    <a:lnTo>
                      <a:pt x="833438" y="345282"/>
                    </a:lnTo>
                    <a:lnTo>
                      <a:pt x="850106" y="369094"/>
                    </a:lnTo>
                    <a:lnTo>
                      <a:pt x="850106" y="438150"/>
                    </a:lnTo>
                    <a:lnTo>
                      <a:pt x="876300" y="450057"/>
                    </a:lnTo>
                    <a:lnTo>
                      <a:pt x="881063" y="469107"/>
                    </a:lnTo>
                    <a:lnTo>
                      <a:pt x="864394" y="495300"/>
                    </a:lnTo>
                    <a:lnTo>
                      <a:pt x="842963" y="495300"/>
                    </a:lnTo>
                    <a:lnTo>
                      <a:pt x="821531" y="447675"/>
                    </a:lnTo>
                    <a:lnTo>
                      <a:pt x="778669" y="433388"/>
                    </a:lnTo>
                    <a:lnTo>
                      <a:pt x="771525" y="414338"/>
                    </a:lnTo>
                    <a:lnTo>
                      <a:pt x="807244" y="340519"/>
                    </a:lnTo>
                    <a:lnTo>
                      <a:pt x="826294" y="269082"/>
                    </a:lnTo>
                    <a:lnTo>
                      <a:pt x="842963" y="259557"/>
                    </a:lnTo>
                    <a:lnTo>
                      <a:pt x="883444" y="192882"/>
                    </a:lnTo>
                    <a:lnTo>
                      <a:pt x="931069" y="171450"/>
                    </a:lnTo>
                    <a:lnTo>
                      <a:pt x="935831" y="140494"/>
                    </a:lnTo>
                    <a:lnTo>
                      <a:pt x="950119" y="123825"/>
                    </a:lnTo>
                    <a:lnTo>
                      <a:pt x="945356" y="83344"/>
                    </a:lnTo>
                    <a:lnTo>
                      <a:pt x="890588" y="69057"/>
                    </a:lnTo>
                    <a:lnTo>
                      <a:pt x="864394" y="38100"/>
                    </a:lnTo>
                    <a:lnTo>
                      <a:pt x="792956" y="33338"/>
                    </a:lnTo>
                    <a:lnTo>
                      <a:pt x="759619" y="0"/>
                    </a:lnTo>
                    <a:lnTo>
                      <a:pt x="757238" y="30957"/>
                    </a:lnTo>
                    <a:lnTo>
                      <a:pt x="745331" y="52388"/>
                    </a:lnTo>
                    <a:lnTo>
                      <a:pt x="635794" y="114300"/>
                    </a:lnTo>
                    <a:lnTo>
                      <a:pt x="642938" y="135732"/>
                    </a:lnTo>
                    <a:lnTo>
                      <a:pt x="561975" y="138113"/>
                    </a:lnTo>
                    <a:lnTo>
                      <a:pt x="495300" y="185738"/>
                    </a:lnTo>
                    <a:lnTo>
                      <a:pt x="483394" y="202407"/>
                    </a:lnTo>
                    <a:lnTo>
                      <a:pt x="485775" y="233363"/>
                    </a:lnTo>
                    <a:lnTo>
                      <a:pt x="552450" y="257175"/>
                    </a:lnTo>
                    <a:lnTo>
                      <a:pt x="571500" y="283369"/>
                    </a:lnTo>
                    <a:lnTo>
                      <a:pt x="597694" y="307182"/>
                    </a:lnTo>
                    <a:lnTo>
                      <a:pt x="597694" y="321469"/>
                    </a:lnTo>
                    <a:lnTo>
                      <a:pt x="573881" y="321469"/>
                    </a:lnTo>
                    <a:lnTo>
                      <a:pt x="566738" y="330994"/>
                    </a:lnTo>
                    <a:lnTo>
                      <a:pt x="557213" y="400050"/>
                    </a:lnTo>
                    <a:lnTo>
                      <a:pt x="538163" y="426244"/>
                    </a:lnTo>
                    <a:lnTo>
                      <a:pt x="523875" y="490538"/>
                    </a:lnTo>
                    <a:lnTo>
                      <a:pt x="495300" y="500063"/>
                    </a:lnTo>
                    <a:lnTo>
                      <a:pt x="454819" y="481013"/>
                    </a:lnTo>
                    <a:lnTo>
                      <a:pt x="428625" y="471488"/>
                    </a:lnTo>
                    <a:lnTo>
                      <a:pt x="428625" y="471488"/>
                    </a:lnTo>
                    <a:lnTo>
                      <a:pt x="392906" y="478632"/>
                    </a:lnTo>
                    <a:lnTo>
                      <a:pt x="388144" y="502444"/>
                    </a:lnTo>
                    <a:lnTo>
                      <a:pt x="352425" y="507207"/>
                    </a:lnTo>
                    <a:lnTo>
                      <a:pt x="319088" y="466725"/>
                    </a:lnTo>
                    <a:lnTo>
                      <a:pt x="316706" y="442913"/>
                    </a:lnTo>
                    <a:lnTo>
                      <a:pt x="326231" y="407194"/>
                    </a:lnTo>
                    <a:lnTo>
                      <a:pt x="345281" y="383382"/>
                    </a:lnTo>
                    <a:lnTo>
                      <a:pt x="359569" y="369094"/>
                    </a:lnTo>
                    <a:lnTo>
                      <a:pt x="345281" y="357188"/>
                    </a:lnTo>
                    <a:lnTo>
                      <a:pt x="302419" y="366713"/>
                    </a:lnTo>
                    <a:lnTo>
                      <a:pt x="266700" y="352425"/>
                    </a:lnTo>
                    <a:lnTo>
                      <a:pt x="242888" y="342900"/>
                    </a:lnTo>
                    <a:lnTo>
                      <a:pt x="211931" y="328613"/>
                    </a:lnTo>
                    <a:lnTo>
                      <a:pt x="154781" y="392907"/>
                    </a:lnTo>
                    <a:lnTo>
                      <a:pt x="157163" y="435769"/>
                    </a:lnTo>
                    <a:lnTo>
                      <a:pt x="190500" y="466725"/>
                    </a:lnTo>
                    <a:lnTo>
                      <a:pt x="169069" y="578644"/>
                    </a:lnTo>
                    <a:lnTo>
                      <a:pt x="138113" y="604838"/>
                    </a:lnTo>
                    <a:lnTo>
                      <a:pt x="130969" y="650082"/>
                    </a:lnTo>
                    <a:lnTo>
                      <a:pt x="85725" y="661988"/>
                    </a:lnTo>
                    <a:lnTo>
                      <a:pt x="80963" y="688182"/>
                    </a:lnTo>
                    <a:lnTo>
                      <a:pt x="11906" y="721519"/>
                    </a:lnTo>
                    <a:lnTo>
                      <a:pt x="0" y="738188"/>
                    </a:lnTo>
                    <a:lnTo>
                      <a:pt x="16669" y="771525"/>
                    </a:lnTo>
                    <a:lnTo>
                      <a:pt x="33338" y="840582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146" name="Freeform 11">
                <a:extLst>
                  <a:ext uri="{FF2B5EF4-FFF2-40B4-BE49-F238E27FC236}">
                    <a16:creationId xmlns:a16="http://schemas.microsoft.com/office/drawing/2014/main" id="{71BD2A41-5E6D-4AF8-A6E5-2E305059C471}"/>
                  </a:ext>
                </a:extLst>
              </p:cNvPr>
              <p:cNvSpPr/>
              <p:nvPr/>
            </p:nvSpPr>
            <p:spPr>
              <a:xfrm>
                <a:off x="5475288" y="3114675"/>
                <a:ext cx="766762" cy="592138"/>
              </a:xfrm>
              <a:custGeom>
                <a:avLst/>
                <a:gdLst>
                  <a:gd name="connsiteX0" fmla="*/ 0 w 766763"/>
                  <a:gd name="connsiteY0" fmla="*/ 559594 h 592932"/>
                  <a:gd name="connsiteX1" fmla="*/ 97631 w 766763"/>
                  <a:gd name="connsiteY1" fmla="*/ 564357 h 592932"/>
                  <a:gd name="connsiteX2" fmla="*/ 111919 w 766763"/>
                  <a:gd name="connsiteY2" fmla="*/ 573882 h 592932"/>
                  <a:gd name="connsiteX3" fmla="*/ 123825 w 766763"/>
                  <a:gd name="connsiteY3" fmla="*/ 571500 h 592932"/>
                  <a:gd name="connsiteX4" fmla="*/ 154781 w 766763"/>
                  <a:gd name="connsiteY4" fmla="*/ 592932 h 592932"/>
                  <a:gd name="connsiteX5" fmla="*/ 192881 w 766763"/>
                  <a:gd name="connsiteY5" fmla="*/ 566738 h 592932"/>
                  <a:gd name="connsiteX6" fmla="*/ 192881 w 766763"/>
                  <a:gd name="connsiteY6" fmla="*/ 566738 h 592932"/>
                  <a:gd name="connsiteX7" fmla="*/ 269081 w 766763"/>
                  <a:gd name="connsiteY7" fmla="*/ 588169 h 592932"/>
                  <a:gd name="connsiteX8" fmla="*/ 290513 w 766763"/>
                  <a:gd name="connsiteY8" fmla="*/ 550069 h 592932"/>
                  <a:gd name="connsiteX9" fmla="*/ 350044 w 766763"/>
                  <a:gd name="connsiteY9" fmla="*/ 550069 h 592932"/>
                  <a:gd name="connsiteX10" fmla="*/ 385763 w 766763"/>
                  <a:gd name="connsiteY10" fmla="*/ 523875 h 592932"/>
                  <a:gd name="connsiteX11" fmla="*/ 414338 w 766763"/>
                  <a:gd name="connsiteY11" fmla="*/ 521494 h 592932"/>
                  <a:gd name="connsiteX12" fmla="*/ 464344 w 766763"/>
                  <a:gd name="connsiteY12" fmla="*/ 540544 h 592932"/>
                  <a:gd name="connsiteX13" fmla="*/ 497681 w 766763"/>
                  <a:gd name="connsiteY13" fmla="*/ 561975 h 592932"/>
                  <a:gd name="connsiteX14" fmla="*/ 550069 w 766763"/>
                  <a:gd name="connsiteY14" fmla="*/ 528638 h 592932"/>
                  <a:gd name="connsiteX15" fmla="*/ 590550 w 766763"/>
                  <a:gd name="connsiteY15" fmla="*/ 533400 h 592932"/>
                  <a:gd name="connsiteX16" fmla="*/ 604838 w 766763"/>
                  <a:gd name="connsiteY16" fmla="*/ 464344 h 592932"/>
                  <a:gd name="connsiteX17" fmla="*/ 602456 w 766763"/>
                  <a:gd name="connsiteY17" fmla="*/ 445294 h 592932"/>
                  <a:gd name="connsiteX18" fmla="*/ 688181 w 766763"/>
                  <a:gd name="connsiteY18" fmla="*/ 395288 h 592932"/>
                  <a:gd name="connsiteX19" fmla="*/ 702469 w 766763"/>
                  <a:gd name="connsiteY19" fmla="*/ 381000 h 592932"/>
                  <a:gd name="connsiteX20" fmla="*/ 762000 w 766763"/>
                  <a:gd name="connsiteY20" fmla="*/ 361950 h 592932"/>
                  <a:gd name="connsiteX21" fmla="*/ 762000 w 766763"/>
                  <a:gd name="connsiteY21" fmla="*/ 316707 h 592932"/>
                  <a:gd name="connsiteX22" fmla="*/ 733425 w 766763"/>
                  <a:gd name="connsiteY22" fmla="*/ 307182 h 592932"/>
                  <a:gd name="connsiteX23" fmla="*/ 719138 w 766763"/>
                  <a:gd name="connsiteY23" fmla="*/ 283369 h 592932"/>
                  <a:gd name="connsiteX24" fmla="*/ 726281 w 766763"/>
                  <a:gd name="connsiteY24" fmla="*/ 254794 h 592932"/>
                  <a:gd name="connsiteX25" fmla="*/ 762000 w 766763"/>
                  <a:gd name="connsiteY25" fmla="*/ 245269 h 592932"/>
                  <a:gd name="connsiteX26" fmla="*/ 766763 w 766763"/>
                  <a:gd name="connsiteY26" fmla="*/ 223838 h 592932"/>
                  <a:gd name="connsiteX27" fmla="*/ 754856 w 766763"/>
                  <a:gd name="connsiteY27" fmla="*/ 214313 h 592932"/>
                  <a:gd name="connsiteX28" fmla="*/ 754856 w 766763"/>
                  <a:gd name="connsiteY28" fmla="*/ 183357 h 592932"/>
                  <a:gd name="connsiteX29" fmla="*/ 650081 w 766763"/>
                  <a:gd name="connsiteY29" fmla="*/ 214313 h 592932"/>
                  <a:gd name="connsiteX30" fmla="*/ 631031 w 766763"/>
                  <a:gd name="connsiteY30" fmla="*/ 214313 h 592932"/>
                  <a:gd name="connsiteX31" fmla="*/ 592931 w 766763"/>
                  <a:gd name="connsiteY31" fmla="*/ 180975 h 592932"/>
                  <a:gd name="connsiteX32" fmla="*/ 561975 w 766763"/>
                  <a:gd name="connsiteY32" fmla="*/ 188119 h 592932"/>
                  <a:gd name="connsiteX33" fmla="*/ 540544 w 766763"/>
                  <a:gd name="connsiteY33" fmla="*/ 202407 h 592932"/>
                  <a:gd name="connsiteX34" fmla="*/ 509588 w 766763"/>
                  <a:gd name="connsiteY34" fmla="*/ 195263 h 592932"/>
                  <a:gd name="connsiteX35" fmla="*/ 473869 w 766763"/>
                  <a:gd name="connsiteY35" fmla="*/ 190500 h 592932"/>
                  <a:gd name="connsiteX36" fmla="*/ 414338 w 766763"/>
                  <a:gd name="connsiteY36" fmla="*/ 185738 h 592932"/>
                  <a:gd name="connsiteX37" fmla="*/ 392906 w 766763"/>
                  <a:gd name="connsiteY37" fmla="*/ 154782 h 592932"/>
                  <a:gd name="connsiteX38" fmla="*/ 371475 w 766763"/>
                  <a:gd name="connsiteY38" fmla="*/ 126207 h 592932"/>
                  <a:gd name="connsiteX39" fmla="*/ 342900 w 766763"/>
                  <a:gd name="connsiteY39" fmla="*/ 126207 h 592932"/>
                  <a:gd name="connsiteX40" fmla="*/ 311944 w 766763"/>
                  <a:gd name="connsiteY40" fmla="*/ 142875 h 592932"/>
                  <a:gd name="connsiteX41" fmla="*/ 283369 w 766763"/>
                  <a:gd name="connsiteY41" fmla="*/ 135732 h 592932"/>
                  <a:gd name="connsiteX42" fmla="*/ 259556 w 766763"/>
                  <a:gd name="connsiteY42" fmla="*/ 97632 h 592932"/>
                  <a:gd name="connsiteX43" fmla="*/ 233363 w 766763"/>
                  <a:gd name="connsiteY43" fmla="*/ 76200 h 592932"/>
                  <a:gd name="connsiteX44" fmla="*/ 221456 w 766763"/>
                  <a:gd name="connsiteY44" fmla="*/ 73819 h 592932"/>
                  <a:gd name="connsiteX45" fmla="*/ 180975 w 766763"/>
                  <a:gd name="connsiteY45" fmla="*/ 21432 h 592932"/>
                  <a:gd name="connsiteX46" fmla="*/ 159544 w 766763"/>
                  <a:gd name="connsiteY46" fmla="*/ 0 h 592932"/>
                  <a:gd name="connsiteX47" fmla="*/ 107156 w 766763"/>
                  <a:gd name="connsiteY47" fmla="*/ 2382 h 592932"/>
                  <a:gd name="connsiteX48" fmla="*/ 83344 w 766763"/>
                  <a:gd name="connsiteY48" fmla="*/ 42863 h 592932"/>
                  <a:gd name="connsiteX49" fmla="*/ 85725 w 766763"/>
                  <a:gd name="connsiteY49" fmla="*/ 69057 h 592932"/>
                  <a:gd name="connsiteX50" fmla="*/ 104775 w 766763"/>
                  <a:gd name="connsiteY50" fmla="*/ 90488 h 592932"/>
                  <a:gd name="connsiteX51" fmla="*/ 116681 w 766763"/>
                  <a:gd name="connsiteY51" fmla="*/ 102394 h 592932"/>
                  <a:gd name="connsiteX52" fmla="*/ 145256 w 766763"/>
                  <a:gd name="connsiteY52" fmla="*/ 109538 h 592932"/>
                  <a:gd name="connsiteX53" fmla="*/ 161925 w 766763"/>
                  <a:gd name="connsiteY53" fmla="*/ 121444 h 592932"/>
                  <a:gd name="connsiteX54" fmla="*/ 159544 w 766763"/>
                  <a:gd name="connsiteY54" fmla="*/ 138113 h 592932"/>
                  <a:gd name="connsiteX55" fmla="*/ 104775 w 766763"/>
                  <a:gd name="connsiteY55" fmla="*/ 200025 h 592932"/>
                  <a:gd name="connsiteX56" fmla="*/ 107156 w 766763"/>
                  <a:gd name="connsiteY56" fmla="*/ 245269 h 592932"/>
                  <a:gd name="connsiteX57" fmla="*/ 140494 w 766763"/>
                  <a:gd name="connsiteY57" fmla="*/ 300038 h 592932"/>
                  <a:gd name="connsiteX58" fmla="*/ 166688 w 766763"/>
                  <a:gd name="connsiteY58" fmla="*/ 338138 h 592932"/>
                  <a:gd name="connsiteX59" fmla="*/ 133350 w 766763"/>
                  <a:gd name="connsiteY59" fmla="*/ 381000 h 592932"/>
                  <a:gd name="connsiteX60" fmla="*/ 80963 w 766763"/>
                  <a:gd name="connsiteY60" fmla="*/ 359569 h 592932"/>
                  <a:gd name="connsiteX61" fmla="*/ 50006 w 766763"/>
                  <a:gd name="connsiteY61" fmla="*/ 404813 h 592932"/>
                  <a:gd name="connsiteX62" fmla="*/ 19050 w 766763"/>
                  <a:gd name="connsiteY62" fmla="*/ 421482 h 592932"/>
                  <a:gd name="connsiteX63" fmla="*/ 4763 w 766763"/>
                  <a:gd name="connsiteY63" fmla="*/ 457200 h 592932"/>
                  <a:gd name="connsiteX64" fmla="*/ 0 w 766763"/>
                  <a:gd name="connsiteY64" fmla="*/ 559594 h 592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766763" h="592932">
                    <a:moveTo>
                      <a:pt x="0" y="559594"/>
                    </a:moveTo>
                    <a:lnTo>
                      <a:pt x="97631" y="564357"/>
                    </a:lnTo>
                    <a:lnTo>
                      <a:pt x="111919" y="573882"/>
                    </a:lnTo>
                    <a:lnTo>
                      <a:pt x="123825" y="571500"/>
                    </a:lnTo>
                    <a:lnTo>
                      <a:pt x="154781" y="592932"/>
                    </a:lnTo>
                    <a:lnTo>
                      <a:pt x="192881" y="566738"/>
                    </a:lnTo>
                    <a:lnTo>
                      <a:pt x="192881" y="566738"/>
                    </a:lnTo>
                    <a:lnTo>
                      <a:pt x="269081" y="588169"/>
                    </a:lnTo>
                    <a:lnTo>
                      <a:pt x="290513" y="550069"/>
                    </a:lnTo>
                    <a:lnTo>
                      <a:pt x="350044" y="550069"/>
                    </a:lnTo>
                    <a:lnTo>
                      <a:pt x="385763" y="523875"/>
                    </a:lnTo>
                    <a:lnTo>
                      <a:pt x="414338" y="521494"/>
                    </a:lnTo>
                    <a:lnTo>
                      <a:pt x="464344" y="540544"/>
                    </a:lnTo>
                    <a:lnTo>
                      <a:pt x="497681" y="561975"/>
                    </a:lnTo>
                    <a:lnTo>
                      <a:pt x="550069" y="528638"/>
                    </a:lnTo>
                    <a:lnTo>
                      <a:pt x="590550" y="533400"/>
                    </a:lnTo>
                    <a:lnTo>
                      <a:pt x="604838" y="464344"/>
                    </a:lnTo>
                    <a:lnTo>
                      <a:pt x="602456" y="445294"/>
                    </a:lnTo>
                    <a:lnTo>
                      <a:pt x="688181" y="395288"/>
                    </a:lnTo>
                    <a:lnTo>
                      <a:pt x="702469" y="381000"/>
                    </a:lnTo>
                    <a:lnTo>
                      <a:pt x="762000" y="361950"/>
                    </a:lnTo>
                    <a:lnTo>
                      <a:pt x="762000" y="316707"/>
                    </a:lnTo>
                    <a:lnTo>
                      <a:pt x="733425" y="307182"/>
                    </a:lnTo>
                    <a:lnTo>
                      <a:pt x="719138" y="283369"/>
                    </a:lnTo>
                    <a:lnTo>
                      <a:pt x="726281" y="254794"/>
                    </a:lnTo>
                    <a:lnTo>
                      <a:pt x="762000" y="245269"/>
                    </a:lnTo>
                    <a:lnTo>
                      <a:pt x="766763" y="223838"/>
                    </a:lnTo>
                    <a:lnTo>
                      <a:pt x="754856" y="214313"/>
                    </a:lnTo>
                    <a:lnTo>
                      <a:pt x="754856" y="183357"/>
                    </a:lnTo>
                    <a:lnTo>
                      <a:pt x="650081" y="214313"/>
                    </a:lnTo>
                    <a:lnTo>
                      <a:pt x="631031" y="214313"/>
                    </a:lnTo>
                    <a:lnTo>
                      <a:pt x="592931" y="180975"/>
                    </a:lnTo>
                    <a:lnTo>
                      <a:pt x="561975" y="188119"/>
                    </a:lnTo>
                    <a:lnTo>
                      <a:pt x="540544" y="202407"/>
                    </a:lnTo>
                    <a:lnTo>
                      <a:pt x="509588" y="195263"/>
                    </a:lnTo>
                    <a:lnTo>
                      <a:pt x="473869" y="190500"/>
                    </a:lnTo>
                    <a:lnTo>
                      <a:pt x="414338" y="185738"/>
                    </a:lnTo>
                    <a:lnTo>
                      <a:pt x="392906" y="154782"/>
                    </a:lnTo>
                    <a:lnTo>
                      <a:pt x="371475" y="126207"/>
                    </a:lnTo>
                    <a:lnTo>
                      <a:pt x="342900" y="126207"/>
                    </a:lnTo>
                    <a:lnTo>
                      <a:pt x="311944" y="142875"/>
                    </a:lnTo>
                    <a:lnTo>
                      <a:pt x="283369" y="135732"/>
                    </a:lnTo>
                    <a:lnTo>
                      <a:pt x="259556" y="97632"/>
                    </a:lnTo>
                    <a:lnTo>
                      <a:pt x="233363" y="76200"/>
                    </a:lnTo>
                    <a:lnTo>
                      <a:pt x="221456" y="73819"/>
                    </a:lnTo>
                    <a:lnTo>
                      <a:pt x="180975" y="21432"/>
                    </a:lnTo>
                    <a:lnTo>
                      <a:pt x="159544" y="0"/>
                    </a:lnTo>
                    <a:lnTo>
                      <a:pt x="107156" y="2382"/>
                    </a:lnTo>
                    <a:lnTo>
                      <a:pt x="83344" y="42863"/>
                    </a:lnTo>
                    <a:lnTo>
                      <a:pt x="85725" y="69057"/>
                    </a:lnTo>
                    <a:lnTo>
                      <a:pt x="104775" y="90488"/>
                    </a:lnTo>
                    <a:lnTo>
                      <a:pt x="116681" y="102394"/>
                    </a:lnTo>
                    <a:lnTo>
                      <a:pt x="145256" y="109538"/>
                    </a:lnTo>
                    <a:lnTo>
                      <a:pt x="161925" y="121444"/>
                    </a:lnTo>
                    <a:lnTo>
                      <a:pt x="159544" y="138113"/>
                    </a:lnTo>
                    <a:lnTo>
                      <a:pt x="104775" y="200025"/>
                    </a:lnTo>
                    <a:lnTo>
                      <a:pt x="107156" y="245269"/>
                    </a:lnTo>
                    <a:lnTo>
                      <a:pt x="140494" y="300038"/>
                    </a:lnTo>
                    <a:lnTo>
                      <a:pt x="166688" y="338138"/>
                    </a:lnTo>
                    <a:lnTo>
                      <a:pt x="133350" y="381000"/>
                    </a:lnTo>
                    <a:lnTo>
                      <a:pt x="80963" y="359569"/>
                    </a:lnTo>
                    <a:lnTo>
                      <a:pt x="50006" y="404813"/>
                    </a:lnTo>
                    <a:lnTo>
                      <a:pt x="19050" y="421482"/>
                    </a:lnTo>
                    <a:lnTo>
                      <a:pt x="4763" y="457200"/>
                    </a:lnTo>
                    <a:lnTo>
                      <a:pt x="0" y="559594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147" name="Freeform 12">
                <a:extLst>
                  <a:ext uri="{FF2B5EF4-FFF2-40B4-BE49-F238E27FC236}">
                    <a16:creationId xmlns:a16="http://schemas.microsoft.com/office/drawing/2014/main" id="{2033FCB0-EBAA-49FE-8AEB-CDB2EF923ED0}"/>
                  </a:ext>
                </a:extLst>
              </p:cNvPr>
              <p:cNvSpPr/>
              <p:nvPr/>
            </p:nvSpPr>
            <p:spPr>
              <a:xfrm>
                <a:off x="6259513" y="3011488"/>
                <a:ext cx="128587" cy="190500"/>
              </a:xfrm>
              <a:custGeom>
                <a:avLst/>
                <a:gdLst>
                  <a:gd name="connsiteX0" fmla="*/ 2382 w 128588"/>
                  <a:gd name="connsiteY0" fmla="*/ 11906 h 183356"/>
                  <a:gd name="connsiteX1" fmla="*/ 16669 w 128588"/>
                  <a:gd name="connsiteY1" fmla="*/ 71437 h 183356"/>
                  <a:gd name="connsiteX2" fmla="*/ 16669 w 128588"/>
                  <a:gd name="connsiteY2" fmla="*/ 95250 h 183356"/>
                  <a:gd name="connsiteX3" fmla="*/ 4763 w 128588"/>
                  <a:gd name="connsiteY3" fmla="*/ 114300 h 183356"/>
                  <a:gd name="connsiteX4" fmla="*/ 0 w 128588"/>
                  <a:gd name="connsiteY4" fmla="*/ 169068 h 183356"/>
                  <a:gd name="connsiteX5" fmla="*/ 26194 w 128588"/>
                  <a:gd name="connsiteY5" fmla="*/ 183356 h 183356"/>
                  <a:gd name="connsiteX6" fmla="*/ 61913 w 128588"/>
                  <a:gd name="connsiteY6" fmla="*/ 178593 h 183356"/>
                  <a:gd name="connsiteX7" fmla="*/ 61913 w 128588"/>
                  <a:gd name="connsiteY7" fmla="*/ 178593 h 183356"/>
                  <a:gd name="connsiteX8" fmla="*/ 95250 w 128588"/>
                  <a:gd name="connsiteY8" fmla="*/ 142875 h 183356"/>
                  <a:gd name="connsiteX9" fmla="*/ 128588 w 128588"/>
                  <a:gd name="connsiteY9" fmla="*/ 107156 h 183356"/>
                  <a:gd name="connsiteX10" fmla="*/ 119063 w 128588"/>
                  <a:gd name="connsiteY10" fmla="*/ 85725 h 183356"/>
                  <a:gd name="connsiteX11" fmla="*/ 114300 w 128588"/>
                  <a:gd name="connsiteY11" fmla="*/ 28575 h 183356"/>
                  <a:gd name="connsiteX12" fmla="*/ 88107 w 128588"/>
                  <a:gd name="connsiteY12" fmla="*/ 7143 h 183356"/>
                  <a:gd name="connsiteX13" fmla="*/ 54769 w 128588"/>
                  <a:gd name="connsiteY13" fmla="*/ 0 h 183356"/>
                  <a:gd name="connsiteX14" fmla="*/ 2382 w 128588"/>
                  <a:gd name="connsiteY14" fmla="*/ 11906 h 183356"/>
                  <a:gd name="connsiteX0" fmla="*/ 2382 w 128588"/>
                  <a:gd name="connsiteY0" fmla="*/ 11906 h 183356"/>
                  <a:gd name="connsiteX1" fmla="*/ 16669 w 128588"/>
                  <a:gd name="connsiteY1" fmla="*/ 71437 h 183356"/>
                  <a:gd name="connsiteX2" fmla="*/ 16669 w 128588"/>
                  <a:gd name="connsiteY2" fmla="*/ 95250 h 183356"/>
                  <a:gd name="connsiteX3" fmla="*/ 4763 w 128588"/>
                  <a:gd name="connsiteY3" fmla="*/ 114300 h 183356"/>
                  <a:gd name="connsiteX4" fmla="*/ 0 w 128588"/>
                  <a:gd name="connsiteY4" fmla="*/ 169068 h 183356"/>
                  <a:gd name="connsiteX5" fmla="*/ 26194 w 128588"/>
                  <a:gd name="connsiteY5" fmla="*/ 183356 h 183356"/>
                  <a:gd name="connsiteX6" fmla="*/ 61913 w 128588"/>
                  <a:gd name="connsiteY6" fmla="*/ 178593 h 183356"/>
                  <a:gd name="connsiteX7" fmla="*/ 61913 w 128588"/>
                  <a:gd name="connsiteY7" fmla="*/ 178593 h 183356"/>
                  <a:gd name="connsiteX8" fmla="*/ 90488 w 128588"/>
                  <a:gd name="connsiteY8" fmla="*/ 171450 h 183356"/>
                  <a:gd name="connsiteX9" fmla="*/ 128588 w 128588"/>
                  <a:gd name="connsiteY9" fmla="*/ 107156 h 183356"/>
                  <a:gd name="connsiteX10" fmla="*/ 119063 w 128588"/>
                  <a:gd name="connsiteY10" fmla="*/ 85725 h 183356"/>
                  <a:gd name="connsiteX11" fmla="*/ 114300 w 128588"/>
                  <a:gd name="connsiteY11" fmla="*/ 28575 h 183356"/>
                  <a:gd name="connsiteX12" fmla="*/ 88107 w 128588"/>
                  <a:gd name="connsiteY12" fmla="*/ 7143 h 183356"/>
                  <a:gd name="connsiteX13" fmla="*/ 54769 w 128588"/>
                  <a:gd name="connsiteY13" fmla="*/ 0 h 183356"/>
                  <a:gd name="connsiteX14" fmla="*/ 2382 w 128588"/>
                  <a:gd name="connsiteY14" fmla="*/ 11906 h 183356"/>
                  <a:gd name="connsiteX0" fmla="*/ 2382 w 128588"/>
                  <a:gd name="connsiteY0" fmla="*/ 11906 h 188118"/>
                  <a:gd name="connsiteX1" fmla="*/ 16669 w 128588"/>
                  <a:gd name="connsiteY1" fmla="*/ 71437 h 188118"/>
                  <a:gd name="connsiteX2" fmla="*/ 16669 w 128588"/>
                  <a:gd name="connsiteY2" fmla="*/ 95250 h 188118"/>
                  <a:gd name="connsiteX3" fmla="*/ 4763 w 128588"/>
                  <a:gd name="connsiteY3" fmla="*/ 114300 h 188118"/>
                  <a:gd name="connsiteX4" fmla="*/ 0 w 128588"/>
                  <a:gd name="connsiteY4" fmla="*/ 169068 h 188118"/>
                  <a:gd name="connsiteX5" fmla="*/ 26194 w 128588"/>
                  <a:gd name="connsiteY5" fmla="*/ 183356 h 188118"/>
                  <a:gd name="connsiteX6" fmla="*/ 61913 w 128588"/>
                  <a:gd name="connsiteY6" fmla="*/ 178593 h 188118"/>
                  <a:gd name="connsiteX7" fmla="*/ 66675 w 128588"/>
                  <a:gd name="connsiteY7" fmla="*/ 188118 h 188118"/>
                  <a:gd name="connsiteX8" fmla="*/ 90488 w 128588"/>
                  <a:gd name="connsiteY8" fmla="*/ 171450 h 188118"/>
                  <a:gd name="connsiteX9" fmla="*/ 128588 w 128588"/>
                  <a:gd name="connsiteY9" fmla="*/ 107156 h 188118"/>
                  <a:gd name="connsiteX10" fmla="*/ 119063 w 128588"/>
                  <a:gd name="connsiteY10" fmla="*/ 85725 h 188118"/>
                  <a:gd name="connsiteX11" fmla="*/ 114300 w 128588"/>
                  <a:gd name="connsiteY11" fmla="*/ 28575 h 188118"/>
                  <a:gd name="connsiteX12" fmla="*/ 88107 w 128588"/>
                  <a:gd name="connsiteY12" fmla="*/ 7143 h 188118"/>
                  <a:gd name="connsiteX13" fmla="*/ 54769 w 128588"/>
                  <a:gd name="connsiteY13" fmla="*/ 0 h 188118"/>
                  <a:gd name="connsiteX14" fmla="*/ 2382 w 128588"/>
                  <a:gd name="connsiteY14" fmla="*/ 11906 h 188118"/>
                  <a:gd name="connsiteX0" fmla="*/ 2382 w 128588"/>
                  <a:gd name="connsiteY0" fmla="*/ 11906 h 190940"/>
                  <a:gd name="connsiteX1" fmla="*/ 16669 w 128588"/>
                  <a:gd name="connsiteY1" fmla="*/ 71437 h 190940"/>
                  <a:gd name="connsiteX2" fmla="*/ 16669 w 128588"/>
                  <a:gd name="connsiteY2" fmla="*/ 95250 h 190940"/>
                  <a:gd name="connsiteX3" fmla="*/ 4763 w 128588"/>
                  <a:gd name="connsiteY3" fmla="*/ 114300 h 190940"/>
                  <a:gd name="connsiteX4" fmla="*/ 0 w 128588"/>
                  <a:gd name="connsiteY4" fmla="*/ 169068 h 190940"/>
                  <a:gd name="connsiteX5" fmla="*/ 26194 w 128588"/>
                  <a:gd name="connsiteY5" fmla="*/ 183356 h 190940"/>
                  <a:gd name="connsiteX6" fmla="*/ 57151 w 128588"/>
                  <a:gd name="connsiteY6" fmla="*/ 190499 h 190940"/>
                  <a:gd name="connsiteX7" fmla="*/ 66675 w 128588"/>
                  <a:gd name="connsiteY7" fmla="*/ 188118 h 190940"/>
                  <a:gd name="connsiteX8" fmla="*/ 90488 w 128588"/>
                  <a:gd name="connsiteY8" fmla="*/ 171450 h 190940"/>
                  <a:gd name="connsiteX9" fmla="*/ 128588 w 128588"/>
                  <a:gd name="connsiteY9" fmla="*/ 107156 h 190940"/>
                  <a:gd name="connsiteX10" fmla="*/ 119063 w 128588"/>
                  <a:gd name="connsiteY10" fmla="*/ 85725 h 190940"/>
                  <a:gd name="connsiteX11" fmla="*/ 114300 w 128588"/>
                  <a:gd name="connsiteY11" fmla="*/ 28575 h 190940"/>
                  <a:gd name="connsiteX12" fmla="*/ 88107 w 128588"/>
                  <a:gd name="connsiteY12" fmla="*/ 7143 h 190940"/>
                  <a:gd name="connsiteX13" fmla="*/ 54769 w 128588"/>
                  <a:gd name="connsiteY13" fmla="*/ 0 h 190940"/>
                  <a:gd name="connsiteX14" fmla="*/ 2382 w 128588"/>
                  <a:gd name="connsiteY14" fmla="*/ 11906 h 1909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8588" h="190940">
                    <a:moveTo>
                      <a:pt x="2382" y="11906"/>
                    </a:moveTo>
                    <a:lnTo>
                      <a:pt x="16669" y="71437"/>
                    </a:lnTo>
                    <a:lnTo>
                      <a:pt x="16669" y="95250"/>
                    </a:lnTo>
                    <a:lnTo>
                      <a:pt x="4763" y="114300"/>
                    </a:lnTo>
                    <a:lnTo>
                      <a:pt x="0" y="169068"/>
                    </a:lnTo>
                    <a:lnTo>
                      <a:pt x="26194" y="183356"/>
                    </a:lnTo>
                    <a:cubicBezTo>
                      <a:pt x="38100" y="181768"/>
                      <a:pt x="50404" y="189705"/>
                      <a:pt x="57151" y="190499"/>
                    </a:cubicBezTo>
                    <a:cubicBezTo>
                      <a:pt x="63898" y="191293"/>
                      <a:pt x="61119" y="191293"/>
                      <a:pt x="66675" y="188118"/>
                    </a:cubicBezTo>
                    <a:cubicBezTo>
                      <a:pt x="72231" y="184943"/>
                      <a:pt x="80169" y="184944"/>
                      <a:pt x="90488" y="171450"/>
                    </a:cubicBezTo>
                    <a:cubicBezTo>
                      <a:pt x="100807" y="157956"/>
                      <a:pt x="115888" y="128587"/>
                      <a:pt x="128588" y="107156"/>
                    </a:cubicBezTo>
                    <a:lnTo>
                      <a:pt x="119063" y="85725"/>
                    </a:lnTo>
                    <a:lnTo>
                      <a:pt x="114300" y="28575"/>
                    </a:lnTo>
                    <a:lnTo>
                      <a:pt x="88107" y="7143"/>
                    </a:lnTo>
                    <a:lnTo>
                      <a:pt x="54769" y="0"/>
                    </a:lnTo>
                    <a:lnTo>
                      <a:pt x="2382" y="11906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148" name="Freeform 13">
                <a:extLst>
                  <a:ext uri="{FF2B5EF4-FFF2-40B4-BE49-F238E27FC236}">
                    <a16:creationId xmlns:a16="http://schemas.microsoft.com/office/drawing/2014/main" id="{E1BDA281-F751-4AAD-9AAE-E1E9FF4E17E9}"/>
                  </a:ext>
                </a:extLst>
              </p:cNvPr>
              <p:cNvSpPr/>
              <p:nvPr/>
            </p:nvSpPr>
            <p:spPr>
              <a:xfrm>
                <a:off x="5849938" y="3114675"/>
                <a:ext cx="763587" cy="1087438"/>
              </a:xfrm>
              <a:custGeom>
                <a:avLst/>
                <a:gdLst>
                  <a:gd name="connsiteX0" fmla="*/ 319088 w 764382"/>
                  <a:gd name="connsiteY0" fmla="*/ 392907 h 1088232"/>
                  <a:gd name="connsiteX1" fmla="*/ 350044 w 764382"/>
                  <a:gd name="connsiteY1" fmla="*/ 466725 h 1088232"/>
                  <a:gd name="connsiteX2" fmla="*/ 340519 w 764382"/>
                  <a:gd name="connsiteY2" fmla="*/ 509588 h 1088232"/>
                  <a:gd name="connsiteX3" fmla="*/ 333375 w 764382"/>
                  <a:gd name="connsiteY3" fmla="*/ 559594 h 1088232"/>
                  <a:gd name="connsiteX4" fmla="*/ 247650 w 764382"/>
                  <a:gd name="connsiteY4" fmla="*/ 633413 h 1088232"/>
                  <a:gd name="connsiteX5" fmla="*/ 238125 w 764382"/>
                  <a:gd name="connsiteY5" fmla="*/ 690563 h 1088232"/>
                  <a:gd name="connsiteX6" fmla="*/ 135732 w 764382"/>
                  <a:gd name="connsiteY6" fmla="*/ 711994 h 1088232"/>
                  <a:gd name="connsiteX7" fmla="*/ 116682 w 764382"/>
                  <a:gd name="connsiteY7" fmla="*/ 738188 h 1088232"/>
                  <a:gd name="connsiteX8" fmla="*/ 30957 w 764382"/>
                  <a:gd name="connsiteY8" fmla="*/ 707232 h 1088232"/>
                  <a:gd name="connsiteX9" fmla="*/ 16669 w 764382"/>
                  <a:gd name="connsiteY9" fmla="*/ 707232 h 1088232"/>
                  <a:gd name="connsiteX10" fmla="*/ 7144 w 764382"/>
                  <a:gd name="connsiteY10" fmla="*/ 735807 h 1088232"/>
                  <a:gd name="connsiteX11" fmla="*/ 0 w 764382"/>
                  <a:gd name="connsiteY11" fmla="*/ 752475 h 1088232"/>
                  <a:gd name="connsiteX12" fmla="*/ 26194 w 764382"/>
                  <a:gd name="connsiteY12" fmla="*/ 781050 h 1088232"/>
                  <a:gd name="connsiteX13" fmla="*/ 45244 w 764382"/>
                  <a:gd name="connsiteY13" fmla="*/ 778669 h 1088232"/>
                  <a:gd name="connsiteX14" fmla="*/ 52388 w 764382"/>
                  <a:gd name="connsiteY14" fmla="*/ 819150 h 1088232"/>
                  <a:gd name="connsiteX15" fmla="*/ 66675 w 764382"/>
                  <a:gd name="connsiteY15" fmla="*/ 840582 h 1088232"/>
                  <a:gd name="connsiteX16" fmla="*/ 92869 w 764382"/>
                  <a:gd name="connsiteY16" fmla="*/ 831057 h 1088232"/>
                  <a:gd name="connsiteX17" fmla="*/ 109538 w 764382"/>
                  <a:gd name="connsiteY17" fmla="*/ 819150 h 1088232"/>
                  <a:gd name="connsiteX18" fmla="*/ 133350 w 764382"/>
                  <a:gd name="connsiteY18" fmla="*/ 819150 h 1088232"/>
                  <a:gd name="connsiteX19" fmla="*/ 142875 w 764382"/>
                  <a:gd name="connsiteY19" fmla="*/ 912019 h 1088232"/>
                  <a:gd name="connsiteX20" fmla="*/ 171450 w 764382"/>
                  <a:gd name="connsiteY20" fmla="*/ 933450 h 1088232"/>
                  <a:gd name="connsiteX21" fmla="*/ 180975 w 764382"/>
                  <a:gd name="connsiteY21" fmla="*/ 966788 h 1088232"/>
                  <a:gd name="connsiteX22" fmla="*/ 221457 w 764382"/>
                  <a:gd name="connsiteY22" fmla="*/ 992982 h 1088232"/>
                  <a:gd name="connsiteX23" fmla="*/ 254794 w 764382"/>
                  <a:gd name="connsiteY23" fmla="*/ 1035844 h 1088232"/>
                  <a:gd name="connsiteX24" fmla="*/ 280988 w 764382"/>
                  <a:gd name="connsiteY24" fmla="*/ 1054894 h 1088232"/>
                  <a:gd name="connsiteX25" fmla="*/ 307182 w 764382"/>
                  <a:gd name="connsiteY25" fmla="*/ 1081088 h 1088232"/>
                  <a:gd name="connsiteX26" fmla="*/ 319088 w 764382"/>
                  <a:gd name="connsiteY26" fmla="*/ 1088232 h 1088232"/>
                  <a:gd name="connsiteX27" fmla="*/ 347663 w 764382"/>
                  <a:gd name="connsiteY27" fmla="*/ 1076325 h 1088232"/>
                  <a:gd name="connsiteX28" fmla="*/ 357188 w 764382"/>
                  <a:gd name="connsiteY28" fmla="*/ 1050132 h 1088232"/>
                  <a:gd name="connsiteX29" fmla="*/ 392907 w 764382"/>
                  <a:gd name="connsiteY29" fmla="*/ 1033463 h 1088232"/>
                  <a:gd name="connsiteX30" fmla="*/ 414338 w 764382"/>
                  <a:gd name="connsiteY30" fmla="*/ 1033463 h 1088232"/>
                  <a:gd name="connsiteX31" fmla="*/ 438150 w 764382"/>
                  <a:gd name="connsiteY31" fmla="*/ 1045369 h 1088232"/>
                  <a:gd name="connsiteX32" fmla="*/ 461963 w 764382"/>
                  <a:gd name="connsiteY32" fmla="*/ 1073944 h 1088232"/>
                  <a:gd name="connsiteX33" fmla="*/ 461963 w 764382"/>
                  <a:gd name="connsiteY33" fmla="*/ 1073944 h 1088232"/>
                  <a:gd name="connsiteX34" fmla="*/ 511969 w 764382"/>
                  <a:gd name="connsiteY34" fmla="*/ 1033463 h 1088232"/>
                  <a:gd name="connsiteX35" fmla="*/ 547688 w 764382"/>
                  <a:gd name="connsiteY35" fmla="*/ 1033463 h 1088232"/>
                  <a:gd name="connsiteX36" fmla="*/ 585788 w 764382"/>
                  <a:gd name="connsiteY36" fmla="*/ 1012032 h 1088232"/>
                  <a:gd name="connsiteX37" fmla="*/ 583407 w 764382"/>
                  <a:gd name="connsiteY37" fmla="*/ 964407 h 1088232"/>
                  <a:gd name="connsiteX38" fmla="*/ 578644 w 764382"/>
                  <a:gd name="connsiteY38" fmla="*/ 947738 h 1088232"/>
                  <a:gd name="connsiteX39" fmla="*/ 583407 w 764382"/>
                  <a:gd name="connsiteY39" fmla="*/ 902494 h 1088232"/>
                  <a:gd name="connsiteX40" fmla="*/ 581025 w 764382"/>
                  <a:gd name="connsiteY40" fmla="*/ 842963 h 1088232"/>
                  <a:gd name="connsiteX41" fmla="*/ 573882 w 764382"/>
                  <a:gd name="connsiteY41" fmla="*/ 812007 h 1088232"/>
                  <a:gd name="connsiteX42" fmla="*/ 542925 w 764382"/>
                  <a:gd name="connsiteY42" fmla="*/ 778669 h 1088232"/>
                  <a:gd name="connsiteX43" fmla="*/ 526257 w 764382"/>
                  <a:gd name="connsiteY43" fmla="*/ 762000 h 1088232"/>
                  <a:gd name="connsiteX44" fmla="*/ 531019 w 764382"/>
                  <a:gd name="connsiteY44" fmla="*/ 742950 h 1088232"/>
                  <a:gd name="connsiteX45" fmla="*/ 526257 w 764382"/>
                  <a:gd name="connsiteY45" fmla="*/ 726282 h 1088232"/>
                  <a:gd name="connsiteX46" fmla="*/ 519113 w 764382"/>
                  <a:gd name="connsiteY46" fmla="*/ 700088 h 1088232"/>
                  <a:gd name="connsiteX47" fmla="*/ 531019 w 764382"/>
                  <a:gd name="connsiteY47" fmla="*/ 673894 h 1088232"/>
                  <a:gd name="connsiteX48" fmla="*/ 542925 w 764382"/>
                  <a:gd name="connsiteY48" fmla="*/ 659607 h 1088232"/>
                  <a:gd name="connsiteX49" fmla="*/ 528638 w 764382"/>
                  <a:gd name="connsiteY49" fmla="*/ 640557 h 1088232"/>
                  <a:gd name="connsiteX50" fmla="*/ 519113 w 764382"/>
                  <a:gd name="connsiteY50" fmla="*/ 616744 h 1088232"/>
                  <a:gd name="connsiteX51" fmla="*/ 502444 w 764382"/>
                  <a:gd name="connsiteY51" fmla="*/ 611982 h 1088232"/>
                  <a:gd name="connsiteX52" fmla="*/ 488157 w 764382"/>
                  <a:gd name="connsiteY52" fmla="*/ 604838 h 1088232"/>
                  <a:gd name="connsiteX53" fmla="*/ 481013 w 764382"/>
                  <a:gd name="connsiteY53" fmla="*/ 607219 h 1088232"/>
                  <a:gd name="connsiteX54" fmla="*/ 464344 w 764382"/>
                  <a:gd name="connsiteY54" fmla="*/ 557213 h 1088232"/>
                  <a:gd name="connsiteX55" fmla="*/ 450057 w 764382"/>
                  <a:gd name="connsiteY55" fmla="*/ 540544 h 1088232"/>
                  <a:gd name="connsiteX56" fmla="*/ 445294 w 764382"/>
                  <a:gd name="connsiteY56" fmla="*/ 492919 h 1088232"/>
                  <a:gd name="connsiteX57" fmla="*/ 464344 w 764382"/>
                  <a:gd name="connsiteY57" fmla="*/ 473869 h 1088232"/>
                  <a:gd name="connsiteX58" fmla="*/ 476250 w 764382"/>
                  <a:gd name="connsiteY58" fmla="*/ 438150 h 1088232"/>
                  <a:gd name="connsiteX59" fmla="*/ 528638 w 764382"/>
                  <a:gd name="connsiteY59" fmla="*/ 428625 h 1088232"/>
                  <a:gd name="connsiteX60" fmla="*/ 557213 w 764382"/>
                  <a:gd name="connsiteY60" fmla="*/ 426244 h 1088232"/>
                  <a:gd name="connsiteX61" fmla="*/ 559594 w 764382"/>
                  <a:gd name="connsiteY61" fmla="*/ 395288 h 1088232"/>
                  <a:gd name="connsiteX62" fmla="*/ 540544 w 764382"/>
                  <a:gd name="connsiteY62" fmla="*/ 364332 h 1088232"/>
                  <a:gd name="connsiteX63" fmla="*/ 521494 w 764382"/>
                  <a:gd name="connsiteY63" fmla="*/ 364332 h 1088232"/>
                  <a:gd name="connsiteX64" fmla="*/ 497682 w 764382"/>
                  <a:gd name="connsiteY64" fmla="*/ 335757 h 1088232"/>
                  <a:gd name="connsiteX65" fmla="*/ 461963 w 764382"/>
                  <a:gd name="connsiteY65" fmla="*/ 323850 h 1088232"/>
                  <a:gd name="connsiteX66" fmla="*/ 433388 w 764382"/>
                  <a:gd name="connsiteY66" fmla="*/ 319088 h 1088232"/>
                  <a:gd name="connsiteX67" fmla="*/ 445294 w 764382"/>
                  <a:gd name="connsiteY67" fmla="*/ 278607 h 1088232"/>
                  <a:gd name="connsiteX68" fmla="*/ 442913 w 764382"/>
                  <a:gd name="connsiteY68" fmla="*/ 250032 h 1088232"/>
                  <a:gd name="connsiteX69" fmla="*/ 457200 w 764382"/>
                  <a:gd name="connsiteY69" fmla="*/ 202407 h 1088232"/>
                  <a:gd name="connsiteX70" fmla="*/ 500063 w 764382"/>
                  <a:gd name="connsiteY70" fmla="*/ 200025 h 1088232"/>
                  <a:gd name="connsiteX71" fmla="*/ 531019 w 764382"/>
                  <a:gd name="connsiteY71" fmla="*/ 216694 h 1088232"/>
                  <a:gd name="connsiteX72" fmla="*/ 578644 w 764382"/>
                  <a:gd name="connsiteY72" fmla="*/ 233363 h 1088232"/>
                  <a:gd name="connsiteX73" fmla="*/ 604838 w 764382"/>
                  <a:gd name="connsiteY73" fmla="*/ 252413 h 1088232"/>
                  <a:gd name="connsiteX74" fmla="*/ 614363 w 764382"/>
                  <a:gd name="connsiteY74" fmla="*/ 271463 h 1088232"/>
                  <a:gd name="connsiteX75" fmla="*/ 626269 w 764382"/>
                  <a:gd name="connsiteY75" fmla="*/ 280988 h 1088232"/>
                  <a:gd name="connsiteX76" fmla="*/ 650082 w 764382"/>
                  <a:gd name="connsiteY76" fmla="*/ 271463 h 1088232"/>
                  <a:gd name="connsiteX77" fmla="*/ 671513 w 764382"/>
                  <a:gd name="connsiteY77" fmla="*/ 259557 h 1088232"/>
                  <a:gd name="connsiteX78" fmla="*/ 683419 w 764382"/>
                  <a:gd name="connsiteY78" fmla="*/ 230982 h 1088232"/>
                  <a:gd name="connsiteX79" fmla="*/ 697707 w 764382"/>
                  <a:gd name="connsiteY79" fmla="*/ 204788 h 1088232"/>
                  <a:gd name="connsiteX80" fmla="*/ 716757 w 764382"/>
                  <a:gd name="connsiteY80" fmla="*/ 166688 h 1088232"/>
                  <a:gd name="connsiteX81" fmla="*/ 719138 w 764382"/>
                  <a:gd name="connsiteY81" fmla="*/ 150019 h 1088232"/>
                  <a:gd name="connsiteX82" fmla="*/ 750094 w 764382"/>
                  <a:gd name="connsiteY82" fmla="*/ 140494 h 1088232"/>
                  <a:gd name="connsiteX83" fmla="*/ 764382 w 764382"/>
                  <a:gd name="connsiteY83" fmla="*/ 119063 h 1088232"/>
                  <a:gd name="connsiteX84" fmla="*/ 759619 w 764382"/>
                  <a:gd name="connsiteY84" fmla="*/ 102394 h 1088232"/>
                  <a:gd name="connsiteX85" fmla="*/ 728663 w 764382"/>
                  <a:gd name="connsiteY85" fmla="*/ 100013 h 1088232"/>
                  <a:gd name="connsiteX86" fmla="*/ 704850 w 764382"/>
                  <a:gd name="connsiteY86" fmla="*/ 107157 h 1088232"/>
                  <a:gd name="connsiteX87" fmla="*/ 695325 w 764382"/>
                  <a:gd name="connsiteY87" fmla="*/ 126207 h 1088232"/>
                  <a:gd name="connsiteX88" fmla="*/ 661988 w 764382"/>
                  <a:gd name="connsiteY88" fmla="*/ 121444 h 1088232"/>
                  <a:gd name="connsiteX89" fmla="*/ 633413 w 764382"/>
                  <a:gd name="connsiteY89" fmla="*/ 114300 h 1088232"/>
                  <a:gd name="connsiteX90" fmla="*/ 602457 w 764382"/>
                  <a:gd name="connsiteY90" fmla="*/ 102394 h 1088232"/>
                  <a:gd name="connsiteX91" fmla="*/ 581025 w 764382"/>
                  <a:gd name="connsiteY91" fmla="*/ 83344 h 1088232"/>
                  <a:gd name="connsiteX92" fmla="*/ 569119 w 764382"/>
                  <a:gd name="connsiteY92" fmla="*/ 50007 h 1088232"/>
                  <a:gd name="connsiteX93" fmla="*/ 559594 w 764382"/>
                  <a:gd name="connsiteY93" fmla="*/ 16669 h 1088232"/>
                  <a:gd name="connsiteX94" fmla="*/ 550069 w 764382"/>
                  <a:gd name="connsiteY94" fmla="*/ 0 h 1088232"/>
                  <a:gd name="connsiteX95" fmla="*/ 535782 w 764382"/>
                  <a:gd name="connsiteY95" fmla="*/ 9525 h 1088232"/>
                  <a:gd name="connsiteX96" fmla="*/ 481013 w 764382"/>
                  <a:gd name="connsiteY96" fmla="*/ 83344 h 1088232"/>
                  <a:gd name="connsiteX97" fmla="*/ 433388 w 764382"/>
                  <a:gd name="connsiteY97" fmla="*/ 80963 h 1088232"/>
                  <a:gd name="connsiteX98" fmla="*/ 414338 w 764382"/>
                  <a:gd name="connsiteY98" fmla="*/ 71438 h 1088232"/>
                  <a:gd name="connsiteX99" fmla="*/ 404813 w 764382"/>
                  <a:gd name="connsiteY99" fmla="*/ 61913 h 1088232"/>
                  <a:gd name="connsiteX100" fmla="*/ 411957 w 764382"/>
                  <a:gd name="connsiteY100" fmla="*/ 107157 h 1088232"/>
                  <a:gd name="connsiteX101" fmla="*/ 421482 w 764382"/>
                  <a:gd name="connsiteY101" fmla="*/ 130969 h 1088232"/>
                  <a:gd name="connsiteX102" fmla="*/ 421482 w 764382"/>
                  <a:gd name="connsiteY102" fmla="*/ 159544 h 1088232"/>
                  <a:gd name="connsiteX103" fmla="*/ 411957 w 764382"/>
                  <a:gd name="connsiteY103" fmla="*/ 180975 h 1088232"/>
                  <a:gd name="connsiteX104" fmla="*/ 383382 w 764382"/>
                  <a:gd name="connsiteY104" fmla="*/ 192882 h 1088232"/>
                  <a:gd name="connsiteX105" fmla="*/ 388144 w 764382"/>
                  <a:gd name="connsiteY105" fmla="*/ 221457 h 1088232"/>
                  <a:gd name="connsiteX106" fmla="*/ 385763 w 764382"/>
                  <a:gd name="connsiteY106" fmla="*/ 238125 h 1088232"/>
                  <a:gd name="connsiteX107" fmla="*/ 376238 w 764382"/>
                  <a:gd name="connsiteY107" fmla="*/ 254794 h 1088232"/>
                  <a:gd name="connsiteX108" fmla="*/ 350044 w 764382"/>
                  <a:gd name="connsiteY108" fmla="*/ 264319 h 1088232"/>
                  <a:gd name="connsiteX109" fmla="*/ 347663 w 764382"/>
                  <a:gd name="connsiteY109" fmla="*/ 292894 h 1088232"/>
                  <a:gd name="connsiteX110" fmla="*/ 347663 w 764382"/>
                  <a:gd name="connsiteY110" fmla="*/ 292894 h 1088232"/>
                  <a:gd name="connsiteX111" fmla="*/ 385763 w 764382"/>
                  <a:gd name="connsiteY111" fmla="*/ 314325 h 1088232"/>
                  <a:gd name="connsiteX112" fmla="*/ 385763 w 764382"/>
                  <a:gd name="connsiteY112" fmla="*/ 359569 h 1088232"/>
                  <a:gd name="connsiteX113" fmla="*/ 319088 w 764382"/>
                  <a:gd name="connsiteY113" fmla="*/ 392907 h 1088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</a:cxnLst>
                <a:rect l="l" t="t" r="r" b="b"/>
                <a:pathLst>
                  <a:path w="764382" h="1088232">
                    <a:moveTo>
                      <a:pt x="319088" y="392907"/>
                    </a:moveTo>
                    <a:lnTo>
                      <a:pt x="350044" y="466725"/>
                    </a:lnTo>
                    <a:lnTo>
                      <a:pt x="340519" y="509588"/>
                    </a:lnTo>
                    <a:lnTo>
                      <a:pt x="333375" y="559594"/>
                    </a:lnTo>
                    <a:lnTo>
                      <a:pt x="247650" y="633413"/>
                    </a:lnTo>
                    <a:lnTo>
                      <a:pt x="238125" y="690563"/>
                    </a:lnTo>
                    <a:lnTo>
                      <a:pt x="135732" y="711994"/>
                    </a:lnTo>
                    <a:lnTo>
                      <a:pt x="116682" y="738188"/>
                    </a:lnTo>
                    <a:lnTo>
                      <a:pt x="30957" y="707232"/>
                    </a:lnTo>
                    <a:lnTo>
                      <a:pt x="16669" y="707232"/>
                    </a:lnTo>
                    <a:lnTo>
                      <a:pt x="7144" y="735807"/>
                    </a:lnTo>
                    <a:lnTo>
                      <a:pt x="0" y="752475"/>
                    </a:lnTo>
                    <a:lnTo>
                      <a:pt x="26194" y="781050"/>
                    </a:lnTo>
                    <a:lnTo>
                      <a:pt x="45244" y="778669"/>
                    </a:lnTo>
                    <a:lnTo>
                      <a:pt x="52388" y="819150"/>
                    </a:lnTo>
                    <a:lnTo>
                      <a:pt x="66675" y="840582"/>
                    </a:lnTo>
                    <a:lnTo>
                      <a:pt x="92869" y="831057"/>
                    </a:lnTo>
                    <a:lnTo>
                      <a:pt x="109538" y="819150"/>
                    </a:lnTo>
                    <a:lnTo>
                      <a:pt x="133350" y="819150"/>
                    </a:lnTo>
                    <a:lnTo>
                      <a:pt x="142875" y="912019"/>
                    </a:lnTo>
                    <a:lnTo>
                      <a:pt x="171450" y="933450"/>
                    </a:lnTo>
                    <a:lnTo>
                      <a:pt x="180975" y="966788"/>
                    </a:lnTo>
                    <a:lnTo>
                      <a:pt x="221457" y="992982"/>
                    </a:lnTo>
                    <a:lnTo>
                      <a:pt x="254794" y="1035844"/>
                    </a:lnTo>
                    <a:lnTo>
                      <a:pt x="280988" y="1054894"/>
                    </a:lnTo>
                    <a:lnTo>
                      <a:pt x="307182" y="1081088"/>
                    </a:lnTo>
                    <a:lnTo>
                      <a:pt x="319088" y="1088232"/>
                    </a:lnTo>
                    <a:lnTo>
                      <a:pt x="347663" y="1076325"/>
                    </a:lnTo>
                    <a:lnTo>
                      <a:pt x="357188" y="1050132"/>
                    </a:lnTo>
                    <a:lnTo>
                      <a:pt x="392907" y="1033463"/>
                    </a:lnTo>
                    <a:lnTo>
                      <a:pt x="414338" y="1033463"/>
                    </a:lnTo>
                    <a:lnTo>
                      <a:pt x="438150" y="1045369"/>
                    </a:lnTo>
                    <a:lnTo>
                      <a:pt x="461963" y="1073944"/>
                    </a:lnTo>
                    <a:lnTo>
                      <a:pt x="461963" y="1073944"/>
                    </a:lnTo>
                    <a:lnTo>
                      <a:pt x="511969" y="1033463"/>
                    </a:lnTo>
                    <a:lnTo>
                      <a:pt x="547688" y="1033463"/>
                    </a:lnTo>
                    <a:lnTo>
                      <a:pt x="585788" y="1012032"/>
                    </a:lnTo>
                    <a:lnTo>
                      <a:pt x="583407" y="964407"/>
                    </a:lnTo>
                    <a:lnTo>
                      <a:pt x="578644" y="947738"/>
                    </a:lnTo>
                    <a:lnTo>
                      <a:pt x="583407" y="902494"/>
                    </a:lnTo>
                    <a:lnTo>
                      <a:pt x="581025" y="842963"/>
                    </a:lnTo>
                    <a:lnTo>
                      <a:pt x="573882" y="812007"/>
                    </a:lnTo>
                    <a:lnTo>
                      <a:pt x="542925" y="778669"/>
                    </a:lnTo>
                    <a:lnTo>
                      <a:pt x="526257" y="762000"/>
                    </a:lnTo>
                    <a:lnTo>
                      <a:pt x="531019" y="742950"/>
                    </a:lnTo>
                    <a:lnTo>
                      <a:pt x="526257" y="726282"/>
                    </a:lnTo>
                    <a:lnTo>
                      <a:pt x="519113" y="700088"/>
                    </a:lnTo>
                    <a:lnTo>
                      <a:pt x="531019" y="673894"/>
                    </a:lnTo>
                    <a:lnTo>
                      <a:pt x="542925" y="659607"/>
                    </a:lnTo>
                    <a:lnTo>
                      <a:pt x="528638" y="640557"/>
                    </a:lnTo>
                    <a:lnTo>
                      <a:pt x="519113" y="616744"/>
                    </a:lnTo>
                    <a:lnTo>
                      <a:pt x="502444" y="611982"/>
                    </a:lnTo>
                    <a:lnTo>
                      <a:pt x="488157" y="604838"/>
                    </a:lnTo>
                    <a:lnTo>
                      <a:pt x="481013" y="607219"/>
                    </a:lnTo>
                    <a:lnTo>
                      <a:pt x="464344" y="557213"/>
                    </a:lnTo>
                    <a:lnTo>
                      <a:pt x="450057" y="540544"/>
                    </a:lnTo>
                    <a:lnTo>
                      <a:pt x="445294" y="492919"/>
                    </a:lnTo>
                    <a:lnTo>
                      <a:pt x="464344" y="473869"/>
                    </a:lnTo>
                    <a:lnTo>
                      <a:pt x="476250" y="438150"/>
                    </a:lnTo>
                    <a:lnTo>
                      <a:pt x="528638" y="428625"/>
                    </a:lnTo>
                    <a:lnTo>
                      <a:pt x="557213" y="426244"/>
                    </a:lnTo>
                    <a:lnTo>
                      <a:pt x="559594" y="395288"/>
                    </a:lnTo>
                    <a:lnTo>
                      <a:pt x="540544" y="364332"/>
                    </a:lnTo>
                    <a:lnTo>
                      <a:pt x="521494" y="364332"/>
                    </a:lnTo>
                    <a:lnTo>
                      <a:pt x="497682" y="335757"/>
                    </a:lnTo>
                    <a:lnTo>
                      <a:pt x="461963" y="323850"/>
                    </a:lnTo>
                    <a:lnTo>
                      <a:pt x="433388" y="319088"/>
                    </a:lnTo>
                    <a:lnTo>
                      <a:pt x="445294" y="278607"/>
                    </a:lnTo>
                    <a:lnTo>
                      <a:pt x="442913" y="250032"/>
                    </a:lnTo>
                    <a:lnTo>
                      <a:pt x="457200" y="202407"/>
                    </a:lnTo>
                    <a:lnTo>
                      <a:pt x="500063" y="200025"/>
                    </a:lnTo>
                    <a:lnTo>
                      <a:pt x="531019" y="216694"/>
                    </a:lnTo>
                    <a:lnTo>
                      <a:pt x="578644" y="233363"/>
                    </a:lnTo>
                    <a:lnTo>
                      <a:pt x="604838" y="252413"/>
                    </a:lnTo>
                    <a:lnTo>
                      <a:pt x="614363" y="271463"/>
                    </a:lnTo>
                    <a:lnTo>
                      <a:pt x="626269" y="280988"/>
                    </a:lnTo>
                    <a:lnTo>
                      <a:pt x="650082" y="271463"/>
                    </a:lnTo>
                    <a:lnTo>
                      <a:pt x="671513" y="259557"/>
                    </a:lnTo>
                    <a:lnTo>
                      <a:pt x="683419" y="230982"/>
                    </a:lnTo>
                    <a:lnTo>
                      <a:pt x="697707" y="204788"/>
                    </a:lnTo>
                    <a:lnTo>
                      <a:pt x="716757" y="166688"/>
                    </a:lnTo>
                    <a:lnTo>
                      <a:pt x="719138" y="150019"/>
                    </a:lnTo>
                    <a:lnTo>
                      <a:pt x="750094" y="140494"/>
                    </a:lnTo>
                    <a:lnTo>
                      <a:pt x="764382" y="119063"/>
                    </a:lnTo>
                    <a:lnTo>
                      <a:pt x="759619" y="102394"/>
                    </a:lnTo>
                    <a:lnTo>
                      <a:pt x="728663" y="100013"/>
                    </a:lnTo>
                    <a:lnTo>
                      <a:pt x="704850" y="107157"/>
                    </a:lnTo>
                    <a:lnTo>
                      <a:pt x="695325" y="126207"/>
                    </a:lnTo>
                    <a:lnTo>
                      <a:pt x="661988" y="121444"/>
                    </a:lnTo>
                    <a:lnTo>
                      <a:pt x="633413" y="114300"/>
                    </a:lnTo>
                    <a:lnTo>
                      <a:pt x="602457" y="102394"/>
                    </a:lnTo>
                    <a:lnTo>
                      <a:pt x="581025" y="83344"/>
                    </a:lnTo>
                    <a:lnTo>
                      <a:pt x="569119" y="50007"/>
                    </a:lnTo>
                    <a:lnTo>
                      <a:pt x="559594" y="16669"/>
                    </a:lnTo>
                    <a:lnTo>
                      <a:pt x="550069" y="0"/>
                    </a:lnTo>
                    <a:lnTo>
                      <a:pt x="535782" y="9525"/>
                    </a:lnTo>
                    <a:lnTo>
                      <a:pt x="481013" y="83344"/>
                    </a:lnTo>
                    <a:lnTo>
                      <a:pt x="433388" y="80963"/>
                    </a:lnTo>
                    <a:lnTo>
                      <a:pt x="414338" y="71438"/>
                    </a:lnTo>
                    <a:lnTo>
                      <a:pt x="404813" y="61913"/>
                    </a:lnTo>
                    <a:lnTo>
                      <a:pt x="411957" y="107157"/>
                    </a:lnTo>
                    <a:lnTo>
                      <a:pt x="421482" y="130969"/>
                    </a:lnTo>
                    <a:lnTo>
                      <a:pt x="421482" y="159544"/>
                    </a:lnTo>
                    <a:lnTo>
                      <a:pt x="411957" y="180975"/>
                    </a:lnTo>
                    <a:lnTo>
                      <a:pt x="383382" y="192882"/>
                    </a:lnTo>
                    <a:lnTo>
                      <a:pt x="388144" y="221457"/>
                    </a:lnTo>
                    <a:lnTo>
                      <a:pt x="385763" y="238125"/>
                    </a:lnTo>
                    <a:lnTo>
                      <a:pt x="376238" y="254794"/>
                    </a:lnTo>
                    <a:lnTo>
                      <a:pt x="350044" y="264319"/>
                    </a:lnTo>
                    <a:lnTo>
                      <a:pt x="347663" y="292894"/>
                    </a:lnTo>
                    <a:lnTo>
                      <a:pt x="347663" y="292894"/>
                    </a:lnTo>
                    <a:lnTo>
                      <a:pt x="385763" y="314325"/>
                    </a:lnTo>
                    <a:lnTo>
                      <a:pt x="385763" y="359569"/>
                    </a:lnTo>
                    <a:lnTo>
                      <a:pt x="319088" y="392907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49" name="Freeform 14">
                <a:extLst>
                  <a:ext uri="{FF2B5EF4-FFF2-40B4-BE49-F238E27FC236}">
                    <a16:creationId xmlns:a16="http://schemas.microsoft.com/office/drawing/2014/main" id="{473E7B5D-5867-49D6-A0F7-9A5029750BE0}"/>
                  </a:ext>
                </a:extLst>
              </p:cNvPr>
              <p:cNvSpPr/>
              <p:nvPr/>
            </p:nvSpPr>
            <p:spPr>
              <a:xfrm>
                <a:off x="2906713" y="3486150"/>
                <a:ext cx="973137" cy="863600"/>
              </a:xfrm>
              <a:custGeom>
                <a:avLst/>
                <a:gdLst>
                  <a:gd name="connsiteX0" fmla="*/ 461963 w 973932"/>
                  <a:gd name="connsiteY0" fmla="*/ 0 h 864394"/>
                  <a:gd name="connsiteX1" fmla="*/ 454819 w 973932"/>
                  <a:gd name="connsiteY1" fmla="*/ 71438 h 864394"/>
                  <a:gd name="connsiteX2" fmla="*/ 411957 w 973932"/>
                  <a:gd name="connsiteY2" fmla="*/ 78582 h 864394"/>
                  <a:gd name="connsiteX3" fmla="*/ 395288 w 973932"/>
                  <a:gd name="connsiteY3" fmla="*/ 66675 h 864394"/>
                  <a:gd name="connsiteX4" fmla="*/ 359569 w 973932"/>
                  <a:gd name="connsiteY4" fmla="*/ 64294 h 864394"/>
                  <a:gd name="connsiteX5" fmla="*/ 333375 w 973932"/>
                  <a:gd name="connsiteY5" fmla="*/ 64294 h 864394"/>
                  <a:gd name="connsiteX6" fmla="*/ 304800 w 973932"/>
                  <a:gd name="connsiteY6" fmla="*/ 76200 h 864394"/>
                  <a:gd name="connsiteX7" fmla="*/ 271463 w 973932"/>
                  <a:gd name="connsiteY7" fmla="*/ 100013 h 864394"/>
                  <a:gd name="connsiteX8" fmla="*/ 214313 w 973932"/>
                  <a:gd name="connsiteY8" fmla="*/ 59532 h 864394"/>
                  <a:gd name="connsiteX9" fmla="*/ 142875 w 973932"/>
                  <a:gd name="connsiteY9" fmla="*/ 61913 h 864394"/>
                  <a:gd name="connsiteX10" fmla="*/ 92869 w 973932"/>
                  <a:gd name="connsiteY10" fmla="*/ 50007 h 864394"/>
                  <a:gd name="connsiteX11" fmla="*/ 33338 w 973932"/>
                  <a:gd name="connsiteY11" fmla="*/ 97632 h 864394"/>
                  <a:gd name="connsiteX12" fmla="*/ 4763 w 973932"/>
                  <a:gd name="connsiteY12" fmla="*/ 121444 h 864394"/>
                  <a:gd name="connsiteX13" fmla="*/ 0 w 973932"/>
                  <a:gd name="connsiteY13" fmla="*/ 147638 h 864394"/>
                  <a:gd name="connsiteX14" fmla="*/ 47625 w 973932"/>
                  <a:gd name="connsiteY14" fmla="*/ 200025 h 864394"/>
                  <a:gd name="connsiteX15" fmla="*/ 66675 w 973932"/>
                  <a:gd name="connsiteY15" fmla="*/ 271463 h 864394"/>
                  <a:gd name="connsiteX16" fmla="*/ 102394 w 973932"/>
                  <a:gd name="connsiteY16" fmla="*/ 300038 h 864394"/>
                  <a:gd name="connsiteX17" fmla="*/ 130969 w 973932"/>
                  <a:gd name="connsiteY17" fmla="*/ 319088 h 864394"/>
                  <a:gd name="connsiteX18" fmla="*/ 166688 w 973932"/>
                  <a:gd name="connsiteY18" fmla="*/ 333375 h 864394"/>
                  <a:gd name="connsiteX19" fmla="*/ 192882 w 973932"/>
                  <a:gd name="connsiteY19" fmla="*/ 338138 h 864394"/>
                  <a:gd name="connsiteX20" fmla="*/ 228600 w 973932"/>
                  <a:gd name="connsiteY20" fmla="*/ 326232 h 864394"/>
                  <a:gd name="connsiteX21" fmla="*/ 252413 w 973932"/>
                  <a:gd name="connsiteY21" fmla="*/ 316707 h 864394"/>
                  <a:gd name="connsiteX22" fmla="*/ 271463 w 973932"/>
                  <a:gd name="connsiteY22" fmla="*/ 304800 h 864394"/>
                  <a:gd name="connsiteX23" fmla="*/ 300038 w 973932"/>
                  <a:gd name="connsiteY23" fmla="*/ 288132 h 864394"/>
                  <a:gd name="connsiteX24" fmla="*/ 321469 w 973932"/>
                  <a:gd name="connsiteY24" fmla="*/ 309563 h 864394"/>
                  <a:gd name="connsiteX25" fmla="*/ 319088 w 973932"/>
                  <a:gd name="connsiteY25" fmla="*/ 342900 h 864394"/>
                  <a:gd name="connsiteX26" fmla="*/ 300038 w 973932"/>
                  <a:gd name="connsiteY26" fmla="*/ 381000 h 864394"/>
                  <a:gd name="connsiteX27" fmla="*/ 271463 w 973932"/>
                  <a:gd name="connsiteY27" fmla="*/ 411957 h 864394"/>
                  <a:gd name="connsiteX28" fmla="*/ 238125 w 973932"/>
                  <a:gd name="connsiteY28" fmla="*/ 423863 h 864394"/>
                  <a:gd name="connsiteX29" fmla="*/ 211932 w 973932"/>
                  <a:gd name="connsiteY29" fmla="*/ 431007 h 864394"/>
                  <a:gd name="connsiteX30" fmla="*/ 161925 w 973932"/>
                  <a:gd name="connsiteY30" fmla="*/ 433388 h 864394"/>
                  <a:gd name="connsiteX31" fmla="*/ 123825 w 973932"/>
                  <a:gd name="connsiteY31" fmla="*/ 416719 h 864394"/>
                  <a:gd name="connsiteX32" fmla="*/ 123825 w 973932"/>
                  <a:gd name="connsiteY32" fmla="*/ 395288 h 864394"/>
                  <a:gd name="connsiteX33" fmla="*/ 107157 w 973932"/>
                  <a:gd name="connsiteY33" fmla="*/ 376238 h 864394"/>
                  <a:gd name="connsiteX34" fmla="*/ 107157 w 973932"/>
                  <a:gd name="connsiteY34" fmla="*/ 376238 h 864394"/>
                  <a:gd name="connsiteX35" fmla="*/ 78582 w 973932"/>
                  <a:gd name="connsiteY35" fmla="*/ 416719 h 864394"/>
                  <a:gd name="connsiteX36" fmla="*/ 66675 w 973932"/>
                  <a:gd name="connsiteY36" fmla="*/ 461963 h 864394"/>
                  <a:gd name="connsiteX37" fmla="*/ 88107 w 973932"/>
                  <a:gd name="connsiteY37" fmla="*/ 481013 h 864394"/>
                  <a:gd name="connsiteX38" fmla="*/ 109538 w 973932"/>
                  <a:gd name="connsiteY38" fmla="*/ 511969 h 864394"/>
                  <a:gd name="connsiteX39" fmla="*/ 140494 w 973932"/>
                  <a:gd name="connsiteY39" fmla="*/ 533400 h 864394"/>
                  <a:gd name="connsiteX40" fmla="*/ 145257 w 973932"/>
                  <a:gd name="connsiteY40" fmla="*/ 557213 h 864394"/>
                  <a:gd name="connsiteX41" fmla="*/ 152400 w 973932"/>
                  <a:gd name="connsiteY41" fmla="*/ 566738 h 864394"/>
                  <a:gd name="connsiteX42" fmla="*/ 180975 w 973932"/>
                  <a:gd name="connsiteY42" fmla="*/ 595313 h 864394"/>
                  <a:gd name="connsiteX43" fmla="*/ 188119 w 973932"/>
                  <a:gd name="connsiteY43" fmla="*/ 661988 h 864394"/>
                  <a:gd name="connsiteX44" fmla="*/ 209550 w 973932"/>
                  <a:gd name="connsiteY44" fmla="*/ 681038 h 864394"/>
                  <a:gd name="connsiteX45" fmla="*/ 233363 w 973932"/>
                  <a:gd name="connsiteY45" fmla="*/ 688182 h 864394"/>
                  <a:gd name="connsiteX46" fmla="*/ 252413 w 973932"/>
                  <a:gd name="connsiteY46" fmla="*/ 702469 h 864394"/>
                  <a:gd name="connsiteX47" fmla="*/ 278607 w 973932"/>
                  <a:gd name="connsiteY47" fmla="*/ 721519 h 864394"/>
                  <a:gd name="connsiteX48" fmla="*/ 307182 w 973932"/>
                  <a:gd name="connsiteY48" fmla="*/ 766763 h 864394"/>
                  <a:gd name="connsiteX49" fmla="*/ 340519 w 973932"/>
                  <a:gd name="connsiteY49" fmla="*/ 773907 h 864394"/>
                  <a:gd name="connsiteX50" fmla="*/ 359569 w 973932"/>
                  <a:gd name="connsiteY50" fmla="*/ 759619 h 864394"/>
                  <a:gd name="connsiteX51" fmla="*/ 357188 w 973932"/>
                  <a:gd name="connsiteY51" fmla="*/ 738188 h 864394"/>
                  <a:gd name="connsiteX52" fmla="*/ 364332 w 973932"/>
                  <a:gd name="connsiteY52" fmla="*/ 716757 h 864394"/>
                  <a:gd name="connsiteX53" fmla="*/ 383382 w 973932"/>
                  <a:gd name="connsiteY53" fmla="*/ 711994 h 864394"/>
                  <a:gd name="connsiteX54" fmla="*/ 404813 w 973932"/>
                  <a:gd name="connsiteY54" fmla="*/ 721519 h 864394"/>
                  <a:gd name="connsiteX55" fmla="*/ 431007 w 973932"/>
                  <a:gd name="connsiteY55" fmla="*/ 733425 h 864394"/>
                  <a:gd name="connsiteX56" fmla="*/ 454819 w 973932"/>
                  <a:gd name="connsiteY56" fmla="*/ 740569 h 864394"/>
                  <a:gd name="connsiteX57" fmla="*/ 476250 w 973932"/>
                  <a:gd name="connsiteY57" fmla="*/ 728663 h 864394"/>
                  <a:gd name="connsiteX58" fmla="*/ 490538 w 973932"/>
                  <a:gd name="connsiteY58" fmla="*/ 704850 h 864394"/>
                  <a:gd name="connsiteX59" fmla="*/ 523875 w 973932"/>
                  <a:gd name="connsiteY59" fmla="*/ 683419 h 864394"/>
                  <a:gd name="connsiteX60" fmla="*/ 557213 w 973932"/>
                  <a:gd name="connsiteY60" fmla="*/ 685800 h 864394"/>
                  <a:gd name="connsiteX61" fmla="*/ 576263 w 973932"/>
                  <a:gd name="connsiteY61" fmla="*/ 664369 h 864394"/>
                  <a:gd name="connsiteX62" fmla="*/ 585788 w 973932"/>
                  <a:gd name="connsiteY62" fmla="*/ 626269 h 864394"/>
                  <a:gd name="connsiteX63" fmla="*/ 578644 w 973932"/>
                  <a:gd name="connsiteY63" fmla="*/ 585788 h 864394"/>
                  <a:gd name="connsiteX64" fmla="*/ 590550 w 973932"/>
                  <a:gd name="connsiteY64" fmla="*/ 533400 h 864394"/>
                  <a:gd name="connsiteX65" fmla="*/ 590550 w 973932"/>
                  <a:gd name="connsiteY65" fmla="*/ 490538 h 864394"/>
                  <a:gd name="connsiteX66" fmla="*/ 621507 w 973932"/>
                  <a:gd name="connsiteY66" fmla="*/ 473869 h 864394"/>
                  <a:gd name="connsiteX67" fmla="*/ 650082 w 973932"/>
                  <a:gd name="connsiteY67" fmla="*/ 492919 h 864394"/>
                  <a:gd name="connsiteX68" fmla="*/ 652463 w 973932"/>
                  <a:gd name="connsiteY68" fmla="*/ 523875 h 864394"/>
                  <a:gd name="connsiteX69" fmla="*/ 645319 w 973932"/>
                  <a:gd name="connsiteY69" fmla="*/ 550069 h 864394"/>
                  <a:gd name="connsiteX70" fmla="*/ 645319 w 973932"/>
                  <a:gd name="connsiteY70" fmla="*/ 581025 h 864394"/>
                  <a:gd name="connsiteX71" fmla="*/ 666750 w 973932"/>
                  <a:gd name="connsiteY71" fmla="*/ 602457 h 864394"/>
                  <a:gd name="connsiteX72" fmla="*/ 669132 w 973932"/>
                  <a:gd name="connsiteY72" fmla="*/ 654844 h 864394"/>
                  <a:gd name="connsiteX73" fmla="*/ 645319 w 973932"/>
                  <a:gd name="connsiteY73" fmla="*/ 709613 h 864394"/>
                  <a:gd name="connsiteX74" fmla="*/ 642938 w 973932"/>
                  <a:gd name="connsiteY74" fmla="*/ 771525 h 864394"/>
                  <a:gd name="connsiteX75" fmla="*/ 640557 w 973932"/>
                  <a:gd name="connsiteY75" fmla="*/ 795338 h 864394"/>
                  <a:gd name="connsiteX76" fmla="*/ 640557 w 973932"/>
                  <a:gd name="connsiteY76" fmla="*/ 814388 h 864394"/>
                  <a:gd name="connsiteX77" fmla="*/ 621507 w 973932"/>
                  <a:gd name="connsiteY77" fmla="*/ 826294 h 864394"/>
                  <a:gd name="connsiteX78" fmla="*/ 623888 w 973932"/>
                  <a:gd name="connsiteY78" fmla="*/ 845344 h 864394"/>
                  <a:gd name="connsiteX79" fmla="*/ 640557 w 973932"/>
                  <a:gd name="connsiteY79" fmla="*/ 857250 h 864394"/>
                  <a:gd name="connsiteX80" fmla="*/ 659607 w 973932"/>
                  <a:gd name="connsiteY80" fmla="*/ 850107 h 864394"/>
                  <a:gd name="connsiteX81" fmla="*/ 678657 w 973932"/>
                  <a:gd name="connsiteY81" fmla="*/ 857250 h 864394"/>
                  <a:gd name="connsiteX82" fmla="*/ 702469 w 973932"/>
                  <a:gd name="connsiteY82" fmla="*/ 862013 h 864394"/>
                  <a:gd name="connsiteX83" fmla="*/ 726282 w 973932"/>
                  <a:gd name="connsiteY83" fmla="*/ 864394 h 864394"/>
                  <a:gd name="connsiteX84" fmla="*/ 752475 w 973932"/>
                  <a:gd name="connsiteY84" fmla="*/ 852488 h 864394"/>
                  <a:gd name="connsiteX85" fmla="*/ 766763 w 973932"/>
                  <a:gd name="connsiteY85" fmla="*/ 823913 h 864394"/>
                  <a:gd name="connsiteX86" fmla="*/ 773907 w 973932"/>
                  <a:gd name="connsiteY86" fmla="*/ 792957 h 864394"/>
                  <a:gd name="connsiteX87" fmla="*/ 766763 w 973932"/>
                  <a:gd name="connsiteY87" fmla="*/ 769144 h 864394"/>
                  <a:gd name="connsiteX88" fmla="*/ 795338 w 973932"/>
                  <a:gd name="connsiteY88" fmla="*/ 764382 h 864394"/>
                  <a:gd name="connsiteX89" fmla="*/ 831057 w 973932"/>
                  <a:gd name="connsiteY89" fmla="*/ 709613 h 864394"/>
                  <a:gd name="connsiteX90" fmla="*/ 890588 w 973932"/>
                  <a:gd name="connsiteY90" fmla="*/ 688182 h 864394"/>
                  <a:gd name="connsiteX91" fmla="*/ 902494 w 973932"/>
                  <a:gd name="connsiteY91" fmla="*/ 661988 h 864394"/>
                  <a:gd name="connsiteX92" fmla="*/ 902494 w 973932"/>
                  <a:gd name="connsiteY92" fmla="*/ 661988 h 864394"/>
                  <a:gd name="connsiteX93" fmla="*/ 864394 w 973932"/>
                  <a:gd name="connsiteY93" fmla="*/ 645319 h 864394"/>
                  <a:gd name="connsiteX94" fmla="*/ 845344 w 973932"/>
                  <a:gd name="connsiteY94" fmla="*/ 600075 h 864394"/>
                  <a:gd name="connsiteX95" fmla="*/ 881063 w 973932"/>
                  <a:gd name="connsiteY95" fmla="*/ 581025 h 864394"/>
                  <a:gd name="connsiteX96" fmla="*/ 921544 w 973932"/>
                  <a:gd name="connsiteY96" fmla="*/ 538163 h 864394"/>
                  <a:gd name="connsiteX97" fmla="*/ 912019 w 973932"/>
                  <a:gd name="connsiteY97" fmla="*/ 492919 h 864394"/>
                  <a:gd name="connsiteX98" fmla="*/ 907257 w 973932"/>
                  <a:gd name="connsiteY98" fmla="*/ 466725 h 864394"/>
                  <a:gd name="connsiteX99" fmla="*/ 892969 w 973932"/>
                  <a:gd name="connsiteY99" fmla="*/ 442913 h 864394"/>
                  <a:gd name="connsiteX100" fmla="*/ 907257 w 973932"/>
                  <a:gd name="connsiteY100" fmla="*/ 421482 h 864394"/>
                  <a:gd name="connsiteX101" fmla="*/ 935832 w 973932"/>
                  <a:gd name="connsiteY101" fmla="*/ 411957 h 864394"/>
                  <a:gd name="connsiteX102" fmla="*/ 962025 w 973932"/>
                  <a:gd name="connsiteY102" fmla="*/ 402432 h 864394"/>
                  <a:gd name="connsiteX103" fmla="*/ 973932 w 973932"/>
                  <a:gd name="connsiteY103" fmla="*/ 395288 h 864394"/>
                  <a:gd name="connsiteX104" fmla="*/ 973932 w 973932"/>
                  <a:gd name="connsiteY104" fmla="*/ 361950 h 864394"/>
                  <a:gd name="connsiteX105" fmla="*/ 892969 w 973932"/>
                  <a:gd name="connsiteY105" fmla="*/ 328613 h 864394"/>
                  <a:gd name="connsiteX106" fmla="*/ 854869 w 973932"/>
                  <a:gd name="connsiteY106" fmla="*/ 257175 h 864394"/>
                  <a:gd name="connsiteX107" fmla="*/ 840582 w 973932"/>
                  <a:gd name="connsiteY107" fmla="*/ 204788 h 864394"/>
                  <a:gd name="connsiteX108" fmla="*/ 804863 w 973932"/>
                  <a:gd name="connsiteY108" fmla="*/ 190500 h 864394"/>
                  <a:gd name="connsiteX109" fmla="*/ 785813 w 973932"/>
                  <a:gd name="connsiteY109" fmla="*/ 164307 h 864394"/>
                  <a:gd name="connsiteX110" fmla="*/ 769144 w 973932"/>
                  <a:gd name="connsiteY110" fmla="*/ 102394 h 864394"/>
                  <a:gd name="connsiteX111" fmla="*/ 726282 w 973932"/>
                  <a:gd name="connsiteY111" fmla="*/ 76200 h 864394"/>
                  <a:gd name="connsiteX112" fmla="*/ 669132 w 973932"/>
                  <a:gd name="connsiteY112" fmla="*/ 71438 h 864394"/>
                  <a:gd name="connsiteX113" fmla="*/ 650082 w 973932"/>
                  <a:gd name="connsiteY113" fmla="*/ 30957 h 864394"/>
                  <a:gd name="connsiteX114" fmla="*/ 559594 w 973932"/>
                  <a:gd name="connsiteY114" fmla="*/ 4763 h 864394"/>
                  <a:gd name="connsiteX115" fmla="*/ 461963 w 973932"/>
                  <a:gd name="connsiteY115" fmla="*/ 0 h 864394"/>
                  <a:gd name="connsiteX0" fmla="*/ 461963 w 973932"/>
                  <a:gd name="connsiteY0" fmla="*/ 0 h 864394"/>
                  <a:gd name="connsiteX1" fmla="*/ 454819 w 973932"/>
                  <a:gd name="connsiteY1" fmla="*/ 71438 h 864394"/>
                  <a:gd name="connsiteX2" fmla="*/ 411957 w 973932"/>
                  <a:gd name="connsiteY2" fmla="*/ 78582 h 864394"/>
                  <a:gd name="connsiteX3" fmla="*/ 395288 w 973932"/>
                  <a:gd name="connsiteY3" fmla="*/ 66675 h 864394"/>
                  <a:gd name="connsiteX4" fmla="*/ 359569 w 973932"/>
                  <a:gd name="connsiteY4" fmla="*/ 64294 h 864394"/>
                  <a:gd name="connsiteX5" fmla="*/ 333375 w 973932"/>
                  <a:gd name="connsiteY5" fmla="*/ 64294 h 864394"/>
                  <a:gd name="connsiteX6" fmla="*/ 304800 w 973932"/>
                  <a:gd name="connsiteY6" fmla="*/ 76200 h 864394"/>
                  <a:gd name="connsiteX7" fmla="*/ 271463 w 973932"/>
                  <a:gd name="connsiteY7" fmla="*/ 100013 h 864394"/>
                  <a:gd name="connsiteX8" fmla="*/ 214313 w 973932"/>
                  <a:gd name="connsiteY8" fmla="*/ 59532 h 864394"/>
                  <a:gd name="connsiteX9" fmla="*/ 142875 w 973932"/>
                  <a:gd name="connsiteY9" fmla="*/ 61913 h 864394"/>
                  <a:gd name="connsiteX10" fmla="*/ 92869 w 973932"/>
                  <a:gd name="connsiteY10" fmla="*/ 50007 h 864394"/>
                  <a:gd name="connsiteX11" fmla="*/ 33338 w 973932"/>
                  <a:gd name="connsiteY11" fmla="*/ 97632 h 864394"/>
                  <a:gd name="connsiteX12" fmla="*/ 4763 w 973932"/>
                  <a:gd name="connsiteY12" fmla="*/ 121444 h 864394"/>
                  <a:gd name="connsiteX13" fmla="*/ 0 w 973932"/>
                  <a:gd name="connsiteY13" fmla="*/ 147638 h 864394"/>
                  <a:gd name="connsiteX14" fmla="*/ 47625 w 973932"/>
                  <a:gd name="connsiteY14" fmla="*/ 200025 h 864394"/>
                  <a:gd name="connsiteX15" fmla="*/ 66675 w 973932"/>
                  <a:gd name="connsiteY15" fmla="*/ 271463 h 864394"/>
                  <a:gd name="connsiteX16" fmla="*/ 102394 w 973932"/>
                  <a:gd name="connsiteY16" fmla="*/ 300038 h 864394"/>
                  <a:gd name="connsiteX17" fmla="*/ 130969 w 973932"/>
                  <a:gd name="connsiteY17" fmla="*/ 319088 h 864394"/>
                  <a:gd name="connsiteX18" fmla="*/ 166688 w 973932"/>
                  <a:gd name="connsiteY18" fmla="*/ 333375 h 864394"/>
                  <a:gd name="connsiteX19" fmla="*/ 192882 w 973932"/>
                  <a:gd name="connsiteY19" fmla="*/ 338138 h 864394"/>
                  <a:gd name="connsiteX20" fmla="*/ 228600 w 973932"/>
                  <a:gd name="connsiteY20" fmla="*/ 326232 h 864394"/>
                  <a:gd name="connsiteX21" fmla="*/ 252413 w 973932"/>
                  <a:gd name="connsiteY21" fmla="*/ 316707 h 864394"/>
                  <a:gd name="connsiteX22" fmla="*/ 271463 w 973932"/>
                  <a:gd name="connsiteY22" fmla="*/ 304800 h 864394"/>
                  <a:gd name="connsiteX23" fmla="*/ 300038 w 973932"/>
                  <a:gd name="connsiteY23" fmla="*/ 288132 h 864394"/>
                  <a:gd name="connsiteX24" fmla="*/ 321469 w 973932"/>
                  <a:gd name="connsiteY24" fmla="*/ 309563 h 864394"/>
                  <a:gd name="connsiteX25" fmla="*/ 319088 w 973932"/>
                  <a:gd name="connsiteY25" fmla="*/ 342900 h 864394"/>
                  <a:gd name="connsiteX26" fmla="*/ 300038 w 973932"/>
                  <a:gd name="connsiteY26" fmla="*/ 381000 h 864394"/>
                  <a:gd name="connsiteX27" fmla="*/ 271463 w 973932"/>
                  <a:gd name="connsiteY27" fmla="*/ 411957 h 864394"/>
                  <a:gd name="connsiteX28" fmla="*/ 238125 w 973932"/>
                  <a:gd name="connsiteY28" fmla="*/ 423863 h 864394"/>
                  <a:gd name="connsiteX29" fmla="*/ 211932 w 973932"/>
                  <a:gd name="connsiteY29" fmla="*/ 431007 h 864394"/>
                  <a:gd name="connsiteX30" fmla="*/ 161925 w 973932"/>
                  <a:gd name="connsiteY30" fmla="*/ 433388 h 864394"/>
                  <a:gd name="connsiteX31" fmla="*/ 123825 w 973932"/>
                  <a:gd name="connsiteY31" fmla="*/ 416719 h 864394"/>
                  <a:gd name="connsiteX32" fmla="*/ 123825 w 973932"/>
                  <a:gd name="connsiteY32" fmla="*/ 395288 h 864394"/>
                  <a:gd name="connsiteX33" fmla="*/ 107157 w 973932"/>
                  <a:gd name="connsiteY33" fmla="*/ 376238 h 864394"/>
                  <a:gd name="connsiteX34" fmla="*/ 107157 w 973932"/>
                  <a:gd name="connsiteY34" fmla="*/ 376238 h 864394"/>
                  <a:gd name="connsiteX35" fmla="*/ 78582 w 973932"/>
                  <a:gd name="connsiteY35" fmla="*/ 416719 h 864394"/>
                  <a:gd name="connsiteX36" fmla="*/ 66675 w 973932"/>
                  <a:gd name="connsiteY36" fmla="*/ 461963 h 864394"/>
                  <a:gd name="connsiteX37" fmla="*/ 88107 w 973932"/>
                  <a:gd name="connsiteY37" fmla="*/ 481013 h 864394"/>
                  <a:gd name="connsiteX38" fmla="*/ 109538 w 973932"/>
                  <a:gd name="connsiteY38" fmla="*/ 511969 h 864394"/>
                  <a:gd name="connsiteX39" fmla="*/ 140494 w 973932"/>
                  <a:gd name="connsiteY39" fmla="*/ 533400 h 864394"/>
                  <a:gd name="connsiteX40" fmla="*/ 145257 w 973932"/>
                  <a:gd name="connsiteY40" fmla="*/ 557213 h 864394"/>
                  <a:gd name="connsiteX41" fmla="*/ 152400 w 973932"/>
                  <a:gd name="connsiteY41" fmla="*/ 566738 h 864394"/>
                  <a:gd name="connsiteX42" fmla="*/ 180975 w 973932"/>
                  <a:gd name="connsiteY42" fmla="*/ 595313 h 864394"/>
                  <a:gd name="connsiteX43" fmla="*/ 188119 w 973932"/>
                  <a:gd name="connsiteY43" fmla="*/ 661988 h 864394"/>
                  <a:gd name="connsiteX44" fmla="*/ 209550 w 973932"/>
                  <a:gd name="connsiteY44" fmla="*/ 681038 h 864394"/>
                  <a:gd name="connsiteX45" fmla="*/ 233363 w 973932"/>
                  <a:gd name="connsiteY45" fmla="*/ 688182 h 864394"/>
                  <a:gd name="connsiteX46" fmla="*/ 252413 w 973932"/>
                  <a:gd name="connsiteY46" fmla="*/ 702469 h 864394"/>
                  <a:gd name="connsiteX47" fmla="*/ 278607 w 973932"/>
                  <a:gd name="connsiteY47" fmla="*/ 721519 h 864394"/>
                  <a:gd name="connsiteX48" fmla="*/ 307182 w 973932"/>
                  <a:gd name="connsiteY48" fmla="*/ 766763 h 864394"/>
                  <a:gd name="connsiteX49" fmla="*/ 340519 w 973932"/>
                  <a:gd name="connsiteY49" fmla="*/ 773907 h 864394"/>
                  <a:gd name="connsiteX50" fmla="*/ 359569 w 973932"/>
                  <a:gd name="connsiteY50" fmla="*/ 759619 h 864394"/>
                  <a:gd name="connsiteX51" fmla="*/ 357188 w 973932"/>
                  <a:gd name="connsiteY51" fmla="*/ 738188 h 864394"/>
                  <a:gd name="connsiteX52" fmla="*/ 364332 w 973932"/>
                  <a:gd name="connsiteY52" fmla="*/ 716757 h 864394"/>
                  <a:gd name="connsiteX53" fmla="*/ 383382 w 973932"/>
                  <a:gd name="connsiteY53" fmla="*/ 711994 h 864394"/>
                  <a:gd name="connsiteX54" fmla="*/ 404813 w 973932"/>
                  <a:gd name="connsiteY54" fmla="*/ 721519 h 864394"/>
                  <a:gd name="connsiteX55" fmla="*/ 431007 w 973932"/>
                  <a:gd name="connsiteY55" fmla="*/ 733425 h 864394"/>
                  <a:gd name="connsiteX56" fmla="*/ 454819 w 973932"/>
                  <a:gd name="connsiteY56" fmla="*/ 740569 h 864394"/>
                  <a:gd name="connsiteX57" fmla="*/ 476250 w 973932"/>
                  <a:gd name="connsiteY57" fmla="*/ 728663 h 864394"/>
                  <a:gd name="connsiteX58" fmla="*/ 490538 w 973932"/>
                  <a:gd name="connsiteY58" fmla="*/ 704850 h 864394"/>
                  <a:gd name="connsiteX59" fmla="*/ 523875 w 973932"/>
                  <a:gd name="connsiteY59" fmla="*/ 683419 h 864394"/>
                  <a:gd name="connsiteX60" fmla="*/ 557213 w 973932"/>
                  <a:gd name="connsiteY60" fmla="*/ 685800 h 864394"/>
                  <a:gd name="connsiteX61" fmla="*/ 576263 w 973932"/>
                  <a:gd name="connsiteY61" fmla="*/ 664369 h 864394"/>
                  <a:gd name="connsiteX62" fmla="*/ 585788 w 973932"/>
                  <a:gd name="connsiteY62" fmla="*/ 626269 h 864394"/>
                  <a:gd name="connsiteX63" fmla="*/ 578644 w 973932"/>
                  <a:gd name="connsiteY63" fmla="*/ 585788 h 864394"/>
                  <a:gd name="connsiteX64" fmla="*/ 602457 w 973932"/>
                  <a:gd name="connsiteY64" fmla="*/ 535781 h 864394"/>
                  <a:gd name="connsiteX65" fmla="*/ 590550 w 973932"/>
                  <a:gd name="connsiteY65" fmla="*/ 490538 h 864394"/>
                  <a:gd name="connsiteX66" fmla="*/ 621507 w 973932"/>
                  <a:gd name="connsiteY66" fmla="*/ 473869 h 864394"/>
                  <a:gd name="connsiteX67" fmla="*/ 650082 w 973932"/>
                  <a:gd name="connsiteY67" fmla="*/ 492919 h 864394"/>
                  <a:gd name="connsiteX68" fmla="*/ 652463 w 973932"/>
                  <a:gd name="connsiteY68" fmla="*/ 523875 h 864394"/>
                  <a:gd name="connsiteX69" fmla="*/ 645319 w 973932"/>
                  <a:gd name="connsiteY69" fmla="*/ 550069 h 864394"/>
                  <a:gd name="connsiteX70" fmla="*/ 645319 w 973932"/>
                  <a:gd name="connsiteY70" fmla="*/ 581025 h 864394"/>
                  <a:gd name="connsiteX71" fmla="*/ 666750 w 973932"/>
                  <a:gd name="connsiteY71" fmla="*/ 602457 h 864394"/>
                  <a:gd name="connsiteX72" fmla="*/ 669132 w 973932"/>
                  <a:gd name="connsiteY72" fmla="*/ 654844 h 864394"/>
                  <a:gd name="connsiteX73" fmla="*/ 645319 w 973932"/>
                  <a:gd name="connsiteY73" fmla="*/ 709613 h 864394"/>
                  <a:gd name="connsiteX74" fmla="*/ 642938 w 973932"/>
                  <a:gd name="connsiteY74" fmla="*/ 771525 h 864394"/>
                  <a:gd name="connsiteX75" fmla="*/ 640557 w 973932"/>
                  <a:gd name="connsiteY75" fmla="*/ 795338 h 864394"/>
                  <a:gd name="connsiteX76" fmla="*/ 640557 w 973932"/>
                  <a:gd name="connsiteY76" fmla="*/ 814388 h 864394"/>
                  <a:gd name="connsiteX77" fmla="*/ 621507 w 973932"/>
                  <a:gd name="connsiteY77" fmla="*/ 826294 h 864394"/>
                  <a:gd name="connsiteX78" fmla="*/ 623888 w 973932"/>
                  <a:gd name="connsiteY78" fmla="*/ 845344 h 864394"/>
                  <a:gd name="connsiteX79" fmla="*/ 640557 w 973932"/>
                  <a:gd name="connsiteY79" fmla="*/ 857250 h 864394"/>
                  <a:gd name="connsiteX80" fmla="*/ 659607 w 973932"/>
                  <a:gd name="connsiteY80" fmla="*/ 850107 h 864394"/>
                  <a:gd name="connsiteX81" fmla="*/ 678657 w 973932"/>
                  <a:gd name="connsiteY81" fmla="*/ 857250 h 864394"/>
                  <a:gd name="connsiteX82" fmla="*/ 702469 w 973932"/>
                  <a:gd name="connsiteY82" fmla="*/ 862013 h 864394"/>
                  <a:gd name="connsiteX83" fmla="*/ 726282 w 973932"/>
                  <a:gd name="connsiteY83" fmla="*/ 864394 h 864394"/>
                  <a:gd name="connsiteX84" fmla="*/ 752475 w 973932"/>
                  <a:gd name="connsiteY84" fmla="*/ 852488 h 864394"/>
                  <a:gd name="connsiteX85" fmla="*/ 766763 w 973932"/>
                  <a:gd name="connsiteY85" fmla="*/ 823913 h 864394"/>
                  <a:gd name="connsiteX86" fmla="*/ 773907 w 973932"/>
                  <a:gd name="connsiteY86" fmla="*/ 792957 h 864394"/>
                  <a:gd name="connsiteX87" fmla="*/ 766763 w 973932"/>
                  <a:gd name="connsiteY87" fmla="*/ 769144 h 864394"/>
                  <a:gd name="connsiteX88" fmla="*/ 795338 w 973932"/>
                  <a:gd name="connsiteY88" fmla="*/ 764382 h 864394"/>
                  <a:gd name="connsiteX89" fmla="*/ 831057 w 973932"/>
                  <a:gd name="connsiteY89" fmla="*/ 709613 h 864394"/>
                  <a:gd name="connsiteX90" fmla="*/ 890588 w 973932"/>
                  <a:gd name="connsiteY90" fmla="*/ 688182 h 864394"/>
                  <a:gd name="connsiteX91" fmla="*/ 902494 w 973932"/>
                  <a:gd name="connsiteY91" fmla="*/ 661988 h 864394"/>
                  <a:gd name="connsiteX92" fmla="*/ 902494 w 973932"/>
                  <a:gd name="connsiteY92" fmla="*/ 661988 h 864394"/>
                  <a:gd name="connsiteX93" fmla="*/ 864394 w 973932"/>
                  <a:gd name="connsiteY93" fmla="*/ 645319 h 864394"/>
                  <a:gd name="connsiteX94" fmla="*/ 845344 w 973932"/>
                  <a:gd name="connsiteY94" fmla="*/ 600075 h 864394"/>
                  <a:gd name="connsiteX95" fmla="*/ 881063 w 973932"/>
                  <a:gd name="connsiteY95" fmla="*/ 581025 h 864394"/>
                  <a:gd name="connsiteX96" fmla="*/ 921544 w 973932"/>
                  <a:gd name="connsiteY96" fmla="*/ 538163 h 864394"/>
                  <a:gd name="connsiteX97" fmla="*/ 912019 w 973932"/>
                  <a:gd name="connsiteY97" fmla="*/ 492919 h 864394"/>
                  <a:gd name="connsiteX98" fmla="*/ 907257 w 973932"/>
                  <a:gd name="connsiteY98" fmla="*/ 466725 h 864394"/>
                  <a:gd name="connsiteX99" fmla="*/ 892969 w 973932"/>
                  <a:gd name="connsiteY99" fmla="*/ 442913 h 864394"/>
                  <a:gd name="connsiteX100" fmla="*/ 907257 w 973932"/>
                  <a:gd name="connsiteY100" fmla="*/ 421482 h 864394"/>
                  <a:gd name="connsiteX101" fmla="*/ 935832 w 973932"/>
                  <a:gd name="connsiteY101" fmla="*/ 411957 h 864394"/>
                  <a:gd name="connsiteX102" fmla="*/ 962025 w 973932"/>
                  <a:gd name="connsiteY102" fmla="*/ 402432 h 864394"/>
                  <a:gd name="connsiteX103" fmla="*/ 973932 w 973932"/>
                  <a:gd name="connsiteY103" fmla="*/ 395288 h 864394"/>
                  <a:gd name="connsiteX104" fmla="*/ 973932 w 973932"/>
                  <a:gd name="connsiteY104" fmla="*/ 361950 h 864394"/>
                  <a:gd name="connsiteX105" fmla="*/ 892969 w 973932"/>
                  <a:gd name="connsiteY105" fmla="*/ 328613 h 864394"/>
                  <a:gd name="connsiteX106" fmla="*/ 854869 w 973932"/>
                  <a:gd name="connsiteY106" fmla="*/ 257175 h 864394"/>
                  <a:gd name="connsiteX107" fmla="*/ 840582 w 973932"/>
                  <a:gd name="connsiteY107" fmla="*/ 204788 h 864394"/>
                  <a:gd name="connsiteX108" fmla="*/ 804863 w 973932"/>
                  <a:gd name="connsiteY108" fmla="*/ 190500 h 864394"/>
                  <a:gd name="connsiteX109" fmla="*/ 785813 w 973932"/>
                  <a:gd name="connsiteY109" fmla="*/ 164307 h 864394"/>
                  <a:gd name="connsiteX110" fmla="*/ 769144 w 973932"/>
                  <a:gd name="connsiteY110" fmla="*/ 102394 h 864394"/>
                  <a:gd name="connsiteX111" fmla="*/ 726282 w 973932"/>
                  <a:gd name="connsiteY111" fmla="*/ 76200 h 864394"/>
                  <a:gd name="connsiteX112" fmla="*/ 669132 w 973932"/>
                  <a:gd name="connsiteY112" fmla="*/ 71438 h 864394"/>
                  <a:gd name="connsiteX113" fmla="*/ 650082 w 973932"/>
                  <a:gd name="connsiteY113" fmla="*/ 30957 h 864394"/>
                  <a:gd name="connsiteX114" fmla="*/ 559594 w 973932"/>
                  <a:gd name="connsiteY114" fmla="*/ 4763 h 864394"/>
                  <a:gd name="connsiteX115" fmla="*/ 461963 w 973932"/>
                  <a:gd name="connsiteY115" fmla="*/ 0 h 864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</a:cxnLst>
                <a:rect l="l" t="t" r="r" b="b"/>
                <a:pathLst>
                  <a:path w="973932" h="864394">
                    <a:moveTo>
                      <a:pt x="461963" y="0"/>
                    </a:moveTo>
                    <a:lnTo>
                      <a:pt x="454819" y="71438"/>
                    </a:lnTo>
                    <a:lnTo>
                      <a:pt x="411957" y="78582"/>
                    </a:lnTo>
                    <a:lnTo>
                      <a:pt x="395288" y="66675"/>
                    </a:lnTo>
                    <a:lnTo>
                      <a:pt x="359569" y="64294"/>
                    </a:lnTo>
                    <a:lnTo>
                      <a:pt x="333375" y="64294"/>
                    </a:lnTo>
                    <a:lnTo>
                      <a:pt x="304800" y="76200"/>
                    </a:lnTo>
                    <a:lnTo>
                      <a:pt x="271463" y="100013"/>
                    </a:lnTo>
                    <a:lnTo>
                      <a:pt x="214313" y="59532"/>
                    </a:lnTo>
                    <a:lnTo>
                      <a:pt x="142875" y="61913"/>
                    </a:lnTo>
                    <a:lnTo>
                      <a:pt x="92869" y="50007"/>
                    </a:lnTo>
                    <a:lnTo>
                      <a:pt x="33338" y="97632"/>
                    </a:lnTo>
                    <a:lnTo>
                      <a:pt x="4763" y="121444"/>
                    </a:lnTo>
                    <a:lnTo>
                      <a:pt x="0" y="147638"/>
                    </a:lnTo>
                    <a:lnTo>
                      <a:pt x="47625" y="200025"/>
                    </a:lnTo>
                    <a:lnTo>
                      <a:pt x="66675" y="271463"/>
                    </a:lnTo>
                    <a:lnTo>
                      <a:pt x="102394" y="300038"/>
                    </a:lnTo>
                    <a:lnTo>
                      <a:pt x="130969" y="319088"/>
                    </a:lnTo>
                    <a:lnTo>
                      <a:pt x="166688" y="333375"/>
                    </a:lnTo>
                    <a:lnTo>
                      <a:pt x="192882" y="338138"/>
                    </a:lnTo>
                    <a:lnTo>
                      <a:pt x="228600" y="326232"/>
                    </a:lnTo>
                    <a:lnTo>
                      <a:pt x="252413" y="316707"/>
                    </a:lnTo>
                    <a:lnTo>
                      <a:pt x="271463" y="304800"/>
                    </a:lnTo>
                    <a:lnTo>
                      <a:pt x="300038" y="288132"/>
                    </a:lnTo>
                    <a:lnTo>
                      <a:pt x="321469" y="309563"/>
                    </a:lnTo>
                    <a:lnTo>
                      <a:pt x="319088" y="342900"/>
                    </a:lnTo>
                    <a:lnTo>
                      <a:pt x="300038" y="381000"/>
                    </a:lnTo>
                    <a:lnTo>
                      <a:pt x="271463" y="411957"/>
                    </a:lnTo>
                    <a:lnTo>
                      <a:pt x="238125" y="423863"/>
                    </a:lnTo>
                    <a:lnTo>
                      <a:pt x="211932" y="431007"/>
                    </a:lnTo>
                    <a:lnTo>
                      <a:pt x="161925" y="433388"/>
                    </a:lnTo>
                    <a:lnTo>
                      <a:pt x="123825" y="416719"/>
                    </a:lnTo>
                    <a:lnTo>
                      <a:pt x="123825" y="395288"/>
                    </a:lnTo>
                    <a:lnTo>
                      <a:pt x="107157" y="376238"/>
                    </a:lnTo>
                    <a:lnTo>
                      <a:pt x="107157" y="376238"/>
                    </a:lnTo>
                    <a:lnTo>
                      <a:pt x="78582" y="416719"/>
                    </a:lnTo>
                    <a:lnTo>
                      <a:pt x="66675" y="461963"/>
                    </a:lnTo>
                    <a:lnTo>
                      <a:pt x="88107" y="481013"/>
                    </a:lnTo>
                    <a:lnTo>
                      <a:pt x="109538" y="511969"/>
                    </a:lnTo>
                    <a:lnTo>
                      <a:pt x="140494" y="533400"/>
                    </a:lnTo>
                    <a:lnTo>
                      <a:pt x="145257" y="557213"/>
                    </a:lnTo>
                    <a:lnTo>
                      <a:pt x="152400" y="566738"/>
                    </a:lnTo>
                    <a:lnTo>
                      <a:pt x="180975" y="595313"/>
                    </a:lnTo>
                    <a:lnTo>
                      <a:pt x="188119" y="661988"/>
                    </a:lnTo>
                    <a:lnTo>
                      <a:pt x="209550" y="681038"/>
                    </a:lnTo>
                    <a:lnTo>
                      <a:pt x="233363" y="688182"/>
                    </a:lnTo>
                    <a:lnTo>
                      <a:pt x="252413" y="702469"/>
                    </a:lnTo>
                    <a:lnTo>
                      <a:pt x="278607" y="721519"/>
                    </a:lnTo>
                    <a:lnTo>
                      <a:pt x="307182" y="766763"/>
                    </a:lnTo>
                    <a:lnTo>
                      <a:pt x="340519" y="773907"/>
                    </a:lnTo>
                    <a:lnTo>
                      <a:pt x="359569" y="759619"/>
                    </a:lnTo>
                    <a:lnTo>
                      <a:pt x="357188" y="738188"/>
                    </a:lnTo>
                    <a:lnTo>
                      <a:pt x="364332" y="716757"/>
                    </a:lnTo>
                    <a:lnTo>
                      <a:pt x="383382" y="711994"/>
                    </a:lnTo>
                    <a:lnTo>
                      <a:pt x="404813" y="721519"/>
                    </a:lnTo>
                    <a:lnTo>
                      <a:pt x="431007" y="733425"/>
                    </a:lnTo>
                    <a:lnTo>
                      <a:pt x="454819" y="740569"/>
                    </a:lnTo>
                    <a:lnTo>
                      <a:pt x="476250" y="728663"/>
                    </a:lnTo>
                    <a:lnTo>
                      <a:pt x="490538" y="704850"/>
                    </a:lnTo>
                    <a:lnTo>
                      <a:pt x="523875" y="683419"/>
                    </a:lnTo>
                    <a:lnTo>
                      <a:pt x="557213" y="685800"/>
                    </a:lnTo>
                    <a:lnTo>
                      <a:pt x="576263" y="664369"/>
                    </a:lnTo>
                    <a:lnTo>
                      <a:pt x="585788" y="626269"/>
                    </a:lnTo>
                    <a:lnTo>
                      <a:pt x="578644" y="585788"/>
                    </a:lnTo>
                    <a:lnTo>
                      <a:pt x="602457" y="535781"/>
                    </a:lnTo>
                    <a:lnTo>
                      <a:pt x="590550" y="490538"/>
                    </a:lnTo>
                    <a:lnTo>
                      <a:pt x="621507" y="473869"/>
                    </a:lnTo>
                    <a:lnTo>
                      <a:pt x="650082" y="492919"/>
                    </a:lnTo>
                    <a:lnTo>
                      <a:pt x="652463" y="523875"/>
                    </a:lnTo>
                    <a:lnTo>
                      <a:pt x="645319" y="550069"/>
                    </a:lnTo>
                    <a:lnTo>
                      <a:pt x="645319" y="581025"/>
                    </a:lnTo>
                    <a:lnTo>
                      <a:pt x="666750" y="602457"/>
                    </a:lnTo>
                    <a:lnTo>
                      <a:pt x="669132" y="654844"/>
                    </a:lnTo>
                    <a:lnTo>
                      <a:pt x="645319" y="709613"/>
                    </a:lnTo>
                    <a:cubicBezTo>
                      <a:pt x="644525" y="730250"/>
                      <a:pt x="643732" y="750888"/>
                      <a:pt x="642938" y="771525"/>
                    </a:cubicBezTo>
                    <a:lnTo>
                      <a:pt x="640557" y="795338"/>
                    </a:lnTo>
                    <a:lnTo>
                      <a:pt x="640557" y="814388"/>
                    </a:lnTo>
                    <a:lnTo>
                      <a:pt x="621507" y="826294"/>
                    </a:lnTo>
                    <a:lnTo>
                      <a:pt x="623888" y="845344"/>
                    </a:lnTo>
                    <a:lnTo>
                      <a:pt x="640557" y="857250"/>
                    </a:lnTo>
                    <a:lnTo>
                      <a:pt x="659607" y="850107"/>
                    </a:lnTo>
                    <a:lnTo>
                      <a:pt x="678657" y="857250"/>
                    </a:lnTo>
                    <a:lnTo>
                      <a:pt x="702469" y="862013"/>
                    </a:lnTo>
                    <a:lnTo>
                      <a:pt x="726282" y="864394"/>
                    </a:lnTo>
                    <a:lnTo>
                      <a:pt x="752475" y="852488"/>
                    </a:lnTo>
                    <a:lnTo>
                      <a:pt x="766763" y="823913"/>
                    </a:lnTo>
                    <a:lnTo>
                      <a:pt x="773907" y="792957"/>
                    </a:lnTo>
                    <a:lnTo>
                      <a:pt x="766763" y="769144"/>
                    </a:lnTo>
                    <a:lnTo>
                      <a:pt x="795338" y="764382"/>
                    </a:lnTo>
                    <a:lnTo>
                      <a:pt x="831057" y="709613"/>
                    </a:lnTo>
                    <a:lnTo>
                      <a:pt x="890588" y="688182"/>
                    </a:lnTo>
                    <a:lnTo>
                      <a:pt x="902494" y="661988"/>
                    </a:lnTo>
                    <a:lnTo>
                      <a:pt x="902494" y="661988"/>
                    </a:lnTo>
                    <a:lnTo>
                      <a:pt x="864394" y="645319"/>
                    </a:lnTo>
                    <a:lnTo>
                      <a:pt x="845344" y="600075"/>
                    </a:lnTo>
                    <a:lnTo>
                      <a:pt x="881063" y="581025"/>
                    </a:lnTo>
                    <a:lnTo>
                      <a:pt x="921544" y="538163"/>
                    </a:lnTo>
                    <a:lnTo>
                      <a:pt x="912019" y="492919"/>
                    </a:lnTo>
                    <a:lnTo>
                      <a:pt x="907257" y="466725"/>
                    </a:lnTo>
                    <a:lnTo>
                      <a:pt x="892969" y="442913"/>
                    </a:lnTo>
                    <a:lnTo>
                      <a:pt x="907257" y="421482"/>
                    </a:lnTo>
                    <a:lnTo>
                      <a:pt x="935832" y="411957"/>
                    </a:lnTo>
                    <a:lnTo>
                      <a:pt x="962025" y="402432"/>
                    </a:lnTo>
                    <a:lnTo>
                      <a:pt x="973932" y="395288"/>
                    </a:lnTo>
                    <a:lnTo>
                      <a:pt x="973932" y="361950"/>
                    </a:lnTo>
                    <a:lnTo>
                      <a:pt x="892969" y="328613"/>
                    </a:lnTo>
                    <a:lnTo>
                      <a:pt x="854869" y="257175"/>
                    </a:lnTo>
                    <a:lnTo>
                      <a:pt x="840582" y="204788"/>
                    </a:lnTo>
                    <a:lnTo>
                      <a:pt x="804863" y="190500"/>
                    </a:lnTo>
                    <a:lnTo>
                      <a:pt x="785813" y="164307"/>
                    </a:lnTo>
                    <a:lnTo>
                      <a:pt x="769144" y="102394"/>
                    </a:lnTo>
                    <a:lnTo>
                      <a:pt x="726282" y="76200"/>
                    </a:lnTo>
                    <a:lnTo>
                      <a:pt x="669132" y="71438"/>
                    </a:lnTo>
                    <a:lnTo>
                      <a:pt x="650082" y="30957"/>
                    </a:lnTo>
                    <a:lnTo>
                      <a:pt x="559594" y="4763"/>
                    </a:lnTo>
                    <a:lnTo>
                      <a:pt x="461963" y="0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150" name="Freeform 15">
                <a:extLst>
                  <a:ext uri="{FF2B5EF4-FFF2-40B4-BE49-F238E27FC236}">
                    <a16:creationId xmlns:a16="http://schemas.microsoft.com/office/drawing/2014/main" id="{391E1DF0-FDE0-46C8-866E-31DF9353F783}"/>
                  </a:ext>
                </a:extLst>
              </p:cNvPr>
              <p:cNvSpPr/>
              <p:nvPr/>
            </p:nvSpPr>
            <p:spPr>
              <a:xfrm>
                <a:off x="3579813" y="5200650"/>
                <a:ext cx="117475" cy="157163"/>
              </a:xfrm>
              <a:custGeom>
                <a:avLst/>
                <a:gdLst>
                  <a:gd name="connsiteX0" fmla="*/ 0 w 116681"/>
                  <a:gd name="connsiteY0" fmla="*/ 0 h 157163"/>
                  <a:gd name="connsiteX1" fmla="*/ 38100 w 116681"/>
                  <a:gd name="connsiteY1" fmla="*/ 97632 h 157163"/>
                  <a:gd name="connsiteX2" fmla="*/ 90488 w 116681"/>
                  <a:gd name="connsiteY2" fmla="*/ 157163 h 157163"/>
                  <a:gd name="connsiteX3" fmla="*/ 109538 w 116681"/>
                  <a:gd name="connsiteY3" fmla="*/ 121444 h 157163"/>
                  <a:gd name="connsiteX4" fmla="*/ 116681 w 116681"/>
                  <a:gd name="connsiteY4" fmla="*/ 97632 h 157163"/>
                  <a:gd name="connsiteX5" fmla="*/ 111919 w 116681"/>
                  <a:gd name="connsiteY5" fmla="*/ 50007 h 157163"/>
                  <a:gd name="connsiteX6" fmla="*/ 0 w 116681"/>
                  <a:gd name="connsiteY6" fmla="*/ 0 h 157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6681" h="157163">
                    <a:moveTo>
                      <a:pt x="0" y="0"/>
                    </a:moveTo>
                    <a:lnTo>
                      <a:pt x="38100" y="97632"/>
                    </a:lnTo>
                    <a:lnTo>
                      <a:pt x="90488" y="157163"/>
                    </a:lnTo>
                    <a:lnTo>
                      <a:pt x="109538" y="121444"/>
                    </a:lnTo>
                    <a:lnTo>
                      <a:pt x="116681" y="97632"/>
                    </a:lnTo>
                    <a:lnTo>
                      <a:pt x="111919" y="5000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51" name="Freeform 16">
                <a:extLst>
                  <a:ext uri="{FF2B5EF4-FFF2-40B4-BE49-F238E27FC236}">
                    <a16:creationId xmlns:a16="http://schemas.microsoft.com/office/drawing/2014/main" id="{125CC797-3C75-41D4-A075-B35146DD9B8B}"/>
                  </a:ext>
                </a:extLst>
              </p:cNvPr>
              <p:cNvSpPr/>
              <p:nvPr/>
            </p:nvSpPr>
            <p:spPr>
              <a:xfrm>
                <a:off x="3663950" y="4752975"/>
                <a:ext cx="782638" cy="1276350"/>
              </a:xfrm>
              <a:custGeom>
                <a:avLst/>
                <a:gdLst>
                  <a:gd name="connsiteX0" fmla="*/ 0 w 783431"/>
                  <a:gd name="connsiteY0" fmla="*/ 614363 h 1090613"/>
                  <a:gd name="connsiteX1" fmla="*/ 21431 w 783431"/>
                  <a:gd name="connsiteY1" fmla="*/ 661988 h 1090613"/>
                  <a:gd name="connsiteX2" fmla="*/ 28575 w 783431"/>
                  <a:gd name="connsiteY2" fmla="*/ 742950 h 1090613"/>
                  <a:gd name="connsiteX3" fmla="*/ 76200 w 783431"/>
                  <a:gd name="connsiteY3" fmla="*/ 814388 h 1090613"/>
                  <a:gd name="connsiteX4" fmla="*/ 102394 w 783431"/>
                  <a:gd name="connsiteY4" fmla="*/ 919163 h 1090613"/>
                  <a:gd name="connsiteX5" fmla="*/ 116681 w 783431"/>
                  <a:gd name="connsiteY5" fmla="*/ 947738 h 1090613"/>
                  <a:gd name="connsiteX6" fmla="*/ 130969 w 783431"/>
                  <a:gd name="connsiteY6" fmla="*/ 995363 h 1090613"/>
                  <a:gd name="connsiteX7" fmla="*/ 150019 w 783431"/>
                  <a:gd name="connsiteY7" fmla="*/ 1023938 h 1090613"/>
                  <a:gd name="connsiteX8" fmla="*/ 159544 w 783431"/>
                  <a:gd name="connsiteY8" fmla="*/ 1042988 h 1090613"/>
                  <a:gd name="connsiteX9" fmla="*/ 197644 w 783431"/>
                  <a:gd name="connsiteY9" fmla="*/ 1069182 h 1090613"/>
                  <a:gd name="connsiteX10" fmla="*/ 245269 w 783431"/>
                  <a:gd name="connsiteY10" fmla="*/ 1090613 h 1090613"/>
                  <a:gd name="connsiteX11" fmla="*/ 604837 w 783431"/>
                  <a:gd name="connsiteY11" fmla="*/ 1085850 h 1090613"/>
                  <a:gd name="connsiteX12" fmla="*/ 585787 w 783431"/>
                  <a:gd name="connsiteY12" fmla="*/ 1035844 h 1090613"/>
                  <a:gd name="connsiteX13" fmla="*/ 607219 w 783431"/>
                  <a:gd name="connsiteY13" fmla="*/ 1021557 h 1090613"/>
                  <a:gd name="connsiteX14" fmla="*/ 645319 w 783431"/>
                  <a:gd name="connsiteY14" fmla="*/ 1016794 h 1090613"/>
                  <a:gd name="connsiteX15" fmla="*/ 685800 w 783431"/>
                  <a:gd name="connsiteY15" fmla="*/ 997744 h 1090613"/>
                  <a:gd name="connsiteX16" fmla="*/ 716756 w 783431"/>
                  <a:gd name="connsiteY16" fmla="*/ 1002507 h 1090613"/>
                  <a:gd name="connsiteX17" fmla="*/ 738187 w 783431"/>
                  <a:gd name="connsiteY17" fmla="*/ 969169 h 1090613"/>
                  <a:gd name="connsiteX18" fmla="*/ 783431 w 783431"/>
                  <a:gd name="connsiteY18" fmla="*/ 933450 h 1090613"/>
                  <a:gd name="connsiteX19" fmla="*/ 776287 w 783431"/>
                  <a:gd name="connsiteY19" fmla="*/ 907257 h 1090613"/>
                  <a:gd name="connsiteX20" fmla="*/ 752475 w 783431"/>
                  <a:gd name="connsiteY20" fmla="*/ 888207 h 1090613"/>
                  <a:gd name="connsiteX21" fmla="*/ 752475 w 783431"/>
                  <a:gd name="connsiteY21" fmla="*/ 864394 h 1090613"/>
                  <a:gd name="connsiteX22" fmla="*/ 728662 w 783431"/>
                  <a:gd name="connsiteY22" fmla="*/ 852488 h 1090613"/>
                  <a:gd name="connsiteX23" fmla="*/ 711994 w 783431"/>
                  <a:gd name="connsiteY23" fmla="*/ 802482 h 1090613"/>
                  <a:gd name="connsiteX24" fmla="*/ 688181 w 783431"/>
                  <a:gd name="connsiteY24" fmla="*/ 814388 h 1090613"/>
                  <a:gd name="connsiteX25" fmla="*/ 659606 w 783431"/>
                  <a:gd name="connsiteY25" fmla="*/ 814388 h 1090613"/>
                  <a:gd name="connsiteX26" fmla="*/ 647700 w 783431"/>
                  <a:gd name="connsiteY26" fmla="*/ 847725 h 1090613"/>
                  <a:gd name="connsiteX27" fmla="*/ 623887 w 783431"/>
                  <a:gd name="connsiteY27" fmla="*/ 847725 h 1090613"/>
                  <a:gd name="connsiteX28" fmla="*/ 576262 w 783431"/>
                  <a:gd name="connsiteY28" fmla="*/ 828675 h 1090613"/>
                  <a:gd name="connsiteX29" fmla="*/ 554831 w 783431"/>
                  <a:gd name="connsiteY29" fmla="*/ 816769 h 1090613"/>
                  <a:gd name="connsiteX30" fmla="*/ 547687 w 783431"/>
                  <a:gd name="connsiteY30" fmla="*/ 783432 h 1090613"/>
                  <a:gd name="connsiteX31" fmla="*/ 561975 w 783431"/>
                  <a:gd name="connsiteY31" fmla="*/ 754857 h 1090613"/>
                  <a:gd name="connsiteX32" fmla="*/ 533400 w 783431"/>
                  <a:gd name="connsiteY32" fmla="*/ 733425 h 1090613"/>
                  <a:gd name="connsiteX33" fmla="*/ 509587 w 783431"/>
                  <a:gd name="connsiteY33" fmla="*/ 711994 h 1090613"/>
                  <a:gd name="connsiteX34" fmla="*/ 473869 w 783431"/>
                  <a:gd name="connsiteY34" fmla="*/ 711994 h 1090613"/>
                  <a:gd name="connsiteX35" fmla="*/ 435769 w 783431"/>
                  <a:gd name="connsiteY35" fmla="*/ 711994 h 1090613"/>
                  <a:gd name="connsiteX36" fmla="*/ 438150 w 783431"/>
                  <a:gd name="connsiteY36" fmla="*/ 669132 h 1090613"/>
                  <a:gd name="connsiteX37" fmla="*/ 428625 w 783431"/>
                  <a:gd name="connsiteY37" fmla="*/ 642938 h 1090613"/>
                  <a:gd name="connsiteX38" fmla="*/ 423862 w 783431"/>
                  <a:gd name="connsiteY38" fmla="*/ 607219 h 1090613"/>
                  <a:gd name="connsiteX39" fmla="*/ 426244 w 783431"/>
                  <a:gd name="connsiteY39" fmla="*/ 578644 h 1090613"/>
                  <a:gd name="connsiteX40" fmla="*/ 440531 w 783431"/>
                  <a:gd name="connsiteY40" fmla="*/ 566738 h 1090613"/>
                  <a:gd name="connsiteX41" fmla="*/ 450056 w 783431"/>
                  <a:gd name="connsiteY41" fmla="*/ 535782 h 1090613"/>
                  <a:gd name="connsiteX42" fmla="*/ 457200 w 783431"/>
                  <a:gd name="connsiteY42" fmla="*/ 519113 h 1090613"/>
                  <a:gd name="connsiteX43" fmla="*/ 481012 w 783431"/>
                  <a:gd name="connsiteY43" fmla="*/ 526257 h 1090613"/>
                  <a:gd name="connsiteX44" fmla="*/ 495300 w 783431"/>
                  <a:gd name="connsiteY44" fmla="*/ 576263 h 1090613"/>
                  <a:gd name="connsiteX45" fmla="*/ 507206 w 783431"/>
                  <a:gd name="connsiteY45" fmla="*/ 581025 h 1090613"/>
                  <a:gd name="connsiteX46" fmla="*/ 526256 w 783431"/>
                  <a:gd name="connsiteY46" fmla="*/ 583407 h 1090613"/>
                  <a:gd name="connsiteX47" fmla="*/ 554831 w 783431"/>
                  <a:gd name="connsiteY47" fmla="*/ 583407 h 1090613"/>
                  <a:gd name="connsiteX48" fmla="*/ 557212 w 783431"/>
                  <a:gd name="connsiteY48" fmla="*/ 547688 h 1090613"/>
                  <a:gd name="connsiteX49" fmla="*/ 545306 w 783431"/>
                  <a:gd name="connsiteY49" fmla="*/ 502444 h 1090613"/>
                  <a:gd name="connsiteX50" fmla="*/ 545306 w 783431"/>
                  <a:gd name="connsiteY50" fmla="*/ 476250 h 1090613"/>
                  <a:gd name="connsiteX51" fmla="*/ 581025 w 783431"/>
                  <a:gd name="connsiteY51" fmla="*/ 454819 h 1090613"/>
                  <a:gd name="connsiteX52" fmla="*/ 604837 w 783431"/>
                  <a:gd name="connsiteY52" fmla="*/ 435769 h 1090613"/>
                  <a:gd name="connsiteX53" fmla="*/ 640556 w 783431"/>
                  <a:gd name="connsiteY53" fmla="*/ 414338 h 1090613"/>
                  <a:gd name="connsiteX54" fmla="*/ 645319 w 783431"/>
                  <a:gd name="connsiteY54" fmla="*/ 395288 h 1090613"/>
                  <a:gd name="connsiteX55" fmla="*/ 633412 w 783431"/>
                  <a:gd name="connsiteY55" fmla="*/ 371475 h 1090613"/>
                  <a:gd name="connsiteX56" fmla="*/ 614362 w 783431"/>
                  <a:gd name="connsiteY56" fmla="*/ 369094 h 1090613"/>
                  <a:gd name="connsiteX57" fmla="*/ 609600 w 783431"/>
                  <a:gd name="connsiteY57" fmla="*/ 366713 h 1090613"/>
                  <a:gd name="connsiteX58" fmla="*/ 597694 w 783431"/>
                  <a:gd name="connsiteY58" fmla="*/ 357188 h 1090613"/>
                  <a:gd name="connsiteX59" fmla="*/ 611981 w 783431"/>
                  <a:gd name="connsiteY59" fmla="*/ 345282 h 1090613"/>
                  <a:gd name="connsiteX60" fmla="*/ 652462 w 783431"/>
                  <a:gd name="connsiteY60" fmla="*/ 316707 h 1090613"/>
                  <a:gd name="connsiteX61" fmla="*/ 678656 w 783431"/>
                  <a:gd name="connsiteY61" fmla="*/ 264319 h 1090613"/>
                  <a:gd name="connsiteX62" fmla="*/ 666750 w 783431"/>
                  <a:gd name="connsiteY62" fmla="*/ 242888 h 1090613"/>
                  <a:gd name="connsiteX63" fmla="*/ 638175 w 783431"/>
                  <a:gd name="connsiteY63" fmla="*/ 219075 h 1090613"/>
                  <a:gd name="connsiteX64" fmla="*/ 642937 w 783431"/>
                  <a:gd name="connsiteY64" fmla="*/ 180975 h 1090613"/>
                  <a:gd name="connsiteX65" fmla="*/ 673894 w 783431"/>
                  <a:gd name="connsiteY65" fmla="*/ 171450 h 1090613"/>
                  <a:gd name="connsiteX66" fmla="*/ 700087 w 783431"/>
                  <a:gd name="connsiteY66" fmla="*/ 142875 h 1090613"/>
                  <a:gd name="connsiteX67" fmla="*/ 700087 w 783431"/>
                  <a:gd name="connsiteY67" fmla="*/ 111919 h 1090613"/>
                  <a:gd name="connsiteX68" fmla="*/ 666750 w 783431"/>
                  <a:gd name="connsiteY68" fmla="*/ 107157 h 1090613"/>
                  <a:gd name="connsiteX69" fmla="*/ 645319 w 783431"/>
                  <a:gd name="connsiteY69" fmla="*/ 102394 h 1090613"/>
                  <a:gd name="connsiteX70" fmla="*/ 645319 w 783431"/>
                  <a:gd name="connsiteY70" fmla="*/ 102394 h 1090613"/>
                  <a:gd name="connsiteX71" fmla="*/ 678656 w 783431"/>
                  <a:gd name="connsiteY71" fmla="*/ 69057 h 1090613"/>
                  <a:gd name="connsiteX72" fmla="*/ 685800 w 783431"/>
                  <a:gd name="connsiteY72" fmla="*/ 40482 h 1090613"/>
                  <a:gd name="connsiteX73" fmla="*/ 678656 w 783431"/>
                  <a:gd name="connsiteY73" fmla="*/ 21432 h 1090613"/>
                  <a:gd name="connsiteX74" fmla="*/ 695325 w 783431"/>
                  <a:gd name="connsiteY74" fmla="*/ 2382 h 1090613"/>
                  <a:gd name="connsiteX75" fmla="*/ 628650 w 783431"/>
                  <a:gd name="connsiteY75" fmla="*/ 0 h 1090613"/>
                  <a:gd name="connsiteX76" fmla="*/ 552450 w 783431"/>
                  <a:gd name="connsiteY76" fmla="*/ 52388 h 1090613"/>
                  <a:gd name="connsiteX77" fmla="*/ 538162 w 783431"/>
                  <a:gd name="connsiteY77" fmla="*/ 90488 h 1090613"/>
                  <a:gd name="connsiteX78" fmla="*/ 445294 w 783431"/>
                  <a:gd name="connsiteY78" fmla="*/ 126207 h 1090613"/>
                  <a:gd name="connsiteX79" fmla="*/ 397669 w 783431"/>
                  <a:gd name="connsiteY79" fmla="*/ 159544 h 1090613"/>
                  <a:gd name="connsiteX80" fmla="*/ 376237 w 783431"/>
                  <a:gd name="connsiteY80" fmla="*/ 190500 h 1090613"/>
                  <a:gd name="connsiteX81" fmla="*/ 350044 w 783431"/>
                  <a:gd name="connsiteY81" fmla="*/ 140494 h 1090613"/>
                  <a:gd name="connsiteX82" fmla="*/ 316706 w 783431"/>
                  <a:gd name="connsiteY82" fmla="*/ 140494 h 1090613"/>
                  <a:gd name="connsiteX83" fmla="*/ 304800 w 783431"/>
                  <a:gd name="connsiteY83" fmla="*/ 166688 h 1090613"/>
                  <a:gd name="connsiteX84" fmla="*/ 280987 w 783431"/>
                  <a:gd name="connsiteY84" fmla="*/ 230982 h 1090613"/>
                  <a:gd name="connsiteX85" fmla="*/ 154781 w 783431"/>
                  <a:gd name="connsiteY85" fmla="*/ 223838 h 1090613"/>
                  <a:gd name="connsiteX86" fmla="*/ 140494 w 783431"/>
                  <a:gd name="connsiteY86" fmla="*/ 245269 h 1090613"/>
                  <a:gd name="connsiteX87" fmla="*/ 138112 w 783431"/>
                  <a:gd name="connsiteY87" fmla="*/ 280988 h 1090613"/>
                  <a:gd name="connsiteX88" fmla="*/ 66675 w 783431"/>
                  <a:gd name="connsiteY88" fmla="*/ 309563 h 1090613"/>
                  <a:gd name="connsiteX89" fmla="*/ 54769 w 783431"/>
                  <a:gd name="connsiteY89" fmla="*/ 323850 h 1090613"/>
                  <a:gd name="connsiteX90" fmla="*/ 66675 w 783431"/>
                  <a:gd name="connsiteY90" fmla="*/ 381000 h 1090613"/>
                  <a:gd name="connsiteX91" fmla="*/ 19050 w 783431"/>
                  <a:gd name="connsiteY91" fmla="*/ 423863 h 1090613"/>
                  <a:gd name="connsiteX92" fmla="*/ 26194 w 783431"/>
                  <a:gd name="connsiteY92" fmla="*/ 490538 h 1090613"/>
                  <a:gd name="connsiteX93" fmla="*/ 33337 w 783431"/>
                  <a:gd name="connsiteY93" fmla="*/ 554832 h 1090613"/>
                  <a:gd name="connsiteX94" fmla="*/ 0 w 783431"/>
                  <a:gd name="connsiteY94" fmla="*/ 614363 h 1090613"/>
                  <a:gd name="connsiteX0" fmla="*/ 0 w 783431"/>
                  <a:gd name="connsiteY0" fmla="*/ 614363 h 1090613"/>
                  <a:gd name="connsiteX1" fmla="*/ 21431 w 783431"/>
                  <a:gd name="connsiteY1" fmla="*/ 661988 h 1090613"/>
                  <a:gd name="connsiteX2" fmla="*/ 28575 w 783431"/>
                  <a:gd name="connsiteY2" fmla="*/ 742950 h 1090613"/>
                  <a:gd name="connsiteX3" fmla="*/ 76200 w 783431"/>
                  <a:gd name="connsiteY3" fmla="*/ 814388 h 1090613"/>
                  <a:gd name="connsiteX4" fmla="*/ 102394 w 783431"/>
                  <a:gd name="connsiteY4" fmla="*/ 919163 h 1090613"/>
                  <a:gd name="connsiteX5" fmla="*/ 116681 w 783431"/>
                  <a:gd name="connsiteY5" fmla="*/ 947738 h 1090613"/>
                  <a:gd name="connsiteX6" fmla="*/ 130969 w 783431"/>
                  <a:gd name="connsiteY6" fmla="*/ 995363 h 1090613"/>
                  <a:gd name="connsiteX7" fmla="*/ 150019 w 783431"/>
                  <a:gd name="connsiteY7" fmla="*/ 1023938 h 1090613"/>
                  <a:gd name="connsiteX8" fmla="*/ 159544 w 783431"/>
                  <a:gd name="connsiteY8" fmla="*/ 1042988 h 1090613"/>
                  <a:gd name="connsiteX9" fmla="*/ 197644 w 783431"/>
                  <a:gd name="connsiteY9" fmla="*/ 1069182 h 1090613"/>
                  <a:gd name="connsiteX10" fmla="*/ 245269 w 783431"/>
                  <a:gd name="connsiteY10" fmla="*/ 1090613 h 1090613"/>
                  <a:gd name="connsiteX11" fmla="*/ 319087 w 783431"/>
                  <a:gd name="connsiteY11" fmla="*/ 1090613 h 1090613"/>
                  <a:gd name="connsiteX12" fmla="*/ 604837 w 783431"/>
                  <a:gd name="connsiteY12" fmla="*/ 1085850 h 1090613"/>
                  <a:gd name="connsiteX13" fmla="*/ 585787 w 783431"/>
                  <a:gd name="connsiteY13" fmla="*/ 1035844 h 1090613"/>
                  <a:gd name="connsiteX14" fmla="*/ 607219 w 783431"/>
                  <a:gd name="connsiteY14" fmla="*/ 1021557 h 1090613"/>
                  <a:gd name="connsiteX15" fmla="*/ 645319 w 783431"/>
                  <a:gd name="connsiteY15" fmla="*/ 1016794 h 1090613"/>
                  <a:gd name="connsiteX16" fmla="*/ 685800 w 783431"/>
                  <a:gd name="connsiteY16" fmla="*/ 997744 h 1090613"/>
                  <a:gd name="connsiteX17" fmla="*/ 716756 w 783431"/>
                  <a:gd name="connsiteY17" fmla="*/ 1002507 h 1090613"/>
                  <a:gd name="connsiteX18" fmla="*/ 738187 w 783431"/>
                  <a:gd name="connsiteY18" fmla="*/ 969169 h 1090613"/>
                  <a:gd name="connsiteX19" fmla="*/ 783431 w 783431"/>
                  <a:gd name="connsiteY19" fmla="*/ 933450 h 1090613"/>
                  <a:gd name="connsiteX20" fmla="*/ 776287 w 783431"/>
                  <a:gd name="connsiteY20" fmla="*/ 907257 h 1090613"/>
                  <a:gd name="connsiteX21" fmla="*/ 752475 w 783431"/>
                  <a:gd name="connsiteY21" fmla="*/ 888207 h 1090613"/>
                  <a:gd name="connsiteX22" fmla="*/ 752475 w 783431"/>
                  <a:gd name="connsiteY22" fmla="*/ 864394 h 1090613"/>
                  <a:gd name="connsiteX23" fmla="*/ 728662 w 783431"/>
                  <a:gd name="connsiteY23" fmla="*/ 852488 h 1090613"/>
                  <a:gd name="connsiteX24" fmla="*/ 711994 w 783431"/>
                  <a:gd name="connsiteY24" fmla="*/ 802482 h 1090613"/>
                  <a:gd name="connsiteX25" fmla="*/ 688181 w 783431"/>
                  <a:gd name="connsiteY25" fmla="*/ 814388 h 1090613"/>
                  <a:gd name="connsiteX26" fmla="*/ 659606 w 783431"/>
                  <a:gd name="connsiteY26" fmla="*/ 814388 h 1090613"/>
                  <a:gd name="connsiteX27" fmla="*/ 647700 w 783431"/>
                  <a:gd name="connsiteY27" fmla="*/ 847725 h 1090613"/>
                  <a:gd name="connsiteX28" fmla="*/ 623887 w 783431"/>
                  <a:gd name="connsiteY28" fmla="*/ 847725 h 1090613"/>
                  <a:gd name="connsiteX29" fmla="*/ 576262 w 783431"/>
                  <a:gd name="connsiteY29" fmla="*/ 828675 h 1090613"/>
                  <a:gd name="connsiteX30" fmla="*/ 554831 w 783431"/>
                  <a:gd name="connsiteY30" fmla="*/ 816769 h 1090613"/>
                  <a:gd name="connsiteX31" fmla="*/ 547687 w 783431"/>
                  <a:gd name="connsiteY31" fmla="*/ 783432 h 1090613"/>
                  <a:gd name="connsiteX32" fmla="*/ 561975 w 783431"/>
                  <a:gd name="connsiteY32" fmla="*/ 754857 h 1090613"/>
                  <a:gd name="connsiteX33" fmla="*/ 533400 w 783431"/>
                  <a:gd name="connsiteY33" fmla="*/ 733425 h 1090613"/>
                  <a:gd name="connsiteX34" fmla="*/ 509587 w 783431"/>
                  <a:gd name="connsiteY34" fmla="*/ 711994 h 1090613"/>
                  <a:gd name="connsiteX35" fmla="*/ 473869 w 783431"/>
                  <a:gd name="connsiteY35" fmla="*/ 711994 h 1090613"/>
                  <a:gd name="connsiteX36" fmla="*/ 435769 w 783431"/>
                  <a:gd name="connsiteY36" fmla="*/ 711994 h 1090613"/>
                  <a:gd name="connsiteX37" fmla="*/ 438150 w 783431"/>
                  <a:gd name="connsiteY37" fmla="*/ 669132 h 1090613"/>
                  <a:gd name="connsiteX38" fmla="*/ 428625 w 783431"/>
                  <a:gd name="connsiteY38" fmla="*/ 642938 h 1090613"/>
                  <a:gd name="connsiteX39" fmla="*/ 423862 w 783431"/>
                  <a:gd name="connsiteY39" fmla="*/ 607219 h 1090613"/>
                  <a:gd name="connsiteX40" fmla="*/ 426244 w 783431"/>
                  <a:gd name="connsiteY40" fmla="*/ 578644 h 1090613"/>
                  <a:gd name="connsiteX41" fmla="*/ 440531 w 783431"/>
                  <a:gd name="connsiteY41" fmla="*/ 566738 h 1090613"/>
                  <a:gd name="connsiteX42" fmla="*/ 450056 w 783431"/>
                  <a:gd name="connsiteY42" fmla="*/ 535782 h 1090613"/>
                  <a:gd name="connsiteX43" fmla="*/ 457200 w 783431"/>
                  <a:gd name="connsiteY43" fmla="*/ 519113 h 1090613"/>
                  <a:gd name="connsiteX44" fmla="*/ 481012 w 783431"/>
                  <a:gd name="connsiteY44" fmla="*/ 526257 h 1090613"/>
                  <a:gd name="connsiteX45" fmla="*/ 495300 w 783431"/>
                  <a:gd name="connsiteY45" fmla="*/ 576263 h 1090613"/>
                  <a:gd name="connsiteX46" fmla="*/ 507206 w 783431"/>
                  <a:gd name="connsiteY46" fmla="*/ 581025 h 1090613"/>
                  <a:gd name="connsiteX47" fmla="*/ 526256 w 783431"/>
                  <a:gd name="connsiteY47" fmla="*/ 583407 h 1090613"/>
                  <a:gd name="connsiteX48" fmla="*/ 554831 w 783431"/>
                  <a:gd name="connsiteY48" fmla="*/ 583407 h 1090613"/>
                  <a:gd name="connsiteX49" fmla="*/ 557212 w 783431"/>
                  <a:gd name="connsiteY49" fmla="*/ 547688 h 1090613"/>
                  <a:gd name="connsiteX50" fmla="*/ 545306 w 783431"/>
                  <a:gd name="connsiteY50" fmla="*/ 502444 h 1090613"/>
                  <a:gd name="connsiteX51" fmla="*/ 545306 w 783431"/>
                  <a:gd name="connsiteY51" fmla="*/ 476250 h 1090613"/>
                  <a:gd name="connsiteX52" fmla="*/ 581025 w 783431"/>
                  <a:gd name="connsiteY52" fmla="*/ 454819 h 1090613"/>
                  <a:gd name="connsiteX53" fmla="*/ 604837 w 783431"/>
                  <a:gd name="connsiteY53" fmla="*/ 435769 h 1090613"/>
                  <a:gd name="connsiteX54" fmla="*/ 640556 w 783431"/>
                  <a:gd name="connsiteY54" fmla="*/ 414338 h 1090613"/>
                  <a:gd name="connsiteX55" fmla="*/ 645319 w 783431"/>
                  <a:gd name="connsiteY55" fmla="*/ 395288 h 1090613"/>
                  <a:gd name="connsiteX56" fmla="*/ 633412 w 783431"/>
                  <a:gd name="connsiteY56" fmla="*/ 371475 h 1090613"/>
                  <a:gd name="connsiteX57" fmla="*/ 614362 w 783431"/>
                  <a:gd name="connsiteY57" fmla="*/ 369094 h 1090613"/>
                  <a:gd name="connsiteX58" fmla="*/ 609600 w 783431"/>
                  <a:gd name="connsiteY58" fmla="*/ 366713 h 1090613"/>
                  <a:gd name="connsiteX59" fmla="*/ 597694 w 783431"/>
                  <a:gd name="connsiteY59" fmla="*/ 357188 h 1090613"/>
                  <a:gd name="connsiteX60" fmla="*/ 611981 w 783431"/>
                  <a:gd name="connsiteY60" fmla="*/ 345282 h 1090613"/>
                  <a:gd name="connsiteX61" fmla="*/ 652462 w 783431"/>
                  <a:gd name="connsiteY61" fmla="*/ 316707 h 1090613"/>
                  <a:gd name="connsiteX62" fmla="*/ 678656 w 783431"/>
                  <a:gd name="connsiteY62" fmla="*/ 264319 h 1090613"/>
                  <a:gd name="connsiteX63" fmla="*/ 666750 w 783431"/>
                  <a:gd name="connsiteY63" fmla="*/ 242888 h 1090613"/>
                  <a:gd name="connsiteX64" fmla="*/ 638175 w 783431"/>
                  <a:gd name="connsiteY64" fmla="*/ 219075 h 1090613"/>
                  <a:gd name="connsiteX65" fmla="*/ 642937 w 783431"/>
                  <a:gd name="connsiteY65" fmla="*/ 180975 h 1090613"/>
                  <a:gd name="connsiteX66" fmla="*/ 673894 w 783431"/>
                  <a:gd name="connsiteY66" fmla="*/ 171450 h 1090613"/>
                  <a:gd name="connsiteX67" fmla="*/ 700087 w 783431"/>
                  <a:gd name="connsiteY67" fmla="*/ 142875 h 1090613"/>
                  <a:gd name="connsiteX68" fmla="*/ 700087 w 783431"/>
                  <a:gd name="connsiteY68" fmla="*/ 111919 h 1090613"/>
                  <a:gd name="connsiteX69" fmla="*/ 666750 w 783431"/>
                  <a:gd name="connsiteY69" fmla="*/ 107157 h 1090613"/>
                  <a:gd name="connsiteX70" fmla="*/ 645319 w 783431"/>
                  <a:gd name="connsiteY70" fmla="*/ 102394 h 1090613"/>
                  <a:gd name="connsiteX71" fmla="*/ 645319 w 783431"/>
                  <a:gd name="connsiteY71" fmla="*/ 102394 h 1090613"/>
                  <a:gd name="connsiteX72" fmla="*/ 678656 w 783431"/>
                  <a:gd name="connsiteY72" fmla="*/ 69057 h 1090613"/>
                  <a:gd name="connsiteX73" fmla="*/ 685800 w 783431"/>
                  <a:gd name="connsiteY73" fmla="*/ 40482 h 1090613"/>
                  <a:gd name="connsiteX74" fmla="*/ 678656 w 783431"/>
                  <a:gd name="connsiteY74" fmla="*/ 21432 h 1090613"/>
                  <a:gd name="connsiteX75" fmla="*/ 695325 w 783431"/>
                  <a:gd name="connsiteY75" fmla="*/ 2382 h 1090613"/>
                  <a:gd name="connsiteX76" fmla="*/ 628650 w 783431"/>
                  <a:gd name="connsiteY76" fmla="*/ 0 h 1090613"/>
                  <a:gd name="connsiteX77" fmla="*/ 552450 w 783431"/>
                  <a:gd name="connsiteY77" fmla="*/ 52388 h 1090613"/>
                  <a:gd name="connsiteX78" fmla="*/ 538162 w 783431"/>
                  <a:gd name="connsiteY78" fmla="*/ 90488 h 1090613"/>
                  <a:gd name="connsiteX79" fmla="*/ 445294 w 783431"/>
                  <a:gd name="connsiteY79" fmla="*/ 126207 h 1090613"/>
                  <a:gd name="connsiteX80" fmla="*/ 397669 w 783431"/>
                  <a:gd name="connsiteY80" fmla="*/ 159544 h 1090613"/>
                  <a:gd name="connsiteX81" fmla="*/ 376237 w 783431"/>
                  <a:gd name="connsiteY81" fmla="*/ 190500 h 1090613"/>
                  <a:gd name="connsiteX82" fmla="*/ 350044 w 783431"/>
                  <a:gd name="connsiteY82" fmla="*/ 140494 h 1090613"/>
                  <a:gd name="connsiteX83" fmla="*/ 316706 w 783431"/>
                  <a:gd name="connsiteY83" fmla="*/ 140494 h 1090613"/>
                  <a:gd name="connsiteX84" fmla="*/ 304800 w 783431"/>
                  <a:gd name="connsiteY84" fmla="*/ 166688 h 1090613"/>
                  <a:gd name="connsiteX85" fmla="*/ 280987 w 783431"/>
                  <a:gd name="connsiteY85" fmla="*/ 230982 h 1090613"/>
                  <a:gd name="connsiteX86" fmla="*/ 154781 w 783431"/>
                  <a:gd name="connsiteY86" fmla="*/ 223838 h 1090613"/>
                  <a:gd name="connsiteX87" fmla="*/ 140494 w 783431"/>
                  <a:gd name="connsiteY87" fmla="*/ 245269 h 1090613"/>
                  <a:gd name="connsiteX88" fmla="*/ 138112 w 783431"/>
                  <a:gd name="connsiteY88" fmla="*/ 280988 h 1090613"/>
                  <a:gd name="connsiteX89" fmla="*/ 66675 w 783431"/>
                  <a:gd name="connsiteY89" fmla="*/ 309563 h 1090613"/>
                  <a:gd name="connsiteX90" fmla="*/ 54769 w 783431"/>
                  <a:gd name="connsiteY90" fmla="*/ 323850 h 1090613"/>
                  <a:gd name="connsiteX91" fmla="*/ 66675 w 783431"/>
                  <a:gd name="connsiteY91" fmla="*/ 381000 h 1090613"/>
                  <a:gd name="connsiteX92" fmla="*/ 19050 w 783431"/>
                  <a:gd name="connsiteY92" fmla="*/ 423863 h 1090613"/>
                  <a:gd name="connsiteX93" fmla="*/ 26194 w 783431"/>
                  <a:gd name="connsiteY93" fmla="*/ 490538 h 1090613"/>
                  <a:gd name="connsiteX94" fmla="*/ 33337 w 783431"/>
                  <a:gd name="connsiteY94" fmla="*/ 554832 h 1090613"/>
                  <a:gd name="connsiteX95" fmla="*/ 0 w 783431"/>
                  <a:gd name="connsiteY95" fmla="*/ 614363 h 1090613"/>
                  <a:gd name="connsiteX0" fmla="*/ 0 w 783431"/>
                  <a:gd name="connsiteY0" fmla="*/ 614363 h 1131094"/>
                  <a:gd name="connsiteX1" fmla="*/ 21431 w 783431"/>
                  <a:gd name="connsiteY1" fmla="*/ 661988 h 1131094"/>
                  <a:gd name="connsiteX2" fmla="*/ 28575 w 783431"/>
                  <a:gd name="connsiteY2" fmla="*/ 742950 h 1131094"/>
                  <a:gd name="connsiteX3" fmla="*/ 76200 w 783431"/>
                  <a:gd name="connsiteY3" fmla="*/ 814388 h 1131094"/>
                  <a:gd name="connsiteX4" fmla="*/ 102394 w 783431"/>
                  <a:gd name="connsiteY4" fmla="*/ 919163 h 1131094"/>
                  <a:gd name="connsiteX5" fmla="*/ 116681 w 783431"/>
                  <a:gd name="connsiteY5" fmla="*/ 947738 h 1131094"/>
                  <a:gd name="connsiteX6" fmla="*/ 130969 w 783431"/>
                  <a:gd name="connsiteY6" fmla="*/ 995363 h 1131094"/>
                  <a:gd name="connsiteX7" fmla="*/ 150019 w 783431"/>
                  <a:gd name="connsiteY7" fmla="*/ 1023938 h 1131094"/>
                  <a:gd name="connsiteX8" fmla="*/ 159544 w 783431"/>
                  <a:gd name="connsiteY8" fmla="*/ 1042988 h 1131094"/>
                  <a:gd name="connsiteX9" fmla="*/ 197644 w 783431"/>
                  <a:gd name="connsiteY9" fmla="*/ 1069182 h 1131094"/>
                  <a:gd name="connsiteX10" fmla="*/ 245269 w 783431"/>
                  <a:gd name="connsiteY10" fmla="*/ 1090613 h 1131094"/>
                  <a:gd name="connsiteX11" fmla="*/ 264318 w 783431"/>
                  <a:gd name="connsiteY11" fmla="*/ 1131094 h 1131094"/>
                  <a:gd name="connsiteX12" fmla="*/ 604837 w 783431"/>
                  <a:gd name="connsiteY12" fmla="*/ 1085850 h 1131094"/>
                  <a:gd name="connsiteX13" fmla="*/ 585787 w 783431"/>
                  <a:gd name="connsiteY13" fmla="*/ 1035844 h 1131094"/>
                  <a:gd name="connsiteX14" fmla="*/ 607219 w 783431"/>
                  <a:gd name="connsiteY14" fmla="*/ 1021557 h 1131094"/>
                  <a:gd name="connsiteX15" fmla="*/ 645319 w 783431"/>
                  <a:gd name="connsiteY15" fmla="*/ 1016794 h 1131094"/>
                  <a:gd name="connsiteX16" fmla="*/ 685800 w 783431"/>
                  <a:gd name="connsiteY16" fmla="*/ 997744 h 1131094"/>
                  <a:gd name="connsiteX17" fmla="*/ 716756 w 783431"/>
                  <a:gd name="connsiteY17" fmla="*/ 1002507 h 1131094"/>
                  <a:gd name="connsiteX18" fmla="*/ 738187 w 783431"/>
                  <a:gd name="connsiteY18" fmla="*/ 969169 h 1131094"/>
                  <a:gd name="connsiteX19" fmla="*/ 783431 w 783431"/>
                  <a:gd name="connsiteY19" fmla="*/ 933450 h 1131094"/>
                  <a:gd name="connsiteX20" fmla="*/ 776287 w 783431"/>
                  <a:gd name="connsiteY20" fmla="*/ 907257 h 1131094"/>
                  <a:gd name="connsiteX21" fmla="*/ 752475 w 783431"/>
                  <a:gd name="connsiteY21" fmla="*/ 888207 h 1131094"/>
                  <a:gd name="connsiteX22" fmla="*/ 752475 w 783431"/>
                  <a:gd name="connsiteY22" fmla="*/ 864394 h 1131094"/>
                  <a:gd name="connsiteX23" fmla="*/ 728662 w 783431"/>
                  <a:gd name="connsiteY23" fmla="*/ 852488 h 1131094"/>
                  <a:gd name="connsiteX24" fmla="*/ 711994 w 783431"/>
                  <a:gd name="connsiteY24" fmla="*/ 802482 h 1131094"/>
                  <a:gd name="connsiteX25" fmla="*/ 688181 w 783431"/>
                  <a:gd name="connsiteY25" fmla="*/ 814388 h 1131094"/>
                  <a:gd name="connsiteX26" fmla="*/ 659606 w 783431"/>
                  <a:gd name="connsiteY26" fmla="*/ 814388 h 1131094"/>
                  <a:gd name="connsiteX27" fmla="*/ 647700 w 783431"/>
                  <a:gd name="connsiteY27" fmla="*/ 847725 h 1131094"/>
                  <a:gd name="connsiteX28" fmla="*/ 623887 w 783431"/>
                  <a:gd name="connsiteY28" fmla="*/ 847725 h 1131094"/>
                  <a:gd name="connsiteX29" fmla="*/ 576262 w 783431"/>
                  <a:gd name="connsiteY29" fmla="*/ 828675 h 1131094"/>
                  <a:gd name="connsiteX30" fmla="*/ 554831 w 783431"/>
                  <a:gd name="connsiteY30" fmla="*/ 816769 h 1131094"/>
                  <a:gd name="connsiteX31" fmla="*/ 547687 w 783431"/>
                  <a:gd name="connsiteY31" fmla="*/ 783432 h 1131094"/>
                  <a:gd name="connsiteX32" fmla="*/ 561975 w 783431"/>
                  <a:gd name="connsiteY32" fmla="*/ 754857 h 1131094"/>
                  <a:gd name="connsiteX33" fmla="*/ 533400 w 783431"/>
                  <a:gd name="connsiteY33" fmla="*/ 733425 h 1131094"/>
                  <a:gd name="connsiteX34" fmla="*/ 509587 w 783431"/>
                  <a:gd name="connsiteY34" fmla="*/ 711994 h 1131094"/>
                  <a:gd name="connsiteX35" fmla="*/ 473869 w 783431"/>
                  <a:gd name="connsiteY35" fmla="*/ 711994 h 1131094"/>
                  <a:gd name="connsiteX36" fmla="*/ 435769 w 783431"/>
                  <a:gd name="connsiteY36" fmla="*/ 711994 h 1131094"/>
                  <a:gd name="connsiteX37" fmla="*/ 438150 w 783431"/>
                  <a:gd name="connsiteY37" fmla="*/ 669132 h 1131094"/>
                  <a:gd name="connsiteX38" fmla="*/ 428625 w 783431"/>
                  <a:gd name="connsiteY38" fmla="*/ 642938 h 1131094"/>
                  <a:gd name="connsiteX39" fmla="*/ 423862 w 783431"/>
                  <a:gd name="connsiteY39" fmla="*/ 607219 h 1131094"/>
                  <a:gd name="connsiteX40" fmla="*/ 426244 w 783431"/>
                  <a:gd name="connsiteY40" fmla="*/ 578644 h 1131094"/>
                  <a:gd name="connsiteX41" fmla="*/ 440531 w 783431"/>
                  <a:gd name="connsiteY41" fmla="*/ 566738 h 1131094"/>
                  <a:gd name="connsiteX42" fmla="*/ 450056 w 783431"/>
                  <a:gd name="connsiteY42" fmla="*/ 535782 h 1131094"/>
                  <a:gd name="connsiteX43" fmla="*/ 457200 w 783431"/>
                  <a:gd name="connsiteY43" fmla="*/ 519113 h 1131094"/>
                  <a:gd name="connsiteX44" fmla="*/ 481012 w 783431"/>
                  <a:gd name="connsiteY44" fmla="*/ 526257 h 1131094"/>
                  <a:gd name="connsiteX45" fmla="*/ 495300 w 783431"/>
                  <a:gd name="connsiteY45" fmla="*/ 576263 h 1131094"/>
                  <a:gd name="connsiteX46" fmla="*/ 507206 w 783431"/>
                  <a:gd name="connsiteY46" fmla="*/ 581025 h 1131094"/>
                  <a:gd name="connsiteX47" fmla="*/ 526256 w 783431"/>
                  <a:gd name="connsiteY47" fmla="*/ 583407 h 1131094"/>
                  <a:gd name="connsiteX48" fmla="*/ 554831 w 783431"/>
                  <a:gd name="connsiteY48" fmla="*/ 583407 h 1131094"/>
                  <a:gd name="connsiteX49" fmla="*/ 557212 w 783431"/>
                  <a:gd name="connsiteY49" fmla="*/ 547688 h 1131094"/>
                  <a:gd name="connsiteX50" fmla="*/ 545306 w 783431"/>
                  <a:gd name="connsiteY50" fmla="*/ 502444 h 1131094"/>
                  <a:gd name="connsiteX51" fmla="*/ 545306 w 783431"/>
                  <a:gd name="connsiteY51" fmla="*/ 476250 h 1131094"/>
                  <a:gd name="connsiteX52" fmla="*/ 581025 w 783431"/>
                  <a:gd name="connsiteY52" fmla="*/ 454819 h 1131094"/>
                  <a:gd name="connsiteX53" fmla="*/ 604837 w 783431"/>
                  <a:gd name="connsiteY53" fmla="*/ 435769 h 1131094"/>
                  <a:gd name="connsiteX54" fmla="*/ 640556 w 783431"/>
                  <a:gd name="connsiteY54" fmla="*/ 414338 h 1131094"/>
                  <a:gd name="connsiteX55" fmla="*/ 645319 w 783431"/>
                  <a:gd name="connsiteY55" fmla="*/ 395288 h 1131094"/>
                  <a:gd name="connsiteX56" fmla="*/ 633412 w 783431"/>
                  <a:gd name="connsiteY56" fmla="*/ 371475 h 1131094"/>
                  <a:gd name="connsiteX57" fmla="*/ 614362 w 783431"/>
                  <a:gd name="connsiteY57" fmla="*/ 369094 h 1131094"/>
                  <a:gd name="connsiteX58" fmla="*/ 609600 w 783431"/>
                  <a:gd name="connsiteY58" fmla="*/ 366713 h 1131094"/>
                  <a:gd name="connsiteX59" fmla="*/ 597694 w 783431"/>
                  <a:gd name="connsiteY59" fmla="*/ 357188 h 1131094"/>
                  <a:gd name="connsiteX60" fmla="*/ 611981 w 783431"/>
                  <a:gd name="connsiteY60" fmla="*/ 345282 h 1131094"/>
                  <a:gd name="connsiteX61" fmla="*/ 652462 w 783431"/>
                  <a:gd name="connsiteY61" fmla="*/ 316707 h 1131094"/>
                  <a:gd name="connsiteX62" fmla="*/ 678656 w 783431"/>
                  <a:gd name="connsiteY62" fmla="*/ 264319 h 1131094"/>
                  <a:gd name="connsiteX63" fmla="*/ 666750 w 783431"/>
                  <a:gd name="connsiteY63" fmla="*/ 242888 h 1131094"/>
                  <a:gd name="connsiteX64" fmla="*/ 638175 w 783431"/>
                  <a:gd name="connsiteY64" fmla="*/ 219075 h 1131094"/>
                  <a:gd name="connsiteX65" fmla="*/ 642937 w 783431"/>
                  <a:gd name="connsiteY65" fmla="*/ 180975 h 1131094"/>
                  <a:gd name="connsiteX66" fmla="*/ 673894 w 783431"/>
                  <a:gd name="connsiteY66" fmla="*/ 171450 h 1131094"/>
                  <a:gd name="connsiteX67" fmla="*/ 700087 w 783431"/>
                  <a:gd name="connsiteY67" fmla="*/ 142875 h 1131094"/>
                  <a:gd name="connsiteX68" fmla="*/ 700087 w 783431"/>
                  <a:gd name="connsiteY68" fmla="*/ 111919 h 1131094"/>
                  <a:gd name="connsiteX69" fmla="*/ 666750 w 783431"/>
                  <a:gd name="connsiteY69" fmla="*/ 107157 h 1131094"/>
                  <a:gd name="connsiteX70" fmla="*/ 645319 w 783431"/>
                  <a:gd name="connsiteY70" fmla="*/ 102394 h 1131094"/>
                  <a:gd name="connsiteX71" fmla="*/ 645319 w 783431"/>
                  <a:gd name="connsiteY71" fmla="*/ 102394 h 1131094"/>
                  <a:gd name="connsiteX72" fmla="*/ 678656 w 783431"/>
                  <a:gd name="connsiteY72" fmla="*/ 69057 h 1131094"/>
                  <a:gd name="connsiteX73" fmla="*/ 685800 w 783431"/>
                  <a:gd name="connsiteY73" fmla="*/ 40482 h 1131094"/>
                  <a:gd name="connsiteX74" fmla="*/ 678656 w 783431"/>
                  <a:gd name="connsiteY74" fmla="*/ 21432 h 1131094"/>
                  <a:gd name="connsiteX75" fmla="*/ 695325 w 783431"/>
                  <a:gd name="connsiteY75" fmla="*/ 2382 h 1131094"/>
                  <a:gd name="connsiteX76" fmla="*/ 628650 w 783431"/>
                  <a:gd name="connsiteY76" fmla="*/ 0 h 1131094"/>
                  <a:gd name="connsiteX77" fmla="*/ 552450 w 783431"/>
                  <a:gd name="connsiteY77" fmla="*/ 52388 h 1131094"/>
                  <a:gd name="connsiteX78" fmla="*/ 538162 w 783431"/>
                  <a:gd name="connsiteY78" fmla="*/ 90488 h 1131094"/>
                  <a:gd name="connsiteX79" fmla="*/ 445294 w 783431"/>
                  <a:gd name="connsiteY79" fmla="*/ 126207 h 1131094"/>
                  <a:gd name="connsiteX80" fmla="*/ 397669 w 783431"/>
                  <a:gd name="connsiteY80" fmla="*/ 159544 h 1131094"/>
                  <a:gd name="connsiteX81" fmla="*/ 376237 w 783431"/>
                  <a:gd name="connsiteY81" fmla="*/ 190500 h 1131094"/>
                  <a:gd name="connsiteX82" fmla="*/ 350044 w 783431"/>
                  <a:gd name="connsiteY82" fmla="*/ 140494 h 1131094"/>
                  <a:gd name="connsiteX83" fmla="*/ 316706 w 783431"/>
                  <a:gd name="connsiteY83" fmla="*/ 140494 h 1131094"/>
                  <a:gd name="connsiteX84" fmla="*/ 304800 w 783431"/>
                  <a:gd name="connsiteY84" fmla="*/ 166688 h 1131094"/>
                  <a:gd name="connsiteX85" fmla="*/ 280987 w 783431"/>
                  <a:gd name="connsiteY85" fmla="*/ 230982 h 1131094"/>
                  <a:gd name="connsiteX86" fmla="*/ 154781 w 783431"/>
                  <a:gd name="connsiteY86" fmla="*/ 223838 h 1131094"/>
                  <a:gd name="connsiteX87" fmla="*/ 140494 w 783431"/>
                  <a:gd name="connsiteY87" fmla="*/ 245269 h 1131094"/>
                  <a:gd name="connsiteX88" fmla="*/ 138112 w 783431"/>
                  <a:gd name="connsiteY88" fmla="*/ 280988 h 1131094"/>
                  <a:gd name="connsiteX89" fmla="*/ 66675 w 783431"/>
                  <a:gd name="connsiteY89" fmla="*/ 309563 h 1131094"/>
                  <a:gd name="connsiteX90" fmla="*/ 54769 w 783431"/>
                  <a:gd name="connsiteY90" fmla="*/ 323850 h 1131094"/>
                  <a:gd name="connsiteX91" fmla="*/ 66675 w 783431"/>
                  <a:gd name="connsiteY91" fmla="*/ 381000 h 1131094"/>
                  <a:gd name="connsiteX92" fmla="*/ 19050 w 783431"/>
                  <a:gd name="connsiteY92" fmla="*/ 423863 h 1131094"/>
                  <a:gd name="connsiteX93" fmla="*/ 26194 w 783431"/>
                  <a:gd name="connsiteY93" fmla="*/ 490538 h 1131094"/>
                  <a:gd name="connsiteX94" fmla="*/ 33337 w 783431"/>
                  <a:gd name="connsiteY94" fmla="*/ 554832 h 1131094"/>
                  <a:gd name="connsiteX95" fmla="*/ 0 w 783431"/>
                  <a:gd name="connsiteY95" fmla="*/ 614363 h 1131094"/>
                  <a:gd name="connsiteX0" fmla="*/ 0 w 783431"/>
                  <a:gd name="connsiteY0" fmla="*/ 614363 h 1131094"/>
                  <a:gd name="connsiteX1" fmla="*/ 21431 w 783431"/>
                  <a:gd name="connsiteY1" fmla="*/ 661988 h 1131094"/>
                  <a:gd name="connsiteX2" fmla="*/ 28575 w 783431"/>
                  <a:gd name="connsiteY2" fmla="*/ 742950 h 1131094"/>
                  <a:gd name="connsiteX3" fmla="*/ 76200 w 783431"/>
                  <a:gd name="connsiteY3" fmla="*/ 814388 h 1131094"/>
                  <a:gd name="connsiteX4" fmla="*/ 102394 w 783431"/>
                  <a:gd name="connsiteY4" fmla="*/ 919163 h 1131094"/>
                  <a:gd name="connsiteX5" fmla="*/ 116681 w 783431"/>
                  <a:gd name="connsiteY5" fmla="*/ 947738 h 1131094"/>
                  <a:gd name="connsiteX6" fmla="*/ 130969 w 783431"/>
                  <a:gd name="connsiteY6" fmla="*/ 995363 h 1131094"/>
                  <a:gd name="connsiteX7" fmla="*/ 150019 w 783431"/>
                  <a:gd name="connsiteY7" fmla="*/ 1023938 h 1131094"/>
                  <a:gd name="connsiteX8" fmla="*/ 159544 w 783431"/>
                  <a:gd name="connsiteY8" fmla="*/ 1042988 h 1131094"/>
                  <a:gd name="connsiteX9" fmla="*/ 197644 w 783431"/>
                  <a:gd name="connsiteY9" fmla="*/ 1069182 h 1131094"/>
                  <a:gd name="connsiteX10" fmla="*/ 245269 w 783431"/>
                  <a:gd name="connsiteY10" fmla="*/ 1090613 h 1131094"/>
                  <a:gd name="connsiteX11" fmla="*/ 264318 w 783431"/>
                  <a:gd name="connsiteY11" fmla="*/ 1131094 h 1131094"/>
                  <a:gd name="connsiteX12" fmla="*/ 323850 w 783431"/>
                  <a:gd name="connsiteY12" fmla="*/ 1123949 h 1131094"/>
                  <a:gd name="connsiteX13" fmla="*/ 604837 w 783431"/>
                  <a:gd name="connsiteY13" fmla="*/ 1085850 h 1131094"/>
                  <a:gd name="connsiteX14" fmla="*/ 585787 w 783431"/>
                  <a:gd name="connsiteY14" fmla="*/ 1035844 h 1131094"/>
                  <a:gd name="connsiteX15" fmla="*/ 607219 w 783431"/>
                  <a:gd name="connsiteY15" fmla="*/ 1021557 h 1131094"/>
                  <a:gd name="connsiteX16" fmla="*/ 645319 w 783431"/>
                  <a:gd name="connsiteY16" fmla="*/ 1016794 h 1131094"/>
                  <a:gd name="connsiteX17" fmla="*/ 685800 w 783431"/>
                  <a:gd name="connsiteY17" fmla="*/ 997744 h 1131094"/>
                  <a:gd name="connsiteX18" fmla="*/ 716756 w 783431"/>
                  <a:gd name="connsiteY18" fmla="*/ 1002507 h 1131094"/>
                  <a:gd name="connsiteX19" fmla="*/ 738187 w 783431"/>
                  <a:gd name="connsiteY19" fmla="*/ 969169 h 1131094"/>
                  <a:gd name="connsiteX20" fmla="*/ 783431 w 783431"/>
                  <a:gd name="connsiteY20" fmla="*/ 933450 h 1131094"/>
                  <a:gd name="connsiteX21" fmla="*/ 776287 w 783431"/>
                  <a:gd name="connsiteY21" fmla="*/ 907257 h 1131094"/>
                  <a:gd name="connsiteX22" fmla="*/ 752475 w 783431"/>
                  <a:gd name="connsiteY22" fmla="*/ 888207 h 1131094"/>
                  <a:gd name="connsiteX23" fmla="*/ 752475 w 783431"/>
                  <a:gd name="connsiteY23" fmla="*/ 864394 h 1131094"/>
                  <a:gd name="connsiteX24" fmla="*/ 728662 w 783431"/>
                  <a:gd name="connsiteY24" fmla="*/ 852488 h 1131094"/>
                  <a:gd name="connsiteX25" fmla="*/ 711994 w 783431"/>
                  <a:gd name="connsiteY25" fmla="*/ 802482 h 1131094"/>
                  <a:gd name="connsiteX26" fmla="*/ 688181 w 783431"/>
                  <a:gd name="connsiteY26" fmla="*/ 814388 h 1131094"/>
                  <a:gd name="connsiteX27" fmla="*/ 659606 w 783431"/>
                  <a:gd name="connsiteY27" fmla="*/ 814388 h 1131094"/>
                  <a:gd name="connsiteX28" fmla="*/ 647700 w 783431"/>
                  <a:gd name="connsiteY28" fmla="*/ 847725 h 1131094"/>
                  <a:gd name="connsiteX29" fmla="*/ 623887 w 783431"/>
                  <a:gd name="connsiteY29" fmla="*/ 847725 h 1131094"/>
                  <a:gd name="connsiteX30" fmla="*/ 576262 w 783431"/>
                  <a:gd name="connsiteY30" fmla="*/ 828675 h 1131094"/>
                  <a:gd name="connsiteX31" fmla="*/ 554831 w 783431"/>
                  <a:gd name="connsiteY31" fmla="*/ 816769 h 1131094"/>
                  <a:gd name="connsiteX32" fmla="*/ 547687 w 783431"/>
                  <a:gd name="connsiteY32" fmla="*/ 783432 h 1131094"/>
                  <a:gd name="connsiteX33" fmla="*/ 561975 w 783431"/>
                  <a:gd name="connsiteY33" fmla="*/ 754857 h 1131094"/>
                  <a:gd name="connsiteX34" fmla="*/ 533400 w 783431"/>
                  <a:gd name="connsiteY34" fmla="*/ 733425 h 1131094"/>
                  <a:gd name="connsiteX35" fmla="*/ 509587 w 783431"/>
                  <a:gd name="connsiteY35" fmla="*/ 711994 h 1131094"/>
                  <a:gd name="connsiteX36" fmla="*/ 473869 w 783431"/>
                  <a:gd name="connsiteY36" fmla="*/ 711994 h 1131094"/>
                  <a:gd name="connsiteX37" fmla="*/ 435769 w 783431"/>
                  <a:gd name="connsiteY37" fmla="*/ 711994 h 1131094"/>
                  <a:gd name="connsiteX38" fmla="*/ 438150 w 783431"/>
                  <a:gd name="connsiteY38" fmla="*/ 669132 h 1131094"/>
                  <a:gd name="connsiteX39" fmla="*/ 428625 w 783431"/>
                  <a:gd name="connsiteY39" fmla="*/ 642938 h 1131094"/>
                  <a:gd name="connsiteX40" fmla="*/ 423862 w 783431"/>
                  <a:gd name="connsiteY40" fmla="*/ 607219 h 1131094"/>
                  <a:gd name="connsiteX41" fmla="*/ 426244 w 783431"/>
                  <a:gd name="connsiteY41" fmla="*/ 578644 h 1131094"/>
                  <a:gd name="connsiteX42" fmla="*/ 440531 w 783431"/>
                  <a:gd name="connsiteY42" fmla="*/ 566738 h 1131094"/>
                  <a:gd name="connsiteX43" fmla="*/ 450056 w 783431"/>
                  <a:gd name="connsiteY43" fmla="*/ 535782 h 1131094"/>
                  <a:gd name="connsiteX44" fmla="*/ 457200 w 783431"/>
                  <a:gd name="connsiteY44" fmla="*/ 519113 h 1131094"/>
                  <a:gd name="connsiteX45" fmla="*/ 481012 w 783431"/>
                  <a:gd name="connsiteY45" fmla="*/ 526257 h 1131094"/>
                  <a:gd name="connsiteX46" fmla="*/ 495300 w 783431"/>
                  <a:gd name="connsiteY46" fmla="*/ 576263 h 1131094"/>
                  <a:gd name="connsiteX47" fmla="*/ 507206 w 783431"/>
                  <a:gd name="connsiteY47" fmla="*/ 581025 h 1131094"/>
                  <a:gd name="connsiteX48" fmla="*/ 526256 w 783431"/>
                  <a:gd name="connsiteY48" fmla="*/ 583407 h 1131094"/>
                  <a:gd name="connsiteX49" fmla="*/ 554831 w 783431"/>
                  <a:gd name="connsiteY49" fmla="*/ 583407 h 1131094"/>
                  <a:gd name="connsiteX50" fmla="*/ 557212 w 783431"/>
                  <a:gd name="connsiteY50" fmla="*/ 547688 h 1131094"/>
                  <a:gd name="connsiteX51" fmla="*/ 545306 w 783431"/>
                  <a:gd name="connsiteY51" fmla="*/ 502444 h 1131094"/>
                  <a:gd name="connsiteX52" fmla="*/ 545306 w 783431"/>
                  <a:gd name="connsiteY52" fmla="*/ 476250 h 1131094"/>
                  <a:gd name="connsiteX53" fmla="*/ 581025 w 783431"/>
                  <a:gd name="connsiteY53" fmla="*/ 454819 h 1131094"/>
                  <a:gd name="connsiteX54" fmla="*/ 604837 w 783431"/>
                  <a:gd name="connsiteY54" fmla="*/ 435769 h 1131094"/>
                  <a:gd name="connsiteX55" fmla="*/ 640556 w 783431"/>
                  <a:gd name="connsiteY55" fmla="*/ 414338 h 1131094"/>
                  <a:gd name="connsiteX56" fmla="*/ 645319 w 783431"/>
                  <a:gd name="connsiteY56" fmla="*/ 395288 h 1131094"/>
                  <a:gd name="connsiteX57" fmla="*/ 633412 w 783431"/>
                  <a:gd name="connsiteY57" fmla="*/ 371475 h 1131094"/>
                  <a:gd name="connsiteX58" fmla="*/ 614362 w 783431"/>
                  <a:gd name="connsiteY58" fmla="*/ 369094 h 1131094"/>
                  <a:gd name="connsiteX59" fmla="*/ 609600 w 783431"/>
                  <a:gd name="connsiteY59" fmla="*/ 366713 h 1131094"/>
                  <a:gd name="connsiteX60" fmla="*/ 597694 w 783431"/>
                  <a:gd name="connsiteY60" fmla="*/ 357188 h 1131094"/>
                  <a:gd name="connsiteX61" fmla="*/ 611981 w 783431"/>
                  <a:gd name="connsiteY61" fmla="*/ 345282 h 1131094"/>
                  <a:gd name="connsiteX62" fmla="*/ 652462 w 783431"/>
                  <a:gd name="connsiteY62" fmla="*/ 316707 h 1131094"/>
                  <a:gd name="connsiteX63" fmla="*/ 678656 w 783431"/>
                  <a:gd name="connsiteY63" fmla="*/ 264319 h 1131094"/>
                  <a:gd name="connsiteX64" fmla="*/ 666750 w 783431"/>
                  <a:gd name="connsiteY64" fmla="*/ 242888 h 1131094"/>
                  <a:gd name="connsiteX65" fmla="*/ 638175 w 783431"/>
                  <a:gd name="connsiteY65" fmla="*/ 219075 h 1131094"/>
                  <a:gd name="connsiteX66" fmla="*/ 642937 w 783431"/>
                  <a:gd name="connsiteY66" fmla="*/ 180975 h 1131094"/>
                  <a:gd name="connsiteX67" fmla="*/ 673894 w 783431"/>
                  <a:gd name="connsiteY67" fmla="*/ 171450 h 1131094"/>
                  <a:gd name="connsiteX68" fmla="*/ 700087 w 783431"/>
                  <a:gd name="connsiteY68" fmla="*/ 142875 h 1131094"/>
                  <a:gd name="connsiteX69" fmla="*/ 700087 w 783431"/>
                  <a:gd name="connsiteY69" fmla="*/ 111919 h 1131094"/>
                  <a:gd name="connsiteX70" fmla="*/ 666750 w 783431"/>
                  <a:gd name="connsiteY70" fmla="*/ 107157 h 1131094"/>
                  <a:gd name="connsiteX71" fmla="*/ 645319 w 783431"/>
                  <a:gd name="connsiteY71" fmla="*/ 102394 h 1131094"/>
                  <a:gd name="connsiteX72" fmla="*/ 645319 w 783431"/>
                  <a:gd name="connsiteY72" fmla="*/ 102394 h 1131094"/>
                  <a:gd name="connsiteX73" fmla="*/ 678656 w 783431"/>
                  <a:gd name="connsiteY73" fmla="*/ 69057 h 1131094"/>
                  <a:gd name="connsiteX74" fmla="*/ 685800 w 783431"/>
                  <a:gd name="connsiteY74" fmla="*/ 40482 h 1131094"/>
                  <a:gd name="connsiteX75" fmla="*/ 678656 w 783431"/>
                  <a:gd name="connsiteY75" fmla="*/ 21432 h 1131094"/>
                  <a:gd name="connsiteX76" fmla="*/ 695325 w 783431"/>
                  <a:gd name="connsiteY76" fmla="*/ 2382 h 1131094"/>
                  <a:gd name="connsiteX77" fmla="*/ 628650 w 783431"/>
                  <a:gd name="connsiteY77" fmla="*/ 0 h 1131094"/>
                  <a:gd name="connsiteX78" fmla="*/ 552450 w 783431"/>
                  <a:gd name="connsiteY78" fmla="*/ 52388 h 1131094"/>
                  <a:gd name="connsiteX79" fmla="*/ 538162 w 783431"/>
                  <a:gd name="connsiteY79" fmla="*/ 90488 h 1131094"/>
                  <a:gd name="connsiteX80" fmla="*/ 445294 w 783431"/>
                  <a:gd name="connsiteY80" fmla="*/ 126207 h 1131094"/>
                  <a:gd name="connsiteX81" fmla="*/ 397669 w 783431"/>
                  <a:gd name="connsiteY81" fmla="*/ 159544 h 1131094"/>
                  <a:gd name="connsiteX82" fmla="*/ 376237 w 783431"/>
                  <a:gd name="connsiteY82" fmla="*/ 190500 h 1131094"/>
                  <a:gd name="connsiteX83" fmla="*/ 350044 w 783431"/>
                  <a:gd name="connsiteY83" fmla="*/ 140494 h 1131094"/>
                  <a:gd name="connsiteX84" fmla="*/ 316706 w 783431"/>
                  <a:gd name="connsiteY84" fmla="*/ 140494 h 1131094"/>
                  <a:gd name="connsiteX85" fmla="*/ 304800 w 783431"/>
                  <a:gd name="connsiteY85" fmla="*/ 166688 h 1131094"/>
                  <a:gd name="connsiteX86" fmla="*/ 280987 w 783431"/>
                  <a:gd name="connsiteY86" fmla="*/ 230982 h 1131094"/>
                  <a:gd name="connsiteX87" fmla="*/ 154781 w 783431"/>
                  <a:gd name="connsiteY87" fmla="*/ 223838 h 1131094"/>
                  <a:gd name="connsiteX88" fmla="*/ 140494 w 783431"/>
                  <a:gd name="connsiteY88" fmla="*/ 245269 h 1131094"/>
                  <a:gd name="connsiteX89" fmla="*/ 138112 w 783431"/>
                  <a:gd name="connsiteY89" fmla="*/ 280988 h 1131094"/>
                  <a:gd name="connsiteX90" fmla="*/ 66675 w 783431"/>
                  <a:gd name="connsiteY90" fmla="*/ 309563 h 1131094"/>
                  <a:gd name="connsiteX91" fmla="*/ 54769 w 783431"/>
                  <a:gd name="connsiteY91" fmla="*/ 323850 h 1131094"/>
                  <a:gd name="connsiteX92" fmla="*/ 66675 w 783431"/>
                  <a:gd name="connsiteY92" fmla="*/ 381000 h 1131094"/>
                  <a:gd name="connsiteX93" fmla="*/ 19050 w 783431"/>
                  <a:gd name="connsiteY93" fmla="*/ 423863 h 1131094"/>
                  <a:gd name="connsiteX94" fmla="*/ 26194 w 783431"/>
                  <a:gd name="connsiteY94" fmla="*/ 490538 h 1131094"/>
                  <a:gd name="connsiteX95" fmla="*/ 33337 w 783431"/>
                  <a:gd name="connsiteY95" fmla="*/ 554832 h 1131094"/>
                  <a:gd name="connsiteX96" fmla="*/ 0 w 783431"/>
                  <a:gd name="connsiteY96" fmla="*/ 614363 h 1131094"/>
                  <a:gd name="connsiteX0" fmla="*/ 0 w 783431"/>
                  <a:gd name="connsiteY0" fmla="*/ 614363 h 1164431"/>
                  <a:gd name="connsiteX1" fmla="*/ 21431 w 783431"/>
                  <a:gd name="connsiteY1" fmla="*/ 661988 h 1164431"/>
                  <a:gd name="connsiteX2" fmla="*/ 28575 w 783431"/>
                  <a:gd name="connsiteY2" fmla="*/ 742950 h 1164431"/>
                  <a:gd name="connsiteX3" fmla="*/ 76200 w 783431"/>
                  <a:gd name="connsiteY3" fmla="*/ 814388 h 1164431"/>
                  <a:gd name="connsiteX4" fmla="*/ 102394 w 783431"/>
                  <a:gd name="connsiteY4" fmla="*/ 919163 h 1164431"/>
                  <a:gd name="connsiteX5" fmla="*/ 116681 w 783431"/>
                  <a:gd name="connsiteY5" fmla="*/ 947738 h 1164431"/>
                  <a:gd name="connsiteX6" fmla="*/ 130969 w 783431"/>
                  <a:gd name="connsiteY6" fmla="*/ 995363 h 1164431"/>
                  <a:gd name="connsiteX7" fmla="*/ 150019 w 783431"/>
                  <a:gd name="connsiteY7" fmla="*/ 1023938 h 1164431"/>
                  <a:gd name="connsiteX8" fmla="*/ 159544 w 783431"/>
                  <a:gd name="connsiteY8" fmla="*/ 1042988 h 1164431"/>
                  <a:gd name="connsiteX9" fmla="*/ 197644 w 783431"/>
                  <a:gd name="connsiteY9" fmla="*/ 1069182 h 1164431"/>
                  <a:gd name="connsiteX10" fmla="*/ 245269 w 783431"/>
                  <a:gd name="connsiteY10" fmla="*/ 1090613 h 1164431"/>
                  <a:gd name="connsiteX11" fmla="*/ 264318 w 783431"/>
                  <a:gd name="connsiteY11" fmla="*/ 1131094 h 1164431"/>
                  <a:gd name="connsiteX12" fmla="*/ 295275 w 783431"/>
                  <a:gd name="connsiteY12" fmla="*/ 1164431 h 1164431"/>
                  <a:gd name="connsiteX13" fmla="*/ 604837 w 783431"/>
                  <a:gd name="connsiteY13" fmla="*/ 1085850 h 1164431"/>
                  <a:gd name="connsiteX14" fmla="*/ 585787 w 783431"/>
                  <a:gd name="connsiteY14" fmla="*/ 1035844 h 1164431"/>
                  <a:gd name="connsiteX15" fmla="*/ 607219 w 783431"/>
                  <a:gd name="connsiteY15" fmla="*/ 1021557 h 1164431"/>
                  <a:gd name="connsiteX16" fmla="*/ 645319 w 783431"/>
                  <a:gd name="connsiteY16" fmla="*/ 1016794 h 1164431"/>
                  <a:gd name="connsiteX17" fmla="*/ 685800 w 783431"/>
                  <a:gd name="connsiteY17" fmla="*/ 997744 h 1164431"/>
                  <a:gd name="connsiteX18" fmla="*/ 716756 w 783431"/>
                  <a:gd name="connsiteY18" fmla="*/ 1002507 h 1164431"/>
                  <a:gd name="connsiteX19" fmla="*/ 738187 w 783431"/>
                  <a:gd name="connsiteY19" fmla="*/ 969169 h 1164431"/>
                  <a:gd name="connsiteX20" fmla="*/ 783431 w 783431"/>
                  <a:gd name="connsiteY20" fmla="*/ 933450 h 1164431"/>
                  <a:gd name="connsiteX21" fmla="*/ 776287 w 783431"/>
                  <a:gd name="connsiteY21" fmla="*/ 907257 h 1164431"/>
                  <a:gd name="connsiteX22" fmla="*/ 752475 w 783431"/>
                  <a:gd name="connsiteY22" fmla="*/ 888207 h 1164431"/>
                  <a:gd name="connsiteX23" fmla="*/ 752475 w 783431"/>
                  <a:gd name="connsiteY23" fmla="*/ 864394 h 1164431"/>
                  <a:gd name="connsiteX24" fmla="*/ 728662 w 783431"/>
                  <a:gd name="connsiteY24" fmla="*/ 852488 h 1164431"/>
                  <a:gd name="connsiteX25" fmla="*/ 711994 w 783431"/>
                  <a:gd name="connsiteY25" fmla="*/ 802482 h 1164431"/>
                  <a:gd name="connsiteX26" fmla="*/ 688181 w 783431"/>
                  <a:gd name="connsiteY26" fmla="*/ 814388 h 1164431"/>
                  <a:gd name="connsiteX27" fmla="*/ 659606 w 783431"/>
                  <a:gd name="connsiteY27" fmla="*/ 814388 h 1164431"/>
                  <a:gd name="connsiteX28" fmla="*/ 647700 w 783431"/>
                  <a:gd name="connsiteY28" fmla="*/ 847725 h 1164431"/>
                  <a:gd name="connsiteX29" fmla="*/ 623887 w 783431"/>
                  <a:gd name="connsiteY29" fmla="*/ 847725 h 1164431"/>
                  <a:gd name="connsiteX30" fmla="*/ 576262 w 783431"/>
                  <a:gd name="connsiteY30" fmla="*/ 828675 h 1164431"/>
                  <a:gd name="connsiteX31" fmla="*/ 554831 w 783431"/>
                  <a:gd name="connsiteY31" fmla="*/ 816769 h 1164431"/>
                  <a:gd name="connsiteX32" fmla="*/ 547687 w 783431"/>
                  <a:gd name="connsiteY32" fmla="*/ 783432 h 1164431"/>
                  <a:gd name="connsiteX33" fmla="*/ 561975 w 783431"/>
                  <a:gd name="connsiteY33" fmla="*/ 754857 h 1164431"/>
                  <a:gd name="connsiteX34" fmla="*/ 533400 w 783431"/>
                  <a:gd name="connsiteY34" fmla="*/ 733425 h 1164431"/>
                  <a:gd name="connsiteX35" fmla="*/ 509587 w 783431"/>
                  <a:gd name="connsiteY35" fmla="*/ 711994 h 1164431"/>
                  <a:gd name="connsiteX36" fmla="*/ 473869 w 783431"/>
                  <a:gd name="connsiteY36" fmla="*/ 711994 h 1164431"/>
                  <a:gd name="connsiteX37" fmla="*/ 435769 w 783431"/>
                  <a:gd name="connsiteY37" fmla="*/ 711994 h 1164431"/>
                  <a:gd name="connsiteX38" fmla="*/ 438150 w 783431"/>
                  <a:gd name="connsiteY38" fmla="*/ 669132 h 1164431"/>
                  <a:gd name="connsiteX39" fmla="*/ 428625 w 783431"/>
                  <a:gd name="connsiteY39" fmla="*/ 642938 h 1164431"/>
                  <a:gd name="connsiteX40" fmla="*/ 423862 w 783431"/>
                  <a:gd name="connsiteY40" fmla="*/ 607219 h 1164431"/>
                  <a:gd name="connsiteX41" fmla="*/ 426244 w 783431"/>
                  <a:gd name="connsiteY41" fmla="*/ 578644 h 1164431"/>
                  <a:gd name="connsiteX42" fmla="*/ 440531 w 783431"/>
                  <a:gd name="connsiteY42" fmla="*/ 566738 h 1164431"/>
                  <a:gd name="connsiteX43" fmla="*/ 450056 w 783431"/>
                  <a:gd name="connsiteY43" fmla="*/ 535782 h 1164431"/>
                  <a:gd name="connsiteX44" fmla="*/ 457200 w 783431"/>
                  <a:gd name="connsiteY44" fmla="*/ 519113 h 1164431"/>
                  <a:gd name="connsiteX45" fmla="*/ 481012 w 783431"/>
                  <a:gd name="connsiteY45" fmla="*/ 526257 h 1164431"/>
                  <a:gd name="connsiteX46" fmla="*/ 495300 w 783431"/>
                  <a:gd name="connsiteY46" fmla="*/ 576263 h 1164431"/>
                  <a:gd name="connsiteX47" fmla="*/ 507206 w 783431"/>
                  <a:gd name="connsiteY47" fmla="*/ 581025 h 1164431"/>
                  <a:gd name="connsiteX48" fmla="*/ 526256 w 783431"/>
                  <a:gd name="connsiteY48" fmla="*/ 583407 h 1164431"/>
                  <a:gd name="connsiteX49" fmla="*/ 554831 w 783431"/>
                  <a:gd name="connsiteY49" fmla="*/ 583407 h 1164431"/>
                  <a:gd name="connsiteX50" fmla="*/ 557212 w 783431"/>
                  <a:gd name="connsiteY50" fmla="*/ 547688 h 1164431"/>
                  <a:gd name="connsiteX51" fmla="*/ 545306 w 783431"/>
                  <a:gd name="connsiteY51" fmla="*/ 502444 h 1164431"/>
                  <a:gd name="connsiteX52" fmla="*/ 545306 w 783431"/>
                  <a:gd name="connsiteY52" fmla="*/ 476250 h 1164431"/>
                  <a:gd name="connsiteX53" fmla="*/ 581025 w 783431"/>
                  <a:gd name="connsiteY53" fmla="*/ 454819 h 1164431"/>
                  <a:gd name="connsiteX54" fmla="*/ 604837 w 783431"/>
                  <a:gd name="connsiteY54" fmla="*/ 435769 h 1164431"/>
                  <a:gd name="connsiteX55" fmla="*/ 640556 w 783431"/>
                  <a:gd name="connsiteY55" fmla="*/ 414338 h 1164431"/>
                  <a:gd name="connsiteX56" fmla="*/ 645319 w 783431"/>
                  <a:gd name="connsiteY56" fmla="*/ 395288 h 1164431"/>
                  <a:gd name="connsiteX57" fmla="*/ 633412 w 783431"/>
                  <a:gd name="connsiteY57" fmla="*/ 371475 h 1164431"/>
                  <a:gd name="connsiteX58" fmla="*/ 614362 w 783431"/>
                  <a:gd name="connsiteY58" fmla="*/ 369094 h 1164431"/>
                  <a:gd name="connsiteX59" fmla="*/ 609600 w 783431"/>
                  <a:gd name="connsiteY59" fmla="*/ 366713 h 1164431"/>
                  <a:gd name="connsiteX60" fmla="*/ 597694 w 783431"/>
                  <a:gd name="connsiteY60" fmla="*/ 357188 h 1164431"/>
                  <a:gd name="connsiteX61" fmla="*/ 611981 w 783431"/>
                  <a:gd name="connsiteY61" fmla="*/ 345282 h 1164431"/>
                  <a:gd name="connsiteX62" fmla="*/ 652462 w 783431"/>
                  <a:gd name="connsiteY62" fmla="*/ 316707 h 1164431"/>
                  <a:gd name="connsiteX63" fmla="*/ 678656 w 783431"/>
                  <a:gd name="connsiteY63" fmla="*/ 264319 h 1164431"/>
                  <a:gd name="connsiteX64" fmla="*/ 666750 w 783431"/>
                  <a:gd name="connsiteY64" fmla="*/ 242888 h 1164431"/>
                  <a:gd name="connsiteX65" fmla="*/ 638175 w 783431"/>
                  <a:gd name="connsiteY65" fmla="*/ 219075 h 1164431"/>
                  <a:gd name="connsiteX66" fmla="*/ 642937 w 783431"/>
                  <a:gd name="connsiteY66" fmla="*/ 180975 h 1164431"/>
                  <a:gd name="connsiteX67" fmla="*/ 673894 w 783431"/>
                  <a:gd name="connsiteY67" fmla="*/ 171450 h 1164431"/>
                  <a:gd name="connsiteX68" fmla="*/ 700087 w 783431"/>
                  <a:gd name="connsiteY68" fmla="*/ 142875 h 1164431"/>
                  <a:gd name="connsiteX69" fmla="*/ 700087 w 783431"/>
                  <a:gd name="connsiteY69" fmla="*/ 111919 h 1164431"/>
                  <a:gd name="connsiteX70" fmla="*/ 666750 w 783431"/>
                  <a:gd name="connsiteY70" fmla="*/ 107157 h 1164431"/>
                  <a:gd name="connsiteX71" fmla="*/ 645319 w 783431"/>
                  <a:gd name="connsiteY71" fmla="*/ 102394 h 1164431"/>
                  <a:gd name="connsiteX72" fmla="*/ 645319 w 783431"/>
                  <a:gd name="connsiteY72" fmla="*/ 102394 h 1164431"/>
                  <a:gd name="connsiteX73" fmla="*/ 678656 w 783431"/>
                  <a:gd name="connsiteY73" fmla="*/ 69057 h 1164431"/>
                  <a:gd name="connsiteX74" fmla="*/ 685800 w 783431"/>
                  <a:gd name="connsiteY74" fmla="*/ 40482 h 1164431"/>
                  <a:gd name="connsiteX75" fmla="*/ 678656 w 783431"/>
                  <a:gd name="connsiteY75" fmla="*/ 21432 h 1164431"/>
                  <a:gd name="connsiteX76" fmla="*/ 695325 w 783431"/>
                  <a:gd name="connsiteY76" fmla="*/ 2382 h 1164431"/>
                  <a:gd name="connsiteX77" fmla="*/ 628650 w 783431"/>
                  <a:gd name="connsiteY77" fmla="*/ 0 h 1164431"/>
                  <a:gd name="connsiteX78" fmla="*/ 552450 w 783431"/>
                  <a:gd name="connsiteY78" fmla="*/ 52388 h 1164431"/>
                  <a:gd name="connsiteX79" fmla="*/ 538162 w 783431"/>
                  <a:gd name="connsiteY79" fmla="*/ 90488 h 1164431"/>
                  <a:gd name="connsiteX80" fmla="*/ 445294 w 783431"/>
                  <a:gd name="connsiteY80" fmla="*/ 126207 h 1164431"/>
                  <a:gd name="connsiteX81" fmla="*/ 397669 w 783431"/>
                  <a:gd name="connsiteY81" fmla="*/ 159544 h 1164431"/>
                  <a:gd name="connsiteX82" fmla="*/ 376237 w 783431"/>
                  <a:gd name="connsiteY82" fmla="*/ 190500 h 1164431"/>
                  <a:gd name="connsiteX83" fmla="*/ 350044 w 783431"/>
                  <a:gd name="connsiteY83" fmla="*/ 140494 h 1164431"/>
                  <a:gd name="connsiteX84" fmla="*/ 316706 w 783431"/>
                  <a:gd name="connsiteY84" fmla="*/ 140494 h 1164431"/>
                  <a:gd name="connsiteX85" fmla="*/ 304800 w 783431"/>
                  <a:gd name="connsiteY85" fmla="*/ 166688 h 1164431"/>
                  <a:gd name="connsiteX86" fmla="*/ 280987 w 783431"/>
                  <a:gd name="connsiteY86" fmla="*/ 230982 h 1164431"/>
                  <a:gd name="connsiteX87" fmla="*/ 154781 w 783431"/>
                  <a:gd name="connsiteY87" fmla="*/ 223838 h 1164431"/>
                  <a:gd name="connsiteX88" fmla="*/ 140494 w 783431"/>
                  <a:gd name="connsiteY88" fmla="*/ 245269 h 1164431"/>
                  <a:gd name="connsiteX89" fmla="*/ 138112 w 783431"/>
                  <a:gd name="connsiteY89" fmla="*/ 280988 h 1164431"/>
                  <a:gd name="connsiteX90" fmla="*/ 66675 w 783431"/>
                  <a:gd name="connsiteY90" fmla="*/ 309563 h 1164431"/>
                  <a:gd name="connsiteX91" fmla="*/ 54769 w 783431"/>
                  <a:gd name="connsiteY91" fmla="*/ 323850 h 1164431"/>
                  <a:gd name="connsiteX92" fmla="*/ 66675 w 783431"/>
                  <a:gd name="connsiteY92" fmla="*/ 381000 h 1164431"/>
                  <a:gd name="connsiteX93" fmla="*/ 19050 w 783431"/>
                  <a:gd name="connsiteY93" fmla="*/ 423863 h 1164431"/>
                  <a:gd name="connsiteX94" fmla="*/ 26194 w 783431"/>
                  <a:gd name="connsiteY94" fmla="*/ 490538 h 1164431"/>
                  <a:gd name="connsiteX95" fmla="*/ 33337 w 783431"/>
                  <a:gd name="connsiteY95" fmla="*/ 554832 h 1164431"/>
                  <a:gd name="connsiteX96" fmla="*/ 0 w 783431"/>
                  <a:gd name="connsiteY96" fmla="*/ 614363 h 1164431"/>
                  <a:gd name="connsiteX0" fmla="*/ 0 w 783431"/>
                  <a:gd name="connsiteY0" fmla="*/ 614363 h 1164431"/>
                  <a:gd name="connsiteX1" fmla="*/ 21431 w 783431"/>
                  <a:gd name="connsiteY1" fmla="*/ 661988 h 1164431"/>
                  <a:gd name="connsiteX2" fmla="*/ 28575 w 783431"/>
                  <a:gd name="connsiteY2" fmla="*/ 742950 h 1164431"/>
                  <a:gd name="connsiteX3" fmla="*/ 76200 w 783431"/>
                  <a:gd name="connsiteY3" fmla="*/ 814388 h 1164431"/>
                  <a:gd name="connsiteX4" fmla="*/ 102394 w 783431"/>
                  <a:gd name="connsiteY4" fmla="*/ 919163 h 1164431"/>
                  <a:gd name="connsiteX5" fmla="*/ 116681 w 783431"/>
                  <a:gd name="connsiteY5" fmla="*/ 947738 h 1164431"/>
                  <a:gd name="connsiteX6" fmla="*/ 130969 w 783431"/>
                  <a:gd name="connsiteY6" fmla="*/ 995363 h 1164431"/>
                  <a:gd name="connsiteX7" fmla="*/ 150019 w 783431"/>
                  <a:gd name="connsiteY7" fmla="*/ 1023938 h 1164431"/>
                  <a:gd name="connsiteX8" fmla="*/ 159544 w 783431"/>
                  <a:gd name="connsiteY8" fmla="*/ 1042988 h 1164431"/>
                  <a:gd name="connsiteX9" fmla="*/ 197644 w 783431"/>
                  <a:gd name="connsiteY9" fmla="*/ 1069182 h 1164431"/>
                  <a:gd name="connsiteX10" fmla="*/ 245269 w 783431"/>
                  <a:gd name="connsiteY10" fmla="*/ 1090613 h 1164431"/>
                  <a:gd name="connsiteX11" fmla="*/ 264318 w 783431"/>
                  <a:gd name="connsiteY11" fmla="*/ 1131094 h 1164431"/>
                  <a:gd name="connsiteX12" fmla="*/ 295275 w 783431"/>
                  <a:gd name="connsiteY12" fmla="*/ 1164431 h 1164431"/>
                  <a:gd name="connsiteX13" fmla="*/ 354806 w 783431"/>
                  <a:gd name="connsiteY13" fmla="*/ 1152524 h 1164431"/>
                  <a:gd name="connsiteX14" fmla="*/ 604837 w 783431"/>
                  <a:gd name="connsiteY14" fmla="*/ 1085850 h 1164431"/>
                  <a:gd name="connsiteX15" fmla="*/ 585787 w 783431"/>
                  <a:gd name="connsiteY15" fmla="*/ 1035844 h 1164431"/>
                  <a:gd name="connsiteX16" fmla="*/ 607219 w 783431"/>
                  <a:gd name="connsiteY16" fmla="*/ 1021557 h 1164431"/>
                  <a:gd name="connsiteX17" fmla="*/ 645319 w 783431"/>
                  <a:gd name="connsiteY17" fmla="*/ 1016794 h 1164431"/>
                  <a:gd name="connsiteX18" fmla="*/ 685800 w 783431"/>
                  <a:gd name="connsiteY18" fmla="*/ 997744 h 1164431"/>
                  <a:gd name="connsiteX19" fmla="*/ 716756 w 783431"/>
                  <a:gd name="connsiteY19" fmla="*/ 1002507 h 1164431"/>
                  <a:gd name="connsiteX20" fmla="*/ 738187 w 783431"/>
                  <a:gd name="connsiteY20" fmla="*/ 969169 h 1164431"/>
                  <a:gd name="connsiteX21" fmla="*/ 783431 w 783431"/>
                  <a:gd name="connsiteY21" fmla="*/ 933450 h 1164431"/>
                  <a:gd name="connsiteX22" fmla="*/ 776287 w 783431"/>
                  <a:gd name="connsiteY22" fmla="*/ 907257 h 1164431"/>
                  <a:gd name="connsiteX23" fmla="*/ 752475 w 783431"/>
                  <a:gd name="connsiteY23" fmla="*/ 888207 h 1164431"/>
                  <a:gd name="connsiteX24" fmla="*/ 752475 w 783431"/>
                  <a:gd name="connsiteY24" fmla="*/ 864394 h 1164431"/>
                  <a:gd name="connsiteX25" fmla="*/ 728662 w 783431"/>
                  <a:gd name="connsiteY25" fmla="*/ 852488 h 1164431"/>
                  <a:gd name="connsiteX26" fmla="*/ 711994 w 783431"/>
                  <a:gd name="connsiteY26" fmla="*/ 802482 h 1164431"/>
                  <a:gd name="connsiteX27" fmla="*/ 688181 w 783431"/>
                  <a:gd name="connsiteY27" fmla="*/ 814388 h 1164431"/>
                  <a:gd name="connsiteX28" fmla="*/ 659606 w 783431"/>
                  <a:gd name="connsiteY28" fmla="*/ 814388 h 1164431"/>
                  <a:gd name="connsiteX29" fmla="*/ 647700 w 783431"/>
                  <a:gd name="connsiteY29" fmla="*/ 847725 h 1164431"/>
                  <a:gd name="connsiteX30" fmla="*/ 623887 w 783431"/>
                  <a:gd name="connsiteY30" fmla="*/ 847725 h 1164431"/>
                  <a:gd name="connsiteX31" fmla="*/ 576262 w 783431"/>
                  <a:gd name="connsiteY31" fmla="*/ 828675 h 1164431"/>
                  <a:gd name="connsiteX32" fmla="*/ 554831 w 783431"/>
                  <a:gd name="connsiteY32" fmla="*/ 816769 h 1164431"/>
                  <a:gd name="connsiteX33" fmla="*/ 547687 w 783431"/>
                  <a:gd name="connsiteY33" fmla="*/ 783432 h 1164431"/>
                  <a:gd name="connsiteX34" fmla="*/ 561975 w 783431"/>
                  <a:gd name="connsiteY34" fmla="*/ 754857 h 1164431"/>
                  <a:gd name="connsiteX35" fmla="*/ 533400 w 783431"/>
                  <a:gd name="connsiteY35" fmla="*/ 733425 h 1164431"/>
                  <a:gd name="connsiteX36" fmla="*/ 509587 w 783431"/>
                  <a:gd name="connsiteY36" fmla="*/ 711994 h 1164431"/>
                  <a:gd name="connsiteX37" fmla="*/ 473869 w 783431"/>
                  <a:gd name="connsiteY37" fmla="*/ 711994 h 1164431"/>
                  <a:gd name="connsiteX38" fmla="*/ 435769 w 783431"/>
                  <a:gd name="connsiteY38" fmla="*/ 711994 h 1164431"/>
                  <a:gd name="connsiteX39" fmla="*/ 438150 w 783431"/>
                  <a:gd name="connsiteY39" fmla="*/ 669132 h 1164431"/>
                  <a:gd name="connsiteX40" fmla="*/ 428625 w 783431"/>
                  <a:gd name="connsiteY40" fmla="*/ 642938 h 1164431"/>
                  <a:gd name="connsiteX41" fmla="*/ 423862 w 783431"/>
                  <a:gd name="connsiteY41" fmla="*/ 607219 h 1164431"/>
                  <a:gd name="connsiteX42" fmla="*/ 426244 w 783431"/>
                  <a:gd name="connsiteY42" fmla="*/ 578644 h 1164431"/>
                  <a:gd name="connsiteX43" fmla="*/ 440531 w 783431"/>
                  <a:gd name="connsiteY43" fmla="*/ 566738 h 1164431"/>
                  <a:gd name="connsiteX44" fmla="*/ 450056 w 783431"/>
                  <a:gd name="connsiteY44" fmla="*/ 535782 h 1164431"/>
                  <a:gd name="connsiteX45" fmla="*/ 457200 w 783431"/>
                  <a:gd name="connsiteY45" fmla="*/ 519113 h 1164431"/>
                  <a:gd name="connsiteX46" fmla="*/ 481012 w 783431"/>
                  <a:gd name="connsiteY46" fmla="*/ 526257 h 1164431"/>
                  <a:gd name="connsiteX47" fmla="*/ 495300 w 783431"/>
                  <a:gd name="connsiteY47" fmla="*/ 576263 h 1164431"/>
                  <a:gd name="connsiteX48" fmla="*/ 507206 w 783431"/>
                  <a:gd name="connsiteY48" fmla="*/ 581025 h 1164431"/>
                  <a:gd name="connsiteX49" fmla="*/ 526256 w 783431"/>
                  <a:gd name="connsiteY49" fmla="*/ 583407 h 1164431"/>
                  <a:gd name="connsiteX50" fmla="*/ 554831 w 783431"/>
                  <a:gd name="connsiteY50" fmla="*/ 583407 h 1164431"/>
                  <a:gd name="connsiteX51" fmla="*/ 557212 w 783431"/>
                  <a:gd name="connsiteY51" fmla="*/ 547688 h 1164431"/>
                  <a:gd name="connsiteX52" fmla="*/ 545306 w 783431"/>
                  <a:gd name="connsiteY52" fmla="*/ 502444 h 1164431"/>
                  <a:gd name="connsiteX53" fmla="*/ 545306 w 783431"/>
                  <a:gd name="connsiteY53" fmla="*/ 476250 h 1164431"/>
                  <a:gd name="connsiteX54" fmla="*/ 581025 w 783431"/>
                  <a:gd name="connsiteY54" fmla="*/ 454819 h 1164431"/>
                  <a:gd name="connsiteX55" fmla="*/ 604837 w 783431"/>
                  <a:gd name="connsiteY55" fmla="*/ 435769 h 1164431"/>
                  <a:gd name="connsiteX56" fmla="*/ 640556 w 783431"/>
                  <a:gd name="connsiteY56" fmla="*/ 414338 h 1164431"/>
                  <a:gd name="connsiteX57" fmla="*/ 645319 w 783431"/>
                  <a:gd name="connsiteY57" fmla="*/ 395288 h 1164431"/>
                  <a:gd name="connsiteX58" fmla="*/ 633412 w 783431"/>
                  <a:gd name="connsiteY58" fmla="*/ 371475 h 1164431"/>
                  <a:gd name="connsiteX59" fmla="*/ 614362 w 783431"/>
                  <a:gd name="connsiteY59" fmla="*/ 369094 h 1164431"/>
                  <a:gd name="connsiteX60" fmla="*/ 609600 w 783431"/>
                  <a:gd name="connsiteY60" fmla="*/ 366713 h 1164431"/>
                  <a:gd name="connsiteX61" fmla="*/ 597694 w 783431"/>
                  <a:gd name="connsiteY61" fmla="*/ 357188 h 1164431"/>
                  <a:gd name="connsiteX62" fmla="*/ 611981 w 783431"/>
                  <a:gd name="connsiteY62" fmla="*/ 345282 h 1164431"/>
                  <a:gd name="connsiteX63" fmla="*/ 652462 w 783431"/>
                  <a:gd name="connsiteY63" fmla="*/ 316707 h 1164431"/>
                  <a:gd name="connsiteX64" fmla="*/ 678656 w 783431"/>
                  <a:gd name="connsiteY64" fmla="*/ 264319 h 1164431"/>
                  <a:gd name="connsiteX65" fmla="*/ 666750 w 783431"/>
                  <a:gd name="connsiteY65" fmla="*/ 242888 h 1164431"/>
                  <a:gd name="connsiteX66" fmla="*/ 638175 w 783431"/>
                  <a:gd name="connsiteY66" fmla="*/ 219075 h 1164431"/>
                  <a:gd name="connsiteX67" fmla="*/ 642937 w 783431"/>
                  <a:gd name="connsiteY67" fmla="*/ 180975 h 1164431"/>
                  <a:gd name="connsiteX68" fmla="*/ 673894 w 783431"/>
                  <a:gd name="connsiteY68" fmla="*/ 171450 h 1164431"/>
                  <a:gd name="connsiteX69" fmla="*/ 700087 w 783431"/>
                  <a:gd name="connsiteY69" fmla="*/ 142875 h 1164431"/>
                  <a:gd name="connsiteX70" fmla="*/ 700087 w 783431"/>
                  <a:gd name="connsiteY70" fmla="*/ 111919 h 1164431"/>
                  <a:gd name="connsiteX71" fmla="*/ 666750 w 783431"/>
                  <a:gd name="connsiteY71" fmla="*/ 107157 h 1164431"/>
                  <a:gd name="connsiteX72" fmla="*/ 645319 w 783431"/>
                  <a:gd name="connsiteY72" fmla="*/ 102394 h 1164431"/>
                  <a:gd name="connsiteX73" fmla="*/ 645319 w 783431"/>
                  <a:gd name="connsiteY73" fmla="*/ 102394 h 1164431"/>
                  <a:gd name="connsiteX74" fmla="*/ 678656 w 783431"/>
                  <a:gd name="connsiteY74" fmla="*/ 69057 h 1164431"/>
                  <a:gd name="connsiteX75" fmla="*/ 685800 w 783431"/>
                  <a:gd name="connsiteY75" fmla="*/ 40482 h 1164431"/>
                  <a:gd name="connsiteX76" fmla="*/ 678656 w 783431"/>
                  <a:gd name="connsiteY76" fmla="*/ 21432 h 1164431"/>
                  <a:gd name="connsiteX77" fmla="*/ 695325 w 783431"/>
                  <a:gd name="connsiteY77" fmla="*/ 2382 h 1164431"/>
                  <a:gd name="connsiteX78" fmla="*/ 628650 w 783431"/>
                  <a:gd name="connsiteY78" fmla="*/ 0 h 1164431"/>
                  <a:gd name="connsiteX79" fmla="*/ 552450 w 783431"/>
                  <a:gd name="connsiteY79" fmla="*/ 52388 h 1164431"/>
                  <a:gd name="connsiteX80" fmla="*/ 538162 w 783431"/>
                  <a:gd name="connsiteY80" fmla="*/ 90488 h 1164431"/>
                  <a:gd name="connsiteX81" fmla="*/ 445294 w 783431"/>
                  <a:gd name="connsiteY81" fmla="*/ 126207 h 1164431"/>
                  <a:gd name="connsiteX82" fmla="*/ 397669 w 783431"/>
                  <a:gd name="connsiteY82" fmla="*/ 159544 h 1164431"/>
                  <a:gd name="connsiteX83" fmla="*/ 376237 w 783431"/>
                  <a:gd name="connsiteY83" fmla="*/ 190500 h 1164431"/>
                  <a:gd name="connsiteX84" fmla="*/ 350044 w 783431"/>
                  <a:gd name="connsiteY84" fmla="*/ 140494 h 1164431"/>
                  <a:gd name="connsiteX85" fmla="*/ 316706 w 783431"/>
                  <a:gd name="connsiteY85" fmla="*/ 140494 h 1164431"/>
                  <a:gd name="connsiteX86" fmla="*/ 304800 w 783431"/>
                  <a:gd name="connsiteY86" fmla="*/ 166688 h 1164431"/>
                  <a:gd name="connsiteX87" fmla="*/ 280987 w 783431"/>
                  <a:gd name="connsiteY87" fmla="*/ 230982 h 1164431"/>
                  <a:gd name="connsiteX88" fmla="*/ 154781 w 783431"/>
                  <a:gd name="connsiteY88" fmla="*/ 223838 h 1164431"/>
                  <a:gd name="connsiteX89" fmla="*/ 140494 w 783431"/>
                  <a:gd name="connsiteY89" fmla="*/ 245269 h 1164431"/>
                  <a:gd name="connsiteX90" fmla="*/ 138112 w 783431"/>
                  <a:gd name="connsiteY90" fmla="*/ 280988 h 1164431"/>
                  <a:gd name="connsiteX91" fmla="*/ 66675 w 783431"/>
                  <a:gd name="connsiteY91" fmla="*/ 309563 h 1164431"/>
                  <a:gd name="connsiteX92" fmla="*/ 54769 w 783431"/>
                  <a:gd name="connsiteY92" fmla="*/ 323850 h 1164431"/>
                  <a:gd name="connsiteX93" fmla="*/ 66675 w 783431"/>
                  <a:gd name="connsiteY93" fmla="*/ 381000 h 1164431"/>
                  <a:gd name="connsiteX94" fmla="*/ 19050 w 783431"/>
                  <a:gd name="connsiteY94" fmla="*/ 423863 h 1164431"/>
                  <a:gd name="connsiteX95" fmla="*/ 26194 w 783431"/>
                  <a:gd name="connsiteY95" fmla="*/ 490538 h 1164431"/>
                  <a:gd name="connsiteX96" fmla="*/ 33337 w 783431"/>
                  <a:gd name="connsiteY96" fmla="*/ 554832 h 1164431"/>
                  <a:gd name="connsiteX97" fmla="*/ 0 w 783431"/>
                  <a:gd name="connsiteY97" fmla="*/ 614363 h 1164431"/>
                  <a:gd name="connsiteX0" fmla="*/ 0 w 783431"/>
                  <a:gd name="connsiteY0" fmla="*/ 614363 h 1200149"/>
                  <a:gd name="connsiteX1" fmla="*/ 21431 w 783431"/>
                  <a:gd name="connsiteY1" fmla="*/ 661988 h 1200149"/>
                  <a:gd name="connsiteX2" fmla="*/ 28575 w 783431"/>
                  <a:gd name="connsiteY2" fmla="*/ 742950 h 1200149"/>
                  <a:gd name="connsiteX3" fmla="*/ 76200 w 783431"/>
                  <a:gd name="connsiteY3" fmla="*/ 814388 h 1200149"/>
                  <a:gd name="connsiteX4" fmla="*/ 102394 w 783431"/>
                  <a:gd name="connsiteY4" fmla="*/ 919163 h 1200149"/>
                  <a:gd name="connsiteX5" fmla="*/ 116681 w 783431"/>
                  <a:gd name="connsiteY5" fmla="*/ 947738 h 1200149"/>
                  <a:gd name="connsiteX6" fmla="*/ 130969 w 783431"/>
                  <a:gd name="connsiteY6" fmla="*/ 995363 h 1200149"/>
                  <a:gd name="connsiteX7" fmla="*/ 150019 w 783431"/>
                  <a:gd name="connsiteY7" fmla="*/ 1023938 h 1200149"/>
                  <a:gd name="connsiteX8" fmla="*/ 159544 w 783431"/>
                  <a:gd name="connsiteY8" fmla="*/ 1042988 h 1200149"/>
                  <a:gd name="connsiteX9" fmla="*/ 197644 w 783431"/>
                  <a:gd name="connsiteY9" fmla="*/ 1069182 h 1200149"/>
                  <a:gd name="connsiteX10" fmla="*/ 245269 w 783431"/>
                  <a:gd name="connsiteY10" fmla="*/ 1090613 h 1200149"/>
                  <a:gd name="connsiteX11" fmla="*/ 264318 w 783431"/>
                  <a:gd name="connsiteY11" fmla="*/ 1131094 h 1200149"/>
                  <a:gd name="connsiteX12" fmla="*/ 295275 w 783431"/>
                  <a:gd name="connsiteY12" fmla="*/ 1164431 h 1200149"/>
                  <a:gd name="connsiteX13" fmla="*/ 385762 w 783431"/>
                  <a:gd name="connsiteY13" fmla="*/ 1200149 h 1200149"/>
                  <a:gd name="connsiteX14" fmla="*/ 604837 w 783431"/>
                  <a:gd name="connsiteY14" fmla="*/ 1085850 h 1200149"/>
                  <a:gd name="connsiteX15" fmla="*/ 585787 w 783431"/>
                  <a:gd name="connsiteY15" fmla="*/ 1035844 h 1200149"/>
                  <a:gd name="connsiteX16" fmla="*/ 607219 w 783431"/>
                  <a:gd name="connsiteY16" fmla="*/ 1021557 h 1200149"/>
                  <a:gd name="connsiteX17" fmla="*/ 645319 w 783431"/>
                  <a:gd name="connsiteY17" fmla="*/ 1016794 h 1200149"/>
                  <a:gd name="connsiteX18" fmla="*/ 685800 w 783431"/>
                  <a:gd name="connsiteY18" fmla="*/ 997744 h 1200149"/>
                  <a:gd name="connsiteX19" fmla="*/ 716756 w 783431"/>
                  <a:gd name="connsiteY19" fmla="*/ 1002507 h 1200149"/>
                  <a:gd name="connsiteX20" fmla="*/ 738187 w 783431"/>
                  <a:gd name="connsiteY20" fmla="*/ 969169 h 1200149"/>
                  <a:gd name="connsiteX21" fmla="*/ 783431 w 783431"/>
                  <a:gd name="connsiteY21" fmla="*/ 933450 h 1200149"/>
                  <a:gd name="connsiteX22" fmla="*/ 776287 w 783431"/>
                  <a:gd name="connsiteY22" fmla="*/ 907257 h 1200149"/>
                  <a:gd name="connsiteX23" fmla="*/ 752475 w 783431"/>
                  <a:gd name="connsiteY23" fmla="*/ 888207 h 1200149"/>
                  <a:gd name="connsiteX24" fmla="*/ 752475 w 783431"/>
                  <a:gd name="connsiteY24" fmla="*/ 864394 h 1200149"/>
                  <a:gd name="connsiteX25" fmla="*/ 728662 w 783431"/>
                  <a:gd name="connsiteY25" fmla="*/ 852488 h 1200149"/>
                  <a:gd name="connsiteX26" fmla="*/ 711994 w 783431"/>
                  <a:gd name="connsiteY26" fmla="*/ 802482 h 1200149"/>
                  <a:gd name="connsiteX27" fmla="*/ 688181 w 783431"/>
                  <a:gd name="connsiteY27" fmla="*/ 814388 h 1200149"/>
                  <a:gd name="connsiteX28" fmla="*/ 659606 w 783431"/>
                  <a:gd name="connsiteY28" fmla="*/ 814388 h 1200149"/>
                  <a:gd name="connsiteX29" fmla="*/ 647700 w 783431"/>
                  <a:gd name="connsiteY29" fmla="*/ 847725 h 1200149"/>
                  <a:gd name="connsiteX30" fmla="*/ 623887 w 783431"/>
                  <a:gd name="connsiteY30" fmla="*/ 847725 h 1200149"/>
                  <a:gd name="connsiteX31" fmla="*/ 576262 w 783431"/>
                  <a:gd name="connsiteY31" fmla="*/ 828675 h 1200149"/>
                  <a:gd name="connsiteX32" fmla="*/ 554831 w 783431"/>
                  <a:gd name="connsiteY32" fmla="*/ 816769 h 1200149"/>
                  <a:gd name="connsiteX33" fmla="*/ 547687 w 783431"/>
                  <a:gd name="connsiteY33" fmla="*/ 783432 h 1200149"/>
                  <a:gd name="connsiteX34" fmla="*/ 561975 w 783431"/>
                  <a:gd name="connsiteY34" fmla="*/ 754857 h 1200149"/>
                  <a:gd name="connsiteX35" fmla="*/ 533400 w 783431"/>
                  <a:gd name="connsiteY35" fmla="*/ 733425 h 1200149"/>
                  <a:gd name="connsiteX36" fmla="*/ 509587 w 783431"/>
                  <a:gd name="connsiteY36" fmla="*/ 711994 h 1200149"/>
                  <a:gd name="connsiteX37" fmla="*/ 473869 w 783431"/>
                  <a:gd name="connsiteY37" fmla="*/ 711994 h 1200149"/>
                  <a:gd name="connsiteX38" fmla="*/ 435769 w 783431"/>
                  <a:gd name="connsiteY38" fmla="*/ 711994 h 1200149"/>
                  <a:gd name="connsiteX39" fmla="*/ 438150 w 783431"/>
                  <a:gd name="connsiteY39" fmla="*/ 669132 h 1200149"/>
                  <a:gd name="connsiteX40" fmla="*/ 428625 w 783431"/>
                  <a:gd name="connsiteY40" fmla="*/ 642938 h 1200149"/>
                  <a:gd name="connsiteX41" fmla="*/ 423862 w 783431"/>
                  <a:gd name="connsiteY41" fmla="*/ 607219 h 1200149"/>
                  <a:gd name="connsiteX42" fmla="*/ 426244 w 783431"/>
                  <a:gd name="connsiteY42" fmla="*/ 578644 h 1200149"/>
                  <a:gd name="connsiteX43" fmla="*/ 440531 w 783431"/>
                  <a:gd name="connsiteY43" fmla="*/ 566738 h 1200149"/>
                  <a:gd name="connsiteX44" fmla="*/ 450056 w 783431"/>
                  <a:gd name="connsiteY44" fmla="*/ 535782 h 1200149"/>
                  <a:gd name="connsiteX45" fmla="*/ 457200 w 783431"/>
                  <a:gd name="connsiteY45" fmla="*/ 519113 h 1200149"/>
                  <a:gd name="connsiteX46" fmla="*/ 481012 w 783431"/>
                  <a:gd name="connsiteY46" fmla="*/ 526257 h 1200149"/>
                  <a:gd name="connsiteX47" fmla="*/ 495300 w 783431"/>
                  <a:gd name="connsiteY47" fmla="*/ 576263 h 1200149"/>
                  <a:gd name="connsiteX48" fmla="*/ 507206 w 783431"/>
                  <a:gd name="connsiteY48" fmla="*/ 581025 h 1200149"/>
                  <a:gd name="connsiteX49" fmla="*/ 526256 w 783431"/>
                  <a:gd name="connsiteY49" fmla="*/ 583407 h 1200149"/>
                  <a:gd name="connsiteX50" fmla="*/ 554831 w 783431"/>
                  <a:gd name="connsiteY50" fmla="*/ 583407 h 1200149"/>
                  <a:gd name="connsiteX51" fmla="*/ 557212 w 783431"/>
                  <a:gd name="connsiteY51" fmla="*/ 547688 h 1200149"/>
                  <a:gd name="connsiteX52" fmla="*/ 545306 w 783431"/>
                  <a:gd name="connsiteY52" fmla="*/ 502444 h 1200149"/>
                  <a:gd name="connsiteX53" fmla="*/ 545306 w 783431"/>
                  <a:gd name="connsiteY53" fmla="*/ 476250 h 1200149"/>
                  <a:gd name="connsiteX54" fmla="*/ 581025 w 783431"/>
                  <a:gd name="connsiteY54" fmla="*/ 454819 h 1200149"/>
                  <a:gd name="connsiteX55" fmla="*/ 604837 w 783431"/>
                  <a:gd name="connsiteY55" fmla="*/ 435769 h 1200149"/>
                  <a:gd name="connsiteX56" fmla="*/ 640556 w 783431"/>
                  <a:gd name="connsiteY56" fmla="*/ 414338 h 1200149"/>
                  <a:gd name="connsiteX57" fmla="*/ 645319 w 783431"/>
                  <a:gd name="connsiteY57" fmla="*/ 395288 h 1200149"/>
                  <a:gd name="connsiteX58" fmla="*/ 633412 w 783431"/>
                  <a:gd name="connsiteY58" fmla="*/ 371475 h 1200149"/>
                  <a:gd name="connsiteX59" fmla="*/ 614362 w 783431"/>
                  <a:gd name="connsiteY59" fmla="*/ 369094 h 1200149"/>
                  <a:gd name="connsiteX60" fmla="*/ 609600 w 783431"/>
                  <a:gd name="connsiteY60" fmla="*/ 366713 h 1200149"/>
                  <a:gd name="connsiteX61" fmla="*/ 597694 w 783431"/>
                  <a:gd name="connsiteY61" fmla="*/ 357188 h 1200149"/>
                  <a:gd name="connsiteX62" fmla="*/ 611981 w 783431"/>
                  <a:gd name="connsiteY62" fmla="*/ 345282 h 1200149"/>
                  <a:gd name="connsiteX63" fmla="*/ 652462 w 783431"/>
                  <a:gd name="connsiteY63" fmla="*/ 316707 h 1200149"/>
                  <a:gd name="connsiteX64" fmla="*/ 678656 w 783431"/>
                  <a:gd name="connsiteY64" fmla="*/ 264319 h 1200149"/>
                  <a:gd name="connsiteX65" fmla="*/ 666750 w 783431"/>
                  <a:gd name="connsiteY65" fmla="*/ 242888 h 1200149"/>
                  <a:gd name="connsiteX66" fmla="*/ 638175 w 783431"/>
                  <a:gd name="connsiteY66" fmla="*/ 219075 h 1200149"/>
                  <a:gd name="connsiteX67" fmla="*/ 642937 w 783431"/>
                  <a:gd name="connsiteY67" fmla="*/ 180975 h 1200149"/>
                  <a:gd name="connsiteX68" fmla="*/ 673894 w 783431"/>
                  <a:gd name="connsiteY68" fmla="*/ 171450 h 1200149"/>
                  <a:gd name="connsiteX69" fmla="*/ 700087 w 783431"/>
                  <a:gd name="connsiteY69" fmla="*/ 142875 h 1200149"/>
                  <a:gd name="connsiteX70" fmla="*/ 700087 w 783431"/>
                  <a:gd name="connsiteY70" fmla="*/ 111919 h 1200149"/>
                  <a:gd name="connsiteX71" fmla="*/ 666750 w 783431"/>
                  <a:gd name="connsiteY71" fmla="*/ 107157 h 1200149"/>
                  <a:gd name="connsiteX72" fmla="*/ 645319 w 783431"/>
                  <a:gd name="connsiteY72" fmla="*/ 102394 h 1200149"/>
                  <a:gd name="connsiteX73" fmla="*/ 645319 w 783431"/>
                  <a:gd name="connsiteY73" fmla="*/ 102394 h 1200149"/>
                  <a:gd name="connsiteX74" fmla="*/ 678656 w 783431"/>
                  <a:gd name="connsiteY74" fmla="*/ 69057 h 1200149"/>
                  <a:gd name="connsiteX75" fmla="*/ 685800 w 783431"/>
                  <a:gd name="connsiteY75" fmla="*/ 40482 h 1200149"/>
                  <a:gd name="connsiteX76" fmla="*/ 678656 w 783431"/>
                  <a:gd name="connsiteY76" fmla="*/ 21432 h 1200149"/>
                  <a:gd name="connsiteX77" fmla="*/ 695325 w 783431"/>
                  <a:gd name="connsiteY77" fmla="*/ 2382 h 1200149"/>
                  <a:gd name="connsiteX78" fmla="*/ 628650 w 783431"/>
                  <a:gd name="connsiteY78" fmla="*/ 0 h 1200149"/>
                  <a:gd name="connsiteX79" fmla="*/ 552450 w 783431"/>
                  <a:gd name="connsiteY79" fmla="*/ 52388 h 1200149"/>
                  <a:gd name="connsiteX80" fmla="*/ 538162 w 783431"/>
                  <a:gd name="connsiteY80" fmla="*/ 90488 h 1200149"/>
                  <a:gd name="connsiteX81" fmla="*/ 445294 w 783431"/>
                  <a:gd name="connsiteY81" fmla="*/ 126207 h 1200149"/>
                  <a:gd name="connsiteX82" fmla="*/ 397669 w 783431"/>
                  <a:gd name="connsiteY82" fmla="*/ 159544 h 1200149"/>
                  <a:gd name="connsiteX83" fmla="*/ 376237 w 783431"/>
                  <a:gd name="connsiteY83" fmla="*/ 190500 h 1200149"/>
                  <a:gd name="connsiteX84" fmla="*/ 350044 w 783431"/>
                  <a:gd name="connsiteY84" fmla="*/ 140494 h 1200149"/>
                  <a:gd name="connsiteX85" fmla="*/ 316706 w 783431"/>
                  <a:gd name="connsiteY85" fmla="*/ 140494 h 1200149"/>
                  <a:gd name="connsiteX86" fmla="*/ 304800 w 783431"/>
                  <a:gd name="connsiteY86" fmla="*/ 166688 h 1200149"/>
                  <a:gd name="connsiteX87" fmla="*/ 280987 w 783431"/>
                  <a:gd name="connsiteY87" fmla="*/ 230982 h 1200149"/>
                  <a:gd name="connsiteX88" fmla="*/ 154781 w 783431"/>
                  <a:gd name="connsiteY88" fmla="*/ 223838 h 1200149"/>
                  <a:gd name="connsiteX89" fmla="*/ 140494 w 783431"/>
                  <a:gd name="connsiteY89" fmla="*/ 245269 h 1200149"/>
                  <a:gd name="connsiteX90" fmla="*/ 138112 w 783431"/>
                  <a:gd name="connsiteY90" fmla="*/ 280988 h 1200149"/>
                  <a:gd name="connsiteX91" fmla="*/ 66675 w 783431"/>
                  <a:gd name="connsiteY91" fmla="*/ 309563 h 1200149"/>
                  <a:gd name="connsiteX92" fmla="*/ 54769 w 783431"/>
                  <a:gd name="connsiteY92" fmla="*/ 323850 h 1200149"/>
                  <a:gd name="connsiteX93" fmla="*/ 66675 w 783431"/>
                  <a:gd name="connsiteY93" fmla="*/ 381000 h 1200149"/>
                  <a:gd name="connsiteX94" fmla="*/ 19050 w 783431"/>
                  <a:gd name="connsiteY94" fmla="*/ 423863 h 1200149"/>
                  <a:gd name="connsiteX95" fmla="*/ 26194 w 783431"/>
                  <a:gd name="connsiteY95" fmla="*/ 490538 h 1200149"/>
                  <a:gd name="connsiteX96" fmla="*/ 33337 w 783431"/>
                  <a:gd name="connsiteY96" fmla="*/ 554832 h 1200149"/>
                  <a:gd name="connsiteX97" fmla="*/ 0 w 783431"/>
                  <a:gd name="connsiteY97" fmla="*/ 614363 h 1200149"/>
                  <a:gd name="connsiteX0" fmla="*/ 0 w 783431"/>
                  <a:gd name="connsiteY0" fmla="*/ 614363 h 1200149"/>
                  <a:gd name="connsiteX1" fmla="*/ 21431 w 783431"/>
                  <a:gd name="connsiteY1" fmla="*/ 661988 h 1200149"/>
                  <a:gd name="connsiteX2" fmla="*/ 28575 w 783431"/>
                  <a:gd name="connsiteY2" fmla="*/ 742950 h 1200149"/>
                  <a:gd name="connsiteX3" fmla="*/ 76200 w 783431"/>
                  <a:gd name="connsiteY3" fmla="*/ 814388 h 1200149"/>
                  <a:gd name="connsiteX4" fmla="*/ 102394 w 783431"/>
                  <a:gd name="connsiteY4" fmla="*/ 919163 h 1200149"/>
                  <a:gd name="connsiteX5" fmla="*/ 116681 w 783431"/>
                  <a:gd name="connsiteY5" fmla="*/ 947738 h 1200149"/>
                  <a:gd name="connsiteX6" fmla="*/ 130969 w 783431"/>
                  <a:gd name="connsiteY6" fmla="*/ 995363 h 1200149"/>
                  <a:gd name="connsiteX7" fmla="*/ 150019 w 783431"/>
                  <a:gd name="connsiteY7" fmla="*/ 1023938 h 1200149"/>
                  <a:gd name="connsiteX8" fmla="*/ 159544 w 783431"/>
                  <a:gd name="connsiteY8" fmla="*/ 1042988 h 1200149"/>
                  <a:gd name="connsiteX9" fmla="*/ 197644 w 783431"/>
                  <a:gd name="connsiteY9" fmla="*/ 1069182 h 1200149"/>
                  <a:gd name="connsiteX10" fmla="*/ 245269 w 783431"/>
                  <a:gd name="connsiteY10" fmla="*/ 1090613 h 1200149"/>
                  <a:gd name="connsiteX11" fmla="*/ 264318 w 783431"/>
                  <a:gd name="connsiteY11" fmla="*/ 1131094 h 1200149"/>
                  <a:gd name="connsiteX12" fmla="*/ 295275 w 783431"/>
                  <a:gd name="connsiteY12" fmla="*/ 1164431 h 1200149"/>
                  <a:gd name="connsiteX13" fmla="*/ 385762 w 783431"/>
                  <a:gd name="connsiteY13" fmla="*/ 1200149 h 1200149"/>
                  <a:gd name="connsiteX14" fmla="*/ 557212 w 783431"/>
                  <a:gd name="connsiteY14" fmla="*/ 1109662 h 1200149"/>
                  <a:gd name="connsiteX15" fmla="*/ 604837 w 783431"/>
                  <a:gd name="connsiteY15" fmla="*/ 1085850 h 1200149"/>
                  <a:gd name="connsiteX16" fmla="*/ 585787 w 783431"/>
                  <a:gd name="connsiteY16" fmla="*/ 1035844 h 1200149"/>
                  <a:gd name="connsiteX17" fmla="*/ 607219 w 783431"/>
                  <a:gd name="connsiteY17" fmla="*/ 1021557 h 1200149"/>
                  <a:gd name="connsiteX18" fmla="*/ 645319 w 783431"/>
                  <a:gd name="connsiteY18" fmla="*/ 1016794 h 1200149"/>
                  <a:gd name="connsiteX19" fmla="*/ 685800 w 783431"/>
                  <a:gd name="connsiteY19" fmla="*/ 997744 h 1200149"/>
                  <a:gd name="connsiteX20" fmla="*/ 716756 w 783431"/>
                  <a:gd name="connsiteY20" fmla="*/ 1002507 h 1200149"/>
                  <a:gd name="connsiteX21" fmla="*/ 738187 w 783431"/>
                  <a:gd name="connsiteY21" fmla="*/ 969169 h 1200149"/>
                  <a:gd name="connsiteX22" fmla="*/ 783431 w 783431"/>
                  <a:gd name="connsiteY22" fmla="*/ 933450 h 1200149"/>
                  <a:gd name="connsiteX23" fmla="*/ 776287 w 783431"/>
                  <a:gd name="connsiteY23" fmla="*/ 907257 h 1200149"/>
                  <a:gd name="connsiteX24" fmla="*/ 752475 w 783431"/>
                  <a:gd name="connsiteY24" fmla="*/ 888207 h 1200149"/>
                  <a:gd name="connsiteX25" fmla="*/ 752475 w 783431"/>
                  <a:gd name="connsiteY25" fmla="*/ 864394 h 1200149"/>
                  <a:gd name="connsiteX26" fmla="*/ 728662 w 783431"/>
                  <a:gd name="connsiteY26" fmla="*/ 852488 h 1200149"/>
                  <a:gd name="connsiteX27" fmla="*/ 711994 w 783431"/>
                  <a:gd name="connsiteY27" fmla="*/ 802482 h 1200149"/>
                  <a:gd name="connsiteX28" fmla="*/ 688181 w 783431"/>
                  <a:gd name="connsiteY28" fmla="*/ 814388 h 1200149"/>
                  <a:gd name="connsiteX29" fmla="*/ 659606 w 783431"/>
                  <a:gd name="connsiteY29" fmla="*/ 814388 h 1200149"/>
                  <a:gd name="connsiteX30" fmla="*/ 647700 w 783431"/>
                  <a:gd name="connsiteY30" fmla="*/ 847725 h 1200149"/>
                  <a:gd name="connsiteX31" fmla="*/ 623887 w 783431"/>
                  <a:gd name="connsiteY31" fmla="*/ 847725 h 1200149"/>
                  <a:gd name="connsiteX32" fmla="*/ 576262 w 783431"/>
                  <a:gd name="connsiteY32" fmla="*/ 828675 h 1200149"/>
                  <a:gd name="connsiteX33" fmla="*/ 554831 w 783431"/>
                  <a:gd name="connsiteY33" fmla="*/ 816769 h 1200149"/>
                  <a:gd name="connsiteX34" fmla="*/ 547687 w 783431"/>
                  <a:gd name="connsiteY34" fmla="*/ 783432 h 1200149"/>
                  <a:gd name="connsiteX35" fmla="*/ 561975 w 783431"/>
                  <a:gd name="connsiteY35" fmla="*/ 754857 h 1200149"/>
                  <a:gd name="connsiteX36" fmla="*/ 533400 w 783431"/>
                  <a:gd name="connsiteY36" fmla="*/ 733425 h 1200149"/>
                  <a:gd name="connsiteX37" fmla="*/ 509587 w 783431"/>
                  <a:gd name="connsiteY37" fmla="*/ 711994 h 1200149"/>
                  <a:gd name="connsiteX38" fmla="*/ 473869 w 783431"/>
                  <a:gd name="connsiteY38" fmla="*/ 711994 h 1200149"/>
                  <a:gd name="connsiteX39" fmla="*/ 435769 w 783431"/>
                  <a:gd name="connsiteY39" fmla="*/ 711994 h 1200149"/>
                  <a:gd name="connsiteX40" fmla="*/ 438150 w 783431"/>
                  <a:gd name="connsiteY40" fmla="*/ 669132 h 1200149"/>
                  <a:gd name="connsiteX41" fmla="*/ 428625 w 783431"/>
                  <a:gd name="connsiteY41" fmla="*/ 642938 h 1200149"/>
                  <a:gd name="connsiteX42" fmla="*/ 423862 w 783431"/>
                  <a:gd name="connsiteY42" fmla="*/ 607219 h 1200149"/>
                  <a:gd name="connsiteX43" fmla="*/ 426244 w 783431"/>
                  <a:gd name="connsiteY43" fmla="*/ 578644 h 1200149"/>
                  <a:gd name="connsiteX44" fmla="*/ 440531 w 783431"/>
                  <a:gd name="connsiteY44" fmla="*/ 566738 h 1200149"/>
                  <a:gd name="connsiteX45" fmla="*/ 450056 w 783431"/>
                  <a:gd name="connsiteY45" fmla="*/ 535782 h 1200149"/>
                  <a:gd name="connsiteX46" fmla="*/ 457200 w 783431"/>
                  <a:gd name="connsiteY46" fmla="*/ 519113 h 1200149"/>
                  <a:gd name="connsiteX47" fmla="*/ 481012 w 783431"/>
                  <a:gd name="connsiteY47" fmla="*/ 526257 h 1200149"/>
                  <a:gd name="connsiteX48" fmla="*/ 495300 w 783431"/>
                  <a:gd name="connsiteY48" fmla="*/ 576263 h 1200149"/>
                  <a:gd name="connsiteX49" fmla="*/ 507206 w 783431"/>
                  <a:gd name="connsiteY49" fmla="*/ 581025 h 1200149"/>
                  <a:gd name="connsiteX50" fmla="*/ 526256 w 783431"/>
                  <a:gd name="connsiteY50" fmla="*/ 583407 h 1200149"/>
                  <a:gd name="connsiteX51" fmla="*/ 554831 w 783431"/>
                  <a:gd name="connsiteY51" fmla="*/ 583407 h 1200149"/>
                  <a:gd name="connsiteX52" fmla="*/ 557212 w 783431"/>
                  <a:gd name="connsiteY52" fmla="*/ 547688 h 1200149"/>
                  <a:gd name="connsiteX53" fmla="*/ 545306 w 783431"/>
                  <a:gd name="connsiteY53" fmla="*/ 502444 h 1200149"/>
                  <a:gd name="connsiteX54" fmla="*/ 545306 w 783431"/>
                  <a:gd name="connsiteY54" fmla="*/ 476250 h 1200149"/>
                  <a:gd name="connsiteX55" fmla="*/ 581025 w 783431"/>
                  <a:gd name="connsiteY55" fmla="*/ 454819 h 1200149"/>
                  <a:gd name="connsiteX56" fmla="*/ 604837 w 783431"/>
                  <a:gd name="connsiteY56" fmla="*/ 435769 h 1200149"/>
                  <a:gd name="connsiteX57" fmla="*/ 640556 w 783431"/>
                  <a:gd name="connsiteY57" fmla="*/ 414338 h 1200149"/>
                  <a:gd name="connsiteX58" fmla="*/ 645319 w 783431"/>
                  <a:gd name="connsiteY58" fmla="*/ 395288 h 1200149"/>
                  <a:gd name="connsiteX59" fmla="*/ 633412 w 783431"/>
                  <a:gd name="connsiteY59" fmla="*/ 371475 h 1200149"/>
                  <a:gd name="connsiteX60" fmla="*/ 614362 w 783431"/>
                  <a:gd name="connsiteY60" fmla="*/ 369094 h 1200149"/>
                  <a:gd name="connsiteX61" fmla="*/ 609600 w 783431"/>
                  <a:gd name="connsiteY61" fmla="*/ 366713 h 1200149"/>
                  <a:gd name="connsiteX62" fmla="*/ 597694 w 783431"/>
                  <a:gd name="connsiteY62" fmla="*/ 357188 h 1200149"/>
                  <a:gd name="connsiteX63" fmla="*/ 611981 w 783431"/>
                  <a:gd name="connsiteY63" fmla="*/ 345282 h 1200149"/>
                  <a:gd name="connsiteX64" fmla="*/ 652462 w 783431"/>
                  <a:gd name="connsiteY64" fmla="*/ 316707 h 1200149"/>
                  <a:gd name="connsiteX65" fmla="*/ 678656 w 783431"/>
                  <a:gd name="connsiteY65" fmla="*/ 264319 h 1200149"/>
                  <a:gd name="connsiteX66" fmla="*/ 666750 w 783431"/>
                  <a:gd name="connsiteY66" fmla="*/ 242888 h 1200149"/>
                  <a:gd name="connsiteX67" fmla="*/ 638175 w 783431"/>
                  <a:gd name="connsiteY67" fmla="*/ 219075 h 1200149"/>
                  <a:gd name="connsiteX68" fmla="*/ 642937 w 783431"/>
                  <a:gd name="connsiteY68" fmla="*/ 180975 h 1200149"/>
                  <a:gd name="connsiteX69" fmla="*/ 673894 w 783431"/>
                  <a:gd name="connsiteY69" fmla="*/ 171450 h 1200149"/>
                  <a:gd name="connsiteX70" fmla="*/ 700087 w 783431"/>
                  <a:gd name="connsiteY70" fmla="*/ 142875 h 1200149"/>
                  <a:gd name="connsiteX71" fmla="*/ 700087 w 783431"/>
                  <a:gd name="connsiteY71" fmla="*/ 111919 h 1200149"/>
                  <a:gd name="connsiteX72" fmla="*/ 666750 w 783431"/>
                  <a:gd name="connsiteY72" fmla="*/ 107157 h 1200149"/>
                  <a:gd name="connsiteX73" fmla="*/ 645319 w 783431"/>
                  <a:gd name="connsiteY73" fmla="*/ 102394 h 1200149"/>
                  <a:gd name="connsiteX74" fmla="*/ 645319 w 783431"/>
                  <a:gd name="connsiteY74" fmla="*/ 102394 h 1200149"/>
                  <a:gd name="connsiteX75" fmla="*/ 678656 w 783431"/>
                  <a:gd name="connsiteY75" fmla="*/ 69057 h 1200149"/>
                  <a:gd name="connsiteX76" fmla="*/ 685800 w 783431"/>
                  <a:gd name="connsiteY76" fmla="*/ 40482 h 1200149"/>
                  <a:gd name="connsiteX77" fmla="*/ 678656 w 783431"/>
                  <a:gd name="connsiteY77" fmla="*/ 21432 h 1200149"/>
                  <a:gd name="connsiteX78" fmla="*/ 695325 w 783431"/>
                  <a:gd name="connsiteY78" fmla="*/ 2382 h 1200149"/>
                  <a:gd name="connsiteX79" fmla="*/ 628650 w 783431"/>
                  <a:gd name="connsiteY79" fmla="*/ 0 h 1200149"/>
                  <a:gd name="connsiteX80" fmla="*/ 552450 w 783431"/>
                  <a:gd name="connsiteY80" fmla="*/ 52388 h 1200149"/>
                  <a:gd name="connsiteX81" fmla="*/ 538162 w 783431"/>
                  <a:gd name="connsiteY81" fmla="*/ 90488 h 1200149"/>
                  <a:gd name="connsiteX82" fmla="*/ 445294 w 783431"/>
                  <a:gd name="connsiteY82" fmla="*/ 126207 h 1200149"/>
                  <a:gd name="connsiteX83" fmla="*/ 397669 w 783431"/>
                  <a:gd name="connsiteY83" fmla="*/ 159544 h 1200149"/>
                  <a:gd name="connsiteX84" fmla="*/ 376237 w 783431"/>
                  <a:gd name="connsiteY84" fmla="*/ 190500 h 1200149"/>
                  <a:gd name="connsiteX85" fmla="*/ 350044 w 783431"/>
                  <a:gd name="connsiteY85" fmla="*/ 140494 h 1200149"/>
                  <a:gd name="connsiteX86" fmla="*/ 316706 w 783431"/>
                  <a:gd name="connsiteY86" fmla="*/ 140494 h 1200149"/>
                  <a:gd name="connsiteX87" fmla="*/ 304800 w 783431"/>
                  <a:gd name="connsiteY87" fmla="*/ 166688 h 1200149"/>
                  <a:gd name="connsiteX88" fmla="*/ 280987 w 783431"/>
                  <a:gd name="connsiteY88" fmla="*/ 230982 h 1200149"/>
                  <a:gd name="connsiteX89" fmla="*/ 154781 w 783431"/>
                  <a:gd name="connsiteY89" fmla="*/ 223838 h 1200149"/>
                  <a:gd name="connsiteX90" fmla="*/ 140494 w 783431"/>
                  <a:gd name="connsiteY90" fmla="*/ 245269 h 1200149"/>
                  <a:gd name="connsiteX91" fmla="*/ 138112 w 783431"/>
                  <a:gd name="connsiteY91" fmla="*/ 280988 h 1200149"/>
                  <a:gd name="connsiteX92" fmla="*/ 66675 w 783431"/>
                  <a:gd name="connsiteY92" fmla="*/ 309563 h 1200149"/>
                  <a:gd name="connsiteX93" fmla="*/ 54769 w 783431"/>
                  <a:gd name="connsiteY93" fmla="*/ 323850 h 1200149"/>
                  <a:gd name="connsiteX94" fmla="*/ 66675 w 783431"/>
                  <a:gd name="connsiteY94" fmla="*/ 381000 h 1200149"/>
                  <a:gd name="connsiteX95" fmla="*/ 19050 w 783431"/>
                  <a:gd name="connsiteY95" fmla="*/ 423863 h 1200149"/>
                  <a:gd name="connsiteX96" fmla="*/ 26194 w 783431"/>
                  <a:gd name="connsiteY96" fmla="*/ 490538 h 1200149"/>
                  <a:gd name="connsiteX97" fmla="*/ 33337 w 783431"/>
                  <a:gd name="connsiteY97" fmla="*/ 554832 h 1200149"/>
                  <a:gd name="connsiteX98" fmla="*/ 0 w 783431"/>
                  <a:gd name="connsiteY98" fmla="*/ 614363 h 1200149"/>
                  <a:gd name="connsiteX0" fmla="*/ 0 w 783431"/>
                  <a:gd name="connsiteY0" fmla="*/ 614363 h 1200149"/>
                  <a:gd name="connsiteX1" fmla="*/ 21431 w 783431"/>
                  <a:gd name="connsiteY1" fmla="*/ 661988 h 1200149"/>
                  <a:gd name="connsiteX2" fmla="*/ 28575 w 783431"/>
                  <a:gd name="connsiteY2" fmla="*/ 742950 h 1200149"/>
                  <a:gd name="connsiteX3" fmla="*/ 76200 w 783431"/>
                  <a:gd name="connsiteY3" fmla="*/ 814388 h 1200149"/>
                  <a:gd name="connsiteX4" fmla="*/ 102394 w 783431"/>
                  <a:gd name="connsiteY4" fmla="*/ 919163 h 1200149"/>
                  <a:gd name="connsiteX5" fmla="*/ 116681 w 783431"/>
                  <a:gd name="connsiteY5" fmla="*/ 947738 h 1200149"/>
                  <a:gd name="connsiteX6" fmla="*/ 130969 w 783431"/>
                  <a:gd name="connsiteY6" fmla="*/ 995363 h 1200149"/>
                  <a:gd name="connsiteX7" fmla="*/ 150019 w 783431"/>
                  <a:gd name="connsiteY7" fmla="*/ 1023938 h 1200149"/>
                  <a:gd name="connsiteX8" fmla="*/ 159544 w 783431"/>
                  <a:gd name="connsiteY8" fmla="*/ 1042988 h 1200149"/>
                  <a:gd name="connsiteX9" fmla="*/ 197644 w 783431"/>
                  <a:gd name="connsiteY9" fmla="*/ 1069182 h 1200149"/>
                  <a:gd name="connsiteX10" fmla="*/ 245269 w 783431"/>
                  <a:gd name="connsiteY10" fmla="*/ 1090613 h 1200149"/>
                  <a:gd name="connsiteX11" fmla="*/ 264318 w 783431"/>
                  <a:gd name="connsiteY11" fmla="*/ 1131094 h 1200149"/>
                  <a:gd name="connsiteX12" fmla="*/ 295275 w 783431"/>
                  <a:gd name="connsiteY12" fmla="*/ 1164431 h 1200149"/>
                  <a:gd name="connsiteX13" fmla="*/ 385762 w 783431"/>
                  <a:gd name="connsiteY13" fmla="*/ 1200149 h 1200149"/>
                  <a:gd name="connsiteX14" fmla="*/ 592931 w 783431"/>
                  <a:gd name="connsiteY14" fmla="*/ 1126331 h 1200149"/>
                  <a:gd name="connsiteX15" fmla="*/ 604837 w 783431"/>
                  <a:gd name="connsiteY15" fmla="*/ 1085850 h 1200149"/>
                  <a:gd name="connsiteX16" fmla="*/ 585787 w 783431"/>
                  <a:gd name="connsiteY16" fmla="*/ 1035844 h 1200149"/>
                  <a:gd name="connsiteX17" fmla="*/ 607219 w 783431"/>
                  <a:gd name="connsiteY17" fmla="*/ 1021557 h 1200149"/>
                  <a:gd name="connsiteX18" fmla="*/ 645319 w 783431"/>
                  <a:gd name="connsiteY18" fmla="*/ 1016794 h 1200149"/>
                  <a:gd name="connsiteX19" fmla="*/ 685800 w 783431"/>
                  <a:gd name="connsiteY19" fmla="*/ 997744 h 1200149"/>
                  <a:gd name="connsiteX20" fmla="*/ 716756 w 783431"/>
                  <a:gd name="connsiteY20" fmla="*/ 1002507 h 1200149"/>
                  <a:gd name="connsiteX21" fmla="*/ 738187 w 783431"/>
                  <a:gd name="connsiteY21" fmla="*/ 969169 h 1200149"/>
                  <a:gd name="connsiteX22" fmla="*/ 783431 w 783431"/>
                  <a:gd name="connsiteY22" fmla="*/ 933450 h 1200149"/>
                  <a:gd name="connsiteX23" fmla="*/ 776287 w 783431"/>
                  <a:gd name="connsiteY23" fmla="*/ 907257 h 1200149"/>
                  <a:gd name="connsiteX24" fmla="*/ 752475 w 783431"/>
                  <a:gd name="connsiteY24" fmla="*/ 888207 h 1200149"/>
                  <a:gd name="connsiteX25" fmla="*/ 752475 w 783431"/>
                  <a:gd name="connsiteY25" fmla="*/ 864394 h 1200149"/>
                  <a:gd name="connsiteX26" fmla="*/ 728662 w 783431"/>
                  <a:gd name="connsiteY26" fmla="*/ 852488 h 1200149"/>
                  <a:gd name="connsiteX27" fmla="*/ 711994 w 783431"/>
                  <a:gd name="connsiteY27" fmla="*/ 802482 h 1200149"/>
                  <a:gd name="connsiteX28" fmla="*/ 688181 w 783431"/>
                  <a:gd name="connsiteY28" fmla="*/ 814388 h 1200149"/>
                  <a:gd name="connsiteX29" fmla="*/ 659606 w 783431"/>
                  <a:gd name="connsiteY29" fmla="*/ 814388 h 1200149"/>
                  <a:gd name="connsiteX30" fmla="*/ 647700 w 783431"/>
                  <a:gd name="connsiteY30" fmla="*/ 847725 h 1200149"/>
                  <a:gd name="connsiteX31" fmla="*/ 623887 w 783431"/>
                  <a:gd name="connsiteY31" fmla="*/ 847725 h 1200149"/>
                  <a:gd name="connsiteX32" fmla="*/ 576262 w 783431"/>
                  <a:gd name="connsiteY32" fmla="*/ 828675 h 1200149"/>
                  <a:gd name="connsiteX33" fmla="*/ 554831 w 783431"/>
                  <a:gd name="connsiteY33" fmla="*/ 816769 h 1200149"/>
                  <a:gd name="connsiteX34" fmla="*/ 547687 w 783431"/>
                  <a:gd name="connsiteY34" fmla="*/ 783432 h 1200149"/>
                  <a:gd name="connsiteX35" fmla="*/ 561975 w 783431"/>
                  <a:gd name="connsiteY35" fmla="*/ 754857 h 1200149"/>
                  <a:gd name="connsiteX36" fmla="*/ 533400 w 783431"/>
                  <a:gd name="connsiteY36" fmla="*/ 733425 h 1200149"/>
                  <a:gd name="connsiteX37" fmla="*/ 509587 w 783431"/>
                  <a:gd name="connsiteY37" fmla="*/ 711994 h 1200149"/>
                  <a:gd name="connsiteX38" fmla="*/ 473869 w 783431"/>
                  <a:gd name="connsiteY38" fmla="*/ 711994 h 1200149"/>
                  <a:gd name="connsiteX39" fmla="*/ 435769 w 783431"/>
                  <a:gd name="connsiteY39" fmla="*/ 711994 h 1200149"/>
                  <a:gd name="connsiteX40" fmla="*/ 438150 w 783431"/>
                  <a:gd name="connsiteY40" fmla="*/ 669132 h 1200149"/>
                  <a:gd name="connsiteX41" fmla="*/ 428625 w 783431"/>
                  <a:gd name="connsiteY41" fmla="*/ 642938 h 1200149"/>
                  <a:gd name="connsiteX42" fmla="*/ 423862 w 783431"/>
                  <a:gd name="connsiteY42" fmla="*/ 607219 h 1200149"/>
                  <a:gd name="connsiteX43" fmla="*/ 426244 w 783431"/>
                  <a:gd name="connsiteY43" fmla="*/ 578644 h 1200149"/>
                  <a:gd name="connsiteX44" fmla="*/ 440531 w 783431"/>
                  <a:gd name="connsiteY44" fmla="*/ 566738 h 1200149"/>
                  <a:gd name="connsiteX45" fmla="*/ 450056 w 783431"/>
                  <a:gd name="connsiteY45" fmla="*/ 535782 h 1200149"/>
                  <a:gd name="connsiteX46" fmla="*/ 457200 w 783431"/>
                  <a:gd name="connsiteY46" fmla="*/ 519113 h 1200149"/>
                  <a:gd name="connsiteX47" fmla="*/ 481012 w 783431"/>
                  <a:gd name="connsiteY47" fmla="*/ 526257 h 1200149"/>
                  <a:gd name="connsiteX48" fmla="*/ 495300 w 783431"/>
                  <a:gd name="connsiteY48" fmla="*/ 576263 h 1200149"/>
                  <a:gd name="connsiteX49" fmla="*/ 507206 w 783431"/>
                  <a:gd name="connsiteY49" fmla="*/ 581025 h 1200149"/>
                  <a:gd name="connsiteX50" fmla="*/ 526256 w 783431"/>
                  <a:gd name="connsiteY50" fmla="*/ 583407 h 1200149"/>
                  <a:gd name="connsiteX51" fmla="*/ 554831 w 783431"/>
                  <a:gd name="connsiteY51" fmla="*/ 583407 h 1200149"/>
                  <a:gd name="connsiteX52" fmla="*/ 557212 w 783431"/>
                  <a:gd name="connsiteY52" fmla="*/ 547688 h 1200149"/>
                  <a:gd name="connsiteX53" fmla="*/ 545306 w 783431"/>
                  <a:gd name="connsiteY53" fmla="*/ 502444 h 1200149"/>
                  <a:gd name="connsiteX54" fmla="*/ 545306 w 783431"/>
                  <a:gd name="connsiteY54" fmla="*/ 476250 h 1200149"/>
                  <a:gd name="connsiteX55" fmla="*/ 581025 w 783431"/>
                  <a:gd name="connsiteY55" fmla="*/ 454819 h 1200149"/>
                  <a:gd name="connsiteX56" fmla="*/ 604837 w 783431"/>
                  <a:gd name="connsiteY56" fmla="*/ 435769 h 1200149"/>
                  <a:gd name="connsiteX57" fmla="*/ 640556 w 783431"/>
                  <a:gd name="connsiteY57" fmla="*/ 414338 h 1200149"/>
                  <a:gd name="connsiteX58" fmla="*/ 645319 w 783431"/>
                  <a:gd name="connsiteY58" fmla="*/ 395288 h 1200149"/>
                  <a:gd name="connsiteX59" fmla="*/ 633412 w 783431"/>
                  <a:gd name="connsiteY59" fmla="*/ 371475 h 1200149"/>
                  <a:gd name="connsiteX60" fmla="*/ 614362 w 783431"/>
                  <a:gd name="connsiteY60" fmla="*/ 369094 h 1200149"/>
                  <a:gd name="connsiteX61" fmla="*/ 609600 w 783431"/>
                  <a:gd name="connsiteY61" fmla="*/ 366713 h 1200149"/>
                  <a:gd name="connsiteX62" fmla="*/ 597694 w 783431"/>
                  <a:gd name="connsiteY62" fmla="*/ 357188 h 1200149"/>
                  <a:gd name="connsiteX63" fmla="*/ 611981 w 783431"/>
                  <a:gd name="connsiteY63" fmla="*/ 345282 h 1200149"/>
                  <a:gd name="connsiteX64" fmla="*/ 652462 w 783431"/>
                  <a:gd name="connsiteY64" fmla="*/ 316707 h 1200149"/>
                  <a:gd name="connsiteX65" fmla="*/ 678656 w 783431"/>
                  <a:gd name="connsiteY65" fmla="*/ 264319 h 1200149"/>
                  <a:gd name="connsiteX66" fmla="*/ 666750 w 783431"/>
                  <a:gd name="connsiteY66" fmla="*/ 242888 h 1200149"/>
                  <a:gd name="connsiteX67" fmla="*/ 638175 w 783431"/>
                  <a:gd name="connsiteY67" fmla="*/ 219075 h 1200149"/>
                  <a:gd name="connsiteX68" fmla="*/ 642937 w 783431"/>
                  <a:gd name="connsiteY68" fmla="*/ 180975 h 1200149"/>
                  <a:gd name="connsiteX69" fmla="*/ 673894 w 783431"/>
                  <a:gd name="connsiteY69" fmla="*/ 171450 h 1200149"/>
                  <a:gd name="connsiteX70" fmla="*/ 700087 w 783431"/>
                  <a:gd name="connsiteY70" fmla="*/ 142875 h 1200149"/>
                  <a:gd name="connsiteX71" fmla="*/ 700087 w 783431"/>
                  <a:gd name="connsiteY71" fmla="*/ 111919 h 1200149"/>
                  <a:gd name="connsiteX72" fmla="*/ 666750 w 783431"/>
                  <a:gd name="connsiteY72" fmla="*/ 107157 h 1200149"/>
                  <a:gd name="connsiteX73" fmla="*/ 645319 w 783431"/>
                  <a:gd name="connsiteY73" fmla="*/ 102394 h 1200149"/>
                  <a:gd name="connsiteX74" fmla="*/ 645319 w 783431"/>
                  <a:gd name="connsiteY74" fmla="*/ 102394 h 1200149"/>
                  <a:gd name="connsiteX75" fmla="*/ 678656 w 783431"/>
                  <a:gd name="connsiteY75" fmla="*/ 69057 h 1200149"/>
                  <a:gd name="connsiteX76" fmla="*/ 685800 w 783431"/>
                  <a:gd name="connsiteY76" fmla="*/ 40482 h 1200149"/>
                  <a:gd name="connsiteX77" fmla="*/ 678656 w 783431"/>
                  <a:gd name="connsiteY77" fmla="*/ 21432 h 1200149"/>
                  <a:gd name="connsiteX78" fmla="*/ 695325 w 783431"/>
                  <a:gd name="connsiteY78" fmla="*/ 2382 h 1200149"/>
                  <a:gd name="connsiteX79" fmla="*/ 628650 w 783431"/>
                  <a:gd name="connsiteY79" fmla="*/ 0 h 1200149"/>
                  <a:gd name="connsiteX80" fmla="*/ 552450 w 783431"/>
                  <a:gd name="connsiteY80" fmla="*/ 52388 h 1200149"/>
                  <a:gd name="connsiteX81" fmla="*/ 538162 w 783431"/>
                  <a:gd name="connsiteY81" fmla="*/ 90488 h 1200149"/>
                  <a:gd name="connsiteX82" fmla="*/ 445294 w 783431"/>
                  <a:gd name="connsiteY82" fmla="*/ 126207 h 1200149"/>
                  <a:gd name="connsiteX83" fmla="*/ 397669 w 783431"/>
                  <a:gd name="connsiteY83" fmla="*/ 159544 h 1200149"/>
                  <a:gd name="connsiteX84" fmla="*/ 376237 w 783431"/>
                  <a:gd name="connsiteY84" fmla="*/ 190500 h 1200149"/>
                  <a:gd name="connsiteX85" fmla="*/ 350044 w 783431"/>
                  <a:gd name="connsiteY85" fmla="*/ 140494 h 1200149"/>
                  <a:gd name="connsiteX86" fmla="*/ 316706 w 783431"/>
                  <a:gd name="connsiteY86" fmla="*/ 140494 h 1200149"/>
                  <a:gd name="connsiteX87" fmla="*/ 304800 w 783431"/>
                  <a:gd name="connsiteY87" fmla="*/ 166688 h 1200149"/>
                  <a:gd name="connsiteX88" fmla="*/ 280987 w 783431"/>
                  <a:gd name="connsiteY88" fmla="*/ 230982 h 1200149"/>
                  <a:gd name="connsiteX89" fmla="*/ 154781 w 783431"/>
                  <a:gd name="connsiteY89" fmla="*/ 223838 h 1200149"/>
                  <a:gd name="connsiteX90" fmla="*/ 140494 w 783431"/>
                  <a:gd name="connsiteY90" fmla="*/ 245269 h 1200149"/>
                  <a:gd name="connsiteX91" fmla="*/ 138112 w 783431"/>
                  <a:gd name="connsiteY91" fmla="*/ 280988 h 1200149"/>
                  <a:gd name="connsiteX92" fmla="*/ 66675 w 783431"/>
                  <a:gd name="connsiteY92" fmla="*/ 309563 h 1200149"/>
                  <a:gd name="connsiteX93" fmla="*/ 54769 w 783431"/>
                  <a:gd name="connsiteY93" fmla="*/ 323850 h 1200149"/>
                  <a:gd name="connsiteX94" fmla="*/ 66675 w 783431"/>
                  <a:gd name="connsiteY94" fmla="*/ 381000 h 1200149"/>
                  <a:gd name="connsiteX95" fmla="*/ 19050 w 783431"/>
                  <a:gd name="connsiteY95" fmla="*/ 423863 h 1200149"/>
                  <a:gd name="connsiteX96" fmla="*/ 26194 w 783431"/>
                  <a:gd name="connsiteY96" fmla="*/ 490538 h 1200149"/>
                  <a:gd name="connsiteX97" fmla="*/ 33337 w 783431"/>
                  <a:gd name="connsiteY97" fmla="*/ 554832 h 1200149"/>
                  <a:gd name="connsiteX98" fmla="*/ 0 w 783431"/>
                  <a:gd name="connsiteY98" fmla="*/ 614363 h 1200149"/>
                  <a:gd name="connsiteX0" fmla="*/ 0 w 783431"/>
                  <a:gd name="connsiteY0" fmla="*/ 614363 h 1200149"/>
                  <a:gd name="connsiteX1" fmla="*/ 21431 w 783431"/>
                  <a:gd name="connsiteY1" fmla="*/ 661988 h 1200149"/>
                  <a:gd name="connsiteX2" fmla="*/ 28575 w 783431"/>
                  <a:gd name="connsiteY2" fmla="*/ 742950 h 1200149"/>
                  <a:gd name="connsiteX3" fmla="*/ 76200 w 783431"/>
                  <a:gd name="connsiteY3" fmla="*/ 814388 h 1200149"/>
                  <a:gd name="connsiteX4" fmla="*/ 102394 w 783431"/>
                  <a:gd name="connsiteY4" fmla="*/ 919163 h 1200149"/>
                  <a:gd name="connsiteX5" fmla="*/ 116681 w 783431"/>
                  <a:gd name="connsiteY5" fmla="*/ 947738 h 1200149"/>
                  <a:gd name="connsiteX6" fmla="*/ 130969 w 783431"/>
                  <a:gd name="connsiteY6" fmla="*/ 995363 h 1200149"/>
                  <a:gd name="connsiteX7" fmla="*/ 150019 w 783431"/>
                  <a:gd name="connsiteY7" fmla="*/ 1023938 h 1200149"/>
                  <a:gd name="connsiteX8" fmla="*/ 159544 w 783431"/>
                  <a:gd name="connsiteY8" fmla="*/ 1042988 h 1200149"/>
                  <a:gd name="connsiteX9" fmla="*/ 197644 w 783431"/>
                  <a:gd name="connsiteY9" fmla="*/ 1069182 h 1200149"/>
                  <a:gd name="connsiteX10" fmla="*/ 245269 w 783431"/>
                  <a:gd name="connsiteY10" fmla="*/ 1090613 h 1200149"/>
                  <a:gd name="connsiteX11" fmla="*/ 264318 w 783431"/>
                  <a:gd name="connsiteY11" fmla="*/ 1131094 h 1200149"/>
                  <a:gd name="connsiteX12" fmla="*/ 295275 w 783431"/>
                  <a:gd name="connsiteY12" fmla="*/ 1164431 h 1200149"/>
                  <a:gd name="connsiteX13" fmla="*/ 385762 w 783431"/>
                  <a:gd name="connsiteY13" fmla="*/ 1200149 h 1200149"/>
                  <a:gd name="connsiteX14" fmla="*/ 545306 w 783431"/>
                  <a:gd name="connsiteY14" fmla="*/ 1145381 h 1200149"/>
                  <a:gd name="connsiteX15" fmla="*/ 592931 w 783431"/>
                  <a:gd name="connsiteY15" fmla="*/ 1126331 h 1200149"/>
                  <a:gd name="connsiteX16" fmla="*/ 604837 w 783431"/>
                  <a:gd name="connsiteY16" fmla="*/ 1085850 h 1200149"/>
                  <a:gd name="connsiteX17" fmla="*/ 585787 w 783431"/>
                  <a:gd name="connsiteY17" fmla="*/ 1035844 h 1200149"/>
                  <a:gd name="connsiteX18" fmla="*/ 607219 w 783431"/>
                  <a:gd name="connsiteY18" fmla="*/ 1021557 h 1200149"/>
                  <a:gd name="connsiteX19" fmla="*/ 645319 w 783431"/>
                  <a:gd name="connsiteY19" fmla="*/ 1016794 h 1200149"/>
                  <a:gd name="connsiteX20" fmla="*/ 685800 w 783431"/>
                  <a:gd name="connsiteY20" fmla="*/ 997744 h 1200149"/>
                  <a:gd name="connsiteX21" fmla="*/ 716756 w 783431"/>
                  <a:gd name="connsiteY21" fmla="*/ 1002507 h 1200149"/>
                  <a:gd name="connsiteX22" fmla="*/ 738187 w 783431"/>
                  <a:gd name="connsiteY22" fmla="*/ 969169 h 1200149"/>
                  <a:gd name="connsiteX23" fmla="*/ 783431 w 783431"/>
                  <a:gd name="connsiteY23" fmla="*/ 933450 h 1200149"/>
                  <a:gd name="connsiteX24" fmla="*/ 776287 w 783431"/>
                  <a:gd name="connsiteY24" fmla="*/ 907257 h 1200149"/>
                  <a:gd name="connsiteX25" fmla="*/ 752475 w 783431"/>
                  <a:gd name="connsiteY25" fmla="*/ 888207 h 1200149"/>
                  <a:gd name="connsiteX26" fmla="*/ 752475 w 783431"/>
                  <a:gd name="connsiteY26" fmla="*/ 864394 h 1200149"/>
                  <a:gd name="connsiteX27" fmla="*/ 728662 w 783431"/>
                  <a:gd name="connsiteY27" fmla="*/ 852488 h 1200149"/>
                  <a:gd name="connsiteX28" fmla="*/ 711994 w 783431"/>
                  <a:gd name="connsiteY28" fmla="*/ 802482 h 1200149"/>
                  <a:gd name="connsiteX29" fmla="*/ 688181 w 783431"/>
                  <a:gd name="connsiteY29" fmla="*/ 814388 h 1200149"/>
                  <a:gd name="connsiteX30" fmla="*/ 659606 w 783431"/>
                  <a:gd name="connsiteY30" fmla="*/ 814388 h 1200149"/>
                  <a:gd name="connsiteX31" fmla="*/ 647700 w 783431"/>
                  <a:gd name="connsiteY31" fmla="*/ 847725 h 1200149"/>
                  <a:gd name="connsiteX32" fmla="*/ 623887 w 783431"/>
                  <a:gd name="connsiteY32" fmla="*/ 847725 h 1200149"/>
                  <a:gd name="connsiteX33" fmla="*/ 576262 w 783431"/>
                  <a:gd name="connsiteY33" fmla="*/ 828675 h 1200149"/>
                  <a:gd name="connsiteX34" fmla="*/ 554831 w 783431"/>
                  <a:gd name="connsiteY34" fmla="*/ 816769 h 1200149"/>
                  <a:gd name="connsiteX35" fmla="*/ 547687 w 783431"/>
                  <a:gd name="connsiteY35" fmla="*/ 783432 h 1200149"/>
                  <a:gd name="connsiteX36" fmla="*/ 561975 w 783431"/>
                  <a:gd name="connsiteY36" fmla="*/ 754857 h 1200149"/>
                  <a:gd name="connsiteX37" fmla="*/ 533400 w 783431"/>
                  <a:gd name="connsiteY37" fmla="*/ 733425 h 1200149"/>
                  <a:gd name="connsiteX38" fmla="*/ 509587 w 783431"/>
                  <a:gd name="connsiteY38" fmla="*/ 711994 h 1200149"/>
                  <a:gd name="connsiteX39" fmla="*/ 473869 w 783431"/>
                  <a:gd name="connsiteY39" fmla="*/ 711994 h 1200149"/>
                  <a:gd name="connsiteX40" fmla="*/ 435769 w 783431"/>
                  <a:gd name="connsiteY40" fmla="*/ 711994 h 1200149"/>
                  <a:gd name="connsiteX41" fmla="*/ 438150 w 783431"/>
                  <a:gd name="connsiteY41" fmla="*/ 669132 h 1200149"/>
                  <a:gd name="connsiteX42" fmla="*/ 428625 w 783431"/>
                  <a:gd name="connsiteY42" fmla="*/ 642938 h 1200149"/>
                  <a:gd name="connsiteX43" fmla="*/ 423862 w 783431"/>
                  <a:gd name="connsiteY43" fmla="*/ 607219 h 1200149"/>
                  <a:gd name="connsiteX44" fmla="*/ 426244 w 783431"/>
                  <a:gd name="connsiteY44" fmla="*/ 578644 h 1200149"/>
                  <a:gd name="connsiteX45" fmla="*/ 440531 w 783431"/>
                  <a:gd name="connsiteY45" fmla="*/ 566738 h 1200149"/>
                  <a:gd name="connsiteX46" fmla="*/ 450056 w 783431"/>
                  <a:gd name="connsiteY46" fmla="*/ 535782 h 1200149"/>
                  <a:gd name="connsiteX47" fmla="*/ 457200 w 783431"/>
                  <a:gd name="connsiteY47" fmla="*/ 519113 h 1200149"/>
                  <a:gd name="connsiteX48" fmla="*/ 481012 w 783431"/>
                  <a:gd name="connsiteY48" fmla="*/ 526257 h 1200149"/>
                  <a:gd name="connsiteX49" fmla="*/ 495300 w 783431"/>
                  <a:gd name="connsiteY49" fmla="*/ 576263 h 1200149"/>
                  <a:gd name="connsiteX50" fmla="*/ 507206 w 783431"/>
                  <a:gd name="connsiteY50" fmla="*/ 581025 h 1200149"/>
                  <a:gd name="connsiteX51" fmla="*/ 526256 w 783431"/>
                  <a:gd name="connsiteY51" fmla="*/ 583407 h 1200149"/>
                  <a:gd name="connsiteX52" fmla="*/ 554831 w 783431"/>
                  <a:gd name="connsiteY52" fmla="*/ 583407 h 1200149"/>
                  <a:gd name="connsiteX53" fmla="*/ 557212 w 783431"/>
                  <a:gd name="connsiteY53" fmla="*/ 547688 h 1200149"/>
                  <a:gd name="connsiteX54" fmla="*/ 545306 w 783431"/>
                  <a:gd name="connsiteY54" fmla="*/ 502444 h 1200149"/>
                  <a:gd name="connsiteX55" fmla="*/ 545306 w 783431"/>
                  <a:gd name="connsiteY55" fmla="*/ 476250 h 1200149"/>
                  <a:gd name="connsiteX56" fmla="*/ 581025 w 783431"/>
                  <a:gd name="connsiteY56" fmla="*/ 454819 h 1200149"/>
                  <a:gd name="connsiteX57" fmla="*/ 604837 w 783431"/>
                  <a:gd name="connsiteY57" fmla="*/ 435769 h 1200149"/>
                  <a:gd name="connsiteX58" fmla="*/ 640556 w 783431"/>
                  <a:gd name="connsiteY58" fmla="*/ 414338 h 1200149"/>
                  <a:gd name="connsiteX59" fmla="*/ 645319 w 783431"/>
                  <a:gd name="connsiteY59" fmla="*/ 395288 h 1200149"/>
                  <a:gd name="connsiteX60" fmla="*/ 633412 w 783431"/>
                  <a:gd name="connsiteY60" fmla="*/ 371475 h 1200149"/>
                  <a:gd name="connsiteX61" fmla="*/ 614362 w 783431"/>
                  <a:gd name="connsiteY61" fmla="*/ 369094 h 1200149"/>
                  <a:gd name="connsiteX62" fmla="*/ 609600 w 783431"/>
                  <a:gd name="connsiteY62" fmla="*/ 366713 h 1200149"/>
                  <a:gd name="connsiteX63" fmla="*/ 597694 w 783431"/>
                  <a:gd name="connsiteY63" fmla="*/ 357188 h 1200149"/>
                  <a:gd name="connsiteX64" fmla="*/ 611981 w 783431"/>
                  <a:gd name="connsiteY64" fmla="*/ 345282 h 1200149"/>
                  <a:gd name="connsiteX65" fmla="*/ 652462 w 783431"/>
                  <a:gd name="connsiteY65" fmla="*/ 316707 h 1200149"/>
                  <a:gd name="connsiteX66" fmla="*/ 678656 w 783431"/>
                  <a:gd name="connsiteY66" fmla="*/ 264319 h 1200149"/>
                  <a:gd name="connsiteX67" fmla="*/ 666750 w 783431"/>
                  <a:gd name="connsiteY67" fmla="*/ 242888 h 1200149"/>
                  <a:gd name="connsiteX68" fmla="*/ 638175 w 783431"/>
                  <a:gd name="connsiteY68" fmla="*/ 219075 h 1200149"/>
                  <a:gd name="connsiteX69" fmla="*/ 642937 w 783431"/>
                  <a:gd name="connsiteY69" fmla="*/ 180975 h 1200149"/>
                  <a:gd name="connsiteX70" fmla="*/ 673894 w 783431"/>
                  <a:gd name="connsiteY70" fmla="*/ 171450 h 1200149"/>
                  <a:gd name="connsiteX71" fmla="*/ 700087 w 783431"/>
                  <a:gd name="connsiteY71" fmla="*/ 142875 h 1200149"/>
                  <a:gd name="connsiteX72" fmla="*/ 700087 w 783431"/>
                  <a:gd name="connsiteY72" fmla="*/ 111919 h 1200149"/>
                  <a:gd name="connsiteX73" fmla="*/ 666750 w 783431"/>
                  <a:gd name="connsiteY73" fmla="*/ 107157 h 1200149"/>
                  <a:gd name="connsiteX74" fmla="*/ 645319 w 783431"/>
                  <a:gd name="connsiteY74" fmla="*/ 102394 h 1200149"/>
                  <a:gd name="connsiteX75" fmla="*/ 645319 w 783431"/>
                  <a:gd name="connsiteY75" fmla="*/ 102394 h 1200149"/>
                  <a:gd name="connsiteX76" fmla="*/ 678656 w 783431"/>
                  <a:gd name="connsiteY76" fmla="*/ 69057 h 1200149"/>
                  <a:gd name="connsiteX77" fmla="*/ 685800 w 783431"/>
                  <a:gd name="connsiteY77" fmla="*/ 40482 h 1200149"/>
                  <a:gd name="connsiteX78" fmla="*/ 678656 w 783431"/>
                  <a:gd name="connsiteY78" fmla="*/ 21432 h 1200149"/>
                  <a:gd name="connsiteX79" fmla="*/ 695325 w 783431"/>
                  <a:gd name="connsiteY79" fmla="*/ 2382 h 1200149"/>
                  <a:gd name="connsiteX80" fmla="*/ 628650 w 783431"/>
                  <a:gd name="connsiteY80" fmla="*/ 0 h 1200149"/>
                  <a:gd name="connsiteX81" fmla="*/ 552450 w 783431"/>
                  <a:gd name="connsiteY81" fmla="*/ 52388 h 1200149"/>
                  <a:gd name="connsiteX82" fmla="*/ 538162 w 783431"/>
                  <a:gd name="connsiteY82" fmla="*/ 90488 h 1200149"/>
                  <a:gd name="connsiteX83" fmla="*/ 445294 w 783431"/>
                  <a:gd name="connsiteY83" fmla="*/ 126207 h 1200149"/>
                  <a:gd name="connsiteX84" fmla="*/ 397669 w 783431"/>
                  <a:gd name="connsiteY84" fmla="*/ 159544 h 1200149"/>
                  <a:gd name="connsiteX85" fmla="*/ 376237 w 783431"/>
                  <a:gd name="connsiteY85" fmla="*/ 190500 h 1200149"/>
                  <a:gd name="connsiteX86" fmla="*/ 350044 w 783431"/>
                  <a:gd name="connsiteY86" fmla="*/ 140494 h 1200149"/>
                  <a:gd name="connsiteX87" fmla="*/ 316706 w 783431"/>
                  <a:gd name="connsiteY87" fmla="*/ 140494 h 1200149"/>
                  <a:gd name="connsiteX88" fmla="*/ 304800 w 783431"/>
                  <a:gd name="connsiteY88" fmla="*/ 166688 h 1200149"/>
                  <a:gd name="connsiteX89" fmla="*/ 280987 w 783431"/>
                  <a:gd name="connsiteY89" fmla="*/ 230982 h 1200149"/>
                  <a:gd name="connsiteX90" fmla="*/ 154781 w 783431"/>
                  <a:gd name="connsiteY90" fmla="*/ 223838 h 1200149"/>
                  <a:gd name="connsiteX91" fmla="*/ 140494 w 783431"/>
                  <a:gd name="connsiteY91" fmla="*/ 245269 h 1200149"/>
                  <a:gd name="connsiteX92" fmla="*/ 138112 w 783431"/>
                  <a:gd name="connsiteY92" fmla="*/ 280988 h 1200149"/>
                  <a:gd name="connsiteX93" fmla="*/ 66675 w 783431"/>
                  <a:gd name="connsiteY93" fmla="*/ 309563 h 1200149"/>
                  <a:gd name="connsiteX94" fmla="*/ 54769 w 783431"/>
                  <a:gd name="connsiteY94" fmla="*/ 323850 h 1200149"/>
                  <a:gd name="connsiteX95" fmla="*/ 66675 w 783431"/>
                  <a:gd name="connsiteY95" fmla="*/ 381000 h 1200149"/>
                  <a:gd name="connsiteX96" fmla="*/ 19050 w 783431"/>
                  <a:gd name="connsiteY96" fmla="*/ 423863 h 1200149"/>
                  <a:gd name="connsiteX97" fmla="*/ 26194 w 783431"/>
                  <a:gd name="connsiteY97" fmla="*/ 490538 h 1200149"/>
                  <a:gd name="connsiteX98" fmla="*/ 33337 w 783431"/>
                  <a:gd name="connsiteY98" fmla="*/ 554832 h 1200149"/>
                  <a:gd name="connsiteX99" fmla="*/ 0 w 783431"/>
                  <a:gd name="connsiteY99" fmla="*/ 614363 h 1200149"/>
                  <a:gd name="connsiteX0" fmla="*/ 0 w 783431"/>
                  <a:gd name="connsiteY0" fmla="*/ 614363 h 1202531"/>
                  <a:gd name="connsiteX1" fmla="*/ 21431 w 783431"/>
                  <a:gd name="connsiteY1" fmla="*/ 661988 h 1202531"/>
                  <a:gd name="connsiteX2" fmla="*/ 28575 w 783431"/>
                  <a:gd name="connsiteY2" fmla="*/ 742950 h 1202531"/>
                  <a:gd name="connsiteX3" fmla="*/ 76200 w 783431"/>
                  <a:gd name="connsiteY3" fmla="*/ 814388 h 1202531"/>
                  <a:gd name="connsiteX4" fmla="*/ 102394 w 783431"/>
                  <a:gd name="connsiteY4" fmla="*/ 919163 h 1202531"/>
                  <a:gd name="connsiteX5" fmla="*/ 116681 w 783431"/>
                  <a:gd name="connsiteY5" fmla="*/ 947738 h 1202531"/>
                  <a:gd name="connsiteX6" fmla="*/ 130969 w 783431"/>
                  <a:gd name="connsiteY6" fmla="*/ 995363 h 1202531"/>
                  <a:gd name="connsiteX7" fmla="*/ 150019 w 783431"/>
                  <a:gd name="connsiteY7" fmla="*/ 1023938 h 1202531"/>
                  <a:gd name="connsiteX8" fmla="*/ 159544 w 783431"/>
                  <a:gd name="connsiteY8" fmla="*/ 1042988 h 1202531"/>
                  <a:gd name="connsiteX9" fmla="*/ 197644 w 783431"/>
                  <a:gd name="connsiteY9" fmla="*/ 1069182 h 1202531"/>
                  <a:gd name="connsiteX10" fmla="*/ 245269 w 783431"/>
                  <a:gd name="connsiteY10" fmla="*/ 1090613 h 1202531"/>
                  <a:gd name="connsiteX11" fmla="*/ 264318 w 783431"/>
                  <a:gd name="connsiteY11" fmla="*/ 1131094 h 1202531"/>
                  <a:gd name="connsiteX12" fmla="*/ 295275 w 783431"/>
                  <a:gd name="connsiteY12" fmla="*/ 1164431 h 1202531"/>
                  <a:gd name="connsiteX13" fmla="*/ 385762 w 783431"/>
                  <a:gd name="connsiteY13" fmla="*/ 1200149 h 1202531"/>
                  <a:gd name="connsiteX14" fmla="*/ 554831 w 783431"/>
                  <a:gd name="connsiteY14" fmla="*/ 1202531 h 1202531"/>
                  <a:gd name="connsiteX15" fmla="*/ 592931 w 783431"/>
                  <a:gd name="connsiteY15" fmla="*/ 1126331 h 1202531"/>
                  <a:gd name="connsiteX16" fmla="*/ 604837 w 783431"/>
                  <a:gd name="connsiteY16" fmla="*/ 1085850 h 1202531"/>
                  <a:gd name="connsiteX17" fmla="*/ 585787 w 783431"/>
                  <a:gd name="connsiteY17" fmla="*/ 1035844 h 1202531"/>
                  <a:gd name="connsiteX18" fmla="*/ 607219 w 783431"/>
                  <a:gd name="connsiteY18" fmla="*/ 1021557 h 1202531"/>
                  <a:gd name="connsiteX19" fmla="*/ 645319 w 783431"/>
                  <a:gd name="connsiteY19" fmla="*/ 1016794 h 1202531"/>
                  <a:gd name="connsiteX20" fmla="*/ 685800 w 783431"/>
                  <a:gd name="connsiteY20" fmla="*/ 997744 h 1202531"/>
                  <a:gd name="connsiteX21" fmla="*/ 716756 w 783431"/>
                  <a:gd name="connsiteY21" fmla="*/ 1002507 h 1202531"/>
                  <a:gd name="connsiteX22" fmla="*/ 738187 w 783431"/>
                  <a:gd name="connsiteY22" fmla="*/ 969169 h 1202531"/>
                  <a:gd name="connsiteX23" fmla="*/ 783431 w 783431"/>
                  <a:gd name="connsiteY23" fmla="*/ 933450 h 1202531"/>
                  <a:gd name="connsiteX24" fmla="*/ 776287 w 783431"/>
                  <a:gd name="connsiteY24" fmla="*/ 907257 h 1202531"/>
                  <a:gd name="connsiteX25" fmla="*/ 752475 w 783431"/>
                  <a:gd name="connsiteY25" fmla="*/ 888207 h 1202531"/>
                  <a:gd name="connsiteX26" fmla="*/ 752475 w 783431"/>
                  <a:gd name="connsiteY26" fmla="*/ 864394 h 1202531"/>
                  <a:gd name="connsiteX27" fmla="*/ 728662 w 783431"/>
                  <a:gd name="connsiteY27" fmla="*/ 852488 h 1202531"/>
                  <a:gd name="connsiteX28" fmla="*/ 711994 w 783431"/>
                  <a:gd name="connsiteY28" fmla="*/ 802482 h 1202531"/>
                  <a:gd name="connsiteX29" fmla="*/ 688181 w 783431"/>
                  <a:gd name="connsiteY29" fmla="*/ 814388 h 1202531"/>
                  <a:gd name="connsiteX30" fmla="*/ 659606 w 783431"/>
                  <a:gd name="connsiteY30" fmla="*/ 814388 h 1202531"/>
                  <a:gd name="connsiteX31" fmla="*/ 647700 w 783431"/>
                  <a:gd name="connsiteY31" fmla="*/ 847725 h 1202531"/>
                  <a:gd name="connsiteX32" fmla="*/ 623887 w 783431"/>
                  <a:gd name="connsiteY32" fmla="*/ 847725 h 1202531"/>
                  <a:gd name="connsiteX33" fmla="*/ 576262 w 783431"/>
                  <a:gd name="connsiteY33" fmla="*/ 828675 h 1202531"/>
                  <a:gd name="connsiteX34" fmla="*/ 554831 w 783431"/>
                  <a:gd name="connsiteY34" fmla="*/ 816769 h 1202531"/>
                  <a:gd name="connsiteX35" fmla="*/ 547687 w 783431"/>
                  <a:gd name="connsiteY35" fmla="*/ 783432 h 1202531"/>
                  <a:gd name="connsiteX36" fmla="*/ 561975 w 783431"/>
                  <a:gd name="connsiteY36" fmla="*/ 754857 h 1202531"/>
                  <a:gd name="connsiteX37" fmla="*/ 533400 w 783431"/>
                  <a:gd name="connsiteY37" fmla="*/ 733425 h 1202531"/>
                  <a:gd name="connsiteX38" fmla="*/ 509587 w 783431"/>
                  <a:gd name="connsiteY38" fmla="*/ 711994 h 1202531"/>
                  <a:gd name="connsiteX39" fmla="*/ 473869 w 783431"/>
                  <a:gd name="connsiteY39" fmla="*/ 711994 h 1202531"/>
                  <a:gd name="connsiteX40" fmla="*/ 435769 w 783431"/>
                  <a:gd name="connsiteY40" fmla="*/ 711994 h 1202531"/>
                  <a:gd name="connsiteX41" fmla="*/ 438150 w 783431"/>
                  <a:gd name="connsiteY41" fmla="*/ 669132 h 1202531"/>
                  <a:gd name="connsiteX42" fmla="*/ 428625 w 783431"/>
                  <a:gd name="connsiteY42" fmla="*/ 642938 h 1202531"/>
                  <a:gd name="connsiteX43" fmla="*/ 423862 w 783431"/>
                  <a:gd name="connsiteY43" fmla="*/ 607219 h 1202531"/>
                  <a:gd name="connsiteX44" fmla="*/ 426244 w 783431"/>
                  <a:gd name="connsiteY44" fmla="*/ 578644 h 1202531"/>
                  <a:gd name="connsiteX45" fmla="*/ 440531 w 783431"/>
                  <a:gd name="connsiteY45" fmla="*/ 566738 h 1202531"/>
                  <a:gd name="connsiteX46" fmla="*/ 450056 w 783431"/>
                  <a:gd name="connsiteY46" fmla="*/ 535782 h 1202531"/>
                  <a:gd name="connsiteX47" fmla="*/ 457200 w 783431"/>
                  <a:gd name="connsiteY47" fmla="*/ 519113 h 1202531"/>
                  <a:gd name="connsiteX48" fmla="*/ 481012 w 783431"/>
                  <a:gd name="connsiteY48" fmla="*/ 526257 h 1202531"/>
                  <a:gd name="connsiteX49" fmla="*/ 495300 w 783431"/>
                  <a:gd name="connsiteY49" fmla="*/ 576263 h 1202531"/>
                  <a:gd name="connsiteX50" fmla="*/ 507206 w 783431"/>
                  <a:gd name="connsiteY50" fmla="*/ 581025 h 1202531"/>
                  <a:gd name="connsiteX51" fmla="*/ 526256 w 783431"/>
                  <a:gd name="connsiteY51" fmla="*/ 583407 h 1202531"/>
                  <a:gd name="connsiteX52" fmla="*/ 554831 w 783431"/>
                  <a:gd name="connsiteY52" fmla="*/ 583407 h 1202531"/>
                  <a:gd name="connsiteX53" fmla="*/ 557212 w 783431"/>
                  <a:gd name="connsiteY53" fmla="*/ 547688 h 1202531"/>
                  <a:gd name="connsiteX54" fmla="*/ 545306 w 783431"/>
                  <a:gd name="connsiteY54" fmla="*/ 502444 h 1202531"/>
                  <a:gd name="connsiteX55" fmla="*/ 545306 w 783431"/>
                  <a:gd name="connsiteY55" fmla="*/ 476250 h 1202531"/>
                  <a:gd name="connsiteX56" fmla="*/ 581025 w 783431"/>
                  <a:gd name="connsiteY56" fmla="*/ 454819 h 1202531"/>
                  <a:gd name="connsiteX57" fmla="*/ 604837 w 783431"/>
                  <a:gd name="connsiteY57" fmla="*/ 435769 h 1202531"/>
                  <a:gd name="connsiteX58" fmla="*/ 640556 w 783431"/>
                  <a:gd name="connsiteY58" fmla="*/ 414338 h 1202531"/>
                  <a:gd name="connsiteX59" fmla="*/ 645319 w 783431"/>
                  <a:gd name="connsiteY59" fmla="*/ 395288 h 1202531"/>
                  <a:gd name="connsiteX60" fmla="*/ 633412 w 783431"/>
                  <a:gd name="connsiteY60" fmla="*/ 371475 h 1202531"/>
                  <a:gd name="connsiteX61" fmla="*/ 614362 w 783431"/>
                  <a:gd name="connsiteY61" fmla="*/ 369094 h 1202531"/>
                  <a:gd name="connsiteX62" fmla="*/ 609600 w 783431"/>
                  <a:gd name="connsiteY62" fmla="*/ 366713 h 1202531"/>
                  <a:gd name="connsiteX63" fmla="*/ 597694 w 783431"/>
                  <a:gd name="connsiteY63" fmla="*/ 357188 h 1202531"/>
                  <a:gd name="connsiteX64" fmla="*/ 611981 w 783431"/>
                  <a:gd name="connsiteY64" fmla="*/ 345282 h 1202531"/>
                  <a:gd name="connsiteX65" fmla="*/ 652462 w 783431"/>
                  <a:gd name="connsiteY65" fmla="*/ 316707 h 1202531"/>
                  <a:gd name="connsiteX66" fmla="*/ 678656 w 783431"/>
                  <a:gd name="connsiteY66" fmla="*/ 264319 h 1202531"/>
                  <a:gd name="connsiteX67" fmla="*/ 666750 w 783431"/>
                  <a:gd name="connsiteY67" fmla="*/ 242888 h 1202531"/>
                  <a:gd name="connsiteX68" fmla="*/ 638175 w 783431"/>
                  <a:gd name="connsiteY68" fmla="*/ 219075 h 1202531"/>
                  <a:gd name="connsiteX69" fmla="*/ 642937 w 783431"/>
                  <a:gd name="connsiteY69" fmla="*/ 180975 h 1202531"/>
                  <a:gd name="connsiteX70" fmla="*/ 673894 w 783431"/>
                  <a:gd name="connsiteY70" fmla="*/ 171450 h 1202531"/>
                  <a:gd name="connsiteX71" fmla="*/ 700087 w 783431"/>
                  <a:gd name="connsiteY71" fmla="*/ 142875 h 1202531"/>
                  <a:gd name="connsiteX72" fmla="*/ 700087 w 783431"/>
                  <a:gd name="connsiteY72" fmla="*/ 111919 h 1202531"/>
                  <a:gd name="connsiteX73" fmla="*/ 666750 w 783431"/>
                  <a:gd name="connsiteY73" fmla="*/ 107157 h 1202531"/>
                  <a:gd name="connsiteX74" fmla="*/ 645319 w 783431"/>
                  <a:gd name="connsiteY74" fmla="*/ 102394 h 1202531"/>
                  <a:gd name="connsiteX75" fmla="*/ 645319 w 783431"/>
                  <a:gd name="connsiteY75" fmla="*/ 102394 h 1202531"/>
                  <a:gd name="connsiteX76" fmla="*/ 678656 w 783431"/>
                  <a:gd name="connsiteY76" fmla="*/ 69057 h 1202531"/>
                  <a:gd name="connsiteX77" fmla="*/ 685800 w 783431"/>
                  <a:gd name="connsiteY77" fmla="*/ 40482 h 1202531"/>
                  <a:gd name="connsiteX78" fmla="*/ 678656 w 783431"/>
                  <a:gd name="connsiteY78" fmla="*/ 21432 h 1202531"/>
                  <a:gd name="connsiteX79" fmla="*/ 695325 w 783431"/>
                  <a:gd name="connsiteY79" fmla="*/ 2382 h 1202531"/>
                  <a:gd name="connsiteX80" fmla="*/ 628650 w 783431"/>
                  <a:gd name="connsiteY80" fmla="*/ 0 h 1202531"/>
                  <a:gd name="connsiteX81" fmla="*/ 552450 w 783431"/>
                  <a:gd name="connsiteY81" fmla="*/ 52388 h 1202531"/>
                  <a:gd name="connsiteX82" fmla="*/ 538162 w 783431"/>
                  <a:gd name="connsiteY82" fmla="*/ 90488 h 1202531"/>
                  <a:gd name="connsiteX83" fmla="*/ 445294 w 783431"/>
                  <a:gd name="connsiteY83" fmla="*/ 126207 h 1202531"/>
                  <a:gd name="connsiteX84" fmla="*/ 397669 w 783431"/>
                  <a:gd name="connsiteY84" fmla="*/ 159544 h 1202531"/>
                  <a:gd name="connsiteX85" fmla="*/ 376237 w 783431"/>
                  <a:gd name="connsiteY85" fmla="*/ 190500 h 1202531"/>
                  <a:gd name="connsiteX86" fmla="*/ 350044 w 783431"/>
                  <a:gd name="connsiteY86" fmla="*/ 140494 h 1202531"/>
                  <a:gd name="connsiteX87" fmla="*/ 316706 w 783431"/>
                  <a:gd name="connsiteY87" fmla="*/ 140494 h 1202531"/>
                  <a:gd name="connsiteX88" fmla="*/ 304800 w 783431"/>
                  <a:gd name="connsiteY88" fmla="*/ 166688 h 1202531"/>
                  <a:gd name="connsiteX89" fmla="*/ 280987 w 783431"/>
                  <a:gd name="connsiteY89" fmla="*/ 230982 h 1202531"/>
                  <a:gd name="connsiteX90" fmla="*/ 154781 w 783431"/>
                  <a:gd name="connsiteY90" fmla="*/ 223838 h 1202531"/>
                  <a:gd name="connsiteX91" fmla="*/ 140494 w 783431"/>
                  <a:gd name="connsiteY91" fmla="*/ 245269 h 1202531"/>
                  <a:gd name="connsiteX92" fmla="*/ 138112 w 783431"/>
                  <a:gd name="connsiteY92" fmla="*/ 280988 h 1202531"/>
                  <a:gd name="connsiteX93" fmla="*/ 66675 w 783431"/>
                  <a:gd name="connsiteY93" fmla="*/ 309563 h 1202531"/>
                  <a:gd name="connsiteX94" fmla="*/ 54769 w 783431"/>
                  <a:gd name="connsiteY94" fmla="*/ 323850 h 1202531"/>
                  <a:gd name="connsiteX95" fmla="*/ 66675 w 783431"/>
                  <a:gd name="connsiteY95" fmla="*/ 381000 h 1202531"/>
                  <a:gd name="connsiteX96" fmla="*/ 19050 w 783431"/>
                  <a:gd name="connsiteY96" fmla="*/ 423863 h 1202531"/>
                  <a:gd name="connsiteX97" fmla="*/ 26194 w 783431"/>
                  <a:gd name="connsiteY97" fmla="*/ 490538 h 1202531"/>
                  <a:gd name="connsiteX98" fmla="*/ 33337 w 783431"/>
                  <a:gd name="connsiteY98" fmla="*/ 554832 h 1202531"/>
                  <a:gd name="connsiteX99" fmla="*/ 0 w 783431"/>
                  <a:gd name="connsiteY99" fmla="*/ 614363 h 1202531"/>
                  <a:gd name="connsiteX0" fmla="*/ 0 w 783431"/>
                  <a:gd name="connsiteY0" fmla="*/ 614363 h 1202531"/>
                  <a:gd name="connsiteX1" fmla="*/ 21431 w 783431"/>
                  <a:gd name="connsiteY1" fmla="*/ 661988 h 1202531"/>
                  <a:gd name="connsiteX2" fmla="*/ 28575 w 783431"/>
                  <a:gd name="connsiteY2" fmla="*/ 742950 h 1202531"/>
                  <a:gd name="connsiteX3" fmla="*/ 76200 w 783431"/>
                  <a:gd name="connsiteY3" fmla="*/ 814388 h 1202531"/>
                  <a:gd name="connsiteX4" fmla="*/ 102394 w 783431"/>
                  <a:gd name="connsiteY4" fmla="*/ 919163 h 1202531"/>
                  <a:gd name="connsiteX5" fmla="*/ 116681 w 783431"/>
                  <a:gd name="connsiteY5" fmla="*/ 947738 h 1202531"/>
                  <a:gd name="connsiteX6" fmla="*/ 130969 w 783431"/>
                  <a:gd name="connsiteY6" fmla="*/ 995363 h 1202531"/>
                  <a:gd name="connsiteX7" fmla="*/ 150019 w 783431"/>
                  <a:gd name="connsiteY7" fmla="*/ 1023938 h 1202531"/>
                  <a:gd name="connsiteX8" fmla="*/ 159544 w 783431"/>
                  <a:gd name="connsiteY8" fmla="*/ 1042988 h 1202531"/>
                  <a:gd name="connsiteX9" fmla="*/ 197644 w 783431"/>
                  <a:gd name="connsiteY9" fmla="*/ 1069182 h 1202531"/>
                  <a:gd name="connsiteX10" fmla="*/ 245269 w 783431"/>
                  <a:gd name="connsiteY10" fmla="*/ 1090613 h 1202531"/>
                  <a:gd name="connsiteX11" fmla="*/ 264318 w 783431"/>
                  <a:gd name="connsiteY11" fmla="*/ 1131094 h 1202531"/>
                  <a:gd name="connsiteX12" fmla="*/ 295275 w 783431"/>
                  <a:gd name="connsiteY12" fmla="*/ 1164431 h 1202531"/>
                  <a:gd name="connsiteX13" fmla="*/ 385762 w 783431"/>
                  <a:gd name="connsiteY13" fmla="*/ 1200149 h 1202531"/>
                  <a:gd name="connsiteX14" fmla="*/ 461962 w 783431"/>
                  <a:gd name="connsiteY14" fmla="*/ 1197768 h 1202531"/>
                  <a:gd name="connsiteX15" fmla="*/ 554831 w 783431"/>
                  <a:gd name="connsiteY15" fmla="*/ 1202531 h 1202531"/>
                  <a:gd name="connsiteX16" fmla="*/ 592931 w 783431"/>
                  <a:gd name="connsiteY16" fmla="*/ 1126331 h 1202531"/>
                  <a:gd name="connsiteX17" fmla="*/ 604837 w 783431"/>
                  <a:gd name="connsiteY17" fmla="*/ 1085850 h 1202531"/>
                  <a:gd name="connsiteX18" fmla="*/ 585787 w 783431"/>
                  <a:gd name="connsiteY18" fmla="*/ 1035844 h 1202531"/>
                  <a:gd name="connsiteX19" fmla="*/ 607219 w 783431"/>
                  <a:gd name="connsiteY19" fmla="*/ 1021557 h 1202531"/>
                  <a:gd name="connsiteX20" fmla="*/ 645319 w 783431"/>
                  <a:gd name="connsiteY20" fmla="*/ 1016794 h 1202531"/>
                  <a:gd name="connsiteX21" fmla="*/ 685800 w 783431"/>
                  <a:gd name="connsiteY21" fmla="*/ 997744 h 1202531"/>
                  <a:gd name="connsiteX22" fmla="*/ 716756 w 783431"/>
                  <a:gd name="connsiteY22" fmla="*/ 1002507 h 1202531"/>
                  <a:gd name="connsiteX23" fmla="*/ 738187 w 783431"/>
                  <a:gd name="connsiteY23" fmla="*/ 969169 h 1202531"/>
                  <a:gd name="connsiteX24" fmla="*/ 783431 w 783431"/>
                  <a:gd name="connsiteY24" fmla="*/ 933450 h 1202531"/>
                  <a:gd name="connsiteX25" fmla="*/ 776287 w 783431"/>
                  <a:gd name="connsiteY25" fmla="*/ 907257 h 1202531"/>
                  <a:gd name="connsiteX26" fmla="*/ 752475 w 783431"/>
                  <a:gd name="connsiteY26" fmla="*/ 888207 h 1202531"/>
                  <a:gd name="connsiteX27" fmla="*/ 752475 w 783431"/>
                  <a:gd name="connsiteY27" fmla="*/ 864394 h 1202531"/>
                  <a:gd name="connsiteX28" fmla="*/ 728662 w 783431"/>
                  <a:gd name="connsiteY28" fmla="*/ 852488 h 1202531"/>
                  <a:gd name="connsiteX29" fmla="*/ 711994 w 783431"/>
                  <a:gd name="connsiteY29" fmla="*/ 802482 h 1202531"/>
                  <a:gd name="connsiteX30" fmla="*/ 688181 w 783431"/>
                  <a:gd name="connsiteY30" fmla="*/ 814388 h 1202531"/>
                  <a:gd name="connsiteX31" fmla="*/ 659606 w 783431"/>
                  <a:gd name="connsiteY31" fmla="*/ 814388 h 1202531"/>
                  <a:gd name="connsiteX32" fmla="*/ 647700 w 783431"/>
                  <a:gd name="connsiteY32" fmla="*/ 847725 h 1202531"/>
                  <a:gd name="connsiteX33" fmla="*/ 623887 w 783431"/>
                  <a:gd name="connsiteY33" fmla="*/ 847725 h 1202531"/>
                  <a:gd name="connsiteX34" fmla="*/ 576262 w 783431"/>
                  <a:gd name="connsiteY34" fmla="*/ 828675 h 1202531"/>
                  <a:gd name="connsiteX35" fmla="*/ 554831 w 783431"/>
                  <a:gd name="connsiteY35" fmla="*/ 816769 h 1202531"/>
                  <a:gd name="connsiteX36" fmla="*/ 547687 w 783431"/>
                  <a:gd name="connsiteY36" fmla="*/ 783432 h 1202531"/>
                  <a:gd name="connsiteX37" fmla="*/ 561975 w 783431"/>
                  <a:gd name="connsiteY37" fmla="*/ 754857 h 1202531"/>
                  <a:gd name="connsiteX38" fmla="*/ 533400 w 783431"/>
                  <a:gd name="connsiteY38" fmla="*/ 733425 h 1202531"/>
                  <a:gd name="connsiteX39" fmla="*/ 509587 w 783431"/>
                  <a:gd name="connsiteY39" fmla="*/ 711994 h 1202531"/>
                  <a:gd name="connsiteX40" fmla="*/ 473869 w 783431"/>
                  <a:gd name="connsiteY40" fmla="*/ 711994 h 1202531"/>
                  <a:gd name="connsiteX41" fmla="*/ 435769 w 783431"/>
                  <a:gd name="connsiteY41" fmla="*/ 711994 h 1202531"/>
                  <a:gd name="connsiteX42" fmla="*/ 438150 w 783431"/>
                  <a:gd name="connsiteY42" fmla="*/ 669132 h 1202531"/>
                  <a:gd name="connsiteX43" fmla="*/ 428625 w 783431"/>
                  <a:gd name="connsiteY43" fmla="*/ 642938 h 1202531"/>
                  <a:gd name="connsiteX44" fmla="*/ 423862 w 783431"/>
                  <a:gd name="connsiteY44" fmla="*/ 607219 h 1202531"/>
                  <a:gd name="connsiteX45" fmla="*/ 426244 w 783431"/>
                  <a:gd name="connsiteY45" fmla="*/ 578644 h 1202531"/>
                  <a:gd name="connsiteX46" fmla="*/ 440531 w 783431"/>
                  <a:gd name="connsiteY46" fmla="*/ 566738 h 1202531"/>
                  <a:gd name="connsiteX47" fmla="*/ 450056 w 783431"/>
                  <a:gd name="connsiteY47" fmla="*/ 535782 h 1202531"/>
                  <a:gd name="connsiteX48" fmla="*/ 457200 w 783431"/>
                  <a:gd name="connsiteY48" fmla="*/ 519113 h 1202531"/>
                  <a:gd name="connsiteX49" fmla="*/ 481012 w 783431"/>
                  <a:gd name="connsiteY49" fmla="*/ 526257 h 1202531"/>
                  <a:gd name="connsiteX50" fmla="*/ 495300 w 783431"/>
                  <a:gd name="connsiteY50" fmla="*/ 576263 h 1202531"/>
                  <a:gd name="connsiteX51" fmla="*/ 507206 w 783431"/>
                  <a:gd name="connsiteY51" fmla="*/ 581025 h 1202531"/>
                  <a:gd name="connsiteX52" fmla="*/ 526256 w 783431"/>
                  <a:gd name="connsiteY52" fmla="*/ 583407 h 1202531"/>
                  <a:gd name="connsiteX53" fmla="*/ 554831 w 783431"/>
                  <a:gd name="connsiteY53" fmla="*/ 583407 h 1202531"/>
                  <a:gd name="connsiteX54" fmla="*/ 557212 w 783431"/>
                  <a:gd name="connsiteY54" fmla="*/ 547688 h 1202531"/>
                  <a:gd name="connsiteX55" fmla="*/ 545306 w 783431"/>
                  <a:gd name="connsiteY55" fmla="*/ 502444 h 1202531"/>
                  <a:gd name="connsiteX56" fmla="*/ 545306 w 783431"/>
                  <a:gd name="connsiteY56" fmla="*/ 476250 h 1202531"/>
                  <a:gd name="connsiteX57" fmla="*/ 581025 w 783431"/>
                  <a:gd name="connsiteY57" fmla="*/ 454819 h 1202531"/>
                  <a:gd name="connsiteX58" fmla="*/ 604837 w 783431"/>
                  <a:gd name="connsiteY58" fmla="*/ 435769 h 1202531"/>
                  <a:gd name="connsiteX59" fmla="*/ 640556 w 783431"/>
                  <a:gd name="connsiteY59" fmla="*/ 414338 h 1202531"/>
                  <a:gd name="connsiteX60" fmla="*/ 645319 w 783431"/>
                  <a:gd name="connsiteY60" fmla="*/ 395288 h 1202531"/>
                  <a:gd name="connsiteX61" fmla="*/ 633412 w 783431"/>
                  <a:gd name="connsiteY61" fmla="*/ 371475 h 1202531"/>
                  <a:gd name="connsiteX62" fmla="*/ 614362 w 783431"/>
                  <a:gd name="connsiteY62" fmla="*/ 369094 h 1202531"/>
                  <a:gd name="connsiteX63" fmla="*/ 609600 w 783431"/>
                  <a:gd name="connsiteY63" fmla="*/ 366713 h 1202531"/>
                  <a:gd name="connsiteX64" fmla="*/ 597694 w 783431"/>
                  <a:gd name="connsiteY64" fmla="*/ 357188 h 1202531"/>
                  <a:gd name="connsiteX65" fmla="*/ 611981 w 783431"/>
                  <a:gd name="connsiteY65" fmla="*/ 345282 h 1202531"/>
                  <a:gd name="connsiteX66" fmla="*/ 652462 w 783431"/>
                  <a:gd name="connsiteY66" fmla="*/ 316707 h 1202531"/>
                  <a:gd name="connsiteX67" fmla="*/ 678656 w 783431"/>
                  <a:gd name="connsiteY67" fmla="*/ 264319 h 1202531"/>
                  <a:gd name="connsiteX68" fmla="*/ 666750 w 783431"/>
                  <a:gd name="connsiteY68" fmla="*/ 242888 h 1202531"/>
                  <a:gd name="connsiteX69" fmla="*/ 638175 w 783431"/>
                  <a:gd name="connsiteY69" fmla="*/ 219075 h 1202531"/>
                  <a:gd name="connsiteX70" fmla="*/ 642937 w 783431"/>
                  <a:gd name="connsiteY70" fmla="*/ 180975 h 1202531"/>
                  <a:gd name="connsiteX71" fmla="*/ 673894 w 783431"/>
                  <a:gd name="connsiteY71" fmla="*/ 171450 h 1202531"/>
                  <a:gd name="connsiteX72" fmla="*/ 700087 w 783431"/>
                  <a:gd name="connsiteY72" fmla="*/ 142875 h 1202531"/>
                  <a:gd name="connsiteX73" fmla="*/ 700087 w 783431"/>
                  <a:gd name="connsiteY73" fmla="*/ 111919 h 1202531"/>
                  <a:gd name="connsiteX74" fmla="*/ 666750 w 783431"/>
                  <a:gd name="connsiteY74" fmla="*/ 107157 h 1202531"/>
                  <a:gd name="connsiteX75" fmla="*/ 645319 w 783431"/>
                  <a:gd name="connsiteY75" fmla="*/ 102394 h 1202531"/>
                  <a:gd name="connsiteX76" fmla="*/ 645319 w 783431"/>
                  <a:gd name="connsiteY76" fmla="*/ 102394 h 1202531"/>
                  <a:gd name="connsiteX77" fmla="*/ 678656 w 783431"/>
                  <a:gd name="connsiteY77" fmla="*/ 69057 h 1202531"/>
                  <a:gd name="connsiteX78" fmla="*/ 685800 w 783431"/>
                  <a:gd name="connsiteY78" fmla="*/ 40482 h 1202531"/>
                  <a:gd name="connsiteX79" fmla="*/ 678656 w 783431"/>
                  <a:gd name="connsiteY79" fmla="*/ 21432 h 1202531"/>
                  <a:gd name="connsiteX80" fmla="*/ 695325 w 783431"/>
                  <a:gd name="connsiteY80" fmla="*/ 2382 h 1202531"/>
                  <a:gd name="connsiteX81" fmla="*/ 628650 w 783431"/>
                  <a:gd name="connsiteY81" fmla="*/ 0 h 1202531"/>
                  <a:gd name="connsiteX82" fmla="*/ 552450 w 783431"/>
                  <a:gd name="connsiteY82" fmla="*/ 52388 h 1202531"/>
                  <a:gd name="connsiteX83" fmla="*/ 538162 w 783431"/>
                  <a:gd name="connsiteY83" fmla="*/ 90488 h 1202531"/>
                  <a:gd name="connsiteX84" fmla="*/ 445294 w 783431"/>
                  <a:gd name="connsiteY84" fmla="*/ 126207 h 1202531"/>
                  <a:gd name="connsiteX85" fmla="*/ 397669 w 783431"/>
                  <a:gd name="connsiteY85" fmla="*/ 159544 h 1202531"/>
                  <a:gd name="connsiteX86" fmla="*/ 376237 w 783431"/>
                  <a:gd name="connsiteY86" fmla="*/ 190500 h 1202531"/>
                  <a:gd name="connsiteX87" fmla="*/ 350044 w 783431"/>
                  <a:gd name="connsiteY87" fmla="*/ 140494 h 1202531"/>
                  <a:gd name="connsiteX88" fmla="*/ 316706 w 783431"/>
                  <a:gd name="connsiteY88" fmla="*/ 140494 h 1202531"/>
                  <a:gd name="connsiteX89" fmla="*/ 304800 w 783431"/>
                  <a:gd name="connsiteY89" fmla="*/ 166688 h 1202531"/>
                  <a:gd name="connsiteX90" fmla="*/ 280987 w 783431"/>
                  <a:gd name="connsiteY90" fmla="*/ 230982 h 1202531"/>
                  <a:gd name="connsiteX91" fmla="*/ 154781 w 783431"/>
                  <a:gd name="connsiteY91" fmla="*/ 223838 h 1202531"/>
                  <a:gd name="connsiteX92" fmla="*/ 140494 w 783431"/>
                  <a:gd name="connsiteY92" fmla="*/ 245269 h 1202531"/>
                  <a:gd name="connsiteX93" fmla="*/ 138112 w 783431"/>
                  <a:gd name="connsiteY93" fmla="*/ 280988 h 1202531"/>
                  <a:gd name="connsiteX94" fmla="*/ 66675 w 783431"/>
                  <a:gd name="connsiteY94" fmla="*/ 309563 h 1202531"/>
                  <a:gd name="connsiteX95" fmla="*/ 54769 w 783431"/>
                  <a:gd name="connsiteY95" fmla="*/ 323850 h 1202531"/>
                  <a:gd name="connsiteX96" fmla="*/ 66675 w 783431"/>
                  <a:gd name="connsiteY96" fmla="*/ 381000 h 1202531"/>
                  <a:gd name="connsiteX97" fmla="*/ 19050 w 783431"/>
                  <a:gd name="connsiteY97" fmla="*/ 423863 h 1202531"/>
                  <a:gd name="connsiteX98" fmla="*/ 26194 w 783431"/>
                  <a:gd name="connsiteY98" fmla="*/ 490538 h 1202531"/>
                  <a:gd name="connsiteX99" fmla="*/ 33337 w 783431"/>
                  <a:gd name="connsiteY99" fmla="*/ 554832 h 1202531"/>
                  <a:gd name="connsiteX100" fmla="*/ 0 w 783431"/>
                  <a:gd name="connsiteY100" fmla="*/ 614363 h 1202531"/>
                  <a:gd name="connsiteX0" fmla="*/ 0 w 783431"/>
                  <a:gd name="connsiteY0" fmla="*/ 614363 h 1202531"/>
                  <a:gd name="connsiteX1" fmla="*/ 21431 w 783431"/>
                  <a:gd name="connsiteY1" fmla="*/ 661988 h 1202531"/>
                  <a:gd name="connsiteX2" fmla="*/ 28575 w 783431"/>
                  <a:gd name="connsiteY2" fmla="*/ 742950 h 1202531"/>
                  <a:gd name="connsiteX3" fmla="*/ 76200 w 783431"/>
                  <a:gd name="connsiteY3" fmla="*/ 814388 h 1202531"/>
                  <a:gd name="connsiteX4" fmla="*/ 102394 w 783431"/>
                  <a:gd name="connsiteY4" fmla="*/ 919163 h 1202531"/>
                  <a:gd name="connsiteX5" fmla="*/ 116681 w 783431"/>
                  <a:gd name="connsiteY5" fmla="*/ 947738 h 1202531"/>
                  <a:gd name="connsiteX6" fmla="*/ 130969 w 783431"/>
                  <a:gd name="connsiteY6" fmla="*/ 995363 h 1202531"/>
                  <a:gd name="connsiteX7" fmla="*/ 150019 w 783431"/>
                  <a:gd name="connsiteY7" fmla="*/ 1023938 h 1202531"/>
                  <a:gd name="connsiteX8" fmla="*/ 159544 w 783431"/>
                  <a:gd name="connsiteY8" fmla="*/ 1042988 h 1202531"/>
                  <a:gd name="connsiteX9" fmla="*/ 197644 w 783431"/>
                  <a:gd name="connsiteY9" fmla="*/ 1069182 h 1202531"/>
                  <a:gd name="connsiteX10" fmla="*/ 245269 w 783431"/>
                  <a:gd name="connsiteY10" fmla="*/ 1090613 h 1202531"/>
                  <a:gd name="connsiteX11" fmla="*/ 264318 w 783431"/>
                  <a:gd name="connsiteY11" fmla="*/ 1131094 h 1202531"/>
                  <a:gd name="connsiteX12" fmla="*/ 295275 w 783431"/>
                  <a:gd name="connsiteY12" fmla="*/ 1164431 h 1202531"/>
                  <a:gd name="connsiteX13" fmla="*/ 385762 w 783431"/>
                  <a:gd name="connsiteY13" fmla="*/ 1200149 h 1202531"/>
                  <a:gd name="connsiteX14" fmla="*/ 469106 w 783431"/>
                  <a:gd name="connsiteY14" fmla="*/ 1181100 h 1202531"/>
                  <a:gd name="connsiteX15" fmla="*/ 554831 w 783431"/>
                  <a:gd name="connsiteY15" fmla="*/ 1202531 h 1202531"/>
                  <a:gd name="connsiteX16" fmla="*/ 592931 w 783431"/>
                  <a:gd name="connsiteY16" fmla="*/ 1126331 h 1202531"/>
                  <a:gd name="connsiteX17" fmla="*/ 604837 w 783431"/>
                  <a:gd name="connsiteY17" fmla="*/ 1085850 h 1202531"/>
                  <a:gd name="connsiteX18" fmla="*/ 585787 w 783431"/>
                  <a:gd name="connsiteY18" fmla="*/ 1035844 h 1202531"/>
                  <a:gd name="connsiteX19" fmla="*/ 607219 w 783431"/>
                  <a:gd name="connsiteY19" fmla="*/ 1021557 h 1202531"/>
                  <a:gd name="connsiteX20" fmla="*/ 645319 w 783431"/>
                  <a:gd name="connsiteY20" fmla="*/ 1016794 h 1202531"/>
                  <a:gd name="connsiteX21" fmla="*/ 685800 w 783431"/>
                  <a:gd name="connsiteY21" fmla="*/ 997744 h 1202531"/>
                  <a:gd name="connsiteX22" fmla="*/ 716756 w 783431"/>
                  <a:gd name="connsiteY22" fmla="*/ 1002507 h 1202531"/>
                  <a:gd name="connsiteX23" fmla="*/ 738187 w 783431"/>
                  <a:gd name="connsiteY23" fmla="*/ 969169 h 1202531"/>
                  <a:gd name="connsiteX24" fmla="*/ 783431 w 783431"/>
                  <a:gd name="connsiteY24" fmla="*/ 933450 h 1202531"/>
                  <a:gd name="connsiteX25" fmla="*/ 776287 w 783431"/>
                  <a:gd name="connsiteY25" fmla="*/ 907257 h 1202531"/>
                  <a:gd name="connsiteX26" fmla="*/ 752475 w 783431"/>
                  <a:gd name="connsiteY26" fmla="*/ 888207 h 1202531"/>
                  <a:gd name="connsiteX27" fmla="*/ 752475 w 783431"/>
                  <a:gd name="connsiteY27" fmla="*/ 864394 h 1202531"/>
                  <a:gd name="connsiteX28" fmla="*/ 728662 w 783431"/>
                  <a:gd name="connsiteY28" fmla="*/ 852488 h 1202531"/>
                  <a:gd name="connsiteX29" fmla="*/ 711994 w 783431"/>
                  <a:gd name="connsiteY29" fmla="*/ 802482 h 1202531"/>
                  <a:gd name="connsiteX30" fmla="*/ 688181 w 783431"/>
                  <a:gd name="connsiteY30" fmla="*/ 814388 h 1202531"/>
                  <a:gd name="connsiteX31" fmla="*/ 659606 w 783431"/>
                  <a:gd name="connsiteY31" fmla="*/ 814388 h 1202531"/>
                  <a:gd name="connsiteX32" fmla="*/ 647700 w 783431"/>
                  <a:gd name="connsiteY32" fmla="*/ 847725 h 1202531"/>
                  <a:gd name="connsiteX33" fmla="*/ 623887 w 783431"/>
                  <a:gd name="connsiteY33" fmla="*/ 847725 h 1202531"/>
                  <a:gd name="connsiteX34" fmla="*/ 576262 w 783431"/>
                  <a:gd name="connsiteY34" fmla="*/ 828675 h 1202531"/>
                  <a:gd name="connsiteX35" fmla="*/ 554831 w 783431"/>
                  <a:gd name="connsiteY35" fmla="*/ 816769 h 1202531"/>
                  <a:gd name="connsiteX36" fmla="*/ 547687 w 783431"/>
                  <a:gd name="connsiteY36" fmla="*/ 783432 h 1202531"/>
                  <a:gd name="connsiteX37" fmla="*/ 561975 w 783431"/>
                  <a:gd name="connsiteY37" fmla="*/ 754857 h 1202531"/>
                  <a:gd name="connsiteX38" fmla="*/ 533400 w 783431"/>
                  <a:gd name="connsiteY38" fmla="*/ 733425 h 1202531"/>
                  <a:gd name="connsiteX39" fmla="*/ 509587 w 783431"/>
                  <a:gd name="connsiteY39" fmla="*/ 711994 h 1202531"/>
                  <a:gd name="connsiteX40" fmla="*/ 473869 w 783431"/>
                  <a:gd name="connsiteY40" fmla="*/ 711994 h 1202531"/>
                  <a:gd name="connsiteX41" fmla="*/ 435769 w 783431"/>
                  <a:gd name="connsiteY41" fmla="*/ 711994 h 1202531"/>
                  <a:gd name="connsiteX42" fmla="*/ 438150 w 783431"/>
                  <a:gd name="connsiteY42" fmla="*/ 669132 h 1202531"/>
                  <a:gd name="connsiteX43" fmla="*/ 428625 w 783431"/>
                  <a:gd name="connsiteY43" fmla="*/ 642938 h 1202531"/>
                  <a:gd name="connsiteX44" fmla="*/ 423862 w 783431"/>
                  <a:gd name="connsiteY44" fmla="*/ 607219 h 1202531"/>
                  <a:gd name="connsiteX45" fmla="*/ 426244 w 783431"/>
                  <a:gd name="connsiteY45" fmla="*/ 578644 h 1202531"/>
                  <a:gd name="connsiteX46" fmla="*/ 440531 w 783431"/>
                  <a:gd name="connsiteY46" fmla="*/ 566738 h 1202531"/>
                  <a:gd name="connsiteX47" fmla="*/ 450056 w 783431"/>
                  <a:gd name="connsiteY47" fmla="*/ 535782 h 1202531"/>
                  <a:gd name="connsiteX48" fmla="*/ 457200 w 783431"/>
                  <a:gd name="connsiteY48" fmla="*/ 519113 h 1202531"/>
                  <a:gd name="connsiteX49" fmla="*/ 481012 w 783431"/>
                  <a:gd name="connsiteY49" fmla="*/ 526257 h 1202531"/>
                  <a:gd name="connsiteX50" fmla="*/ 495300 w 783431"/>
                  <a:gd name="connsiteY50" fmla="*/ 576263 h 1202531"/>
                  <a:gd name="connsiteX51" fmla="*/ 507206 w 783431"/>
                  <a:gd name="connsiteY51" fmla="*/ 581025 h 1202531"/>
                  <a:gd name="connsiteX52" fmla="*/ 526256 w 783431"/>
                  <a:gd name="connsiteY52" fmla="*/ 583407 h 1202531"/>
                  <a:gd name="connsiteX53" fmla="*/ 554831 w 783431"/>
                  <a:gd name="connsiteY53" fmla="*/ 583407 h 1202531"/>
                  <a:gd name="connsiteX54" fmla="*/ 557212 w 783431"/>
                  <a:gd name="connsiteY54" fmla="*/ 547688 h 1202531"/>
                  <a:gd name="connsiteX55" fmla="*/ 545306 w 783431"/>
                  <a:gd name="connsiteY55" fmla="*/ 502444 h 1202531"/>
                  <a:gd name="connsiteX56" fmla="*/ 545306 w 783431"/>
                  <a:gd name="connsiteY56" fmla="*/ 476250 h 1202531"/>
                  <a:gd name="connsiteX57" fmla="*/ 581025 w 783431"/>
                  <a:gd name="connsiteY57" fmla="*/ 454819 h 1202531"/>
                  <a:gd name="connsiteX58" fmla="*/ 604837 w 783431"/>
                  <a:gd name="connsiteY58" fmla="*/ 435769 h 1202531"/>
                  <a:gd name="connsiteX59" fmla="*/ 640556 w 783431"/>
                  <a:gd name="connsiteY59" fmla="*/ 414338 h 1202531"/>
                  <a:gd name="connsiteX60" fmla="*/ 645319 w 783431"/>
                  <a:gd name="connsiteY60" fmla="*/ 395288 h 1202531"/>
                  <a:gd name="connsiteX61" fmla="*/ 633412 w 783431"/>
                  <a:gd name="connsiteY61" fmla="*/ 371475 h 1202531"/>
                  <a:gd name="connsiteX62" fmla="*/ 614362 w 783431"/>
                  <a:gd name="connsiteY62" fmla="*/ 369094 h 1202531"/>
                  <a:gd name="connsiteX63" fmla="*/ 609600 w 783431"/>
                  <a:gd name="connsiteY63" fmla="*/ 366713 h 1202531"/>
                  <a:gd name="connsiteX64" fmla="*/ 597694 w 783431"/>
                  <a:gd name="connsiteY64" fmla="*/ 357188 h 1202531"/>
                  <a:gd name="connsiteX65" fmla="*/ 611981 w 783431"/>
                  <a:gd name="connsiteY65" fmla="*/ 345282 h 1202531"/>
                  <a:gd name="connsiteX66" fmla="*/ 652462 w 783431"/>
                  <a:gd name="connsiteY66" fmla="*/ 316707 h 1202531"/>
                  <a:gd name="connsiteX67" fmla="*/ 678656 w 783431"/>
                  <a:gd name="connsiteY67" fmla="*/ 264319 h 1202531"/>
                  <a:gd name="connsiteX68" fmla="*/ 666750 w 783431"/>
                  <a:gd name="connsiteY68" fmla="*/ 242888 h 1202531"/>
                  <a:gd name="connsiteX69" fmla="*/ 638175 w 783431"/>
                  <a:gd name="connsiteY69" fmla="*/ 219075 h 1202531"/>
                  <a:gd name="connsiteX70" fmla="*/ 642937 w 783431"/>
                  <a:gd name="connsiteY70" fmla="*/ 180975 h 1202531"/>
                  <a:gd name="connsiteX71" fmla="*/ 673894 w 783431"/>
                  <a:gd name="connsiteY71" fmla="*/ 171450 h 1202531"/>
                  <a:gd name="connsiteX72" fmla="*/ 700087 w 783431"/>
                  <a:gd name="connsiteY72" fmla="*/ 142875 h 1202531"/>
                  <a:gd name="connsiteX73" fmla="*/ 700087 w 783431"/>
                  <a:gd name="connsiteY73" fmla="*/ 111919 h 1202531"/>
                  <a:gd name="connsiteX74" fmla="*/ 666750 w 783431"/>
                  <a:gd name="connsiteY74" fmla="*/ 107157 h 1202531"/>
                  <a:gd name="connsiteX75" fmla="*/ 645319 w 783431"/>
                  <a:gd name="connsiteY75" fmla="*/ 102394 h 1202531"/>
                  <a:gd name="connsiteX76" fmla="*/ 645319 w 783431"/>
                  <a:gd name="connsiteY76" fmla="*/ 102394 h 1202531"/>
                  <a:gd name="connsiteX77" fmla="*/ 678656 w 783431"/>
                  <a:gd name="connsiteY77" fmla="*/ 69057 h 1202531"/>
                  <a:gd name="connsiteX78" fmla="*/ 685800 w 783431"/>
                  <a:gd name="connsiteY78" fmla="*/ 40482 h 1202531"/>
                  <a:gd name="connsiteX79" fmla="*/ 678656 w 783431"/>
                  <a:gd name="connsiteY79" fmla="*/ 21432 h 1202531"/>
                  <a:gd name="connsiteX80" fmla="*/ 695325 w 783431"/>
                  <a:gd name="connsiteY80" fmla="*/ 2382 h 1202531"/>
                  <a:gd name="connsiteX81" fmla="*/ 628650 w 783431"/>
                  <a:gd name="connsiteY81" fmla="*/ 0 h 1202531"/>
                  <a:gd name="connsiteX82" fmla="*/ 552450 w 783431"/>
                  <a:gd name="connsiteY82" fmla="*/ 52388 h 1202531"/>
                  <a:gd name="connsiteX83" fmla="*/ 538162 w 783431"/>
                  <a:gd name="connsiteY83" fmla="*/ 90488 h 1202531"/>
                  <a:gd name="connsiteX84" fmla="*/ 445294 w 783431"/>
                  <a:gd name="connsiteY84" fmla="*/ 126207 h 1202531"/>
                  <a:gd name="connsiteX85" fmla="*/ 397669 w 783431"/>
                  <a:gd name="connsiteY85" fmla="*/ 159544 h 1202531"/>
                  <a:gd name="connsiteX86" fmla="*/ 376237 w 783431"/>
                  <a:gd name="connsiteY86" fmla="*/ 190500 h 1202531"/>
                  <a:gd name="connsiteX87" fmla="*/ 350044 w 783431"/>
                  <a:gd name="connsiteY87" fmla="*/ 140494 h 1202531"/>
                  <a:gd name="connsiteX88" fmla="*/ 316706 w 783431"/>
                  <a:gd name="connsiteY88" fmla="*/ 140494 h 1202531"/>
                  <a:gd name="connsiteX89" fmla="*/ 304800 w 783431"/>
                  <a:gd name="connsiteY89" fmla="*/ 166688 h 1202531"/>
                  <a:gd name="connsiteX90" fmla="*/ 280987 w 783431"/>
                  <a:gd name="connsiteY90" fmla="*/ 230982 h 1202531"/>
                  <a:gd name="connsiteX91" fmla="*/ 154781 w 783431"/>
                  <a:gd name="connsiteY91" fmla="*/ 223838 h 1202531"/>
                  <a:gd name="connsiteX92" fmla="*/ 140494 w 783431"/>
                  <a:gd name="connsiteY92" fmla="*/ 245269 h 1202531"/>
                  <a:gd name="connsiteX93" fmla="*/ 138112 w 783431"/>
                  <a:gd name="connsiteY93" fmla="*/ 280988 h 1202531"/>
                  <a:gd name="connsiteX94" fmla="*/ 66675 w 783431"/>
                  <a:gd name="connsiteY94" fmla="*/ 309563 h 1202531"/>
                  <a:gd name="connsiteX95" fmla="*/ 54769 w 783431"/>
                  <a:gd name="connsiteY95" fmla="*/ 323850 h 1202531"/>
                  <a:gd name="connsiteX96" fmla="*/ 66675 w 783431"/>
                  <a:gd name="connsiteY96" fmla="*/ 381000 h 1202531"/>
                  <a:gd name="connsiteX97" fmla="*/ 19050 w 783431"/>
                  <a:gd name="connsiteY97" fmla="*/ 423863 h 1202531"/>
                  <a:gd name="connsiteX98" fmla="*/ 26194 w 783431"/>
                  <a:gd name="connsiteY98" fmla="*/ 490538 h 1202531"/>
                  <a:gd name="connsiteX99" fmla="*/ 33337 w 783431"/>
                  <a:gd name="connsiteY99" fmla="*/ 554832 h 1202531"/>
                  <a:gd name="connsiteX100" fmla="*/ 0 w 783431"/>
                  <a:gd name="connsiteY100" fmla="*/ 614363 h 1202531"/>
                  <a:gd name="connsiteX0" fmla="*/ 0 w 783431"/>
                  <a:gd name="connsiteY0" fmla="*/ 614363 h 1202531"/>
                  <a:gd name="connsiteX1" fmla="*/ 21431 w 783431"/>
                  <a:gd name="connsiteY1" fmla="*/ 661988 h 1202531"/>
                  <a:gd name="connsiteX2" fmla="*/ 28575 w 783431"/>
                  <a:gd name="connsiteY2" fmla="*/ 742950 h 1202531"/>
                  <a:gd name="connsiteX3" fmla="*/ 76200 w 783431"/>
                  <a:gd name="connsiteY3" fmla="*/ 814388 h 1202531"/>
                  <a:gd name="connsiteX4" fmla="*/ 102394 w 783431"/>
                  <a:gd name="connsiteY4" fmla="*/ 919163 h 1202531"/>
                  <a:gd name="connsiteX5" fmla="*/ 116681 w 783431"/>
                  <a:gd name="connsiteY5" fmla="*/ 947738 h 1202531"/>
                  <a:gd name="connsiteX6" fmla="*/ 130969 w 783431"/>
                  <a:gd name="connsiteY6" fmla="*/ 995363 h 1202531"/>
                  <a:gd name="connsiteX7" fmla="*/ 150019 w 783431"/>
                  <a:gd name="connsiteY7" fmla="*/ 1023938 h 1202531"/>
                  <a:gd name="connsiteX8" fmla="*/ 159544 w 783431"/>
                  <a:gd name="connsiteY8" fmla="*/ 1042988 h 1202531"/>
                  <a:gd name="connsiteX9" fmla="*/ 197644 w 783431"/>
                  <a:gd name="connsiteY9" fmla="*/ 1069182 h 1202531"/>
                  <a:gd name="connsiteX10" fmla="*/ 245269 w 783431"/>
                  <a:gd name="connsiteY10" fmla="*/ 1090613 h 1202531"/>
                  <a:gd name="connsiteX11" fmla="*/ 264318 w 783431"/>
                  <a:gd name="connsiteY11" fmla="*/ 1131094 h 1202531"/>
                  <a:gd name="connsiteX12" fmla="*/ 295275 w 783431"/>
                  <a:gd name="connsiteY12" fmla="*/ 1164431 h 1202531"/>
                  <a:gd name="connsiteX13" fmla="*/ 385762 w 783431"/>
                  <a:gd name="connsiteY13" fmla="*/ 1200149 h 1202531"/>
                  <a:gd name="connsiteX14" fmla="*/ 419100 w 783431"/>
                  <a:gd name="connsiteY14" fmla="*/ 1190624 h 1202531"/>
                  <a:gd name="connsiteX15" fmla="*/ 469106 w 783431"/>
                  <a:gd name="connsiteY15" fmla="*/ 1181100 h 1202531"/>
                  <a:gd name="connsiteX16" fmla="*/ 554831 w 783431"/>
                  <a:gd name="connsiteY16" fmla="*/ 1202531 h 1202531"/>
                  <a:gd name="connsiteX17" fmla="*/ 592931 w 783431"/>
                  <a:gd name="connsiteY17" fmla="*/ 1126331 h 1202531"/>
                  <a:gd name="connsiteX18" fmla="*/ 604837 w 783431"/>
                  <a:gd name="connsiteY18" fmla="*/ 1085850 h 1202531"/>
                  <a:gd name="connsiteX19" fmla="*/ 585787 w 783431"/>
                  <a:gd name="connsiteY19" fmla="*/ 1035844 h 1202531"/>
                  <a:gd name="connsiteX20" fmla="*/ 607219 w 783431"/>
                  <a:gd name="connsiteY20" fmla="*/ 1021557 h 1202531"/>
                  <a:gd name="connsiteX21" fmla="*/ 645319 w 783431"/>
                  <a:gd name="connsiteY21" fmla="*/ 1016794 h 1202531"/>
                  <a:gd name="connsiteX22" fmla="*/ 685800 w 783431"/>
                  <a:gd name="connsiteY22" fmla="*/ 997744 h 1202531"/>
                  <a:gd name="connsiteX23" fmla="*/ 716756 w 783431"/>
                  <a:gd name="connsiteY23" fmla="*/ 1002507 h 1202531"/>
                  <a:gd name="connsiteX24" fmla="*/ 738187 w 783431"/>
                  <a:gd name="connsiteY24" fmla="*/ 969169 h 1202531"/>
                  <a:gd name="connsiteX25" fmla="*/ 783431 w 783431"/>
                  <a:gd name="connsiteY25" fmla="*/ 933450 h 1202531"/>
                  <a:gd name="connsiteX26" fmla="*/ 776287 w 783431"/>
                  <a:gd name="connsiteY26" fmla="*/ 907257 h 1202531"/>
                  <a:gd name="connsiteX27" fmla="*/ 752475 w 783431"/>
                  <a:gd name="connsiteY27" fmla="*/ 888207 h 1202531"/>
                  <a:gd name="connsiteX28" fmla="*/ 752475 w 783431"/>
                  <a:gd name="connsiteY28" fmla="*/ 864394 h 1202531"/>
                  <a:gd name="connsiteX29" fmla="*/ 728662 w 783431"/>
                  <a:gd name="connsiteY29" fmla="*/ 852488 h 1202531"/>
                  <a:gd name="connsiteX30" fmla="*/ 711994 w 783431"/>
                  <a:gd name="connsiteY30" fmla="*/ 802482 h 1202531"/>
                  <a:gd name="connsiteX31" fmla="*/ 688181 w 783431"/>
                  <a:gd name="connsiteY31" fmla="*/ 814388 h 1202531"/>
                  <a:gd name="connsiteX32" fmla="*/ 659606 w 783431"/>
                  <a:gd name="connsiteY32" fmla="*/ 814388 h 1202531"/>
                  <a:gd name="connsiteX33" fmla="*/ 647700 w 783431"/>
                  <a:gd name="connsiteY33" fmla="*/ 847725 h 1202531"/>
                  <a:gd name="connsiteX34" fmla="*/ 623887 w 783431"/>
                  <a:gd name="connsiteY34" fmla="*/ 847725 h 1202531"/>
                  <a:gd name="connsiteX35" fmla="*/ 576262 w 783431"/>
                  <a:gd name="connsiteY35" fmla="*/ 828675 h 1202531"/>
                  <a:gd name="connsiteX36" fmla="*/ 554831 w 783431"/>
                  <a:gd name="connsiteY36" fmla="*/ 816769 h 1202531"/>
                  <a:gd name="connsiteX37" fmla="*/ 547687 w 783431"/>
                  <a:gd name="connsiteY37" fmla="*/ 783432 h 1202531"/>
                  <a:gd name="connsiteX38" fmla="*/ 561975 w 783431"/>
                  <a:gd name="connsiteY38" fmla="*/ 754857 h 1202531"/>
                  <a:gd name="connsiteX39" fmla="*/ 533400 w 783431"/>
                  <a:gd name="connsiteY39" fmla="*/ 733425 h 1202531"/>
                  <a:gd name="connsiteX40" fmla="*/ 509587 w 783431"/>
                  <a:gd name="connsiteY40" fmla="*/ 711994 h 1202531"/>
                  <a:gd name="connsiteX41" fmla="*/ 473869 w 783431"/>
                  <a:gd name="connsiteY41" fmla="*/ 711994 h 1202531"/>
                  <a:gd name="connsiteX42" fmla="*/ 435769 w 783431"/>
                  <a:gd name="connsiteY42" fmla="*/ 711994 h 1202531"/>
                  <a:gd name="connsiteX43" fmla="*/ 438150 w 783431"/>
                  <a:gd name="connsiteY43" fmla="*/ 669132 h 1202531"/>
                  <a:gd name="connsiteX44" fmla="*/ 428625 w 783431"/>
                  <a:gd name="connsiteY44" fmla="*/ 642938 h 1202531"/>
                  <a:gd name="connsiteX45" fmla="*/ 423862 w 783431"/>
                  <a:gd name="connsiteY45" fmla="*/ 607219 h 1202531"/>
                  <a:gd name="connsiteX46" fmla="*/ 426244 w 783431"/>
                  <a:gd name="connsiteY46" fmla="*/ 578644 h 1202531"/>
                  <a:gd name="connsiteX47" fmla="*/ 440531 w 783431"/>
                  <a:gd name="connsiteY47" fmla="*/ 566738 h 1202531"/>
                  <a:gd name="connsiteX48" fmla="*/ 450056 w 783431"/>
                  <a:gd name="connsiteY48" fmla="*/ 535782 h 1202531"/>
                  <a:gd name="connsiteX49" fmla="*/ 457200 w 783431"/>
                  <a:gd name="connsiteY49" fmla="*/ 519113 h 1202531"/>
                  <a:gd name="connsiteX50" fmla="*/ 481012 w 783431"/>
                  <a:gd name="connsiteY50" fmla="*/ 526257 h 1202531"/>
                  <a:gd name="connsiteX51" fmla="*/ 495300 w 783431"/>
                  <a:gd name="connsiteY51" fmla="*/ 576263 h 1202531"/>
                  <a:gd name="connsiteX52" fmla="*/ 507206 w 783431"/>
                  <a:gd name="connsiteY52" fmla="*/ 581025 h 1202531"/>
                  <a:gd name="connsiteX53" fmla="*/ 526256 w 783431"/>
                  <a:gd name="connsiteY53" fmla="*/ 583407 h 1202531"/>
                  <a:gd name="connsiteX54" fmla="*/ 554831 w 783431"/>
                  <a:gd name="connsiteY54" fmla="*/ 583407 h 1202531"/>
                  <a:gd name="connsiteX55" fmla="*/ 557212 w 783431"/>
                  <a:gd name="connsiteY55" fmla="*/ 547688 h 1202531"/>
                  <a:gd name="connsiteX56" fmla="*/ 545306 w 783431"/>
                  <a:gd name="connsiteY56" fmla="*/ 502444 h 1202531"/>
                  <a:gd name="connsiteX57" fmla="*/ 545306 w 783431"/>
                  <a:gd name="connsiteY57" fmla="*/ 476250 h 1202531"/>
                  <a:gd name="connsiteX58" fmla="*/ 581025 w 783431"/>
                  <a:gd name="connsiteY58" fmla="*/ 454819 h 1202531"/>
                  <a:gd name="connsiteX59" fmla="*/ 604837 w 783431"/>
                  <a:gd name="connsiteY59" fmla="*/ 435769 h 1202531"/>
                  <a:gd name="connsiteX60" fmla="*/ 640556 w 783431"/>
                  <a:gd name="connsiteY60" fmla="*/ 414338 h 1202531"/>
                  <a:gd name="connsiteX61" fmla="*/ 645319 w 783431"/>
                  <a:gd name="connsiteY61" fmla="*/ 395288 h 1202531"/>
                  <a:gd name="connsiteX62" fmla="*/ 633412 w 783431"/>
                  <a:gd name="connsiteY62" fmla="*/ 371475 h 1202531"/>
                  <a:gd name="connsiteX63" fmla="*/ 614362 w 783431"/>
                  <a:gd name="connsiteY63" fmla="*/ 369094 h 1202531"/>
                  <a:gd name="connsiteX64" fmla="*/ 609600 w 783431"/>
                  <a:gd name="connsiteY64" fmla="*/ 366713 h 1202531"/>
                  <a:gd name="connsiteX65" fmla="*/ 597694 w 783431"/>
                  <a:gd name="connsiteY65" fmla="*/ 357188 h 1202531"/>
                  <a:gd name="connsiteX66" fmla="*/ 611981 w 783431"/>
                  <a:gd name="connsiteY66" fmla="*/ 345282 h 1202531"/>
                  <a:gd name="connsiteX67" fmla="*/ 652462 w 783431"/>
                  <a:gd name="connsiteY67" fmla="*/ 316707 h 1202531"/>
                  <a:gd name="connsiteX68" fmla="*/ 678656 w 783431"/>
                  <a:gd name="connsiteY68" fmla="*/ 264319 h 1202531"/>
                  <a:gd name="connsiteX69" fmla="*/ 666750 w 783431"/>
                  <a:gd name="connsiteY69" fmla="*/ 242888 h 1202531"/>
                  <a:gd name="connsiteX70" fmla="*/ 638175 w 783431"/>
                  <a:gd name="connsiteY70" fmla="*/ 219075 h 1202531"/>
                  <a:gd name="connsiteX71" fmla="*/ 642937 w 783431"/>
                  <a:gd name="connsiteY71" fmla="*/ 180975 h 1202531"/>
                  <a:gd name="connsiteX72" fmla="*/ 673894 w 783431"/>
                  <a:gd name="connsiteY72" fmla="*/ 171450 h 1202531"/>
                  <a:gd name="connsiteX73" fmla="*/ 700087 w 783431"/>
                  <a:gd name="connsiteY73" fmla="*/ 142875 h 1202531"/>
                  <a:gd name="connsiteX74" fmla="*/ 700087 w 783431"/>
                  <a:gd name="connsiteY74" fmla="*/ 111919 h 1202531"/>
                  <a:gd name="connsiteX75" fmla="*/ 666750 w 783431"/>
                  <a:gd name="connsiteY75" fmla="*/ 107157 h 1202531"/>
                  <a:gd name="connsiteX76" fmla="*/ 645319 w 783431"/>
                  <a:gd name="connsiteY76" fmla="*/ 102394 h 1202531"/>
                  <a:gd name="connsiteX77" fmla="*/ 645319 w 783431"/>
                  <a:gd name="connsiteY77" fmla="*/ 102394 h 1202531"/>
                  <a:gd name="connsiteX78" fmla="*/ 678656 w 783431"/>
                  <a:gd name="connsiteY78" fmla="*/ 69057 h 1202531"/>
                  <a:gd name="connsiteX79" fmla="*/ 685800 w 783431"/>
                  <a:gd name="connsiteY79" fmla="*/ 40482 h 1202531"/>
                  <a:gd name="connsiteX80" fmla="*/ 678656 w 783431"/>
                  <a:gd name="connsiteY80" fmla="*/ 21432 h 1202531"/>
                  <a:gd name="connsiteX81" fmla="*/ 695325 w 783431"/>
                  <a:gd name="connsiteY81" fmla="*/ 2382 h 1202531"/>
                  <a:gd name="connsiteX82" fmla="*/ 628650 w 783431"/>
                  <a:gd name="connsiteY82" fmla="*/ 0 h 1202531"/>
                  <a:gd name="connsiteX83" fmla="*/ 552450 w 783431"/>
                  <a:gd name="connsiteY83" fmla="*/ 52388 h 1202531"/>
                  <a:gd name="connsiteX84" fmla="*/ 538162 w 783431"/>
                  <a:gd name="connsiteY84" fmla="*/ 90488 h 1202531"/>
                  <a:gd name="connsiteX85" fmla="*/ 445294 w 783431"/>
                  <a:gd name="connsiteY85" fmla="*/ 126207 h 1202531"/>
                  <a:gd name="connsiteX86" fmla="*/ 397669 w 783431"/>
                  <a:gd name="connsiteY86" fmla="*/ 159544 h 1202531"/>
                  <a:gd name="connsiteX87" fmla="*/ 376237 w 783431"/>
                  <a:gd name="connsiteY87" fmla="*/ 190500 h 1202531"/>
                  <a:gd name="connsiteX88" fmla="*/ 350044 w 783431"/>
                  <a:gd name="connsiteY88" fmla="*/ 140494 h 1202531"/>
                  <a:gd name="connsiteX89" fmla="*/ 316706 w 783431"/>
                  <a:gd name="connsiteY89" fmla="*/ 140494 h 1202531"/>
                  <a:gd name="connsiteX90" fmla="*/ 304800 w 783431"/>
                  <a:gd name="connsiteY90" fmla="*/ 166688 h 1202531"/>
                  <a:gd name="connsiteX91" fmla="*/ 280987 w 783431"/>
                  <a:gd name="connsiteY91" fmla="*/ 230982 h 1202531"/>
                  <a:gd name="connsiteX92" fmla="*/ 154781 w 783431"/>
                  <a:gd name="connsiteY92" fmla="*/ 223838 h 1202531"/>
                  <a:gd name="connsiteX93" fmla="*/ 140494 w 783431"/>
                  <a:gd name="connsiteY93" fmla="*/ 245269 h 1202531"/>
                  <a:gd name="connsiteX94" fmla="*/ 138112 w 783431"/>
                  <a:gd name="connsiteY94" fmla="*/ 280988 h 1202531"/>
                  <a:gd name="connsiteX95" fmla="*/ 66675 w 783431"/>
                  <a:gd name="connsiteY95" fmla="*/ 309563 h 1202531"/>
                  <a:gd name="connsiteX96" fmla="*/ 54769 w 783431"/>
                  <a:gd name="connsiteY96" fmla="*/ 323850 h 1202531"/>
                  <a:gd name="connsiteX97" fmla="*/ 66675 w 783431"/>
                  <a:gd name="connsiteY97" fmla="*/ 381000 h 1202531"/>
                  <a:gd name="connsiteX98" fmla="*/ 19050 w 783431"/>
                  <a:gd name="connsiteY98" fmla="*/ 423863 h 1202531"/>
                  <a:gd name="connsiteX99" fmla="*/ 26194 w 783431"/>
                  <a:gd name="connsiteY99" fmla="*/ 490538 h 1202531"/>
                  <a:gd name="connsiteX100" fmla="*/ 33337 w 783431"/>
                  <a:gd name="connsiteY100" fmla="*/ 554832 h 1202531"/>
                  <a:gd name="connsiteX101" fmla="*/ 0 w 783431"/>
                  <a:gd name="connsiteY101" fmla="*/ 614363 h 1202531"/>
                  <a:gd name="connsiteX0" fmla="*/ 0 w 783431"/>
                  <a:gd name="connsiteY0" fmla="*/ 614363 h 1276349"/>
                  <a:gd name="connsiteX1" fmla="*/ 21431 w 783431"/>
                  <a:gd name="connsiteY1" fmla="*/ 661988 h 1276349"/>
                  <a:gd name="connsiteX2" fmla="*/ 28575 w 783431"/>
                  <a:gd name="connsiteY2" fmla="*/ 742950 h 1276349"/>
                  <a:gd name="connsiteX3" fmla="*/ 76200 w 783431"/>
                  <a:gd name="connsiteY3" fmla="*/ 814388 h 1276349"/>
                  <a:gd name="connsiteX4" fmla="*/ 102394 w 783431"/>
                  <a:gd name="connsiteY4" fmla="*/ 919163 h 1276349"/>
                  <a:gd name="connsiteX5" fmla="*/ 116681 w 783431"/>
                  <a:gd name="connsiteY5" fmla="*/ 947738 h 1276349"/>
                  <a:gd name="connsiteX6" fmla="*/ 130969 w 783431"/>
                  <a:gd name="connsiteY6" fmla="*/ 995363 h 1276349"/>
                  <a:gd name="connsiteX7" fmla="*/ 150019 w 783431"/>
                  <a:gd name="connsiteY7" fmla="*/ 1023938 h 1276349"/>
                  <a:gd name="connsiteX8" fmla="*/ 159544 w 783431"/>
                  <a:gd name="connsiteY8" fmla="*/ 1042988 h 1276349"/>
                  <a:gd name="connsiteX9" fmla="*/ 197644 w 783431"/>
                  <a:gd name="connsiteY9" fmla="*/ 1069182 h 1276349"/>
                  <a:gd name="connsiteX10" fmla="*/ 245269 w 783431"/>
                  <a:gd name="connsiteY10" fmla="*/ 1090613 h 1276349"/>
                  <a:gd name="connsiteX11" fmla="*/ 264318 w 783431"/>
                  <a:gd name="connsiteY11" fmla="*/ 1131094 h 1276349"/>
                  <a:gd name="connsiteX12" fmla="*/ 295275 w 783431"/>
                  <a:gd name="connsiteY12" fmla="*/ 1164431 h 1276349"/>
                  <a:gd name="connsiteX13" fmla="*/ 385762 w 783431"/>
                  <a:gd name="connsiteY13" fmla="*/ 1200149 h 1276349"/>
                  <a:gd name="connsiteX14" fmla="*/ 404812 w 783431"/>
                  <a:gd name="connsiteY14" fmla="*/ 1276349 h 1276349"/>
                  <a:gd name="connsiteX15" fmla="*/ 469106 w 783431"/>
                  <a:gd name="connsiteY15" fmla="*/ 1181100 h 1276349"/>
                  <a:gd name="connsiteX16" fmla="*/ 554831 w 783431"/>
                  <a:gd name="connsiteY16" fmla="*/ 1202531 h 1276349"/>
                  <a:gd name="connsiteX17" fmla="*/ 592931 w 783431"/>
                  <a:gd name="connsiteY17" fmla="*/ 1126331 h 1276349"/>
                  <a:gd name="connsiteX18" fmla="*/ 604837 w 783431"/>
                  <a:gd name="connsiteY18" fmla="*/ 1085850 h 1276349"/>
                  <a:gd name="connsiteX19" fmla="*/ 585787 w 783431"/>
                  <a:gd name="connsiteY19" fmla="*/ 1035844 h 1276349"/>
                  <a:gd name="connsiteX20" fmla="*/ 607219 w 783431"/>
                  <a:gd name="connsiteY20" fmla="*/ 1021557 h 1276349"/>
                  <a:gd name="connsiteX21" fmla="*/ 645319 w 783431"/>
                  <a:gd name="connsiteY21" fmla="*/ 1016794 h 1276349"/>
                  <a:gd name="connsiteX22" fmla="*/ 685800 w 783431"/>
                  <a:gd name="connsiteY22" fmla="*/ 997744 h 1276349"/>
                  <a:gd name="connsiteX23" fmla="*/ 716756 w 783431"/>
                  <a:gd name="connsiteY23" fmla="*/ 1002507 h 1276349"/>
                  <a:gd name="connsiteX24" fmla="*/ 738187 w 783431"/>
                  <a:gd name="connsiteY24" fmla="*/ 969169 h 1276349"/>
                  <a:gd name="connsiteX25" fmla="*/ 783431 w 783431"/>
                  <a:gd name="connsiteY25" fmla="*/ 933450 h 1276349"/>
                  <a:gd name="connsiteX26" fmla="*/ 776287 w 783431"/>
                  <a:gd name="connsiteY26" fmla="*/ 907257 h 1276349"/>
                  <a:gd name="connsiteX27" fmla="*/ 752475 w 783431"/>
                  <a:gd name="connsiteY27" fmla="*/ 888207 h 1276349"/>
                  <a:gd name="connsiteX28" fmla="*/ 752475 w 783431"/>
                  <a:gd name="connsiteY28" fmla="*/ 864394 h 1276349"/>
                  <a:gd name="connsiteX29" fmla="*/ 728662 w 783431"/>
                  <a:gd name="connsiteY29" fmla="*/ 852488 h 1276349"/>
                  <a:gd name="connsiteX30" fmla="*/ 711994 w 783431"/>
                  <a:gd name="connsiteY30" fmla="*/ 802482 h 1276349"/>
                  <a:gd name="connsiteX31" fmla="*/ 688181 w 783431"/>
                  <a:gd name="connsiteY31" fmla="*/ 814388 h 1276349"/>
                  <a:gd name="connsiteX32" fmla="*/ 659606 w 783431"/>
                  <a:gd name="connsiteY32" fmla="*/ 814388 h 1276349"/>
                  <a:gd name="connsiteX33" fmla="*/ 647700 w 783431"/>
                  <a:gd name="connsiteY33" fmla="*/ 847725 h 1276349"/>
                  <a:gd name="connsiteX34" fmla="*/ 623887 w 783431"/>
                  <a:gd name="connsiteY34" fmla="*/ 847725 h 1276349"/>
                  <a:gd name="connsiteX35" fmla="*/ 576262 w 783431"/>
                  <a:gd name="connsiteY35" fmla="*/ 828675 h 1276349"/>
                  <a:gd name="connsiteX36" fmla="*/ 554831 w 783431"/>
                  <a:gd name="connsiteY36" fmla="*/ 816769 h 1276349"/>
                  <a:gd name="connsiteX37" fmla="*/ 547687 w 783431"/>
                  <a:gd name="connsiteY37" fmla="*/ 783432 h 1276349"/>
                  <a:gd name="connsiteX38" fmla="*/ 561975 w 783431"/>
                  <a:gd name="connsiteY38" fmla="*/ 754857 h 1276349"/>
                  <a:gd name="connsiteX39" fmla="*/ 533400 w 783431"/>
                  <a:gd name="connsiteY39" fmla="*/ 733425 h 1276349"/>
                  <a:gd name="connsiteX40" fmla="*/ 509587 w 783431"/>
                  <a:gd name="connsiteY40" fmla="*/ 711994 h 1276349"/>
                  <a:gd name="connsiteX41" fmla="*/ 473869 w 783431"/>
                  <a:gd name="connsiteY41" fmla="*/ 711994 h 1276349"/>
                  <a:gd name="connsiteX42" fmla="*/ 435769 w 783431"/>
                  <a:gd name="connsiteY42" fmla="*/ 711994 h 1276349"/>
                  <a:gd name="connsiteX43" fmla="*/ 438150 w 783431"/>
                  <a:gd name="connsiteY43" fmla="*/ 669132 h 1276349"/>
                  <a:gd name="connsiteX44" fmla="*/ 428625 w 783431"/>
                  <a:gd name="connsiteY44" fmla="*/ 642938 h 1276349"/>
                  <a:gd name="connsiteX45" fmla="*/ 423862 w 783431"/>
                  <a:gd name="connsiteY45" fmla="*/ 607219 h 1276349"/>
                  <a:gd name="connsiteX46" fmla="*/ 426244 w 783431"/>
                  <a:gd name="connsiteY46" fmla="*/ 578644 h 1276349"/>
                  <a:gd name="connsiteX47" fmla="*/ 440531 w 783431"/>
                  <a:gd name="connsiteY47" fmla="*/ 566738 h 1276349"/>
                  <a:gd name="connsiteX48" fmla="*/ 450056 w 783431"/>
                  <a:gd name="connsiteY48" fmla="*/ 535782 h 1276349"/>
                  <a:gd name="connsiteX49" fmla="*/ 457200 w 783431"/>
                  <a:gd name="connsiteY49" fmla="*/ 519113 h 1276349"/>
                  <a:gd name="connsiteX50" fmla="*/ 481012 w 783431"/>
                  <a:gd name="connsiteY50" fmla="*/ 526257 h 1276349"/>
                  <a:gd name="connsiteX51" fmla="*/ 495300 w 783431"/>
                  <a:gd name="connsiteY51" fmla="*/ 576263 h 1276349"/>
                  <a:gd name="connsiteX52" fmla="*/ 507206 w 783431"/>
                  <a:gd name="connsiteY52" fmla="*/ 581025 h 1276349"/>
                  <a:gd name="connsiteX53" fmla="*/ 526256 w 783431"/>
                  <a:gd name="connsiteY53" fmla="*/ 583407 h 1276349"/>
                  <a:gd name="connsiteX54" fmla="*/ 554831 w 783431"/>
                  <a:gd name="connsiteY54" fmla="*/ 583407 h 1276349"/>
                  <a:gd name="connsiteX55" fmla="*/ 557212 w 783431"/>
                  <a:gd name="connsiteY55" fmla="*/ 547688 h 1276349"/>
                  <a:gd name="connsiteX56" fmla="*/ 545306 w 783431"/>
                  <a:gd name="connsiteY56" fmla="*/ 502444 h 1276349"/>
                  <a:gd name="connsiteX57" fmla="*/ 545306 w 783431"/>
                  <a:gd name="connsiteY57" fmla="*/ 476250 h 1276349"/>
                  <a:gd name="connsiteX58" fmla="*/ 581025 w 783431"/>
                  <a:gd name="connsiteY58" fmla="*/ 454819 h 1276349"/>
                  <a:gd name="connsiteX59" fmla="*/ 604837 w 783431"/>
                  <a:gd name="connsiteY59" fmla="*/ 435769 h 1276349"/>
                  <a:gd name="connsiteX60" fmla="*/ 640556 w 783431"/>
                  <a:gd name="connsiteY60" fmla="*/ 414338 h 1276349"/>
                  <a:gd name="connsiteX61" fmla="*/ 645319 w 783431"/>
                  <a:gd name="connsiteY61" fmla="*/ 395288 h 1276349"/>
                  <a:gd name="connsiteX62" fmla="*/ 633412 w 783431"/>
                  <a:gd name="connsiteY62" fmla="*/ 371475 h 1276349"/>
                  <a:gd name="connsiteX63" fmla="*/ 614362 w 783431"/>
                  <a:gd name="connsiteY63" fmla="*/ 369094 h 1276349"/>
                  <a:gd name="connsiteX64" fmla="*/ 609600 w 783431"/>
                  <a:gd name="connsiteY64" fmla="*/ 366713 h 1276349"/>
                  <a:gd name="connsiteX65" fmla="*/ 597694 w 783431"/>
                  <a:gd name="connsiteY65" fmla="*/ 357188 h 1276349"/>
                  <a:gd name="connsiteX66" fmla="*/ 611981 w 783431"/>
                  <a:gd name="connsiteY66" fmla="*/ 345282 h 1276349"/>
                  <a:gd name="connsiteX67" fmla="*/ 652462 w 783431"/>
                  <a:gd name="connsiteY67" fmla="*/ 316707 h 1276349"/>
                  <a:gd name="connsiteX68" fmla="*/ 678656 w 783431"/>
                  <a:gd name="connsiteY68" fmla="*/ 264319 h 1276349"/>
                  <a:gd name="connsiteX69" fmla="*/ 666750 w 783431"/>
                  <a:gd name="connsiteY69" fmla="*/ 242888 h 1276349"/>
                  <a:gd name="connsiteX70" fmla="*/ 638175 w 783431"/>
                  <a:gd name="connsiteY70" fmla="*/ 219075 h 1276349"/>
                  <a:gd name="connsiteX71" fmla="*/ 642937 w 783431"/>
                  <a:gd name="connsiteY71" fmla="*/ 180975 h 1276349"/>
                  <a:gd name="connsiteX72" fmla="*/ 673894 w 783431"/>
                  <a:gd name="connsiteY72" fmla="*/ 171450 h 1276349"/>
                  <a:gd name="connsiteX73" fmla="*/ 700087 w 783431"/>
                  <a:gd name="connsiteY73" fmla="*/ 142875 h 1276349"/>
                  <a:gd name="connsiteX74" fmla="*/ 700087 w 783431"/>
                  <a:gd name="connsiteY74" fmla="*/ 111919 h 1276349"/>
                  <a:gd name="connsiteX75" fmla="*/ 666750 w 783431"/>
                  <a:gd name="connsiteY75" fmla="*/ 107157 h 1276349"/>
                  <a:gd name="connsiteX76" fmla="*/ 645319 w 783431"/>
                  <a:gd name="connsiteY76" fmla="*/ 102394 h 1276349"/>
                  <a:gd name="connsiteX77" fmla="*/ 645319 w 783431"/>
                  <a:gd name="connsiteY77" fmla="*/ 102394 h 1276349"/>
                  <a:gd name="connsiteX78" fmla="*/ 678656 w 783431"/>
                  <a:gd name="connsiteY78" fmla="*/ 69057 h 1276349"/>
                  <a:gd name="connsiteX79" fmla="*/ 685800 w 783431"/>
                  <a:gd name="connsiteY79" fmla="*/ 40482 h 1276349"/>
                  <a:gd name="connsiteX80" fmla="*/ 678656 w 783431"/>
                  <a:gd name="connsiteY80" fmla="*/ 21432 h 1276349"/>
                  <a:gd name="connsiteX81" fmla="*/ 695325 w 783431"/>
                  <a:gd name="connsiteY81" fmla="*/ 2382 h 1276349"/>
                  <a:gd name="connsiteX82" fmla="*/ 628650 w 783431"/>
                  <a:gd name="connsiteY82" fmla="*/ 0 h 1276349"/>
                  <a:gd name="connsiteX83" fmla="*/ 552450 w 783431"/>
                  <a:gd name="connsiteY83" fmla="*/ 52388 h 1276349"/>
                  <a:gd name="connsiteX84" fmla="*/ 538162 w 783431"/>
                  <a:gd name="connsiteY84" fmla="*/ 90488 h 1276349"/>
                  <a:gd name="connsiteX85" fmla="*/ 445294 w 783431"/>
                  <a:gd name="connsiteY85" fmla="*/ 126207 h 1276349"/>
                  <a:gd name="connsiteX86" fmla="*/ 397669 w 783431"/>
                  <a:gd name="connsiteY86" fmla="*/ 159544 h 1276349"/>
                  <a:gd name="connsiteX87" fmla="*/ 376237 w 783431"/>
                  <a:gd name="connsiteY87" fmla="*/ 190500 h 1276349"/>
                  <a:gd name="connsiteX88" fmla="*/ 350044 w 783431"/>
                  <a:gd name="connsiteY88" fmla="*/ 140494 h 1276349"/>
                  <a:gd name="connsiteX89" fmla="*/ 316706 w 783431"/>
                  <a:gd name="connsiteY89" fmla="*/ 140494 h 1276349"/>
                  <a:gd name="connsiteX90" fmla="*/ 304800 w 783431"/>
                  <a:gd name="connsiteY90" fmla="*/ 166688 h 1276349"/>
                  <a:gd name="connsiteX91" fmla="*/ 280987 w 783431"/>
                  <a:gd name="connsiteY91" fmla="*/ 230982 h 1276349"/>
                  <a:gd name="connsiteX92" fmla="*/ 154781 w 783431"/>
                  <a:gd name="connsiteY92" fmla="*/ 223838 h 1276349"/>
                  <a:gd name="connsiteX93" fmla="*/ 140494 w 783431"/>
                  <a:gd name="connsiteY93" fmla="*/ 245269 h 1276349"/>
                  <a:gd name="connsiteX94" fmla="*/ 138112 w 783431"/>
                  <a:gd name="connsiteY94" fmla="*/ 280988 h 1276349"/>
                  <a:gd name="connsiteX95" fmla="*/ 66675 w 783431"/>
                  <a:gd name="connsiteY95" fmla="*/ 309563 h 1276349"/>
                  <a:gd name="connsiteX96" fmla="*/ 54769 w 783431"/>
                  <a:gd name="connsiteY96" fmla="*/ 323850 h 1276349"/>
                  <a:gd name="connsiteX97" fmla="*/ 66675 w 783431"/>
                  <a:gd name="connsiteY97" fmla="*/ 381000 h 1276349"/>
                  <a:gd name="connsiteX98" fmla="*/ 19050 w 783431"/>
                  <a:gd name="connsiteY98" fmla="*/ 423863 h 1276349"/>
                  <a:gd name="connsiteX99" fmla="*/ 26194 w 783431"/>
                  <a:gd name="connsiteY99" fmla="*/ 490538 h 1276349"/>
                  <a:gd name="connsiteX100" fmla="*/ 33337 w 783431"/>
                  <a:gd name="connsiteY100" fmla="*/ 554832 h 1276349"/>
                  <a:gd name="connsiteX101" fmla="*/ 0 w 783431"/>
                  <a:gd name="connsiteY101" fmla="*/ 614363 h 1276349"/>
                  <a:gd name="connsiteX0" fmla="*/ 0 w 783431"/>
                  <a:gd name="connsiteY0" fmla="*/ 614363 h 1276349"/>
                  <a:gd name="connsiteX1" fmla="*/ 21431 w 783431"/>
                  <a:gd name="connsiteY1" fmla="*/ 661988 h 1276349"/>
                  <a:gd name="connsiteX2" fmla="*/ 28575 w 783431"/>
                  <a:gd name="connsiteY2" fmla="*/ 742950 h 1276349"/>
                  <a:gd name="connsiteX3" fmla="*/ 76200 w 783431"/>
                  <a:gd name="connsiteY3" fmla="*/ 814388 h 1276349"/>
                  <a:gd name="connsiteX4" fmla="*/ 102394 w 783431"/>
                  <a:gd name="connsiteY4" fmla="*/ 919163 h 1276349"/>
                  <a:gd name="connsiteX5" fmla="*/ 116681 w 783431"/>
                  <a:gd name="connsiteY5" fmla="*/ 947738 h 1276349"/>
                  <a:gd name="connsiteX6" fmla="*/ 130969 w 783431"/>
                  <a:gd name="connsiteY6" fmla="*/ 995363 h 1276349"/>
                  <a:gd name="connsiteX7" fmla="*/ 150019 w 783431"/>
                  <a:gd name="connsiteY7" fmla="*/ 1023938 h 1276349"/>
                  <a:gd name="connsiteX8" fmla="*/ 159544 w 783431"/>
                  <a:gd name="connsiteY8" fmla="*/ 1042988 h 1276349"/>
                  <a:gd name="connsiteX9" fmla="*/ 197644 w 783431"/>
                  <a:gd name="connsiteY9" fmla="*/ 1069182 h 1276349"/>
                  <a:gd name="connsiteX10" fmla="*/ 245269 w 783431"/>
                  <a:gd name="connsiteY10" fmla="*/ 1090613 h 1276349"/>
                  <a:gd name="connsiteX11" fmla="*/ 264318 w 783431"/>
                  <a:gd name="connsiteY11" fmla="*/ 1131094 h 1276349"/>
                  <a:gd name="connsiteX12" fmla="*/ 295275 w 783431"/>
                  <a:gd name="connsiteY12" fmla="*/ 1164431 h 1276349"/>
                  <a:gd name="connsiteX13" fmla="*/ 385762 w 783431"/>
                  <a:gd name="connsiteY13" fmla="*/ 1200149 h 1276349"/>
                  <a:gd name="connsiteX14" fmla="*/ 404812 w 783431"/>
                  <a:gd name="connsiteY14" fmla="*/ 1276349 h 1276349"/>
                  <a:gd name="connsiteX15" fmla="*/ 438150 w 783431"/>
                  <a:gd name="connsiteY15" fmla="*/ 1228724 h 1276349"/>
                  <a:gd name="connsiteX16" fmla="*/ 469106 w 783431"/>
                  <a:gd name="connsiteY16" fmla="*/ 1181100 h 1276349"/>
                  <a:gd name="connsiteX17" fmla="*/ 554831 w 783431"/>
                  <a:gd name="connsiteY17" fmla="*/ 1202531 h 1276349"/>
                  <a:gd name="connsiteX18" fmla="*/ 592931 w 783431"/>
                  <a:gd name="connsiteY18" fmla="*/ 1126331 h 1276349"/>
                  <a:gd name="connsiteX19" fmla="*/ 604837 w 783431"/>
                  <a:gd name="connsiteY19" fmla="*/ 1085850 h 1276349"/>
                  <a:gd name="connsiteX20" fmla="*/ 585787 w 783431"/>
                  <a:gd name="connsiteY20" fmla="*/ 1035844 h 1276349"/>
                  <a:gd name="connsiteX21" fmla="*/ 607219 w 783431"/>
                  <a:gd name="connsiteY21" fmla="*/ 1021557 h 1276349"/>
                  <a:gd name="connsiteX22" fmla="*/ 645319 w 783431"/>
                  <a:gd name="connsiteY22" fmla="*/ 1016794 h 1276349"/>
                  <a:gd name="connsiteX23" fmla="*/ 685800 w 783431"/>
                  <a:gd name="connsiteY23" fmla="*/ 997744 h 1276349"/>
                  <a:gd name="connsiteX24" fmla="*/ 716756 w 783431"/>
                  <a:gd name="connsiteY24" fmla="*/ 1002507 h 1276349"/>
                  <a:gd name="connsiteX25" fmla="*/ 738187 w 783431"/>
                  <a:gd name="connsiteY25" fmla="*/ 969169 h 1276349"/>
                  <a:gd name="connsiteX26" fmla="*/ 783431 w 783431"/>
                  <a:gd name="connsiteY26" fmla="*/ 933450 h 1276349"/>
                  <a:gd name="connsiteX27" fmla="*/ 776287 w 783431"/>
                  <a:gd name="connsiteY27" fmla="*/ 907257 h 1276349"/>
                  <a:gd name="connsiteX28" fmla="*/ 752475 w 783431"/>
                  <a:gd name="connsiteY28" fmla="*/ 888207 h 1276349"/>
                  <a:gd name="connsiteX29" fmla="*/ 752475 w 783431"/>
                  <a:gd name="connsiteY29" fmla="*/ 864394 h 1276349"/>
                  <a:gd name="connsiteX30" fmla="*/ 728662 w 783431"/>
                  <a:gd name="connsiteY30" fmla="*/ 852488 h 1276349"/>
                  <a:gd name="connsiteX31" fmla="*/ 711994 w 783431"/>
                  <a:gd name="connsiteY31" fmla="*/ 802482 h 1276349"/>
                  <a:gd name="connsiteX32" fmla="*/ 688181 w 783431"/>
                  <a:gd name="connsiteY32" fmla="*/ 814388 h 1276349"/>
                  <a:gd name="connsiteX33" fmla="*/ 659606 w 783431"/>
                  <a:gd name="connsiteY33" fmla="*/ 814388 h 1276349"/>
                  <a:gd name="connsiteX34" fmla="*/ 647700 w 783431"/>
                  <a:gd name="connsiteY34" fmla="*/ 847725 h 1276349"/>
                  <a:gd name="connsiteX35" fmla="*/ 623887 w 783431"/>
                  <a:gd name="connsiteY35" fmla="*/ 847725 h 1276349"/>
                  <a:gd name="connsiteX36" fmla="*/ 576262 w 783431"/>
                  <a:gd name="connsiteY36" fmla="*/ 828675 h 1276349"/>
                  <a:gd name="connsiteX37" fmla="*/ 554831 w 783431"/>
                  <a:gd name="connsiteY37" fmla="*/ 816769 h 1276349"/>
                  <a:gd name="connsiteX38" fmla="*/ 547687 w 783431"/>
                  <a:gd name="connsiteY38" fmla="*/ 783432 h 1276349"/>
                  <a:gd name="connsiteX39" fmla="*/ 561975 w 783431"/>
                  <a:gd name="connsiteY39" fmla="*/ 754857 h 1276349"/>
                  <a:gd name="connsiteX40" fmla="*/ 533400 w 783431"/>
                  <a:gd name="connsiteY40" fmla="*/ 733425 h 1276349"/>
                  <a:gd name="connsiteX41" fmla="*/ 509587 w 783431"/>
                  <a:gd name="connsiteY41" fmla="*/ 711994 h 1276349"/>
                  <a:gd name="connsiteX42" fmla="*/ 473869 w 783431"/>
                  <a:gd name="connsiteY42" fmla="*/ 711994 h 1276349"/>
                  <a:gd name="connsiteX43" fmla="*/ 435769 w 783431"/>
                  <a:gd name="connsiteY43" fmla="*/ 711994 h 1276349"/>
                  <a:gd name="connsiteX44" fmla="*/ 438150 w 783431"/>
                  <a:gd name="connsiteY44" fmla="*/ 669132 h 1276349"/>
                  <a:gd name="connsiteX45" fmla="*/ 428625 w 783431"/>
                  <a:gd name="connsiteY45" fmla="*/ 642938 h 1276349"/>
                  <a:gd name="connsiteX46" fmla="*/ 423862 w 783431"/>
                  <a:gd name="connsiteY46" fmla="*/ 607219 h 1276349"/>
                  <a:gd name="connsiteX47" fmla="*/ 426244 w 783431"/>
                  <a:gd name="connsiteY47" fmla="*/ 578644 h 1276349"/>
                  <a:gd name="connsiteX48" fmla="*/ 440531 w 783431"/>
                  <a:gd name="connsiteY48" fmla="*/ 566738 h 1276349"/>
                  <a:gd name="connsiteX49" fmla="*/ 450056 w 783431"/>
                  <a:gd name="connsiteY49" fmla="*/ 535782 h 1276349"/>
                  <a:gd name="connsiteX50" fmla="*/ 457200 w 783431"/>
                  <a:gd name="connsiteY50" fmla="*/ 519113 h 1276349"/>
                  <a:gd name="connsiteX51" fmla="*/ 481012 w 783431"/>
                  <a:gd name="connsiteY51" fmla="*/ 526257 h 1276349"/>
                  <a:gd name="connsiteX52" fmla="*/ 495300 w 783431"/>
                  <a:gd name="connsiteY52" fmla="*/ 576263 h 1276349"/>
                  <a:gd name="connsiteX53" fmla="*/ 507206 w 783431"/>
                  <a:gd name="connsiteY53" fmla="*/ 581025 h 1276349"/>
                  <a:gd name="connsiteX54" fmla="*/ 526256 w 783431"/>
                  <a:gd name="connsiteY54" fmla="*/ 583407 h 1276349"/>
                  <a:gd name="connsiteX55" fmla="*/ 554831 w 783431"/>
                  <a:gd name="connsiteY55" fmla="*/ 583407 h 1276349"/>
                  <a:gd name="connsiteX56" fmla="*/ 557212 w 783431"/>
                  <a:gd name="connsiteY56" fmla="*/ 547688 h 1276349"/>
                  <a:gd name="connsiteX57" fmla="*/ 545306 w 783431"/>
                  <a:gd name="connsiteY57" fmla="*/ 502444 h 1276349"/>
                  <a:gd name="connsiteX58" fmla="*/ 545306 w 783431"/>
                  <a:gd name="connsiteY58" fmla="*/ 476250 h 1276349"/>
                  <a:gd name="connsiteX59" fmla="*/ 581025 w 783431"/>
                  <a:gd name="connsiteY59" fmla="*/ 454819 h 1276349"/>
                  <a:gd name="connsiteX60" fmla="*/ 604837 w 783431"/>
                  <a:gd name="connsiteY60" fmla="*/ 435769 h 1276349"/>
                  <a:gd name="connsiteX61" fmla="*/ 640556 w 783431"/>
                  <a:gd name="connsiteY61" fmla="*/ 414338 h 1276349"/>
                  <a:gd name="connsiteX62" fmla="*/ 645319 w 783431"/>
                  <a:gd name="connsiteY62" fmla="*/ 395288 h 1276349"/>
                  <a:gd name="connsiteX63" fmla="*/ 633412 w 783431"/>
                  <a:gd name="connsiteY63" fmla="*/ 371475 h 1276349"/>
                  <a:gd name="connsiteX64" fmla="*/ 614362 w 783431"/>
                  <a:gd name="connsiteY64" fmla="*/ 369094 h 1276349"/>
                  <a:gd name="connsiteX65" fmla="*/ 609600 w 783431"/>
                  <a:gd name="connsiteY65" fmla="*/ 366713 h 1276349"/>
                  <a:gd name="connsiteX66" fmla="*/ 597694 w 783431"/>
                  <a:gd name="connsiteY66" fmla="*/ 357188 h 1276349"/>
                  <a:gd name="connsiteX67" fmla="*/ 611981 w 783431"/>
                  <a:gd name="connsiteY67" fmla="*/ 345282 h 1276349"/>
                  <a:gd name="connsiteX68" fmla="*/ 652462 w 783431"/>
                  <a:gd name="connsiteY68" fmla="*/ 316707 h 1276349"/>
                  <a:gd name="connsiteX69" fmla="*/ 678656 w 783431"/>
                  <a:gd name="connsiteY69" fmla="*/ 264319 h 1276349"/>
                  <a:gd name="connsiteX70" fmla="*/ 666750 w 783431"/>
                  <a:gd name="connsiteY70" fmla="*/ 242888 h 1276349"/>
                  <a:gd name="connsiteX71" fmla="*/ 638175 w 783431"/>
                  <a:gd name="connsiteY71" fmla="*/ 219075 h 1276349"/>
                  <a:gd name="connsiteX72" fmla="*/ 642937 w 783431"/>
                  <a:gd name="connsiteY72" fmla="*/ 180975 h 1276349"/>
                  <a:gd name="connsiteX73" fmla="*/ 673894 w 783431"/>
                  <a:gd name="connsiteY73" fmla="*/ 171450 h 1276349"/>
                  <a:gd name="connsiteX74" fmla="*/ 700087 w 783431"/>
                  <a:gd name="connsiteY74" fmla="*/ 142875 h 1276349"/>
                  <a:gd name="connsiteX75" fmla="*/ 700087 w 783431"/>
                  <a:gd name="connsiteY75" fmla="*/ 111919 h 1276349"/>
                  <a:gd name="connsiteX76" fmla="*/ 666750 w 783431"/>
                  <a:gd name="connsiteY76" fmla="*/ 107157 h 1276349"/>
                  <a:gd name="connsiteX77" fmla="*/ 645319 w 783431"/>
                  <a:gd name="connsiteY77" fmla="*/ 102394 h 1276349"/>
                  <a:gd name="connsiteX78" fmla="*/ 645319 w 783431"/>
                  <a:gd name="connsiteY78" fmla="*/ 102394 h 1276349"/>
                  <a:gd name="connsiteX79" fmla="*/ 678656 w 783431"/>
                  <a:gd name="connsiteY79" fmla="*/ 69057 h 1276349"/>
                  <a:gd name="connsiteX80" fmla="*/ 685800 w 783431"/>
                  <a:gd name="connsiteY80" fmla="*/ 40482 h 1276349"/>
                  <a:gd name="connsiteX81" fmla="*/ 678656 w 783431"/>
                  <a:gd name="connsiteY81" fmla="*/ 21432 h 1276349"/>
                  <a:gd name="connsiteX82" fmla="*/ 695325 w 783431"/>
                  <a:gd name="connsiteY82" fmla="*/ 2382 h 1276349"/>
                  <a:gd name="connsiteX83" fmla="*/ 628650 w 783431"/>
                  <a:gd name="connsiteY83" fmla="*/ 0 h 1276349"/>
                  <a:gd name="connsiteX84" fmla="*/ 552450 w 783431"/>
                  <a:gd name="connsiteY84" fmla="*/ 52388 h 1276349"/>
                  <a:gd name="connsiteX85" fmla="*/ 538162 w 783431"/>
                  <a:gd name="connsiteY85" fmla="*/ 90488 h 1276349"/>
                  <a:gd name="connsiteX86" fmla="*/ 445294 w 783431"/>
                  <a:gd name="connsiteY86" fmla="*/ 126207 h 1276349"/>
                  <a:gd name="connsiteX87" fmla="*/ 397669 w 783431"/>
                  <a:gd name="connsiteY87" fmla="*/ 159544 h 1276349"/>
                  <a:gd name="connsiteX88" fmla="*/ 376237 w 783431"/>
                  <a:gd name="connsiteY88" fmla="*/ 190500 h 1276349"/>
                  <a:gd name="connsiteX89" fmla="*/ 350044 w 783431"/>
                  <a:gd name="connsiteY89" fmla="*/ 140494 h 1276349"/>
                  <a:gd name="connsiteX90" fmla="*/ 316706 w 783431"/>
                  <a:gd name="connsiteY90" fmla="*/ 140494 h 1276349"/>
                  <a:gd name="connsiteX91" fmla="*/ 304800 w 783431"/>
                  <a:gd name="connsiteY91" fmla="*/ 166688 h 1276349"/>
                  <a:gd name="connsiteX92" fmla="*/ 280987 w 783431"/>
                  <a:gd name="connsiteY92" fmla="*/ 230982 h 1276349"/>
                  <a:gd name="connsiteX93" fmla="*/ 154781 w 783431"/>
                  <a:gd name="connsiteY93" fmla="*/ 223838 h 1276349"/>
                  <a:gd name="connsiteX94" fmla="*/ 140494 w 783431"/>
                  <a:gd name="connsiteY94" fmla="*/ 245269 h 1276349"/>
                  <a:gd name="connsiteX95" fmla="*/ 138112 w 783431"/>
                  <a:gd name="connsiteY95" fmla="*/ 280988 h 1276349"/>
                  <a:gd name="connsiteX96" fmla="*/ 66675 w 783431"/>
                  <a:gd name="connsiteY96" fmla="*/ 309563 h 1276349"/>
                  <a:gd name="connsiteX97" fmla="*/ 54769 w 783431"/>
                  <a:gd name="connsiteY97" fmla="*/ 323850 h 1276349"/>
                  <a:gd name="connsiteX98" fmla="*/ 66675 w 783431"/>
                  <a:gd name="connsiteY98" fmla="*/ 381000 h 1276349"/>
                  <a:gd name="connsiteX99" fmla="*/ 19050 w 783431"/>
                  <a:gd name="connsiteY99" fmla="*/ 423863 h 1276349"/>
                  <a:gd name="connsiteX100" fmla="*/ 26194 w 783431"/>
                  <a:gd name="connsiteY100" fmla="*/ 490538 h 1276349"/>
                  <a:gd name="connsiteX101" fmla="*/ 33337 w 783431"/>
                  <a:gd name="connsiteY101" fmla="*/ 554832 h 1276349"/>
                  <a:gd name="connsiteX102" fmla="*/ 0 w 783431"/>
                  <a:gd name="connsiteY102" fmla="*/ 614363 h 1276349"/>
                  <a:gd name="connsiteX0" fmla="*/ 0 w 783431"/>
                  <a:gd name="connsiteY0" fmla="*/ 614363 h 1276349"/>
                  <a:gd name="connsiteX1" fmla="*/ 21431 w 783431"/>
                  <a:gd name="connsiteY1" fmla="*/ 661988 h 1276349"/>
                  <a:gd name="connsiteX2" fmla="*/ 28575 w 783431"/>
                  <a:gd name="connsiteY2" fmla="*/ 742950 h 1276349"/>
                  <a:gd name="connsiteX3" fmla="*/ 76200 w 783431"/>
                  <a:gd name="connsiteY3" fmla="*/ 814388 h 1276349"/>
                  <a:gd name="connsiteX4" fmla="*/ 102394 w 783431"/>
                  <a:gd name="connsiteY4" fmla="*/ 919163 h 1276349"/>
                  <a:gd name="connsiteX5" fmla="*/ 116681 w 783431"/>
                  <a:gd name="connsiteY5" fmla="*/ 947738 h 1276349"/>
                  <a:gd name="connsiteX6" fmla="*/ 130969 w 783431"/>
                  <a:gd name="connsiteY6" fmla="*/ 995363 h 1276349"/>
                  <a:gd name="connsiteX7" fmla="*/ 150019 w 783431"/>
                  <a:gd name="connsiteY7" fmla="*/ 1023938 h 1276349"/>
                  <a:gd name="connsiteX8" fmla="*/ 159544 w 783431"/>
                  <a:gd name="connsiteY8" fmla="*/ 1042988 h 1276349"/>
                  <a:gd name="connsiteX9" fmla="*/ 197644 w 783431"/>
                  <a:gd name="connsiteY9" fmla="*/ 1069182 h 1276349"/>
                  <a:gd name="connsiteX10" fmla="*/ 245269 w 783431"/>
                  <a:gd name="connsiteY10" fmla="*/ 1090613 h 1276349"/>
                  <a:gd name="connsiteX11" fmla="*/ 264318 w 783431"/>
                  <a:gd name="connsiteY11" fmla="*/ 1131094 h 1276349"/>
                  <a:gd name="connsiteX12" fmla="*/ 295275 w 783431"/>
                  <a:gd name="connsiteY12" fmla="*/ 1164431 h 1276349"/>
                  <a:gd name="connsiteX13" fmla="*/ 385762 w 783431"/>
                  <a:gd name="connsiteY13" fmla="*/ 1200149 h 1276349"/>
                  <a:gd name="connsiteX14" fmla="*/ 404812 w 783431"/>
                  <a:gd name="connsiteY14" fmla="*/ 1276349 h 1276349"/>
                  <a:gd name="connsiteX15" fmla="*/ 423863 w 783431"/>
                  <a:gd name="connsiteY15" fmla="*/ 1221580 h 1276349"/>
                  <a:gd name="connsiteX16" fmla="*/ 469106 w 783431"/>
                  <a:gd name="connsiteY16" fmla="*/ 1181100 h 1276349"/>
                  <a:gd name="connsiteX17" fmla="*/ 554831 w 783431"/>
                  <a:gd name="connsiteY17" fmla="*/ 1202531 h 1276349"/>
                  <a:gd name="connsiteX18" fmla="*/ 592931 w 783431"/>
                  <a:gd name="connsiteY18" fmla="*/ 1126331 h 1276349"/>
                  <a:gd name="connsiteX19" fmla="*/ 604837 w 783431"/>
                  <a:gd name="connsiteY19" fmla="*/ 1085850 h 1276349"/>
                  <a:gd name="connsiteX20" fmla="*/ 585787 w 783431"/>
                  <a:gd name="connsiteY20" fmla="*/ 1035844 h 1276349"/>
                  <a:gd name="connsiteX21" fmla="*/ 607219 w 783431"/>
                  <a:gd name="connsiteY21" fmla="*/ 1021557 h 1276349"/>
                  <a:gd name="connsiteX22" fmla="*/ 645319 w 783431"/>
                  <a:gd name="connsiteY22" fmla="*/ 1016794 h 1276349"/>
                  <a:gd name="connsiteX23" fmla="*/ 685800 w 783431"/>
                  <a:gd name="connsiteY23" fmla="*/ 997744 h 1276349"/>
                  <a:gd name="connsiteX24" fmla="*/ 716756 w 783431"/>
                  <a:gd name="connsiteY24" fmla="*/ 1002507 h 1276349"/>
                  <a:gd name="connsiteX25" fmla="*/ 738187 w 783431"/>
                  <a:gd name="connsiteY25" fmla="*/ 969169 h 1276349"/>
                  <a:gd name="connsiteX26" fmla="*/ 783431 w 783431"/>
                  <a:gd name="connsiteY26" fmla="*/ 933450 h 1276349"/>
                  <a:gd name="connsiteX27" fmla="*/ 776287 w 783431"/>
                  <a:gd name="connsiteY27" fmla="*/ 907257 h 1276349"/>
                  <a:gd name="connsiteX28" fmla="*/ 752475 w 783431"/>
                  <a:gd name="connsiteY28" fmla="*/ 888207 h 1276349"/>
                  <a:gd name="connsiteX29" fmla="*/ 752475 w 783431"/>
                  <a:gd name="connsiteY29" fmla="*/ 864394 h 1276349"/>
                  <a:gd name="connsiteX30" fmla="*/ 728662 w 783431"/>
                  <a:gd name="connsiteY30" fmla="*/ 852488 h 1276349"/>
                  <a:gd name="connsiteX31" fmla="*/ 711994 w 783431"/>
                  <a:gd name="connsiteY31" fmla="*/ 802482 h 1276349"/>
                  <a:gd name="connsiteX32" fmla="*/ 688181 w 783431"/>
                  <a:gd name="connsiteY32" fmla="*/ 814388 h 1276349"/>
                  <a:gd name="connsiteX33" fmla="*/ 659606 w 783431"/>
                  <a:gd name="connsiteY33" fmla="*/ 814388 h 1276349"/>
                  <a:gd name="connsiteX34" fmla="*/ 647700 w 783431"/>
                  <a:gd name="connsiteY34" fmla="*/ 847725 h 1276349"/>
                  <a:gd name="connsiteX35" fmla="*/ 623887 w 783431"/>
                  <a:gd name="connsiteY35" fmla="*/ 847725 h 1276349"/>
                  <a:gd name="connsiteX36" fmla="*/ 576262 w 783431"/>
                  <a:gd name="connsiteY36" fmla="*/ 828675 h 1276349"/>
                  <a:gd name="connsiteX37" fmla="*/ 554831 w 783431"/>
                  <a:gd name="connsiteY37" fmla="*/ 816769 h 1276349"/>
                  <a:gd name="connsiteX38" fmla="*/ 547687 w 783431"/>
                  <a:gd name="connsiteY38" fmla="*/ 783432 h 1276349"/>
                  <a:gd name="connsiteX39" fmla="*/ 561975 w 783431"/>
                  <a:gd name="connsiteY39" fmla="*/ 754857 h 1276349"/>
                  <a:gd name="connsiteX40" fmla="*/ 533400 w 783431"/>
                  <a:gd name="connsiteY40" fmla="*/ 733425 h 1276349"/>
                  <a:gd name="connsiteX41" fmla="*/ 509587 w 783431"/>
                  <a:gd name="connsiteY41" fmla="*/ 711994 h 1276349"/>
                  <a:gd name="connsiteX42" fmla="*/ 473869 w 783431"/>
                  <a:gd name="connsiteY42" fmla="*/ 711994 h 1276349"/>
                  <a:gd name="connsiteX43" fmla="*/ 435769 w 783431"/>
                  <a:gd name="connsiteY43" fmla="*/ 711994 h 1276349"/>
                  <a:gd name="connsiteX44" fmla="*/ 438150 w 783431"/>
                  <a:gd name="connsiteY44" fmla="*/ 669132 h 1276349"/>
                  <a:gd name="connsiteX45" fmla="*/ 428625 w 783431"/>
                  <a:gd name="connsiteY45" fmla="*/ 642938 h 1276349"/>
                  <a:gd name="connsiteX46" fmla="*/ 423862 w 783431"/>
                  <a:gd name="connsiteY46" fmla="*/ 607219 h 1276349"/>
                  <a:gd name="connsiteX47" fmla="*/ 426244 w 783431"/>
                  <a:gd name="connsiteY47" fmla="*/ 578644 h 1276349"/>
                  <a:gd name="connsiteX48" fmla="*/ 440531 w 783431"/>
                  <a:gd name="connsiteY48" fmla="*/ 566738 h 1276349"/>
                  <a:gd name="connsiteX49" fmla="*/ 450056 w 783431"/>
                  <a:gd name="connsiteY49" fmla="*/ 535782 h 1276349"/>
                  <a:gd name="connsiteX50" fmla="*/ 457200 w 783431"/>
                  <a:gd name="connsiteY50" fmla="*/ 519113 h 1276349"/>
                  <a:gd name="connsiteX51" fmla="*/ 481012 w 783431"/>
                  <a:gd name="connsiteY51" fmla="*/ 526257 h 1276349"/>
                  <a:gd name="connsiteX52" fmla="*/ 495300 w 783431"/>
                  <a:gd name="connsiteY52" fmla="*/ 576263 h 1276349"/>
                  <a:gd name="connsiteX53" fmla="*/ 507206 w 783431"/>
                  <a:gd name="connsiteY53" fmla="*/ 581025 h 1276349"/>
                  <a:gd name="connsiteX54" fmla="*/ 526256 w 783431"/>
                  <a:gd name="connsiteY54" fmla="*/ 583407 h 1276349"/>
                  <a:gd name="connsiteX55" fmla="*/ 554831 w 783431"/>
                  <a:gd name="connsiteY55" fmla="*/ 583407 h 1276349"/>
                  <a:gd name="connsiteX56" fmla="*/ 557212 w 783431"/>
                  <a:gd name="connsiteY56" fmla="*/ 547688 h 1276349"/>
                  <a:gd name="connsiteX57" fmla="*/ 545306 w 783431"/>
                  <a:gd name="connsiteY57" fmla="*/ 502444 h 1276349"/>
                  <a:gd name="connsiteX58" fmla="*/ 545306 w 783431"/>
                  <a:gd name="connsiteY58" fmla="*/ 476250 h 1276349"/>
                  <a:gd name="connsiteX59" fmla="*/ 581025 w 783431"/>
                  <a:gd name="connsiteY59" fmla="*/ 454819 h 1276349"/>
                  <a:gd name="connsiteX60" fmla="*/ 604837 w 783431"/>
                  <a:gd name="connsiteY60" fmla="*/ 435769 h 1276349"/>
                  <a:gd name="connsiteX61" fmla="*/ 640556 w 783431"/>
                  <a:gd name="connsiteY61" fmla="*/ 414338 h 1276349"/>
                  <a:gd name="connsiteX62" fmla="*/ 645319 w 783431"/>
                  <a:gd name="connsiteY62" fmla="*/ 395288 h 1276349"/>
                  <a:gd name="connsiteX63" fmla="*/ 633412 w 783431"/>
                  <a:gd name="connsiteY63" fmla="*/ 371475 h 1276349"/>
                  <a:gd name="connsiteX64" fmla="*/ 614362 w 783431"/>
                  <a:gd name="connsiteY64" fmla="*/ 369094 h 1276349"/>
                  <a:gd name="connsiteX65" fmla="*/ 609600 w 783431"/>
                  <a:gd name="connsiteY65" fmla="*/ 366713 h 1276349"/>
                  <a:gd name="connsiteX66" fmla="*/ 597694 w 783431"/>
                  <a:gd name="connsiteY66" fmla="*/ 357188 h 1276349"/>
                  <a:gd name="connsiteX67" fmla="*/ 611981 w 783431"/>
                  <a:gd name="connsiteY67" fmla="*/ 345282 h 1276349"/>
                  <a:gd name="connsiteX68" fmla="*/ 652462 w 783431"/>
                  <a:gd name="connsiteY68" fmla="*/ 316707 h 1276349"/>
                  <a:gd name="connsiteX69" fmla="*/ 678656 w 783431"/>
                  <a:gd name="connsiteY69" fmla="*/ 264319 h 1276349"/>
                  <a:gd name="connsiteX70" fmla="*/ 666750 w 783431"/>
                  <a:gd name="connsiteY70" fmla="*/ 242888 h 1276349"/>
                  <a:gd name="connsiteX71" fmla="*/ 638175 w 783431"/>
                  <a:gd name="connsiteY71" fmla="*/ 219075 h 1276349"/>
                  <a:gd name="connsiteX72" fmla="*/ 642937 w 783431"/>
                  <a:gd name="connsiteY72" fmla="*/ 180975 h 1276349"/>
                  <a:gd name="connsiteX73" fmla="*/ 673894 w 783431"/>
                  <a:gd name="connsiteY73" fmla="*/ 171450 h 1276349"/>
                  <a:gd name="connsiteX74" fmla="*/ 700087 w 783431"/>
                  <a:gd name="connsiteY74" fmla="*/ 142875 h 1276349"/>
                  <a:gd name="connsiteX75" fmla="*/ 700087 w 783431"/>
                  <a:gd name="connsiteY75" fmla="*/ 111919 h 1276349"/>
                  <a:gd name="connsiteX76" fmla="*/ 666750 w 783431"/>
                  <a:gd name="connsiteY76" fmla="*/ 107157 h 1276349"/>
                  <a:gd name="connsiteX77" fmla="*/ 645319 w 783431"/>
                  <a:gd name="connsiteY77" fmla="*/ 102394 h 1276349"/>
                  <a:gd name="connsiteX78" fmla="*/ 645319 w 783431"/>
                  <a:gd name="connsiteY78" fmla="*/ 102394 h 1276349"/>
                  <a:gd name="connsiteX79" fmla="*/ 678656 w 783431"/>
                  <a:gd name="connsiteY79" fmla="*/ 69057 h 1276349"/>
                  <a:gd name="connsiteX80" fmla="*/ 685800 w 783431"/>
                  <a:gd name="connsiteY80" fmla="*/ 40482 h 1276349"/>
                  <a:gd name="connsiteX81" fmla="*/ 678656 w 783431"/>
                  <a:gd name="connsiteY81" fmla="*/ 21432 h 1276349"/>
                  <a:gd name="connsiteX82" fmla="*/ 695325 w 783431"/>
                  <a:gd name="connsiteY82" fmla="*/ 2382 h 1276349"/>
                  <a:gd name="connsiteX83" fmla="*/ 628650 w 783431"/>
                  <a:gd name="connsiteY83" fmla="*/ 0 h 1276349"/>
                  <a:gd name="connsiteX84" fmla="*/ 552450 w 783431"/>
                  <a:gd name="connsiteY84" fmla="*/ 52388 h 1276349"/>
                  <a:gd name="connsiteX85" fmla="*/ 538162 w 783431"/>
                  <a:gd name="connsiteY85" fmla="*/ 90488 h 1276349"/>
                  <a:gd name="connsiteX86" fmla="*/ 445294 w 783431"/>
                  <a:gd name="connsiteY86" fmla="*/ 126207 h 1276349"/>
                  <a:gd name="connsiteX87" fmla="*/ 397669 w 783431"/>
                  <a:gd name="connsiteY87" fmla="*/ 159544 h 1276349"/>
                  <a:gd name="connsiteX88" fmla="*/ 376237 w 783431"/>
                  <a:gd name="connsiteY88" fmla="*/ 190500 h 1276349"/>
                  <a:gd name="connsiteX89" fmla="*/ 350044 w 783431"/>
                  <a:gd name="connsiteY89" fmla="*/ 140494 h 1276349"/>
                  <a:gd name="connsiteX90" fmla="*/ 316706 w 783431"/>
                  <a:gd name="connsiteY90" fmla="*/ 140494 h 1276349"/>
                  <a:gd name="connsiteX91" fmla="*/ 304800 w 783431"/>
                  <a:gd name="connsiteY91" fmla="*/ 166688 h 1276349"/>
                  <a:gd name="connsiteX92" fmla="*/ 280987 w 783431"/>
                  <a:gd name="connsiteY92" fmla="*/ 230982 h 1276349"/>
                  <a:gd name="connsiteX93" fmla="*/ 154781 w 783431"/>
                  <a:gd name="connsiteY93" fmla="*/ 223838 h 1276349"/>
                  <a:gd name="connsiteX94" fmla="*/ 140494 w 783431"/>
                  <a:gd name="connsiteY94" fmla="*/ 245269 h 1276349"/>
                  <a:gd name="connsiteX95" fmla="*/ 138112 w 783431"/>
                  <a:gd name="connsiteY95" fmla="*/ 280988 h 1276349"/>
                  <a:gd name="connsiteX96" fmla="*/ 66675 w 783431"/>
                  <a:gd name="connsiteY96" fmla="*/ 309563 h 1276349"/>
                  <a:gd name="connsiteX97" fmla="*/ 54769 w 783431"/>
                  <a:gd name="connsiteY97" fmla="*/ 323850 h 1276349"/>
                  <a:gd name="connsiteX98" fmla="*/ 66675 w 783431"/>
                  <a:gd name="connsiteY98" fmla="*/ 381000 h 1276349"/>
                  <a:gd name="connsiteX99" fmla="*/ 19050 w 783431"/>
                  <a:gd name="connsiteY99" fmla="*/ 423863 h 1276349"/>
                  <a:gd name="connsiteX100" fmla="*/ 26194 w 783431"/>
                  <a:gd name="connsiteY100" fmla="*/ 490538 h 1276349"/>
                  <a:gd name="connsiteX101" fmla="*/ 33337 w 783431"/>
                  <a:gd name="connsiteY101" fmla="*/ 554832 h 1276349"/>
                  <a:gd name="connsiteX102" fmla="*/ 0 w 783431"/>
                  <a:gd name="connsiteY102" fmla="*/ 614363 h 1276349"/>
                  <a:gd name="connsiteX0" fmla="*/ 0 w 783431"/>
                  <a:gd name="connsiteY0" fmla="*/ 614363 h 1276349"/>
                  <a:gd name="connsiteX1" fmla="*/ 21431 w 783431"/>
                  <a:gd name="connsiteY1" fmla="*/ 661988 h 1276349"/>
                  <a:gd name="connsiteX2" fmla="*/ 28575 w 783431"/>
                  <a:gd name="connsiteY2" fmla="*/ 742950 h 1276349"/>
                  <a:gd name="connsiteX3" fmla="*/ 76200 w 783431"/>
                  <a:gd name="connsiteY3" fmla="*/ 814388 h 1276349"/>
                  <a:gd name="connsiteX4" fmla="*/ 102394 w 783431"/>
                  <a:gd name="connsiteY4" fmla="*/ 919163 h 1276349"/>
                  <a:gd name="connsiteX5" fmla="*/ 116681 w 783431"/>
                  <a:gd name="connsiteY5" fmla="*/ 947738 h 1276349"/>
                  <a:gd name="connsiteX6" fmla="*/ 130969 w 783431"/>
                  <a:gd name="connsiteY6" fmla="*/ 995363 h 1276349"/>
                  <a:gd name="connsiteX7" fmla="*/ 150019 w 783431"/>
                  <a:gd name="connsiteY7" fmla="*/ 1023938 h 1276349"/>
                  <a:gd name="connsiteX8" fmla="*/ 159544 w 783431"/>
                  <a:gd name="connsiteY8" fmla="*/ 1042988 h 1276349"/>
                  <a:gd name="connsiteX9" fmla="*/ 197644 w 783431"/>
                  <a:gd name="connsiteY9" fmla="*/ 1069182 h 1276349"/>
                  <a:gd name="connsiteX10" fmla="*/ 245269 w 783431"/>
                  <a:gd name="connsiteY10" fmla="*/ 1090613 h 1276349"/>
                  <a:gd name="connsiteX11" fmla="*/ 264318 w 783431"/>
                  <a:gd name="connsiteY11" fmla="*/ 1131094 h 1276349"/>
                  <a:gd name="connsiteX12" fmla="*/ 295275 w 783431"/>
                  <a:gd name="connsiteY12" fmla="*/ 1164431 h 1276349"/>
                  <a:gd name="connsiteX13" fmla="*/ 385762 w 783431"/>
                  <a:gd name="connsiteY13" fmla="*/ 1200149 h 1276349"/>
                  <a:gd name="connsiteX14" fmla="*/ 404812 w 783431"/>
                  <a:gd name="connsiteY14" fmla="*/ 1276349 h 1276349"/>
                  <a:gd name="connsiteX15" fmla="*/ 416720 w 783431"/>
                  <a:gd name="connsiteY15" fmla="*/ 1212055 h 1276349"/>
                  <a:gd name="connsiteX16" fmla="*/ 469106 w 783431"/>
                  <a:gd name="connsiteY16" fmla="*/ 1181100 h 1276349"/>
                  <a:gd name="connsiteX17" fmla="*/ 554831 w 783431"/>
                  <a:gd name="connsiteY17" fmla="*/ 1202531 h 1276349"/>
                  <a:gd name="connsiteX18" fmla="*/ 592931 w 783431"/>
                  <a:gd name="connsiteY18" fmla="*/ 1126331 h 1276349"/>
                  <a:gd name="connsiteX19" fmla="*/ 604837 w 783431"/>
                  <a:gd name="connsiteY19" fmla="*/ 1085850 h 1276349"/>
                  <a:gd name="connsiteX20" fmla="*/ 585787 w 783431"/>
                  <a:gd name="connsiteY20" fmla="*/ 1035844 h 1276349"/>
                  <a:gd name="connsiteX21" fmla="*/ 607219 w 783431"/>
                  <a:gd name="connsiteY21" fmla="*/ 1021557 h 1276349"/>
                  <a:gd name="connsiteX22" fmla="*/ 645319 w 783431"/>
                  <a:gd name="connsiteY22" fmla="*/ 1016794 h 1276349"/>
                  <a:gd name="connsiteX23" fmla="*/ 685800 w 783431"/>
                  <a:gd name="connsiteY23" fmla="*/ 997744 h 1276349"/>
                  <a:gd name="connsiteX24" fmla="*/ 716756 w 783431"/>
                  <a:gd name="connsiteY24" fmla="*/ 1002507 h 1276349"/>
                  <a:gd name="connsiteX25" fmla="*/ 738187 w 783431"/>
                  <a:gd name="connsiteY25" fmla="*/ 969169 h 1276349"/>
                  <a:gd name="connsiteX26" fmla="*/ 783431 w 783431"/>
                  <a:gd name="connsiteY26" fmla="*/ 933450 h 1276349"/>
                  <a:gd name="connsiteX27" fmla="*/ 776287 w 783431"/>
                  <a:gd name="connsiteY27" fmla="*/ 907257 h 1276349"/>
                  <a:gd name="connsiteX28" fmla="*/ 752475 w 783431"/>
                  <a:gd name="connsiteY28" fmla="*/ 888207 h 1276349"/>
                  <a:gd name="connsiteX29" fmla="*/ 752475 w 783431"/>
                  <a:gd name="connsiteY29" fmla="*/ 864394 h 1276349"/>
                  <a:gd name="connsiteX30" fmla="*/ 728662 w 783431"/>
                  <a:gd name="connsiteY30" fmla="*/ 852488 h 1276349"/>
                  <a:gd name="connsiteX31" fmla="*/ 711994 w 783431"/>
                  <a:gd name="connsiteY31" fmla="*/ 802482 h 1276349"/>
                  <a:gd name="connsiteX32" fmla="*/ 688181 w 783431"/>
                  <a:gd name="connsiteY32" fmla="*/ 814388 h 1276349"/>
                  <a:gd name="connsiteX33" fmla="*/ 659606 w 783431"/>
                  <a:gd name="connsiteY33" fmla="*/ 814388 h 1276349"/>
                  <a:gd name="connsiteX34" fmla="*/ 647700 w 783431"/>
                  <a:gd name="connsiteY34" fmla="*/ 847725 h 1276349"/>
                  <a:gd name="connsiteX35" fmla="*/ 623887 w 783431"/>
                  <a:gd name="connsiteY35" fmla="*/ 847725 h 1276349"/>
                  <a:gd name="connsiteX36" fmla="*/ 576262 w 783431"/>
                  <a:gd name="connsiteY36" fmla="*/ 828675 h 1276349"/>
                  <a:gd name="connsiteX37" fmla="*/ 554831 w 783431"/>
                  <a:gd name="connsiteY37" fmla="*/ 816769 h 1276349"/>
                  <a:gd name="connsiteX38" fmla="*/ 547687 w 783431"/>
                  <a:gd name="connsiteY38" fmla="*/ 783432 h 1276349"/>
                  <a:gd name="connsiteX39" fmla="*/ 561975 w 783431"/>
                  <a:gd name="connsiteY39" fmla="*/ 754857 h 1276349"/>
                  <a:gd name="connsiteX40" fmla="*/ 533400 w 783431"/>
                  <a:gd name="connsiteY40" fmla="*/ 733425 h 1276349"/>
                  <a:gd name="connsiteX41" fmla="*/ 509587 w 783431"/>
                  <a:gd name="connsiteY41" fmla="*/ 711994 h 1276349"/>
                  <a:gd name="connsiteX42" fmla="*/ 473869 w 783431"/>
                  <a:gd name="connsiteY42" fmla="*/ 711994 h 1276349"/>
                  <a:gd name="connsiteX43" fmla="*/ 435769 w 783431"/>
                  <a:gd name="connsiteY43" fmla="*/ 711994 h 1276349"/>
                  <a:gd name="connsiteX44" fmla="*/ 438150 w 783431"/>
                  <a:gd name="connsiteY44" fmla="*/ 669132 h 1276349"/>
                  <a:gd name="connsiteX45" fmla="*/ 428625 w 783431"/>
                  <a:gd name="connsiteY45" fmla="*/ 642938 h 1276349"/>
                  <a:gd name="connsiteX46" fmla="*/ 423862 w 783431"/>
                  <a:gd name="connsiteY46" fmla="*/ 607219 h 1276349"/>
                  <a:gd name="connsiteX47" fmla="*/ 426244 w 783431"/>
                  <a:gd name="connsiteY47" fmla="*/ 578644 h 1276349"/>
                  <a:gd name="connsiteX48" fmla="*/ 440531 w 783431"/>
                  <a:gd name="connsiteY48" fmla="*/ 566738 h 1276349"/>
                  <a:gd name="connsiteX49" fmla="*/ 450056 w 783431"/>
                  <a:gd name="connsiteY49" fmla="*/ 535782 h 1276349"/>
                  <a:gd name="connsiteX50" fmla="*/ 457200 w 783431"/>
                  <a:gd name="connsiteY50" fmla="*/ 519113 h 1276349"/>
                  <a:gd name="connsiteX51" fmla="*/ 481012 w 783431"/>
                  <a:gd name="connsiteY51" fmla="*/ 526257 h 1276349"/>
                  <a:gd name="connsiteX52" fmla="*/ 495300 w 783431"/>
                  <a:gd name="connsiteY52" fmla="*/ 576263 h 1276349"/>
                  <a:gd name="connsiteX53" fmla="*/ 507206 w 783431"/>
                  <a:gd name="connsiteY53" fmla="*/ 581025 h 1276349"/>
                  <a:gd name="connsiteX54" fmla="*/ 526256 w 783431"/>
                  <a:gd name="connsiteY54" fmla="*/ 583407 h 1276349"/>
                  <a:gd name="connsiteX55" fmla="*/ 554831 w 783431"/>
                  <a:gd name="connsiteY55" fmla="*/ 583407 h 1276349"/>
                  <a:gd name="connsiteX56" fmla="*/ 557212 w 783431"/>
                  <a:gd name="connsiteY56" fmla="*/ 547688 h 1276349"/>
                  <a:gd name="connsiteX57" fmla="*/ 545306 w 783431"/>
                  <a:gd name="connsiteY57" fmla="*/ 502444 h 1276349"/>
                  <a:gd name="connsiteX58" fmla="*/ 545306 w 783431"/>
                  <a:gd name="connsiteY58" fmla="*/ 476250 h 1276349"/>
                  <a:gd name="connsiteX59" fmla="*/ 581025 w 783431"/>
                  <a:gd name="connsiteY59" fmla="*/ 454819 h 1276349"/>
                  <a:gd name="connsiteX60" fmla="*/ 604837 w 783431"/>
                  <a:gd name="connsiteY60" fmla="*/ 435769 h 1276349"/>
                  <a:gd name="connsiteX61" fmla="*/ 640556 w 783431"/>
                  <a:gd name="connsiteY61" fmla="*/ 414338 h 1276349"/>
                  <a:gd name="connsiteX62" fmla="*/ 645319 w 783431"/>
                  <a:gd name="connsiteY62" fmla="*/ 395288 h 1276349"/>
                  <a:gd name="connsiteX63" fmla="*/ 633412 w 783431"/>
                  <a:gd name="connsiteY63" fmla="*/ 371475 h 1276349"/>
                  <a:gd name="connsiteX64" fmla="*/ 614362 w 783431"/>
                  <a:gd name="connsiteY64" fmla="*/ 369094 h 1276349"/>
                  <a:gd name="connsiteX65" fmla="*/ 609600 w 783431"/>
                  <a:gd name="connsiteY65" fmla="*/ 366713 h 1276349"/>
                  <a:gd name="connsiteX66" fmla="*/ 597694 w 783431"/>
                  <a:gd name="connsiteY66" fmla="*/ 357188 h 1276349"/>
                  <a:gd name="connsiteX67" fmla="*/ 611981 w 783431"/>
                  <a:gd name="connsiteY67" fmla="*/ 345282 h 1276349"/>
                  <a:gd name="connsiteX68" fmla="*/ 652462 w 783431"/>
                  <a:gd name="connsiteY68" fmla="*/ 316707 h 1276349"/>
                  <a:gd name="connsiteX69" fmla="*/ 678656 w 783431"/>
                  <a:gd name="connsiteY69" fmla="*/ 264319 h 1276349"/>
                  <a:gd name="connsiteX70" fmla="*/ 666750 w 783431"/>
                  <a:gd name="connsiteY70" fmla="*/ 242888 h 1276349"/>
                  <a:gd name="connsiteX71" fmla="*/ 638175 w 783431"/>
                  <a:gd name="connsiteY71" fmla="*/ 219075 h 1276349"/>
                  <a:gd name="connsiteX72" fmla="*/ 642937 w 783431"/>
                  <a:gd name="connsiteY72" fmla="*/ 180975 h 1276349"/>
                  <a:gd name="connsiteX73" fmla="*/ 673894 w 783431"/>
                  <a:gd name="connsiteY73" fmla="*/ 171450 h 1276349"/>
                  <a:gd name="connsiteX74" fmla="*/ 700087 w 783431"/>
                  <a:gd name="connsiteY74" fmla="*/ 142875 h 1276349"/>
                  <a:gd name="connsiteX75" fmla="*/ 700087 w 783431"/>
                  <a:gd name="connsiteY75" fmla="*/ 111919 h 1276349"/>
                  <a:gd name="connsiteX76" fmla="*/ 666750 w 783431"/>
                  <a:gd name="connsiteY76" fmla="*/ 107157 h 1276349"/>
                  <a:gd name="connsiteX77" fmla="*/ 645319 w 783431"/>
                  <a:gd name="connsiteY77" fmla="*/ 102394 h 1276349"/>
                  <a:gd name="connsiteX78" fmla="*/ 645319 w 783431"/>
                  <a:gd name="connsiteY78" fmla="*/ 102394 h 1276349"/>
                  <a:gd name="connsiteX79" fmla="*/ 678656 w 783431"/>
                  <a:gd name="connsiteY79" fmla="*/ 69057 h 1276349"/>
                  <a:gd name="connsiteX80" fmla="*/ 685800 w 783431"/>
                  <a:gd name="connsiteY80" fmla="*/ 40482 h 1276349"/>
                  <a:gd name="connsiteX81" fmla="*/ 678656 w 783431"/>
                  <a:gd name="connsiteY81" fmla="*/ 21432 h 1276349"/>
                  <a:gd name="connsiteX82" fmla="*/ 695325 w 783431"/>
                  <a:gd name="connsiteY82" fmla="*/ 2382 h 1276349"/>
                  <a:gd name="connsiteX83" fmla="*/ 628650 w 783431"/>
                  <a:gd name="connsiteY83" fmla="*/ 0 h 1276349"/>
                  <a:gd name="connsiteX84" fmla="*/ 552450 w 783431"/>
                  <a:gd name="connsiteY84" fmla="*/ 52388 h 1276349"/>
                  <a:gd name="connsiteX85" fmla="*/ 538162 w 783431"/>
                  <a:gd name="connsiteY85" fmla="*/ 90488 h 1276349"/>
                  <a:gd name="connsiteX86" fmla="*/ 445294 w 783431"/>
                  <a:gd name="connsiteY86" fmla="*/ 126207 h 1276349"/>
                  <a:gd name="connsiteX87" fmla="*/ 397669 w 783431"/>
                  <a:gd name="connsiteY87" fmla="*/ 159544 h 1276349"/>
                  <a:gd name="connsiteX88" fmla="*/ 376237 w 783431"/>
                  <a:gd name="connsiteY88" fmla="*/ 190500 h 1276349"/>
                  <a:gd name="connsiteX89" fmla="*/ 350044 w 783431"/>
                  <a:gd name="connsiteY89" fmla="*/ 140494 h 1276349"/>
                  <a:gd name="connsiteX90" fmla="*/ 316706 w 783431"/>
                  <a:gd name="connsiteY90" fmla="*/ 140494 h 1276349"/>
                  <a:gd name="connsiteX91" fmla="*/ 304800 w 783431"/>
                  <a:gd name="connsiteY91" fmla="*/ 166688 h 1276349"/>
                  <a:gd name="connsiteX92" fmla="*/ 280987 w 783431"/>
                  <a:gd name="connsiteY92" fmla="*/ 230982 h 1276349"/>
                  <a:gd name="connsiteX93" fmla="*/ 154781 w 783431"/>
                  <a:gd name="connsiteY93" fmla="*/ 223838 h 1276349"/>
                  <a:gd name="connsiteX94" fmla="*/ 140494 w 783431"/>
                  <a:gd name="connsiteY94" fmla="*/ 245269 h 1276349"/>
                  <a:gd name="connsiteX95" fmla="*/ 138112 w 783431"/>
                  <a:gd name="connsiteY95" fmla="*/ 280988 h 1276349"/>
                  <a:gd name="connsiteX96" fmla="*/ 66675 w 783431"/>
                  <a:gd name="connsiteY96" fmla="*/ 309563 h 1276349"/>
                  <a:gd name="connsiteX97" fmla="*/ 54769 w 783431"/>
                  <a:gd name="connsiteY97" fmla="*/ 323850 h 1276349"/>
                  <a:gd name="connsiteX98" fmla="*/ 66675 w 783431"/>
                  <a:gd name="connsiteY98" fmla="*/ 381000 h 1276349"/>
                  <a:gd name="connsiteX99" fmla="*/ 19050 w 783431"/>
                  <a:gd name="connsiteY99" fmla="*/ 423863 h 1276349"/>
                  <a:gd name="connsiteX100" fmla="*/ 26194 w 783431"/>
                  <a:gd name="connsiteY100" fmla="*/ 490538 h 1276349"/>
                  <a:gd name="connsiteX101" fmla="*/ 33337 w 783431"/>
                  <a:gd name="connsiteY101" fmla="*/ 554832 h 1276349"/>
                  <a:gd name="connsiteX102" fmla="*/ 0 w 783431"/>
                  <a:gd name="connsiteY102" fmla="*/ 614363 h 12763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</a:cxnLst>
                <a:rect l="l" t="t" r="r" b="b"/>
                <a:pathLst>
                  <a:path w="783431" h="1276349">
                    <a:moveTo>
                      <a:pt x="0" y="614363"/>
                    </a:moveTo>
                    <a:lnTo>
                      <a:pt x="21431" y="661988"/>
                    </a:lnTo>
                    <a:lnTo>
                      <a:pt x="28575" y="742950"/>
                    </a:lnTo>
                    <a:lnTo>
                      <a:pt x="76200" y="814388"/>
                    </a:lnTo>
                    <a:lnTo>
                      <a:pt x="102394" y="919163"/>
                    </a:lnTo>
                    <a:lnTo>
                      <a:pt x="116681" y="947738"/>
                    </a:lnTo>
                    <a:lnTo>
                      <a:pt x="130969" y="995363"/>
                    </a:lnTo>
                    <a:lnTo>
                      <a:pt x="150019" y="1023938"/>
                    </a:lnTo>
                    <a:lnTo>
                      <a:pt x="159544" y="1042988"/>
                    </a:lnTo>
                    <a:lnTo>
                      <a:pt x="197644" y="1069182"/>
                    </a:lnTo>
                    <a:lnTo>
                      <a:pt x="245269" y="1090613"/>
                    </a:lnTo>
                    <a:lnTo>
                      <a:pt x="264318" y="1131094"/>
                    </a:lnTo>
                    <a:lnTo>
                      <a:pt x="295275" y="1164431"/>
                    </a:lnTo>
                    <a:lnTo>
                      <a:pt x="385762" y="1200149"/>
                    </a:lnTo>
                    <a:lnTo>
                      <a:pt x="404812" y="1276349"/>
                    </a:lnTo>
                    <a:lnTo>
                      <a:pt x="416720" y="1212055"/>
                    </a:lnTo>
                    <a:lnTo>
                      <a:pt x="469106" y="1181100"/>
                    </a:lnTo>
                    <a:lnTo>
                      <a:pt x="554831" y="1202531"/>
                    </a:lnTo>
                    <a:lnTo>
                      <a:pt x="592931" y="1126331"/>
                    </a:lnTo>
                    <a:lnTo>
                      <a:pt x="604837" y="1085850"/>
                    </a:lnTo>
                    <a:lnTo>
                      <a:pt x="585787" y="1035844"/>
                    </a:lnTo>
                    <a:lnTo>
                      <a:pt x="607219" y="1021557"/>
                    </a:lnTo>
                    <a:lnTo>
                      <a:pt x="645319" y="1016794"/>
                    </a:lnTo>
                    <a:lnTo>
                      <a:pt x="685800" y="997744"/>
                    </a:lnTo>
                    <a:lnTo>
                      <a:pt x="716756" y="1002507"/>
                    </a:lnTo>
                    <a:lnTo>
                      <a:pt x="738187" y="969169"/>
                    </a:lnTo>
                    <a:lnTo>
                      <a:pt x="783431" y="933450"/>
                    </a:lnTo>
                    <a:lnTo>
                      <a:pt x="776287" y="907257"/>
                    </a:lnTo>
                    <a:lnTo>
                      <a:pt x="752475" y="888207"/>
                    </a:lnTo>
                    <a:lnTo>
                      <a:pt x="752475" y="864394"/>
                    </a:lnTo>
                    <a:lnTo>
                      <a:pt x="728662" y="852488"/>
                    </a:lnTo>
                    <a:lnTo>
                      <a:pt x="711994" y="802482"/>
                    </a:lnTo>
                    <a:lnTo>
                      <a:pt x="688181" y="814388"/>
                    </a:lnTo>
                    <a:lnTo>
                      <a:pt x="659606" y="814388"/>
                    </a:lnTo>
                    <a:lnTo>
                      <a:pt x="647700" y="847725"/>
                    </a:lnTo>
                    <a:lnTo>
                      <a:pt x="623887" y="847725"/>
                    </a:lnTo>
                    <a:lnTo>
                      <a:pt x="576262" y="828675"/>
                    </a:lnTo>
                    <a:lnTo>
                      <a:pt x="554831" y="816769"/>
                    </a:lnTo>
                    <a:lnTo>
                      <a:pt x="547687" y="783432"/>
                    </a:lnTo>
                    <a:lnTo>
                      <a:pt x="561975" y="754857"/>
                    </a:lnTo>
                    <a:lnTo>
                      <a:pt x="533400" y="733425"/>
                    </a:lnTo>
                    <a:lnTo>
                      <a:pt x="509587" y="711994"/>
                    </a:lnTo>
                    <a:lnTo>
                      <a:pt x="473869" y="711994"/>
                    </a:lnTo>
                    <a:lnTo>
                      <a:pt x="435769" y="711994"/>
                    </a:lnTo>
                    <a:lnTo>
                      <a:pt x="438150" y="669132"/>
                    </a:lnTo>
                    <a:lnTo>
                      <a:pt x="428625" y="642938"/>
                    </a:lnTo>
                    <a:lnTo>
                      <a:pt x="423862" y="607219"/>
                    </a:lnTo>
                    <a:lnTo>
                      <a:pt x="426244" y="578644"/>
                    </a:lnTo>
                    <a:lnTo>
                      <a:pt x="440531" y="566738"/>
                    </a:lnTo>
                    <a:lnTo>
                      <a:pt x="450056" y="535782"/>
                    </a:lnTo>
                    <a:lnTo>
                      <a:pt x="457200" y="519113"/>
                    </a:lnTo>
                    <a:lnTo>
                      <a:pt x="481012" y="526257"/>
                    </a:lnTo>
                    <a:lnTo>
                      <a:pt x="495300" y="576263"/>
                    </a:lnTo>
                    <a:lnTo>
                      <a:pt x="507206" y="581025"/>
                    </a:lnTo>
                    <a:lnTo>
                      <a:pt x="526256" y="583407"/>
                    </a:lnTo>
                    <a:lnTo>
                      <a:pt x="554831" y="583407"/>
                    </a:lnTo>
                    <a:lnTo>
                      <a:pt x="557212" y="547688"/>
                    </a:lnTo>
                    <a:lnTo>
                      <a:pt x="545306" y="502444"/>
                    </a:lnTo>
                    <a:lnTo>
                      <a:pt x="545306" y="476250"/>
                    </a:lnTo>
                    <a:lnTo>
                      <a:pt x="581025" y="454819"/>
                    </a:lnTo>
                    <a:lnTo>
                      <a:pt x="604837" y="435769"/>
                    </a:lnTo>
                    <a:lnTo>
                      <a:pt x="640556" y="414338"/>
                    </a:lnTo>
                    <a:lnTo>
                      <a:pt x="645319" y="395288"/>
                    </a:lnTo>
                    <a:lnTo>
                      <a:pt x="633412" y="371475"/>
                    </a:lnTo>
                    <a:lnTo>
                      <a:pt x="614362" y="369094"/>
                    </a:lnTo>
                    <a:lnTo>
                      <a:pt x="609600" y="366713"/>
                    </a:lnTo>
                    <a:lnTo>
                      <a:pt x="597694" y="357188"/>
                    </a:lnTo>
                    <a:lnTo>
                      <a:pt x="611981" y="345282"/>
                    </a:lnTo>
                    <a:lnTo>
                      <a:pt x="652462" y="316707"/>
                    </a:lnTo>
                    <a:lnTo>
                      <a:pt x="678656" y="264319"/>
                    </a:lnTo>
                    <a:lnTo>
                      <a:pt x="666750" y="242888"/>
                    </a:lnTo>
                    <a:lnTo>
                      <a:pt x="638175" y="219075"/>
                    </a:lnTo>
                    <a:lnTo>
                      <a:pt x="642937" y="180975"/>
                    </a:lnTo>
                    <a:lnTo>
                      <a:pt x="673894" y="171450"/>
                    </a:lnTo>
                    <a:lnTo>
                      <a:pt x="700087" y="142875"/>
                    </a:lnTo>
                    <a:lnTo>
                      <a:pt x="700087" y="111919"/>
                    </a:lnTo>
                    <a:lnTo>
                      <a:pt x="666750" y="107157"/>
                    </a:lnTo>
                    <a:lnTo>
                      <a:pt x="645319" y="102394"/>
                    </a:lnTo>
                    <a:lnTo>
                      <a:pt x="645319" y="102394"/>
                    </a:lnTo>
                    <a:lnTo>
                      <a:pt x="678656" y="69057"/>
                    </a:lnTo>
                    <a:lnTo>
                      <a:pt x="685800" y="40482"/>
                    </a:lnTo>
                    <a:lnTo>
                      <a:pt x="678656" y="21432"/>
                    </a:lnTo>
                    <a:lnTo>
                      <a:pt x="695325" y="2382"/>
                    </a:lnTo>
                    <a:lnTo>
                      <a:pt x="628650" y="0"/>
                    </a:lnTo>
                    <a:lnTo>
                      <a:pt x="552450" y="52388"/>
                    </a:lnTo>
                    <a:lnTo>
                      <a:pt x="538162" y="90488"/>
                    </a:lnTo>
                    <a:lnTo>
                      <a:pt x="445294" y="126207"/>
                    </a:lnTo>
                    <a:lnTo>
                      <a:pt x="397669" y="159544"/>
                    </a:lnTo>
                    <a:lnTo>
                      <a:pt x="376237" y="190500"/>
                    </a:lnTo>
                    <a:lnTo>
                      <a:pt x="350044" y="140494"/>
                    </a:lnTo>
                    <a:lnTo>
                      <a:pt x="316706" y="140494"/>
                    </a:lnTo>
                    <a:lnTo>
                      <a:pt x="304800" y="166688"/>
                    </a:lnTo>
                    <a:lnTo>
                      <a:pt x="280987" y="230982"/>
                    </a:lnTo>
                    <a:lnTo>
                      <a:pt x="154781" y="223838"/>
                    </a:lnTo>
                    <a:lnTo>
                      <a:pt x="140494" y="245269"/>
                    </a:lnTo>
                    <a:lnTo>
                      <a:pt x="138112" y="280988"/>
                    </a:lnTo>
                    <a:lnTo>
                      <a:pt x="66675" y="309563"/>
                    </a:lnTo>
                    <a:lnTo>
                      <a:pt x="54769" y="323850"/>
                    </a:lnTo>
                    <a:lnTo>
                      <a:pt x="66675" y="381000"/>
                    </a:lnTo>
                    <a:lnTo>
                      <a:pt x="19050" y="423863"/>
                    </a:lnTo>
                    <a:lnTo>
                      <a:pt x="26194" y="490538"/>
                    </a:lnTo>
                    <a:lnTo>
                      <a:pt x="33337" y="554832"/>
                    </a:lnTo>
                    <a:lnTo>
                      <a:pt x="0" y="614363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52" name="Freeform 17">
                <a:extLst>
                  <a:ext uri="{FF2B5EF4-FFF2-40B4-BE49-F238E27FC236}">
                    <a16:creationId xmlns:a16="http://schemas.microsoft.com/office/drawing/2014/main" id="{ACD0FD1B-FD50-4DDD-A8B0-31A1B227CE06}"/>
                  </a:ext>
                </a:extLst>
              </p:cNvPr>
              <p:cNvSpPr/>
              <p:nvPr/>
            </p:nvSpPr>
            <p:spPr>
              <a:xfrm>
                <a:off x="3784600" y="5743575"/>
                <a:ext cx="395288" cy="900113"/>
              </a:xfrm>
              <a:custGeom>
                <a:avLst/>
                <a:gdLst>
                  <a:gd name="connsiteX0" fmla="*/ 0 w 395287"/>
                  <a:gd name="connsiteY0" fmla="*/ 0 h 900113"/>
                  <a:gd name="connsiteX1" fmla="*/ 0 w 395287"/>
                  <a:gd name="connsiteY1" fmla="*/ 107157 h 900113"/>
                  <a:gd name="connsiteX2" fmla="*/ 9525 w 395287"/>
                  <a:gd name="connsiteY2" fmla="*/ 135732 h 900113"/>
                  <a:gd name="connsiteX3" fmla="*/ 9525 w 395287"/>
                  <a:gd name="connsiteY3" fmla="*/ 171450 h 900113"/>
                  <a:gd name="connsiteX4" fmla="*/ 54768 w 395287"/>
                  <a:gd name="connsiteY4" fmla="*/ 226219 h 900113"/>
                  <a:gd name="connsiteX5" fmla="*/ 73818 w 395287"/>
                  <a:gd name="connsiteY5" fmla="*/ 247650 h 900113"/>
                  <a:gd name="connsiteX6" fmla="*/ 100012 w 395287"/>
                  <a:gd name="connsiteY6" fmla="*/ 302419 h 900113"/>
                  <a:gd name="connsiteX7" fmla="*/ 97631 w 395287"/>
                  <a:gd name="connsiteY7" fmla="*/ 357188 h 900113"/>
                  <a:gd name="connsiteX8" fmla="*/ 152400 w 395287"/>
                  <a:gd name="connsiteY8" fmla="*/ 423863 h 900113"/>
                  <a:gd name="connsiteX9" fmla="*/ 176212 w 395287"/>
                  <a:gd name="connsiteY9" fmla="*/ 600075 h 900113"/>
                  <a:gd name="connsiteX10" fmla="*/ 185737 w 395287"/>
                  <a:gd name="connsiteY10" fmla="*/ 633413 h 900113"/>
                  <a:gd name="connsiteX11" fmla="*/ 200025 w 395287"/>
                  <a:gd name="connsiteY11" fmla="*/ 726282 h 900113"/>
                  <a:gd name="connsiteX12" fmla="*/ 350043 w 395287"/>
                  <a:gd name="connsiteY12" fmla="*/ 895350 h 900113"/>
                  <a:gd name="connsiteX13" fmla="*/ 361950 w 395287"/>
                  <a:gd name="connsiteY13" fmla="*/ 900113 h 900113"/>
                  <a:gd name="connsiteX14" fmla="*/ 381000 w 395287"/>
                  <a:gd name="connsiteY14" fmla="*/ 838200 h 900113"/>
                  <a:gd name="connsiteX15" fmla="*/ 373856 w 395287"/>
                  <a:gd name="connsiteY15" fmla="*/ 823913 h 900113"/>
                  <a:gd name="connsiteX16" fmla="*/ 369093 w 395287"/>
                  <a:gd name="connsiteY16" fmla="*/ 754857 h 900113"/>
                  <a:gd name="connsiteX17" fmla="*/ 390525 w 395287"/>
                  <a:gd name="connsiteY17" fmla="*/ 731044 h 900113"/>
                  <a:gd name="connsiteX18" fmla="*/ 395287 w 395287"/>
                  <a:gd name="connsiteY18" fmla="*/ 688182 h 900113"/>
                  <a:gd name="connsiteX19" fmla="*/ 366712 w 395287"/>
                  <a:gd name="connsiteY19" fmla="*/ 647700 h 900113"/>
                  <a:gd name="connsiteX20" fmla="*/ 364331 w 395287"/>
                  <a:gd name="connsiteY20" fmla="*/ 604838 h 900113"/>
                  <a:gd name="connsiteX21" fmla="*/ 395287 w 395287"/>
                  <a:gd name="connsiteY21" fmla="*/ 550069 h 900113"/>
                  <a:gd name="connsiteX22" fmla="*/ 395287 w 395287"/>
                  <a:gd name="connsiteY22" fmla="*/ 511969 h 900113"/>
                  <a:gd name="connsiteX23" fmla="*/ 381000 w 395287"/>
                  <a:gd name="connsiteY23" fmla="*/ 476250 h 900113"/>
                  <a:gd name="connsiteX24" fmla="*/ 319087 w 395287"/>
                  <a:gd name="connsiteY24" fmla="*/ 464344 h 900113"/>
                  <a:gd name="connsiteX25" fmla="*/ 292893 w 395287"/>
                  <a:gd name="connsiteY25" fmla="*/ 440532 h 900113"/>
                  <a:gd name="connsiteX26" fmla="*/ 285750 w 395287"/>
                  <a:gd name="connsiteY26" fmla="*/ 414338 h 900113"/>
                  <a:gd name="connsiteX27" fmla="*/ 300037 w 395287"/>
                  <a:gd name="connsiteY27" fmla="*/ 376238 h 900113"/>
                  <a:gd name="connsiteX28" fmla="*/ 295275 w 395287"/>
                  <a:gd name="connsiteY28" fmla="*/ 321469 h 900113"/>
                  <a:gd name="connsiteX29" fmla="*/ 288131 w 395287"/>
                  <a:gd name="connsiteY29" fmla="*/ 288132 h 900113"/>
                  <a:gd name="connsiteX30" fmla="*/ 257175 w 395287"/>
                  <a:gd name="connsiteY30" fmla="*/ 211932 h 900113"/>
                  <a:gd name="connsiteX31" fmla="*/ 180975 w 395287"/>
                  <a:gd name="connsiteY31" fmla="*/ 183357 h 900113"/>
                  <a:gd name="connsiteX32" fmla="*/ 147637 w 395287"/>
                  <a:gd name="connsiteY32" fmla="*/ 142875 h 900113"/>
                  <a:gd name="connsiteX33" fmla="*/ 121443 w 395287"/>
                  <a:gd name="connsiteY33" fmla="*/ 104775 h 900113"/>
                  <a:gd name="connsiteX34" fmla="*/ 45243 w 395287"/>
                  <a:gd name="connsiteY34" fmla="*/ 66675 h 900113"/>
                  <a:gd name="connsiteX35" fmla="*/ 0 w 395287"/>
                  <a:gd name="connsiteY35" fmla="*/ 0 h 900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95287" h="900113">
                    <a:moveTo>
                      <a:pt x="0" y="0"/>
                    </a:moveTo>
                    <a:lnTo>
                      <a:pt x="0" y="107157"/>
                    </a:lnTo>
                    <a:lnTo>
                      <a:pt x="9525" y="135732"/>
                    </a:lnTo>
                    <a:lnTo>
                      <a:pt x="9525" y="171450"/>
                    </a:lnTo>
                    <a:lnTo>
                      <a:pt x="54768" y="226219"/>
                    </a:lnTo>
                    <a:lnTo>
                      <a:pt x="73818" y="247650"/>
                    </a:lnTo>
                    <a:lnTo>
                      <a:pt x="100012" y="302419"/>
                    </a:lnTo>
                    <a:cubicBezTo>
                      <a:pt x="99218" y="320675"/>
                      <a:pt x="98425" y="338932"/>
                      <a:pt x="97631" y="357188"/>
                    </a:cubicBezTo>
                    <a:lnTo>
                      <a:pt x="152400" y="423863"/>
                    </a:lnTo>
                    <a:lnTo>
                      <a:pt x="176212" y="600075"/>
                    </a:lnTo>
                    <a:lnTo>
                      <a:pt x="185737" y="633413"/>
                    </a:lnTo>
                    <a:lnTo>
                      <a:pt x="200025" y="726282"/>
                    </a:lnTo>
                    <a:lnTo>
                      <a:pt x="350043" y="895350"/>
                    </a:lnTo>
                    <a:lnTo>
                      <a:pt x="361950" y="900113"/>
                    </a:lnTo>
                    <a:lnTo>
                      <a:pt x="381000" y="838200"/>
                    </a:lnTo>
                    <a:lnTo>
                      <a:pt x="373856" y="823913"/>
                    </a:lnTo>
                    <a:lnTo>
                      <a:pt x="369093" y="754857"/>
                    </a:lnTo>
                    <a:lnTo>
                      <a:pt x="390525" y="731044"/>
                    </a:lnTo>
                    <a:lnTo>
                      <a:pt x="395287" y="688182"/>
                    </a:lnTo>
                    <a:lnTo>
                      <a:pt x="366712" y="647700"/>
                    </a:lnTo>
                    <a:lnTo>
                      <a:pt x="364331" y="604838"/>
                    </a:lnTo>
                    <a:lnTo>
                      <a:pt x="395287" y="550069"/>
                    </a:lnTo>
                    <a:lnTo>
                      <a:pt x="395287" y="511969"/>
                    </a:lnTo>
                    <a:lnTo>
                      <a:pt x="381000" y="476250"/>
                    </a:lnTo>
                    <a:lnTo>
                      <a:pt x="319087" y="464344"/>
                    </a:lnTo>
                    <a:lnTo>
                      <a:pt x="292893" y="440532"/>
                    </a:lnTo>
                    <a:lnTo>
                      <a:pt x="285750" y="414338"/>
                    </a:lnTo>
                    <a:lnTo>
                      <a:pt x="300037" y="376238"/>
                    </a:lnTo>
                    <a:lnTo>
                      <a:pt x="295275" y="321469"/>
                    </a:lnTo>
                    <a:lnTo>
                      <a:pt x="288131" y="288132"/>
                    </a:lnTo>
                    <a:lnTo>
                      <a:pt x="257175" y="211932"/>
                    </a:lnTo>
                    <a:lnTo>
                      <a:pt x="180975" y="183357"/>
                    </a:lnTo>
                    <a:lnTo>
                      <a:pt x="147637" y="142875"/>
                    </a:lnTo>
                    <a:lnTo>
                      <a:pt x="121443" y="104775"/>
                    </a:lnTo>
                    <a:lnTo>
                      <a:pt x="45243" y="666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53" name="Freeform 18">
                <a:extLst>
                  <a:ext uri="{FF2B5EF4-FFF2-40B4-BE49-F238E27FC236}">
                    <a16:creationId xmlns:a16="http://schemas.microsoft.com/office/drawing/2014/main" id="{982A612E-0E15-435B-A589-50C34A3210F6}"/>
                  </a:ext>
                </a:extLst>
              </p:cNvPr>
              <p:cNvSpPr/>
              <p:nvPr/>
            </p:nvSpPr>
            <p:spPr>
              <a:xfrm>
                <a:off x="4070350" y="5614988"/>
                <a:ext cx="708025" cy="1054100"/>
              </a:xfrm>
              <a:custGeom>
                <a:avLst/>
                <a:gdLst>
                  <a:gd name="connsiteX0" fmla="*/ 85725 w 707231"/>
                  <a:gd name="connsiteY0" fmla="*/ 1033462 h 1033462"/>
                  <a:gd name="connsiteX1" fmla="*/ 154781 w 707231"/>
                  <a:gd name="connsiteY1" fmla="*/ 1026319 h 1033462"/>
                  <a:gd name="connsiteX2" fmla="*/ 200025 w 707231"/>
                  <a:gd name="connsiteY2" fmla="*/ 1012031 h 1033462"/>
                  <a:gd name="connsiteX3" fmla="*/ 247650 w 707231"/>
                  <a:gd name="connsiteY3" fmla="*/ 969169 h 1033462"/>
                  <a:gd name="connsiteX4" fmla="*/ 276225 w 707231"/>
                  <a:gd name="connsiteY4" fmla="*/ 912019 h 1033462"/>
                  <a:gd name="connsiteX5" fmla="*/ 350043 w 707231"/>
                  <a:gd name="connsiteY5" fmla="*/ 871537 h 1033462"/>
                  <a:gd name="connsiteX6" fmla="*/ 411956 w 707231"/>
                  <a:gd name="connsiteY6" fmla="*/ 823912 h 1033462"/>
                  <a:gd name="connsiteX7" fmla="*/ 411956 w 707231"/>
                  <a:gd name="connsiteY7" fmla="*/ 781050 h 1033462"/>
                  <a:gd name="connsiteX8" fmla="*/ 471487 w 707231"/>
                  <a:gd name="connsiteY8" fmla="*/ 671512 h 1033462"/>
                  <a:gd name="connsiteX9" fmla="*/ 547687 w 707231"/>
                  <a:gd name="connsiteY9" fmla="*/ 642937 h 1033462"/>
                  <a:gd name="connsiteX10" fmla="*/ 595312 w 707231"/>
                  <a:gd name="connsiteY10" fmla="*/ 592931 h 1033462"/>
                  <a:gd name="connsiteX11" fmla="*/ 597693 w 707231"/>
                  <a:gd name="connsiteY11" fmla="*/ 438150 h 1033462"/>
                  <a:gd name="connsiteX12" fmla="*/ 604837 w 707231"/>
                  <a:gd name="connsiteY12" fmla="*/ 350044 h 1033462"/>
                  <a:gd name="connsiteX13" fmla="*/ 614362 w 707231"/>
                  <a:gd name="connsiteY13" fmla="*/ 295275 h 1033462"/>
                  <a:gd name="connsiteX14" fmla="*/ 671512 w 707231"/>
                  <a:gd name="connsiteY14" fmla="*/ 219075 h 1033462"/>
                  <a:gd name="connsiteX15" fmla="*/ 707231 w 707231"/>
                  <a:gd name="connsiteY15" fmla="*/ 147637 h 1033462"/>
                  <a:gd name="connsiteX16" fmla="*/ 697706 w 707231"/>
                  <a:gd name="connsiteY16" fmla="*/ 97631 h 1033462"/>
                  <a:gd name="connsiteX17" fmla="*/ 702468 w 707231"/>
                  <a:gd name="connsiteY17" fmla="*/ 35719 h 1033462"/>
                  <a:gd name="connsiteX18" fmla="*/ 628650 w 707231"/>
                  <a:gd name="connsiteY18" fmla="*/ 0 h 1033462"/>
                  <a:gd name="connsiteX19" fmla="*/ 600075 w 707231"/>
                  <a:gd name="connsiteY19" fmla="*/ 28575 h 1033462"/>
                  <a:gd name="connsiteX20" fmla="*/ 597693 w 707231"/>
                  <a:gd name="connsiteY20" fmla="*/ 69056 h 1033462"/>
                  <a:gd name="connsiteX21" fmla="*/ 583406 w 707231"/>
                  <a:gd name="connsiteY21" fmla="*/ 88106 h 1033462"/>
                  <a:gd name="connsiteX22" fmla="*/ 523875 w 707231"/>
                  <a:gd name="connsiteY22" fmla="*/ 95250 h 1033462"/>
                  <a:gd name="connsiteX23" fmla="*/ 509587 w 707231"/>
                  <a:gd name="connsiteY23" fmla="*/ 135731 h 1033462"/>
                  <a:gd name="connsiteX24" fmla="*/ 478631 w 707231"/>
                  <a:gd name="connsiteY24" fmla="*/ 128587 h 1033462"/>
                  <a:gd name="connsiteX25" fmla="*/ 466725 w 707231"/>
                  <a:gd name="connsiteY25" fmla="*/ 154781 h 1033462"/>
                  <a:gd name="connsiteX26" fmla="*/ 431006 w 707231"/>
                  <a:gd name="connsiteY26" fmla="*/ 147637 h 1033462"/>
                  <a:gd name="connsiteX27" fmla="*/ 376237 w 707231"/>
                  <a:gd name="connsiteY27" fmla="*/ 169069 h 1033462"/>
                  <a:gd name="connsiteX28" fmla="*/ 319087 w 707231"/>
                  <a:gd name="connsiteY28" fmla="*/ 166687 h 1033462"/>
                  <a:gd name="connsiteX29" fmla="*/ 307181 w 707231"/>
                  <a:gd name="connsiteY29" fmla="*/ 135731 h 1033462"/>
                  <a:gd name="connsiteX30" fmla="*/ 273843 w 707231"/>
                  <a:gd name="connsiteY30" fmla="*/ 147637 h 1033462"/>
                  <a:gd name="connsiteX31" fmla="*/ 178593 w 707231"/>
                  <a:gd name="connsiteY31" fmla="*/ 173831 h 1033462"/>
                  <a:gd name="connsiteX32" fmla="*/ 188118 w 707231"/>
                  <a:gd name="connsiteY32" fmla="*/ 202406 h 1033462"/>
                  <a:gd name="connsiteX33" fmla="*/ 195262 w 707231"/>
                  <a:gd name="connsiteY33" fmla="*/ 233362 h 1033462"/>
                  <a:gd name="connsiteX34" fmla="*/ 142875 w 707231"/>
                  <a:gd name="connsiteY34" fmla="*/ 338137 h 1033462"/>
                  <a:gd name="connsiteX35" fmla="*/ 57150 w 707231"/>
                  <a:gd name="connsiteY35" fmla="*/ 323850 h 1033462"/>
                  <a:gd name="connsiteX36" fmla="*/ 11906 w 707231"/>
                  <a:gd name="connsiteY36" fmla="*/ 347662 h 1033462"/>
                  <a:gd name="connsiteX37" fmla="*/ 0 w 707231"/>
                  <a:gd name="connsiteY37" fmla="*/ 400050 h 1033462"/>
                  <a:gd name="connsiteX38" fmla="*/ 14287 w 707231"/>
                  <a:gd name="connsiteY38" fmla="*/ 476250 h 1033462"/>
                  <a:gd name="connsiteX39" fmla="*/ 11906 w 707231"/>
                  <a:gd name="connsiteY39" fmla="*/ 519112 h 1033462"/>
                  <a:gd name="connsiteX40" fmla="*/ 0 w 707231"/>
                  <a:gd name="connsiteY40" fmla="*/ 550069 h 1033462"/>
                  <a:gd name="connsiteX41" fmla="*/ 11906 w 707231"/>
                  <a:gd name="connsiteY41" fmla="*/ 561975 h 1033462"/>
                  <a:gd name="connsiteX42" fmla="*/ 30956 w 707231"/>
                  <a:gd name="connsiteY42" fmla="*/ 592931 h 1033462"/>
                  <a:gd name="connsiteX43" fmla="*/ 97631 w 707231"/>
                  <a:gd name="connsiteY43" fmla="*/ 609600 h 1033462"/>
                  <a:gd name="connsiteX44" fmla="*/ 104775 w 707231"/>
                  <a:gd name="connsiteY44" fmla="*/ 676275 h 1033462"/>
                  <a:gd name="connsiteX45" fmla="*/ 90487 w 707231"/>
                  <a:gd name="connsiteY45" fmla="*/ 728662 h 1033462"/>
                  <a:gd name="connsiteX46" fmla="*/ 80962 w 707231"/>
                  <a:gd name="connsiteY46" fmla="*/ 747712 h 1033462"/>
                  <a:gd name="connsiteX47" fmla="*/ 80962 w 707231"/>
                  <a:gd name="connsiteY47" fmla="*/ 781050 h 1033462"/>
                  <a:gd name="connsiteX48" fmla="*/ 109537 w 707231"/>
                  <a:gd name="connsiteY48" fmla="*/ 819150 h 1033462"/>
                  <a:gd name="connsiteX49" fmla="*/ 102393 w 707231"/>
                  <a:gd name="connsiteY49" fmla="*/ 869156 h 1033462"/>
                  <a:gd name="connsiteX50" fmla="*/ 83343 w 707231"/>
                  <a:gd name="connsiteY50" fmla="*/ 890587 h 1033462"/>
                  <a:gd name="connsiteX51" fmla="*/ 85725 w 707231"/>
                  <a:gd name="connsiteY51" fmla="*/ 954881 h 1033462"/>
                  <a:gd name="connsiteX52" fmla="*/ 92868 w 707231"/>
                  <a:gd name="connsiteY52" fmla="*/ 966787 h 1033462"/>
                  <a:gd name="connsiteX53" fmla="*/ 85725 w 707231"/>
                  <a:gd name="connsiteY53" fmla="*/ 1033462 h 1033462"/>
                  <a:gd name="connsiteX0" fmla="*/ 71437 w 707231"/>
                  <a:gd name="connsiteY0" fmla="*/ 1031081 h 1031081"/>
                  <a:gd name="connsiteX1" fmla="*/ 154781 w 707231"/>
                  <a:gd name="connsiteY1" fmla="*/ 1026319 h 1031081"/>
                  <a:gd name="connsiteX2" fmla="*/ 200025 w 707231"/>
                  <a:gd name="connsiteY2" fmla="*/ 1012031 h 1031081"/>
                  <a:gd name="connsiteX3" fmla="*/ 247650 w 707231"/>
                  <a:gd name="connsiteY3" fmla="*/ 969169 h 1031081"/>
                  <a:gd name="connsiteX4" fmla="*/ 276225 w 707231"/>
                  <a:gd name="connsiteY4" fmla="*/ 912019 h 1031081"/>
                  <a:gd name="connsiteX5" fmla="*/ 350043 w 707231"/>
                  <a:gd name="connsiteY5" fmla="*/ 871537 h 1031081"/>
                  <a:gd name="connsiteX6" fmla="*/ 411956 w 707231"/>
                  <a:gd name="connsiteY6" fmla="*/ 823912 h 1031081"/>
                  <a:gd name="connsiteX7" fmla="*/ 411956 w 707231"/>
                  <a:gd name="connsiteY7" fmla="*/ 781050 h 1031081"/>
                  <a:gd name="connsiteX8" fmla="*/ 471487 w 707231"/>
                  <a:gd name="connsiteY8" fmla="*/ 671512 h 1031081"/>
                  <a:gd name="connsiteX9" fmla="*/ 547687 w 707231"/>
                  <a:gd name="connsiteY9" fmla="*/ 642937 h 1031081"/>
                  <a:gd name="connsiteX10" fmla="*/ 595312 w 707231"/>
                  <a:gd name="connsiteY10" fmla="*/ 592931 h 1031081"/>
                  <a:gd name="connsiteX11" fmla="*/ 597693 w 707231"/>
                  <a:gd name="connsiteY11" fmla="*/ 438150 h 1031081"/>
                  <a:gd name="connsiteX12" fmla="*/ 604837 w 707231"/>
                  <a:gd name="connsiteY12" fmla="*/ 350044 h 1031081"/>
                  <a:gd name="connsiteX13" fmla="*/ 614362 w 707231"/>
                  <a:gd name="connsiteY13" fmla="*/ 295275 h 1031081"/>
                  <a:gd name="connsiteX14" fmla="*/ 671512 w 707231"/>
                  <a:gd name="connsiteY14" fmla="*/ 219075 h 1031081"/>
                  <a:gd name="connsiteX15" fmla="*/ 707231 w 707231"/>
                  <a:gd name="connsiteY15" fmla="*/ 147637 h 1031081"/>
                  <a:gd name="connsiteX16" fmla="*/ 697706 w 707231"/>
                  <a:gd name="connsiteY16" fmla="*/ 97631 h 1031081"/>
                  <a:gd name="connsiteX17" fmla="*/ 702468 w 707231"/>
                  <a:gd name="connsiteY17" fmla="*/ 35719 h 1031081"/>
                  <a:gd name="connsiteX18" fmla="*/ 628650 w 707231"/>
                  <a:gd name="connsiteY18" fmla="*/ 0 h 1031081"/>
                  <a:gd name="connsiteX19" fmla="*/ 600075 w 707231"/>
                  <a:gd name="connsiteY19" fmla="*/ 28575 h 1031081"/>
                  <a:gd name="connsiteX20" fmla="*/ 597693 w 707231"/>
                  <a:gd name="connsiteY20" fmla="*/ 69056 h 1031081"/>
                  <a:gd name="connsiteX21" fmla="*/ 583406 w 707231"/>
                  <a:gd name="connsiteY21" fmla="*/ 88106 h 1031081"/>
                  <a:gd name="connsiteX22" fmla="*/ 523875 w 707231"/>
                  <a:gd name="connsiteY22" fmla="*/ 95250 h 1031081"/>
                  <a:gd name="connsiteX23" fmla="*/ 509587 w 707231"/>
                  <a:gd name="connsiteY23" fmla="*/ 135731 h 1031081"/>
                  <a:gd name="connsiteX24" fmla="*/ 478631 w 707231"/>
                  <a:gd name="connsiteY24" fmla="*/ 128587 h 1031081"/>
                  <a:gd name="connsiteX25" fmla="*/ 466725 w 707231"/>
                  <a:gd name="connsiteY25" fmla="*/ 154781 h 1031081"/>
                  <a:gd name="connsiteX26" fmla="*/ 431006 w 707231"/>
                  <a:gd name="connsiteY26" fmla="*/ 147637 h 1031081"/>
                  <a:gd name="connsiteX27" fmla="*/ 376237 w 707231"/>
                  <a:gd name="connsiteY27" fmla="*/ 169069 h 1031081"/>
                  <a:gd name="connsiteX28" fmla="*/ 319087 w 707231"/>
                  <a:gd name="connsiteY28" fmla="*/ 166687 h 1031081"/>
                  <a:gd name="connsiteX29" fmla="*/ 307181 w 707231"/>
                  <a:gd name="connsiteY29" fmla="*/ 135731 h 1031081"/>
                  <a:gd name="connsiteX30" fmla="*/ 273843 w 707231"/>
                  <a:gd name="connsiteY30" fmla="*/ 147637 h 1031081"/>
                  <a:gd name="connsiteX31" fmla="*/ 178593 w 707231"/>
                  <a:gd name="connsiteY31" fmla="*/ 173831 h 1031081"/>
                  <a:gd name="connsiteX32" fmla="*/ 188118 w 707231"/>
                  <a:gd name="connsiteY32" fmla="*/ 202406 h 1031081"/>
                  <a:gd name="connsiteX33" fmla="*/ 195262 w 707231"/>
                  <a:gd name="connsiteY33" fmla="*/ 233362 h 1031081"/>
                  <a:gd name="connsiteX34" fmla="*/ 142875 w 707231"/>
                  <a:gd name="connsiteY34" fmla="*/ 338137 h 1031081"/>
                  <a:gd name="connsiteX35" fmla="*/ 57150 w 707231"/>
                  <a:gd name="connsiteY35" fmla="*/ 323850 h 1031081"/>
                  <a:gd name="connsiteX36" fmla="*/ 11906 w 707231"/>
                  <a:gd name="connsiteY36" fmla="*/ 347662 h 1031081"/>
                  <a:gd name="connsiteX37" fmla="*/ 0 w 707231"/>
                  <a:gd name="connsiteY37" fmla="*/ 400050 h 1031081"/>
                  <a:gd name="connsiteX38" fmla="*/ 14287 w 707231"/>
                  <a:gd name="connsiteY38" fmla="*/ 476250 h 1031081"/>
                  <a:gd name="connsiteX39" fmla="*/ 11906 w 707231"/>
                  <a:gd name="connsiteY39" fmla="*/ 519112 h 1031081"/>
                  <a:gd name="connsiteX40" fmla="*/ 0 w 707231"/>
                  <a:gd name="connsiteY40" fmla="*/ 550069 h 1031081"/>
                  <a:gd name="connsiteX41" fmla="*/ 11906 w 707231"/>
                  <a:gd name="connsiteY41" fmla="*/ 561975 h 1031081"/>
                  <a:gd name="connsiteX42" fmla="*/ 30956 w 707231"/>
                  <a:gd name="connsiteY42" fmla="*/ 592931 h 1031081"/>
                  <a:gd name="connsiteX43" fmla="*/ 97631 w 707231"/>
                  <a:gd name="connsiteY43" fmla="*/ 609600 h 1031081"/>
                  <a:gd name="connsiteX44" fmla="*/ 104775 w 707231"/>
                  <a:gd name="connsiteY44" fmla="*/ 676275 h 1031081"/>
                  <a:gd name="connsiteX45" fmla="*/ 90487 w 707231"/>
                  <a:gd name="connsiteY45" fmla="*/ 728662 h 1031081"/>
                  <a:gd name="connsiteX46" fmla="*/ 80962 w 707231"/>
                  <a:gd name="connsiteY46" fmla="*/ 747712 h 1031081"/>
                  <a:gd name="connsiteX47" fmla="*/ 80962 w 707231"/>
                  <a:gd name="connsiteY47" fmla="*/ 781050 h 1031081"/>
                  <a:gd name="connsiteX48" fmla="*/ 109537 w 707231"/>
                  <a:gd name="connsiteY48" fmla="*/ 819150 h 1031081"/>
                  <a:gd name="connsiteX49" fmla="*/ 102393 w 707231"/>
                  <a:gd name="connsiteY49" fmla="*/ 869156 h 1031081"/>
                  <a:gd name="connsiteX50" fmla="*/ 83343 w 707231"/>
                  <a:gd name="connsiteY50" fmla="*/ 890587 h 1031081"/>
                  <a:gd name="connsiteX51" fmla="*/ 85725 w 707231"/>
                  <a:gd name="connsiteY51" fmla="*/ 954881 h 1031081"/>
                  <a:gd name="connsiteX52" fmla="*/ 92868 w 707231"/>
                  <a:gd name="connsiteY52" fmla="*/ 966787 h 1031081"/>
                  <a:gd name="connsiteX53" fmla="*/ 71437 w 707231"/>
                  <a:gd name="connsiteY53" fmla="*/ 1031081 h 1031081"/>
                  <a:gd name="connsiteX0" fmla="*/ 71437 w 707231"/>
                  <a:gd name="connsiteY0" fmla="*/ 1031081 h 1031082"/>
                  <a:gd name="connsiteX1" fmla="*/ 119062 w 707231"/>
                  <a:gd name="connsiteY1" fmla="*/ 1031082 h 1031082"/>
                  <a:gd name="connsiteX2" fmla="*/ 154781 w 707231"/>
                  <a:gd name="connsiteY2" fmla="*/ 1026319 h 1031082"/>
                  <a:gd name="connsiteX3" fmla="*/ 200025 w 707231"/>
                  <a:gd name="connsiteY3" fmla="*/ 1012031 h 1031082"/>
                  <a:gd name="connsiteX4" fmla="*/ 247650 w 707231"/>
                  <a:gd name="connsiteY4" fmla="*/ 969169 h 1031082"/>
                  <a:gd name="connsiteX5" fmla="*/ 276225 w 707231"/>
                  <a:gd name="connsiteY5" fmla="*/ 912019 h 1031082"/>
                  <a:gd name="connsiteX6" fmla="*/ 350043 w 707231"/>
                  <a:gd name="connsiteY6" fmla="*/ 871537 h 1031082"/>
                  <a:gd name="connsiteX7" fmla="*/ 411956 w 707231"/>
                  <a:gd name="connsiteY7" fmla="*/ 823912 h 1031082"/>
                  <a:gd name="connsiteX8" fmla="*/ 411956 w 707231"/>
                  <a:gd name="connsiteY8" fmla="*/ 781050 h 1031082"/>
                  <a:gd name="connsiteX9" fmla="*/ 471487 w 707231"/>
                  <a:gd name="connsiteY9" fmla="*/ 671512 h 1031082"/>
                  <a:gd name="connsiteX10" fmla="*/ 547687 w 707231"/>
                  <a:gd name="connsiteY10" fmla="*/ 642937 h 1031082"/>
                  <a:gd name="connsiteX11" fmla="*/ 595312 w 707231"/>
                  <a:gd name="connsiteY11" fmla="*/ 592931 h 1031082"/>
                  <a:gd name="connsiteX12" fmla="*/ 597693 w 707231"/>
                  <a:gd name="connsiteY12" fmla="*/ 438150 h 1031082"/>
                  <a:gd name="connsiteX13" fmla="*/ 604837 w 707231"/>
                  <a:gd name="connsiteY13" fmla="*/ 350044 h 1031082"/>
                  <a:gd name="connsiteX14" fmla="*/ 614362 w 707231"/>
                  <a:gd name="connsiteY14" fmla="*/ 295275 h 1031082"/>
                  <a:gd name="connsiteX15" fmla="*/ 671512 w 707231"/>
                  <a:gd name="connsiteY15" fmla="*/ 219075 h 1031082"/>
                  <a:gd name="connsiteX16" fmla="*/ 707231 w 707231"/>
                  <a:gd name="connsiteY16" fmla="*/ 147637 h 1031082"/>
                  <a:gd name="connsiteX17" fmla="*/ 697706 w 707231"/>
                  <a:gd name="connsiteY17" fmla="*/ 97631 h 1031082"/>
                  <a:gd name="connsiteX18" fmla="*/ 702468 w 707231"/>
                  <a:gd name="connsiteY18" fmla="*/ 35719 h 1031082"/>
                  <a:gd name="connsiteX19" fmla="*/ 628650 w 707231"/>
                  <a:gd name="connsiteY19" fmla="*/ 0 h 1031082"/>
                  <a:gd name="connsiteX20" fmla="*/ 600075 w 707231"/>
                  <a:gd name="connsiteY20" fmla="*/ 28575 h 1031082"/>
                  <a:gd name="connsiteX21" fmla="*/ 597693 w 707231"/>
                  <a:gd name="connsiteY21" fmla="*/ 69056 h 1031082"/>
                  <a:gd name="connsiteX22" fmla="*/ 583406 w 707231"/>
                  <a:gd name="connsiteY22" fmla="*/ 88106 h 1031082"/>
                  <a:gd name="connsiteX23" fmla="*/ 523875 w 707231"/>
                  <a:gd name="connsiteY23" fmla="*/ 95250 h 1031082"/>
                  <a:gd name="connsiteX24" fmla="*/ 509587 w 707231"/>
                  <a:gd name="connsiteY24" fmla="*/ 135731 h 1031082"/>
                  <a:gd name="connsiteX25" fmla="*/ 478631 w 707231"/>
                  <a:gd name="connsiteY25" fmla="*/ 128587 h 1031082"/>
                  <a:gd name="connsiteX26" fmla="*/ 466725 w 707231"/>
                  <a:gd name="connsiteY26" fmla="*/ 154781 h 1031082"/>
                  <a:gd name="connsiteX27" fmla="*/ 431006 w 707231"/>
                  <a:gd name="connsiteY27" fmla="*/ 147637 h 1031082"/>
                  <a:gd name="connsiteX28" fmla="*/ 376237 w 707231"/>
                  <a:gd name="connsiteY28" fmla="*/ 169069 h 1031082"/>
                  <a:gd name="connsiteX29" fmla="*/ 319087 w 707231"/>
                  <a:gd name="connsiteY29" fmla="*/ 166687 h 1031082"/>
                  <a:gd name="connsiteX30" fmla="*/ 307181 w 707231"/>
                  <a:gd name="connsiteY30" fmla="*/ 135731 h 1031082"/>
                  <a:gd name="connsiteX31" fmla="*/ 273843 w 707231"/>
                  <a:gd name="connsiteY31" fmla="*/ 147637 h 1031082"/>
                  <a:gd name="connsiteX32" fmla="*/ 178593 w 707231"/>
                  <a:gd name="connsiteY32" fmla="*/ 173831 h 1031082"/>
                  <a:gd name="connsiteX33" fmla="*/ 188118 w 707231"/>
                  <a:gd name="connsiteY33" fmla="*/ 202406 h 1031082"/>
                  <a:gd name="connsiteX34" fmla="*/ 195262 w 707231"/>
                  <a:gd name="connsiteY34" fmla="*/ 233362 h 1031082"/>
                  <a:gd name="connsiteX35" fmla="*/ 142875 w 707231"/>
                  <a:gd name="connsiteY35" fmla="*/ 338137 h 1031082"/>
                  <a:gd name="connsiteX36" fmla="*/ 57150 w 707231"/>
                  <a:gd name="connsiteY36" fmla="*/ 323850 h 1031082"/>
                  <a:gd name="connsiteX37" fmla="*/ 11906 w 707231"/>
                  <a:gd name="connsiteY37" fmla="*/ 347662 h 1031082"/>
                  <a:gd name="connsiteX38" fmla="*/ 0 w 707231"/>
                  <a:gd name="connsiteY38" fmla="*/ 400050 h 1031082"/>
                  <a:gd name="connsiteX39" fmla="*/ 14287 w 707231"/>
                  <a:gd name="connsiteY39" fmla="*/ 476250 h 1031082"/>
                  <a:gd name="connsiteX40" fmla="*/ 11906 w 707231"/>
                  <a:gd name="connsiteY40" fmla="*/ 519112 h 1031082"/>
                  <a:gd name="connsiteX41" fmla="*/ 0 w 707231"/>
                  <a:gd name="connsiteY41" fmla="*/ 550069 h 1031082"/>
                  <a:gd name="connsiteX42" fmla="*/ 11906 w 707231"/>
                  <a:gd name="connsiteY42" fmla="*/ 561975 h 1031082"/>
                  <a:gd name="connsiteX43" fmla="*/ 30956 w 707231"/>
                  <a:gd name="connsiteY43" fmla="*/ 592931 h 1031082"/>
                  <a:gd name="connsiteX44" fmla="*/ 97631 w 707231"/>
                  <a:gd name="connsiteY44" fmla="*/ 609600 h 1031082"/>
                  <a:gd name="connsiteX45" fmla="*/ 104775 w 707231"/>
                  <a:gd name="connsiteY45" fmla="*/ 676275 h 1031082"/>
                  <a:gd name="connsiteX46" fmla="*/ 90487 w 707231"/>
                  <a:gd name="connsiteY46" fmla="*/ 728662 h 1031082"/>
                  <a:gd name="connsiteX47" fmla="*/ 80962 w 707231"/>
                  <a:gd name="connsiteY47" fmla="*/ 747712 h 1031082"/>
                  <a:gd name="connsiteX48" fmla="*/ 80962 w 707231"/>
                  <a:gd name="connsiteY48" fmla="*/ 781050 h 1031082"/>
                  <a:gd name="connsiteX49" fmla="*/ 109537 w 707231"/>
                  <a:gd name="connsiteY49" fmla="*/ 819150 h 1031082"/>
                  <a:gd name="connsiteX50" fmla="*/ 102393 w 707231"/>
                  <a:gd name="connsiteY50" fmla="*/ 869156 h 1031082"/>
                  <a:gd name="connsiteX51" fmla="*/ 83343 w 707231"/>
                  <a:gd name="connsiteY51" fmla="*/ 890587 h 1031082"/>
                  <a:gd name="connsiteX52" fmla="*/ 85725 w 707231"/>
                  <a:gd name="connsiteY52" fmla="*/ 954881 h 1031082"/>
                  <a:gd name="connsiteX53" fmla="*/ 92868 w 707231"/>
                  <a:gd name="connsiteY53" fmla="*/ 966787 h 1031082"/>
                  <a:gd name="connsiteX54" fmla="*/ 71437 w 707231"/>
                  <a:gd name="connsiteY54" fmla="*/ 1031081 h 1031082"/>
                  <a:gd name="connsiteX0" fmla="*/ 71437 w 707231"/>
                  <a:gd name="connsiteY0" fmla="*/ 1031081 h 1059657"/>
                  <a:gd name="connsiteX1" fmla="*/ 114299 w 707231"/>
                  <a:gd name="connsiteY1" fmla="*/ 1059657 h 1059657"/>
                  <a:gd name="connsiteX2" fmla="*/ 154781 w 707231"/>
                  <a:gd name="connsiteY2" fmla="*/ 1026319 h 1059657"/>
                  <a:gd name="connsiteX3" fmla="*/ 200025 w 707231"/>
                  <a:gd name="connsiteY3" fmla="*/ 1012031 h 1059657"/>
                  <a:gd name="connsiteX4" fmla="*/ 247650 w 707231"/>
                  <a:gd name="connsiteY4" fmla="*/ 969169 h 1059657"/>
                  <a:gd name="connsiteX5" fmla="*/ 276225 w 707231"/>
                  <a:gd name="connsiteY5" fmla="*/ 912019 h 1059657"/>
                  <a:gd name="connsiteX6" fmla="*/ 350043 w 707231"/>
                  <a:gd name="connsiteY6" fmla="*/ 871537 h 1059657"/>
                  <a:gd name="connsiteX7" fmla="*/ 411956 w 707231"/>
                  <a:gd name="connsiteY7" fmla="*/ 823912 h 1059657"/>
                  <a:gd name="connsiteX8" fmla="*/ 411956 w 707231"/>
                  <a:gd name="connsiteY8" fmla="*/ 781050 h 1059657"/>
                  <a:gd name="connsiteX9" fmla="*/ 471487 w 707231"/>
                  <a:gd name="connsiteY9" fmla="*/ 671512 h 1059657"/>
                  <a:gd name="connsiteX10" fmla="*/ 547687 w 707231"/>
                  <a:gd name="connsiteY10" fmla="*/ 642937 h 1059657"/>
                  <a:gd name="connsiteX11" fmla="*/ 595312 w 707231"/>
                  <a:gd name="connsiteY11" fmla="*/ 592931 h 1059657"/>
                  <a:gd name="connsiteX12" fmla="*/ 597693 w 707231"/>
                  <a:gd name="connsiteY12" fmla="*/ 438150 h 1059657"/>
                  <a:gd name="connsiteX13" fmla="*/ 604837 w 707231"/>
                  <a:gd name="connsiteY13" fmla="*/ 350044 h 1059657"/>
                  <a:gd name="connsiteX14" fmla="*/ 614362 w 707231"/>
                  <a:gd name="connsiteY14" fmla="*/ 295275 h 1059657"/>
                  <a:gd name="connsiteX15" fmla="*/ 671512 w 707231"/>
                  <a:gd name="connsiteY15" fmla="*/ 219075 h 1059657"/>
                  <a:gd name="connsiteX16" fmla="*/ 707231 w 707231"/>
                  <a:gd name="connsiteY16" fmla="*/ 147637 h 1059657"/>
                  <a:gd name="connsiteX17" fmla="*/ 697706 w 707231"/>
                  <a:gd name="connsiteY17" fmla="*/ 97631 h 1059657"/>
                  <a:gd name="connsiteX18" fmla="*/ 702468 w 707231"/>
                  <a:gd name="connsiteY18" fmla="*/ 35719 h 1059657"/>
                  <a:gd name="connsiteX19" fmla="*/ 628650 w 707231"/>
                  <a:gd name="connsiteY19" fmla="*/ 0 h 1059657"/>
                  <a:gd name="connsiteX20" fmla="*/ 600075 w 707231"/>
                  <a:gd name="connsiteY20" fmla="*/ 28575 h 1059657"/>
                  <a:gd name="connsiteX21" fmla="*/ 597693 w 707231"/>
                  <a:gd name="connsiteY21" fmla="*/ 69056 h 1059657"/>
                  <a:gd name="connsiteX22" fmla="*/ 583406 w 707231"/>
                  <a:gd name="connsiteY22" fmla="*/ 88106 h 1059657"/>
                  <a:gd name="connsiteX23" fmla="*/ 523875 w 707231"/>
                  <a:gd name="connsiteY23" fmla="*/ 95250 h 1059657"/>
                  <a:gd name="connsiteX24" fmla="*/ 509587 w 707231"/>
                  <a:gd name="connsiteY24" fmla="*/ 135731 h 1059657"/>
                  <a:gd name="connsiteX25" fmla="*/ 478631 w 707231"/>
                  <a:gd name="connsiteY25" fmla="*/ 128587 h 1059657"/>
                  <a:gd name="connsiteX26" fmla="*/ 466725 w 707231"/>
                  <a:gd name="connsiteY26" fmla="*/ 154781 h 1059657"/>
                  <a:gd name="connsiteX27" fmla="*/ 431006 w 707231"/>
                  <a:gd name="connsiteY27" fmla="*/ 147637 h 1059657"/>
                  <a:gd name="connsiteX28" fmla="*/ 376237 w 707231"/>
                  <a:gd name="connsiteY28" fmla="*/ 169069 h 1059657"/>
                  <a:gd name="connsiteX29" fmla="*/ 319087 w 707231"/>
                  <a:gd name="connsiteY29" fmla="*/ 166687 h 1059657"/>
                  <a:gd name="connsiteX30" fmla="*/ 307181 w 707231"/>
                  <a:gd name="connsiteY30" fmla="*/ 135731 h 1059657"/>
                  <a:gd name="connsiteX31" fmla="*/ 273843 w 707231"/>
                  <a:gd name="connsiteY31" fmla="*/ 147637 h 1059657"/>
                  <a:gd name="connsiteX32" fmla="*/ 178593 w 707231"/>
                  <a:gd name="connsiteY32" fmla="*/ 173831 h 1059657"/>
                  <a:gd name="connsiteX33" fmla="*/ 188118 w 707231"/>
                  <a:gd name="connsiteY33" fmla="*/ 202406 h 1059657"/>
                  <a:gd name="connsiteX34" fmla="*/ 195262 w 707231"/>
                  <a:gd name="connsiteY34" fmla="*/ 233362 h 1059657"/>
                  <a:gd name="connsiteX35" fmla="*/ 142875 w 707231"/>
                  <a:gd name="connsiteY35" fmla="*/ 338137 h 1059657"/>
                  <a:gd name="connsiteX36" fmla="*/ 57150 w 707231"/>
                  <a:gd name="connsiteY36" fmla="*/ 323850 h 1059657"/>
                  <a:gd name="connsiteX37" fmla="*/ 11906 w 707231"/>
                  <a:gd name="connsiteY37" fmla="*/ 347662 h 1059657"/>
                  <a:gd name="connsiteX38" fmla="*/ 0 w 707231"/>
                  <a:gd name="connsiteY38" fmla="*/ 400050 h 1059657"/>
                  <a:gd name="connsiteX39" fmla="*/ 14287 w 707231"/>
                  <a:gd name="connsiteY39" fmla="*/ 476250 h 1059657"/>
                  <a:gd name="connsiteX40" fmla="*/ 11906 w 707231"/>
                  <a:gd name="connsiteY40" fmla="*/ 519112 h 1059657"/>
                  <a:gd name="connsiteX41" fmla="*/ 0 w 707231"/>
                  <a:gd name="connsiteY41" fmla="*/ 550069 h 1059657"/>
                  <a:gd name="connsiteX42" fmla="*/ 11906 w 707231"/>
                  <a:gd name="connsiteY42" fmla="*/ 561975 h 1059657"/>
                  <a:gd name="connsiteX43" fmla="*/ 30956 w 707231"/>
                  <a:gd name="connsiteY43" fmla="*/ 592931 h 1059657"/>
                  <a:gd name="connsiteX44" fmla="*/ 97631 w 707231"/>
                  <a:gd name="connsiteY44" fmla="*/ 609600 h 1059657"/>
                  <a:gd name="connsiteX45" fmla="*/ 104775 w 707231"/>
                  <a:gd name="connsiteY45" fmla="*/ 676275 h 1059657"/>
                  <a:gd name="connsiteX46" fmla="*/ 90487 w 707231"/>
                  <a:gd name="connsiteY46" fmla="*/ 728662 h 1059657"/>
                  <a:gd name="connsiteX47" fmla="*/ 80962 w 707231"/>
                  <a:gd name="connsiteY47" fmla="*/ 747712 h 1059657"/>
                  <a:gd name="connsiteX48" fmla="*/ 80962 w 707231"/>
                  <a:gd name="connsiteY48" fmla="*/ 781050 h 1059657"/>
                  <a:gd name="connsiteX49" fmla="*/ 109537 w 707231"/>
                  <a:gd name="connsiteY49" fmla="*/ 819150 h 1059657"/>
                  <a:gd name="connsiteX50" fmla="*/ 102393 w 707231"/>
                  <a:gd name="connsiteY50" fmla="*/ 869156 h 1059657"/>
                  <a:gd name="connsiteX51" fmla="*/ 83343 w 707231"/>
                  <a:gd name="connsiteY51" fmla="*/ 890587 h 1059657"/>
                  <a:gd name="connsiteX52" fmla="*/ 85725 w 707231"/>
                  <a:gd name="connsiteY52" fmla="*/ 954881 h 1059657"/>
                  <a:gd name="connsiteX53" fmla="*/ 92868 w 707231"/>
                  <a:gd name="connsiteY53" fmla="*/ 966787 h 1059657"/>
                  <a:gd name="connsiteX54" fmla="*/ 71437 w 707231"/>
                  <a:gd name="connsiteY54" fmla="*/ 1031081 h 1059657"/>
                  <a:gd name="connsiteX0" fmla="*/ 71437 w 707231"/>
                  <a:gd name="connsiteY0" fmla="*/ 1031081 h 1059657"/>
                  <a:gd name="connsiteX1" fmla="*/ 114299 w 707231"/>
                  <a:gd name="connsiteY1" fmla="*/ 1059657 h 1059657"/>
                  <a:gd name="connsiteX2" fmla="*/ 164306 w 707231"/>
                  <a:gd name="connsiteY2" fmla="*/ 1033462 h 1059657"/>
                  <a:gd name="connsiteX3" fmla="*/ 200025 w 707231"/>
                  <a:gd name="connsiteY3" fmla="*/ 1012031 h 1059657"/>
                  <a:gd name="connsiteX4" fmla="*/ 247650 w 707231"/>
                  <a:gd name="connsiteY4" fmla="*/ 969169 h 1059657"/>
                  <a:gd name="connsiteX5" fmla="*/ 276225 w 707231"/>
                  <a:gd name="connsiteY5" fmla="*/ 912019 h 1059657"/>
                  <a:gd name="connsiteX6" fmla="*/ 350043 w 707231"/>
                  <a:gd name="connsiteY6" fmla="*/ 871537 h 1059657"/>
                  <a:gd name="connsiteX7" fmla="*/ 411956 w 707231"/>
                  <a:gd name="connsiteY7" fmla="*/ 823912 h 1059657"/>
                  <a:gd name="connsiteX8" fmla="*/ 411956 w 707231"/>
                  <a:gd name="connsiteY8" fmla="*/ 781050 h 1059657"/>
                  <a:gd name="connsiteX9" fmla="*/ 471487 w 707231"/>
                  <a:gd name="connsiteY9" fmla="*/ 671512 h 1059657"/>
                  <a:gd name="connsiteX10" fmla="*/ 547687 w 707231"/>
                  <a:gd name="connsiteY10" fmla="*/ 642937 h 1059657"/>
                  <a:gd name="connsiteX11" fmla="*/ 595312 w 707231"/>
                  <a:gd name="connsiteY11" fmla="*/ 592931 h 1059657"/>
                  <a:gd name="connsiteX12" fmla="*/ 597693 w 707231"/>
                  <a:gd name="connsiteY12" fmla="*/ 438150 h 1059657"/>
                  <a:gd name="connsiteX13" fmla="*/ 604837 w 707231"/>
                  <a:gd name="connsiteY13" fmla="*/ 350044 h 1059657"/>
                  <a:gd name="connsiteX14" fmla="*/ 614362 w 707231"/>
                  <a:gd name="connsiteY14" fmla="*/ 295275 h 1059657"/>
                  <a:gd name="connsiteX15" fmla="*/ 671512 w 707231"/>
                  <a:gd name="connsiteY15" fmla="*/ 219075 h 1059657"/>
                  <a:gd name="connsiteX16" fmla="*/ 707231 w 707231"/>
                  <a:gd name="connsiteY16" fmla="*/ 147637 h 1059657"/>
                  <a:gd name="connsiteX17" fmla="*/ 697706 w 707231"/>
                  <a:gd name="connsiteY17" fmla="*/ 97631 h 1059657"/>
                  <a:gd name="connsiteX18" fmla="*/ 702468 w 707231"/>
                  <a:gd name="connsiteY18" fmla="*/ 35719 h 1059657"/>
                  <a:gd name="connsiteX19" fmla="*/ 628650 w 707231"/>
                  <a:gd name="connsiteY19" fmla="*/ 0 h 1059657"/>
                  <a:gd name="connsiteX20" fmla="*/ 600075 w 707231"/>
                  <a:gd name="connsiteY20" fmla="*/ 28575 h 1059657"/>
                  <a:gd name="connsiteX21" fmla="*/ 597693 w 707231"/>
                  <a:gd name="connsiteY21" fmla="*/ 69056 h 1059657"/>
                  <a:gd name="connsiteX22" fmla="*/ 583406 w 707231"/>
                  <a:gd name="connsiteY22" fmla="*/ 88106 h 1059657"/>
                  <a:gd name="connsiteX23" fmla="*/ 523875 w 707231"/>
                  <a:gd name="connsiteY23" fmla="*/ 95250 h 1059657"/>
                  <a:gd name="connsiteX24" fmla="*/ 509587 w 707231"/>
                  <a:gd name="connsiteY24" fmla="*/ 135731 h 1059657"/>
                  <a:gd name="connsiteX25" fmla="*/ 478631 w 707231"/>
                  <a:gd name="connsiteY25" fmla="*/ 128587 h 1059657"/>
                  <a:gd name="connsiteX26" fmla="*/ 466725 w 707231"/>
                  <a:gd name="connsiteY26" fmla="*/ 154781 h 1059657"/>
                  <a:gd name="connsiteX27" fmla="*/ 431006 w 707231"/>
                  <a:gd name="connsiteY27" fmla="*/ 147637 h 1059657"/>
                  <a:gd name="connsiteX28" fmla="*/ 376237 w 707231"/>
                  <a:gd name="connsiteY28" fmla="*/ 169069 h 1059657"/>
                  <a:gd name="connsiteX29" fmla="*/ 319087 w 707231"/>
                  <a:gd name="connsiteY29" fmla="*/ 166687 h 1059657"/>
                  <a:gd name="connsiteX30" fmla="*/ 307181 w 707231"/>
                  <a:gd name="connsiteY30" fmla="*/ 135731 h 1059657"/>
                  <a:gd name="connsiteX31" fmla="*/ 273843 w 707231"/>
                  <a:gd name="connsiteY31" fmla="*/ 147637 h 1059657"/>
                  <a:gd name="connsiteX32" fmla="*/ 178593 w 707231"/>
                  <a:gd name="connsiteY32" fmla="*/ 173831 h 1059657"/>
                  <a:gd name="connsiteX33" fmla="*/ 188118 w 707231"/>
                  <a:gd name="connsiteY33" fmla="*/ 202406 h 1059657"/>
                  <a:gd name="connsiteX34" fmla="*/ 195262 w 707231"/>
                  <a:gd name="connsiteY34" fmla="*/ 233362 h 1059657"/>
                  <a:gd name="connsiteX35" fmla="*/ 142875 w 707231"/>
                  <a:gd name="connsiteY35" fmla="*/ 338137 h 1059657"/>
                  <a:gd name="connsiteX36" fmla="*/ 57150 w 707231"/>
                  <a:gd name="connsiteY36" fmla="*/ 323850 h 1059657"/>
                  <a:gd name="connsiteX37" fmla="*/ 11906 w 707231"/>
                  <a:gd name="connsiteY37" fmla="*/ 347662 h 1059657"/>
                  <a:gd name="connsiteX38" fmla="*/ 0 w 707231"/>
                  <a:gd name="connsiteY38" fmla="*/ 400050 h 1059657"/>
                  <a:gd name="connsiteX39" fmla="*/ 14287 w 707231"/>
                  <a:gd name="connsiteY39" fmla="*/ 476250 h 1059657"/>
                  <a:gd name="connsiteX40" fmla="*/ 11906 w 707231"/>
                  <a:gd name="connsiteY40" fmla="*/ 519112 h 1059657"/>
                  <a:gd name="connsiteX41" fmla="*/ 0 w 707231"/>
                  <a:gd name="connsiteY41" fmla="*/ 550069 h 1059657"/>
                  <a:gd name="connsiteX42" fmla="*/ 11906 w 707231"/>
                  <a:gd name="connsiteY42" fmla="*/ 561975 h 1059657"/>
                  <a:gd name="connsiteX43" fmla="*/ 30956 w 707231"/>
                  <a:gd name="connsiteY43" fmla="*/ 592931 h 1059657"/>
                  <a:gd name="connsiteX44" fmla="*/ 97631 w 707231"/>
                  <a:gd name="connsiteY44" fmla="*/ 609600 h 1059657"/>
                  <a:gd name="connsiteX45" fmla="*/ 104775 w 707231"/>
                  <a:gd name="connsiteY45" fmla="*/ 676275 h 1059657"/>
                  <a:gd name="connsiteX46" fmla="*/ 90487 w 707231"/>
                  <a:gd name="connsiteY46" fmla="*/ 728662 h 1059657"/>
                  <a:gd name="connsiteX47" fmla="*/ 80962 w 707231"/>
                  <a:gd name="connsiteY47" fmla="*/ 747712 h 1059657"/>
                  <a:gd name="connsiteX48" fmla="*/ 80962 w 707231"/>
                  <a:gd name="connsiteY48" fmla="*/ 781050 h 1059657"/>
                  <a:gd name="connsiteX49" fmla="*/ 109537 w 707231"/>
                  <a:gd name="connsiteY49" fmla="*/ 819150 h 1059657"/>
                  <a:gd name="connsiteX50" fmla="*/ 102393 w 707231"/>
                  <a:gd name="connsiteY50" fmla="*/ 869156 h 1059657"/>
                  <a:gd name="connsiteX51" fmla="*/ 83343 w 707231"/>
                  <a:gd name="connsiteY51" fmla="*/ 890587 h 1059657"/>
                  <a:gd name="connsiteX52" fmla="*/ 85725 w 707231"/>
                  <a:gd name="connsiteY52" fmla="*/ 954881 h 1059657"/>
                  <a:gd name="connsiteX53" fmla="*/ 92868 w 707231"/>
                  <a:gd name="connsiteY53" fmla="*/ 966787 h 1059657"/>
                  <a:gd name="connsiteX54" fmla="*/ 71437 w 707231"/>
                  <a:gd name="connsiteY54" fmla="*/ 1031081 h 1059657"/>
                  <a:gd name="connsiteX0" fmla="*/ 71437 w 707231"/>
                  <a:gd name="connsiteY0" fmla="*/ 1031081 h 1054894"/>
                  <a:gd name="connsiteX1" fmla="*/ 102393 w 707231"/>
                  <a:gd name="connsiteY1" fmla="*/ 1054894 h 1054894"/>
                  <a:gd name="connsiteX2" fmla="*/ 164306 w 707231"/>
                  <a:gd name="connsiteY2" fmla="*/ 1033462 h 1054894"/>
                  <a:gd name="connsiteX3" fmla="*/ 200025 w 707231"/>
                  <a:gd name="connsiteY3" fmla="*/ 1012031 h 1054894"/>
                  <a:gd name="connsiteX4" fmla="*/ 247650 w 707231"/>
                  <a:gd name="connsiteY4" fmla="*/ 969169 h 1054894"/>
                  <a:gd name="connsiteX5" fmla="*/ 276225 w 707231"/>
                  <a:gd name="connsiteY5" fmla="*/ 912019 h 1054894"/>
                  <a:gd name="connsiteX6" fmla="*/ 350043 w 707231"/>
                  <a:gd name="connsiteY6" fmla="*/ 871537 h 1054894"/>
                  <a:gd name="connsiteX7" fmla="*/ 411956 w 707231"/>
                  <a:gd name="connsiteY7" fmla="*/ 823912 h 1054894"/>
                  <a:gd name="connsiteX8" fmla="*/ 411956 w 707231"/>
                  <a:gd name="connsiteY8" fmla="*/ 781050 h 1054894"/>
                  <a:gd name="connsiteX9" fmla="*/ 471487 w 707231"/>
                  <a:gd name="connsiteY9" fmla="*/ 671512 h 1054894"/>
                  <a:gd name="connsiteX10" fmla="*/ 547687 w 707231"/>
                  <a:gd name="connsiteY10" fmla="*/ 642937 h 1054894"/>
                  <a:gd name="connsiteX11" fmla="*/ 595312 w 707231"/>
                  <a:gd name="connsiteY11" fmla="*/ 592931 h 1054894"/>
                  <a:gd name="connsiteX12" fmla="*/ 597693 w 707231"/>
                  <a:gd name="connsiteY12" fmla="*/ 438150 h 1054894"/>
                  <a:gd name="connsiteX13" fmla="*/ 604837 w 707231"/>
                  <a:gd name="connsiteY13" fmla="*/ 350044 h 1054894"/>
                  <a:gd name="connsiteX14" fmla="*/ 614362 w 707231"/>
                  <a:gd name="connsiteY14" fmla="*/ 295275 h 1054894"/>
                  <a:gd name="connsiteX15" fmla="*/ 671512 w 707231"/>
                  <a:gd name="connsiteY15" fmla="*/ 219075 h 1054894"/>
                  <a:gd name="connsiteX16" fmla="*/ 707231 w 707231"/>
                  <a:gd name="connsiteY16" fmla="*/ 147637 h 1054894"/>
                  <a:gd name="connsiteX17" fmla="*/ 697706 w 707231"/>
                  <a:gd name="connsiteY17" fmla="*/ 97631 h 1054894"/>
                  <a:gd name="connsiteX18" fmla="*/ 702468 w 707231"/>
                  <a:gd name="connsiteY18" fmla="*/ 35719 h 1054894"/>
                  <a:gd name="connsiteX19" fmla="*/ 628650 w 707231"/>
                  <a:gd name="connsiteY19" fmla="*/ 0 h 1054894"/>
                  <a:gd name="connsiteX20" fmla="*/ 600075 w 707231"/>
                  <a:gd name="connsiteY20" fmla="*/ 28575 h 1054894"/>
                  <a:gd name="connsiteX21" fmla="*/ 597693 w 707231"/>
                  <a:gd name="connsiteY21" fmla="*/ 69056 h 1054894"/>
                  <a:gd name="connsiteX22" fmla="*/ 583406 w 707231"/>
                  <a:gd name="connsiteY22" fmla="*/ 88106 h 1054894"/>
                  <a:gd name="connsiteX23" fmla="*/ 523875 w 707231"/>
                  <a:gd name="connsiteY23" fmla="*/ 95250 h 1054894"/>
                  <a:gd name="connsiteX24" fmla="*/ 509587 w 707231"/>
                  <a:gd name="connsiteY24" fmla="*/ 135731 h 1054894"/>
                  <a:gd name="connsiteX25" fmla="*/ 478631 w 707231"/>
                  <a:gd name="connsiteY25" fmla="*/ 128587 h 1054894"/>
                  <a:gd name="connsiteX26" fmla="*/ 466725 w 707231"/>
                  <a:gd name="connsiteY26" fmla="*/ 154781 h 1054894"/>
                  <a:gd name="connsiteX27" fmla="*/ 431006 w 707231"/>
                  <a:gd name="connsiteY27" fmla="*/ 147637 h 1054894"/>
                  <a:gd name="connsiteX28" fmla="*/ 376237 w 707231"/>
                  <a:gd name="connsiteY28" fmla="*/ 169069 h 1054894"/>
                  <a:gd name="connsiteX29" fmla="*/ 319087 w 707231"/>
                  <a:gd name="connsiteY29" fmla="*/ 166687 h 1054894"/>
                  <a:gd name="connsiteX30" fmla="*/ 307181 w 707231"/>
                  <a:gd name="connsiteY30" fmla="*/ 135731 h 1054894"/>
                  <a:gd name="connsiteX31" fmla="*/ 273843 w 707231"/>
                  <a:gd name="connsiteY31" fmla="*/ 147637 h 1054894"/>
                  <a:gd name="connsiteX32" fmla="*/ 178593 w 707231"/>
                  <a:gd name="connsiteY32" fmla="*/ 173831 h 1054894"/>
                  <a:gd name="connsiteX33" fmla="*/ 188118 w 707231"/>
                  <a:gd name="connsiteY33" fmla="*/ 202406 h 1054894"/>
                  <a:gd name="connsiteX34" fmla="*/ 195262 w 707231"/>
                  <a:gd name="connsiteY34" fmla="*/ 233362 h 1054894"/>
                  <a:gd name="connsiteX35" fmla="*/ 142875 w 707231"/>
                  <a:gd name="connsiteY35" fmla="*/ 338137 h 1054894"/>
                  <a:gd name="connsiteX36" fmla="*/ 57150 w 707231"/>
                  <a:gd name="connsiteY36" fmla="*/ 323850 h 1054894"/>
                  <a:gd name="connsiteX37" fmla="*/ 11906 w 707231"/>
                  <a:gd name="connsiteY37" fmla="*/ 347662 h 1054894"/>
                  <a:gd name="connsiteX38" fmla="*/ 0 w 707231"/>
                  <a:gd name="connsiteY38" fmla="*/ 400050 h 1054894"/>
                  <a:gd name="connsiteX39" fmla="*/ 14287 w 707231"/>
                  <a:gd name="connsiteY39" fmla="*/ 476250 h 1054894"/>
                  <a:gd name="connsiteX40" fmla="*/ 11906 w 707231"/>
                  <a:gd name="connsiteY40" fmla="*/ 519112 h 1054894"/>
                  <a:gd name="connsiteX41" fmla="*/ 0 w 707231"/>
                  <a:gd name="connsiteY41" fmla="*/ 550069 h 1054894"/>
                  <a:gd name="connsiteX42" fmla="*/ 11906 w 707231"/>
                  <a:gd name="connsiteY42" fmla="*/ 561975 h 1054894"/>
                  <a:gd name="connsiteX43" fmla="*/ 30956 w 707231"/>
                  <a:gd name="connsiteY43" fmla="*/ 592931 h 1054894"/>
                  <a:gd name="connsiteX44" fmla="*/ 97631 w 707231"/>
                  <a:gd name="connsiteY44" fmla="*/ 609600 h 1054894"/>
                  <a:gd name="connsiteX45" fmla="*/ 104775 w 707231"/>
                  <a:gd name="connsiteY45" fmla="*/ 676275 h 1054894"/>
                  <a:gd name="connsiteX46" fmla="*/ 90487 w 707231"/>
                  <a:gd name="connsiteY46" fmla="*/ 728662 h 1054894"/>
                  <a:gd name="connsiteX47" fmla="*/ 80962 w 707231"/>
                  <a:gd name="connsiteY47" fmla="*/ 747712 h 1054894"/>
                  <a:gd name="connsiteX48" fmla="*/ 80962 w 707231"/>
                  <a:gd name="connsiteY48" fmla="*/ 781050 h 1054894"/>
                  <a:gd name="connsiteX49" fmla="*/ 109537 w 707231"/>
                  <a:gd name="connsiteY49" fmla="*/ 819150 h 1054894"/>
                  <a:gd name="connsiteX50" fmla="*/ 102393 w 707231"/>
                  <a:gd name="connsiteY50" fmla="*/ 869156 h 1054894"/>
                  <a:gd name="connsiteX51" fmla="*/ 83343 w 707231"/>
                  <a:gd name="connsiteY51" fmla="*/ 890587 h 1054894"/>
                  <a:gd name="connsiteX52" fmla="*/ 85725 w 707231"/>
                  <a:gd name="connsiteY52" fmla="*/ 954881 h 1054894"/>
                  <a:gd name="connsiteX53" fmla="*/ 92868 w 707231"/>
                  <a:gd name="connsiteY53" fmla="*/ 966787 h 1054894"/>
                  <a:gd name="connsiteX54" fmla="*/ 71437 w 707231"/>
                  <a:gd name="connsiteY54" fmla="*/ 1031081 h 1054894"/>
                  <a:gd name="connsiteX0" fmla="*/ 71437 w 707231"/>
                  <a:gd name="connsiteY0" fmla="*/ 1031081 h 1055124"/>
                  <a:gd name="connsiteX1" fmla="*/ 102393 w 707231"/>
                  <a:gd name="connsiteY1" fmla="*/ 1054894 h 1055124"/>
                  <a:gd name="connsiteX2" fmla="*/ 164306 w 707231"/>
                  <a:gd name="connsiteY2" fmla="*/ 1033462 h 1055124"/>
                  <a:gd name="connsiteX3" fmla="*/ 200025 w 707231"/>
                  <a:gd name="connsiteY3" fmla="*/ 1012031 h 1055124"/>
                  <a:gd name="connsiteX4" fmla="*/ 247650 w 707231"/>
                  <a:gd name="connsiteY4" fmla="*/ 969169 h 1055124"/>
                  <a:gd name="connsiteX5" fmla="*/ 276225 w 707231"/>
                  <a:gd name="connsiteY5" fmla="*/ 912019 h 1055124"/>
                  <a:gd name="connsiteX6" fmla="*/ 350043 w 707231"/>
                  <a:gd name="connsiteY6" fmla="*/ 871537 h 1055124"/>
                  <a:gd name="connsiteX7" fmla="*/ 411956 w 707231"/>
                  <a:gd name="connsiteY7" fmla="*/ 823912 h 1055124"/>
                  <a:gd name="connsiteX8" fmla="*/ 411956 w 707231"/>
                  <a:gd name="connsiteY8" fmla="*/ 781050 h 1055124"/>
                  <a:gd name="connsiteX9" fmla="*/ 471487 w 707231"/>
                  <a:gd name="connsiteY9" fmla="*/ 671512 h 1055124"/>
                  <a:gd name="connsiteX10" fmla="*/ 547687 w 707231"/>
                  <a:gd name="connsiteY10" fmla="*/ 642937 h 1055124"/>
                  <a:gd name="connsiteX11" fmla="*/ 595312 w 707231"/>
                  <a:gd name="connsiteY11" fmla="*/ 592931 h 1055124"/>
                  <a:gd name="connsiteX12" fmla="*/ 597693 w 707231"/>
                  <a:gd name="connsiteY12" fmla="*/ 438150 h 1055124"/>
                  <a:gd name="connsiteX13" fmla="*/ 604837 w 707231"/>
                  <a:gd name="connsiteY13" fmla="*/ 350044 h 1055124"/>
                  <a:gd name="connsiteX14" fmla="*/ 614362 w 707231"/>
                  <a:gd name="connsiteY14" fmla="*/ 295275 h 1055124"/>
                  <a:gd name="connsiteX15" fmla="*/ 671512 w 707231"/>
                  <a:gd name="connsiteY15" fmla="*/ 219075 h 1055124"/>
                  <a:gd name="connsiteX16" fmla="*/ 707231 w 707231"/>
                  <a:gd name="connsiteY16" fmla="*/ 147637 h 1055124"/>
                  <a:gd name="connsiteX17" fmla="*/ 697706 w 707231"/>
                  <a:gd name="connsiteY17" fmla="*/ 97631 h 1055124"/>
                  <a:gd name="connsiteX18" fmla="*/ 702468 w 707231"/>
                  <a:gd name="connsiteY18" fmla="*/ 35719 h 1055124"/>
                  <a:gd name="connsiteX19" fmla="*/ 628650 w 707231"/>
                  <a:gd name="connsiteY19" fmla="*/ 0 h 1055124"/>
                  <a:gd name="connsiteX20" fmla="*/ 600075 w 707231"/>
                  <a:gd name="connsiteY20" fmla="*/ 28575 h 1055124"/>
                  <a:gd name="connsiteX21" fmla="*/ 597693 w 707231"/>
                  <a:gd name="connsiteY21" fmla="*/ 69056 h 1055124"/>
                  <a:gd name="connsiteX22" fmla="*/ 583406 w 707231"/>
                  <a:gd name="connsiteY22" fmla="*/ 88106 h 1055124"/>
                  <a:gd name="connsiteX23" fmla="*/ 523875 w 707231"/>
                  <a:gd name="connsiteY23" fmla="*/ 95250 h 1055124"/>
                  <a:gd name="connsiteX24" fmla="*/ 509587 w 707231"/>
                  <a:gd name="connsiteY24" fmla="*/ 135731 h 1055124"/>
                  <a:gd name="connsiteX25" fmla="*/ 478631 w 707231"/>
                  <a:gd name="connsiteY25" fmla="*/ 128587 h 1055124"/>
                  <a:gd name="connsiteX26" fmla="*/ 466725 w 707231"/>
                  <a:gd name="connsiteY26" fmla="*/ 154781 h 1055124"/>
                  <a:gd name="connsiteX27" fmla="*/ 431006 w 707231"/>
                  <a:gd name="connsiteY27" fmla="*/ 147637 h 1055124"/>
                  <a:gd name="connsiteX28" fmla="*/ 376237 w 707231"/>
                  <a:gd name="connsiteY28" fmla="*/ 169069 h 1055124"/>
                  <a:gd name="connsiteX29" fmla="*/ 319087 w 707231"/>
                  <a:gd name="connsiteY29" fmla="*/ 166687 h 1055124"/>
                  <a:gd name="connsiteX30" fmla="*/ 307181 w 707231"/>
                  <a:gd name="connsiteY30" fmla="*/ 135731 h 1055124"/>
                  <a:gd name="connsiteX31" fmla="*/ 273843 w 707231"/>
                  <a:gd name="connsiteY31" fmla="*/ 147637 h 1055124"/>
                  <a:gd name="connsiteX32" fmla="*/ 178593 w 707231"/>
                  <a:gd name="connsiteY32" fmla="*/ 173831 h 1055124"/>
                  <a:gd name="connsiteX33" fmla="*/ 188118 w 707231"/>
                  <a:gd name="connsiteY33" fmla="*/ 202406 h 1055124"/>
                  <a:gd name="connsiteX34" fmla="*/ 195262 w 707231"/>
                  <a:gd name="connsiteY34" fmla="*/ 233362 h 1055124"/>
                  <a:gd name="connsiteX35" fmla="*/ 142875 w 707231"/>
                  <a:gd name="connsiteY35" fmla="*/ 338137 h 1055124"/>
                  <a:gd name="connsiteX36" fmla="*/ 57150 w 707231"/>
                  <a:gd name="connsiteY36" fmla="*/ 323850 h 1055124"/>
                  <a:gd name="connsiteX37" fmla="*/ 11906 w 707231"/>
                  <a:gd name="connsiteY37" fmla="*/ 347662 h 1055124"/>
                  <a:gd name="connsiteX38" fmla="*/ 0 w 707231"/>
                  <a:gd name="connsiteY38" fmla="*/ 400050 h 1055124"/>
                  <a:gd name="connsiteX39" fmla="*/ 14287 w 707231"/>
                  <a:gd name="connsiteY39" fmla="*/ 476250 h 1055124"/>
                  <a:gd name="connsiteX40" fmla="*/ 11906 w 707231"/>
                  <a:gd name="connsiteY40" fmla="*/ 519112 h 1055124"/>
                  <a:gd name="connsiteX41" fmla="*/ 0 w 707231"/>
                  <a:gd name="connsiteY41" fmla="*/ 550069 h 1055124"/>
                  <a:gd name="connsiteX42" fmla="*/ 11906 w 707231"/>
                  <a:gd name="connsiteY42" fmla="*/ 561975 h 1055124"/>
                  <a:gd name="connsiteX43" fmla="*/ 30956 w 707231"/>
                  <a:gd name="connsiteY43" fmla="*/ 592931 h 1055124"/>
                  <a:gd name="connsiteX44" fmla="*/ 97631 w 707231"/>
                  <a:gd name="connsiteY44" fmla="*/ 609600 h 1055124"/>
                  <a:gd name="connsiteX45" fmla="*/ 104775 w 707231"/>
                  <a:gd name="connsiteY45" fmla="*/ 676275 h 1055124"/>
                  <a:gd name="connsiteX46" fmla="*/ 90487 w 707231"/>
                  <a:gd name="connsiteY46" fmla="*/ 728662 h 1055124"/>
                  <a:gd name="connsiteX47" fmla="*/ 80962 w 707231"/>
                  <a:gd name="connsiteY47" fmla="*/ 747712 h 1055124"/>
                  <a:gd name="connsiteX48" fmla="*/ 80962 w 707231"/>
                  <a:gd name="connsiteY48" fmla="*/ 781050 h 1055124"/>
                  <a:gd name="connsiteX49" fmla="*/ 109537 w 707231"/>
                  <a:gd name="connsiteY49" fmla="*/ 819150 h 1055124"/>
                  <a:gd name="connsiteX50" fmla="*/ 102393 w 707231"/>
                  <a:gd name="connsiteY50" fmla="*/ 869156 h 1055124"/>
                  <a:gd name="connsiteX51" fmla="*/ 83343 w 707231"/>
                  <a:gd name="connsiteY51" fmla="*/ 890587 h 1055124"/>
                  <a:gd name="connsiteX52" fmla="*/ 85725 w 707231"/>
                  <a:gd name="connsiteY52" fmla="*/ 954881 h 1055124"/>
                  <a:gd name="connsiteX53" fmla="*/ 92868 w 707231"/>
                  <a:gd name="connsiteY53" fmla="*/ 966787 h 1055124"/>
                  <a:gd name="connsiteX54" fmla="*/ 71437 w 707231"/>
                  <a:gd name="connsiteY54" fmla="*/ 1031081 h 1055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707231" h="1055124">
                    <a:moveTo>
                      <a:pt x="71437" y="1031081"/>
                    </a:moveTo>
                    <a:lnTo>
                      <a:pt x="102393" y="1054894"/>
                    </a:lnTo>
                    <a:cubicBezTo>
                      <a:pt x="127794" y="1057275"/>
                      <a:pt x="143668" y="1040606"/>
                      <a:pt x="164306" y="1033462"/>
                    </a:cubicBezTo>
                    <a:lnTo>
                      <a:pt x="200025" y="1012031"/>
                    </a:lnTo>
                    <a:lnTo>
                      <a:pt x="247650" y="969169"/>
                    </a:lnTo>
                    <a:lnTo>
                      <a:pt x="276225" y="912019"/>
                    </a:lnTo>
                    <a:lnTo>
                      <a:pt x="350043" y="871537"/>
                    </a:lnTo>
                    <a:lnTo>
                      <a:pt x="411956" y="823912"/>
                    </a:lnTo>
                    <a:lnTo>
                      <a:pt x="411956" y="781050"/>
                    </a:lnTo>
                    <a:lnTo>
                      <a:pt x="471487" y="671512"/>
                    </a:lnTo>
                    <a:lnTo>
                      <a:pt x="547687" y="642937"/>
                    </a:lnTo>
                    <a:lnTo>
                      <a:pt x="595312" y="592931"/>
                    </a:lnTo>
                    <a:cubicBezTo>
                      <a:pt x="596106" y="541337"/>
                      <a:pt x="596899" y="489744"/>
                      <a:pt x="597693" y="438150"/>
                    </a:cubicBezTo>
                    <a:lnTo>
                      <a:pt x="604837" y="350044"/>
                    </a:lnTo>
                    <a:lnTo>
                      <a:pt x="614362" y="295275"/>
                    </a:lnTo>
                    <a:lnTo>
                      <a:pt x="671512" y="219075"/>
                    </a:lnTo>
                    <a:lnTo>
                      <a:pt x="707231" y="147637"/>
                    </a:lnTo>
                    <a:lnTo>
                      <a:pt x="697706" y="97631"/>
                    </a:lnTo>
                    <a:lnTo>
                      <a:pt x="702468" y="35719"/>
                    </a:lnTo>
                    <a:lnTo>
                      <a:pt x="628650" y="0"/>
                    </a:lnTo>
                    <a:lnTo>
                      <a:pt x="600075" y="28575"/>
                    </a:lnTo>
                    <a:lnTo>
                      <a:pt x="597693" y="69056"/>
                    </a:lnTo>
                    <a:lnTo>
                      <a:pt x="583406" y="88106"/>
                    </a:lnTo>
                    <a:lnTo>
                      <a:pt x="523875" y="95250"/>
                    </a:lnTo>
                    <a:lnTo>
                      <a:pt x="509587" y="135731"/>
                    </a:lnTo>
                    <a:lnTo>
                      <a:pt x="478631" y="128587"/>
                    </a:lnTo>
                    <a:lnTo>
                      <a:pt x="466725" y="154781"/>
                    </a:lnTo>
                    <a:lnTo>
                      <a:pt x="431006" y="147637"/>
                    </a:lnTo>
                    <a:lnTo>
                      <a:pt x="376237" y="169069"/>
                    </a:lnTo>
                    <a:lnTo>
                      <a:pt x="319087" y="166687"/>
                    </a:lnTo>
                    <a:lnTo>
                      <a:pt x="307181" y="135731"/>
                    </a:lnTo>
                    <a:lnTo>
                      <a:pt x="273843" y="147637"/>
                    </a:lnTo>
                    <a:lnTo>
                      <a:pt x="178593" y="173831"/>
                    </a:lnTo>
                    <a:lnTo>
                      <a:pt x="188118" y="202406"/>
                    </a:lnTo>
                    <a:lnTo>
                      <a:pt x="195262" y="233362"/>
                    </a:lnTo>
                    <a:lnTo>
                      <a:pt x="142875" y="338137"/>
                    </a:lnTo>
                    <a:lnTo>
                      <a:pt x="57150" y="323850"/>
                    </a:lnTo>
                    <a:lnTo>
                      <a:pt x="11906" y="347662"/>
                    </a:lnTo>
                    <a:lnTo>
                      <a:pt x="0" y="400050"/>
                    </a:lnTo>
                    <a:lnTo>
                      <a:pt x="14287" y="476250"/>
                    </a:lnTo>
                    <a:lnTo>
                      <a:pt x="11906" y="519112"/>
                    </a:lnTo>
                    <a:lnTo>
                      <a:pt x="0" y="550069"/>
                    </a:lnTo>
                    <a:lnTo>
                      <a:pt x="11906" y="561975"/>
                    </a:lnTo>
                    <a:lnTo>
                      <a:pt x="30956" y="592931"/>
                    </a:lnTo>
                    <a:lnTo>
                      <a:pt x="97631" y="609600"/>
                    </a:lnTo>
                    <a:lnTo>
                      <a:pt x="104775" y="676275"/>
                    </a:lnTo>
                    <a:lnTo>
                      <a:pt x="90487" y="728662"/>
                    </a:lnTo>
                    <a:lnTo>
                      <a:pt x="80962" y="747712"/>
                    </a:lnTo>
                    <a:lnTo>
                      <a:pt x="80962" y="781050"/>
                    </a:lnTo>
                    <a:lnTo>
                      <a:pt x="109537" y="819150"/>
                    </a:lnTo>
                    <a:lnTo>
                      <a:pt x="102393" y="869156"/>
                    </a:lnTo>
                    <a:lnTo>
                      <a:pt x="83343" y="890587"/>
                    </a:lnTo>
                    <a:lnTo>
                      <a:pt x="85725" y="954881"/>
                    </a:lnTo>
                    <a:lnTo>
                      <a:pt x="92868" y="966787"/>
                    </a:lnTo>
                    <a:lnTo>
                      <a:pt x="71437" y="1031081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54" name="Freeform 19">
                <a:extLst>
                  <a:ext uri="{FF2B5EF4-FFF2-40B4-BE49-F238E27FC236}">
                    <a16:creationId xmlns:a16="http://schemas.microsoft.com/office/drawing/2014/main" id="{B5D25C43-4482-4CF7-972A-5A7C56F45E54}"/>
                  </a:ext>
                </a:extLst>
              </p:cNvPr>
              <p:cNvSpPr/>
              <p:nvPr/>
            </p:nvSpPr>
            <p:spPr>
              <a:xfrm>
                <a:off x="3491880" y="4019525"/>
                <a:ext cx="1466850" cy="1209675"/>
              </a:xfrm>
              <a:custGeom>
                <a:avLst/>
                <a:gdLst>
                  <a:gd name="connsiteX0" fmla="*/ 30956 w 1466850"/>
                  <a:gd name="connsiteY0" fmla="*/ 302419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30956 w 1466850"/>
                  <a:gd name="connsiteY114" fmla="*/ 302419 h 1095375"/>
                  <a:gd name="connsiteX0" fmla="*/ 30956 w 1466850"/>
                  <a:gd name="connsiteY0" fmla="*/ 302419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83344 w 1466850"/>
                  <a:gd name="connsiteY114" fmla="*/ 311944 h 1095375"/>
                  <a:gd name="connsiteX115" fmla="*/ 30956 w 1466850"/>
                  <a:gd name="connsiteY115" fmla="*/ 302419 h 1095375"/>
                  <a:gd name="connsiteX0" fmla="*/ 30956 w 1466850"/>
                  <a:gd name="connsiteY0" fmla="*/ 302419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78581 w 1466850"/>
                  <a:gd name="connsiteY114" fmla="*/ 326232 h 1095375"/>
                  <a:gd name="connsiteX115" fmla="*/ 30956 w 1466850"/>
                  <a:gd name="connsiteY115" fmla="*/ 302419 h 1095375"/>
                  <a:gd name="connsiteX0" fmla="*/ 30956 w 1466850"/>
                  <a:gd name="connsiteY0" fmla="*/ 316706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78581 w 1466850"/>
                  <a:gd name="connsiteY114" fmla="*/ 326232 h 1095375"/>
                  <a:gd name="connsiteX115" fmla="*/ 30956 w 1466850"/>
                  <a:gd name="connsiteY115" fmla="*/ 316706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78581 w 1466850"/>
                  <a:gd name="connsiteY114" fmla="*/ 326232 h 1095375"/>
                  <a:gd name="connsiteX115" fmla="*/ 30956 w 1466850"/>
                  <a:gd name="connsiteY115" fmla="*/ 295274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54769 w 1466850"/>
                  <a:gd name="connsiteY114" fmla="*/ 311945 h 1095375"/>
                  <a:gd name="connsiteX115" fmla="*/ 30956 w 1466850"/>
                  <a:gd name="connsiteY115" fmla="*/ 295274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54769 w 1466850"/>
                  <a:gd name="connsiteY114" fmla="*/ 311945 h 1095375"/>
                  <a:gd name="connsiteX115" fmla="*/ 90487 w 1466850"/>
                  <a:gd name="connsiteY115" fmla="*/ 316706 h 1095375"/>
                  <a:gd name="connsiteX116" fmla="*/ 30956 w 1466850"/>
                  <a:gd name="connsiteY116" fmla="*/ 295274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54769 w 1466850"/>
                  <a:gd name="connsiteY114" fmla="*/ 311945 h 1095375"/>
                  <a:gd name="connsiteX115" fmla="*/ 83343 w 1466850"/>
                  <a:gd name="connsiteY115" fmla="*/ 302418 h 1095375"/>
                  <a:gd name="connsiteX116" fmla="*/ 30956 w 1466850"/>
                  <a:gd name="connsiteY116" fmla="*/ 295274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109538 w 1466850"/>
                  <a:gd name="connsiteY114" fmla="*/ 311945 h 1095375"/>
                  <a:gd name="connsiteX115" fmla="*/ 83343 w 1466850"/>
                  <a:gd name="connsiteY115" fmla="*/ 302418 h 1095375"/>
                  <a:gd name="connsiteX116" fmla="*/ 30956 w 1466850"/>
                  <a:gd name="connsiteY116" fmla="*/ 295274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109538 w 1466850"/>
                  <a:gd name="connsiteY114" fmla="*/ 311945 h 1095375"/>
                  <a:gd name="connsiteX115" fmla="*/ 59530 w 1466850"/>
                  <a:gd name="connsiteY115" fmla="*/ 302418 h 1095375"/>
                  <a:gd name="connsiteX116" fmla="*/ 30956 w 1466850"/>
                  <a:gd name="connsiteY116" fmla="*/ 295274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66676 w 1466850"/>
                  <a:gd name="connsiteY114" fmla="*/ 321470 h 1095375"/>
                  <a:gd name="connsiteX115" fmla="*/ 59530 w 1466850"/>
                  <a:gd name="connsiteY115" fmla="*/ 302418 h 1095375"/>
                  <a:gd name="connsiteX116" fmla="*/ 30956 w 1466850"/>
                  <a:gd name="connsiteY116" fmla="*/ 295274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242887 w 1466850"/>
                  <a:gd name="connsiteY14" fmla="*/ 1092994 h 1095375"/>
                  <a:gd name="connsiteX15" fmla="*/ 238125 w 1466850"/>
                  <a:gd name="connsiteY15" fmla="*/ 1045369 h 1095375"/>
                  <a:gd name="connsiteX16" fmla="*/ 230981 w 1466850"/>
                  <a:gd name="connsiteY16" fmla="*/ 1035844 h 1095375"/>
                  <a:gd name="connsiteX17" fmla="*/ 252412 w 1466850"/>
                  <a:gd name="connsiteY17" fmla="*/ 1019175 h 1095375"/>
                  <a:gd name="connsiteX18" fmla="*/ 314325 w 1466850"/>
                  <a:gd name="connsiteY18" fmla="*/ 995362 h 1095375"/>
                  <a:gd name="connsiteX19" fmla="*/ 311944 w 1466850"/>
                  <a:gd name="connsiteY19" fmla="*/ 959644 h 1095375"/>
                  <a:gd name="connsiteX20" fmla="*/ 326231 w 1466850"/>
                  <a:gd name="connsiteY20" fmla="*/ 942975 h 1095375"/>
                  <a:gd name="connsiteX21" fmla="*/ 452437 w 1466850"/>
                  <a:gd name="connsiteY21" fmla="*/ 950119 h 1095375"/>
                  <a:gd name="connsiteX22" fmla="*/ 464344 w 1466850"/>
                  <a:gd name="connsiteY22" fmla="*/ 933450 h 1095375"/>
                  <a:gd name="connsiteX23" fmla="*/ 476250 w 1466850"/>
                  <a:gd name="connsiteY23" fmla="*/ 883444 h 1095375"/>
                  <a:gd name="connsiteX24" fmla="*/ 488156 w 1466850"/>
                  <a:gd name="connsiteY24" fmla="*/ 857250 h 1095375"/>
                  <a:gd name="connsiteX25" fmla="*/ 526256 w 1466850"/>
                  <a:gd name="connsiteY25" fmla="*/ 862012 h 1095375"/>
                  <a:gd name="connsiteX26" fmla="*/ 545306 w 1466850"/>
                  <a:gd name="connsiteY26" fmla="*/ 909637 h 1095375"/>
                  <a:gd name="connsiteX27" fmla="*/ 566737 w 1466850"/>
                  <a:gd name="connsiteY27" fmla="*/ 881062 h 1095375"/>
                  <a:gd name="connsiteX28" fmla="*/ 621506 w 1466850"/>
                  <a:gd name="connsiteY28" fmla="*/ 845344 h 1095375"/>
                  <a:gd name="connsiteX29" fmla="*/ 709612 w 1466850"/>
                  <a:gd name="connsiteY29" fmla="*/ 814387 h 1095375"/>
                  <a:gd name="connsiteX30" fmla="*/ 716756 w 1466850"/>
                  <a:gd name="connsiteY30" fmla="*/ 769144 h 1095375"/>
                  <a:gd name="connsiteX31" fmla="*/ 742950 w 1466850"/>
                  <a:gd name="connsiteY31" fmla="*/ 750094 h 1095375"/>
                  <a:gd name="connsiteX32" fmla="*/ 785812 w 1466850"/>
                  <a:gd name="connsiteY32" fmla="*/ 726281 h 1095375"/>
                  <a:gd name="connsiteX33" fmla="*/ 800100 w 1466850"/>
                  <a:gd name="connsiteY33" fmla="*/ 716756 h 1095375"/>
                  <a:gd name="connsiteX34" fmla="*/ 862012 w 1466850"/>
                  <a:gd name="connsiteY34" fmla="*/ 721519 h 1095375"/>
                  <a:gd name="connsiteX35" fmla="*/ 883444 w 1466850"/>
                  <a:gd name="connsiteY35" fmla="*/ 721519 h 1095375"/>
                  <a:gd name="connsiteX36" fmla="*/ 892969 w 1466850"/>
                  <a:gd name="connsiteY36" fmla="*/ 697706 h 1095375"/>
                  <a:gd name="connsiteX37" fmla="*/ 892969 w 1466850"/>
                  <a:gd name="connsiteY37" fmla="*/ 697706 h 1095375"/>
                  <a:gd name="connsiteX38" fmla="*/ 921544 w 1466850"/>
                  <a:gd name="connsiteY38" fmla="*/ 609600 h 1095375"/>
                  <a:gd name="connsiteX39" fmla="*/ 909637 w 1466850"/>
                  <a:gd name="connsiteY39" fmla="*/ 552450 h 1095375"/>
                  <a:gd name="connsiteX40" fmla="*/ 928687 w 1466850"/>
                  <a:gd name="connsiteY40" fmla="*/ 540544 h 1095375"/>
                  <a:gd name="connsiteX41" fmla="*/ 973931 w 1466850"/>
                  <a:gd name="connsiteY41" fmla="*/ 535781 h 1095375"/>
                  <a:gd name="connsiteX42" fmla="*/ 1014412 w 1466850"/>
                  <a:gd name="connsiteY42" fmla="*/ 447675 h 1095375"/>
                  <a:gd name="connsiteX43" fmla="*/ 1038225 w 1466850"/>
                  <a:gd name="connsiteY43" fmla="*/ 445294 h 1095375"/>
                  <a:gd name="connsiteX44" fmla="*/ 1073944 w 1466850"/>
                  <a:gd name="connsiteY44" fmla="*/ 476250 h 1095375"/>
                  <a:gd name="connsiteX45" fmla="*/ 1112044 w 1466850"/>
                  <a:gd name="connsiteY45" fmla="*/ 514350 h 1095375"/>
                  <a:gd name="connsiteX46" fmla="*/ 1171575 w 1466850"/>
                  <a:gd name="connsiteY46" fmla="*/ 540544 h 1095375"/>
                  <a:gd name="connsiteX47" fmla="*/ 1219200 w 1466850"/>
                  <a:gd name="connsiteY47" fmla="*/ 521494 h 1095375"/>
                  <a:gd name="connsiteX48" fmla="*/ 1245394 w 1466850"/>
                  <a:gd name="connsiteY48" fmla="*/ 502444 h 1095375"/>
                  <a:gd name="connsiteX49" fmla="*/ 1278731 w 1466850"/>
                  <a:gd name="connsiteY49" fmla="*/ 511969 h 1095375"/>
                  <a:gd name="connsiteX50" fmla="*/ 1295400 w 1466850"/>
                  <a:gd name="connsiteY50" fmla="*/ 531019 h 1095375"/>
                  <a:gd name="connsiteX51" fmla="*/ 1273969 w 1466850"/>
                  <a:gd name="connsiteY51" fmla="*/ 573881 h 1095375"/>
                  <a:gd name="connsiteX52" fmla="*/ 1271587 w 1466850"/>
                  <a:gd name="connsiteY52" fmla="*/ 602456 h 1095375"/>
                  <a:gd name="connsiteX53" fmla="*/ 1285875 w 1466850"/>
                  <a:gd name="connsiteY53" fmla="*/ 611981 h 1095375"/>
                  <a:gd name="connsiteX54" fmla="*/ 1300162 w 1466850"/>
                  <a:gd name="connsiteY54" fmla="*/ 628650 h 1095375"/>
                  <a:gd name="connsiteX55" fmla="*/ 1321594 w 1466850"/>
                  <a:gd name="connsiteY55" fmla="*/ 666750 h 1095375"/>
                  <a:gd name="connsiteX56" fmla="*/ 1347787 w 1466850"/>
                  <a:gd name="connsiteY56" fmla="*/ 681037 h 1095375"/>
                  <a:gd name="connsiteX57" fmla="*/ 1371600 w 1466850"/>
                  <a:gd name="connsiteY57" fmla="*/ 681037 h 1095375"/>
                  <a:gd name="connsiteX58" fmla="*/ 1376362 w 1466850"/>
                  <a:gd name="connsiteY58" fmla="*/ 628650 h 1095375"/>
                  <a:gd name="connsiteX59" fmla="*/ 1395412 w 1466850"/>
                  <a:gd name="connsiteY59" fmla="*/ 578644 h 1095375"/>
                  <a:gd name="connsiteX60" fmla="*/ 1426369 w 1466850"/>
                  <a:gd name="connsiteY60" fmla="*/ 571500 h 1095375"/>
                  <a:gd name="connsiteX61" fmla="*/ 1466850 w 1466850"/>
                  <a:gd name="connsiteY61" fmla="*/ 552450 h 1095375"/>
                  <a:gd name="connsiteX62" fmla="*/ 1443037 w 1466850"/>
                  <a:gd name="connsiteY62" fmla="*/ 509587 h 1095375"/>
                  <a:gd name="connsiteX63" fmla="*/ 1414462 w 1466850"/>
                  <a:gd name="connsiteY63" fmla="*/ 464344 h 1095375"/>
                  <a:gd name="connsiteX64" fmla="*/ 1388269 w 1466850"/>
                  <a:gd name="connsiteY64" fmla="*/ 438150 h 1095375"/>
                  <a:gd name="connsiteX65" fmla="*/ 1404937 w 1466850"/>
                  <a:gd name="connsiteY65" fmla="*/ 400050 h 1095375"/>
                  <a:gd name="connsiteX66" fmla="*/ 1404937 w 1466850"/>
                  <a:gd name="connsiteY66" fmla="*/ 383381 h 1095375"/>
                  <a:gd name="connsiteX67" fmla="*/ 1431131 w 1466850"/>
                  <a:gd name="connsiteY67" fmla="*/ 338137 h 1095375"/>
                  <a:gd name="connsiteX68" fmla="*/ 1419225 w 1466850"/>
                  <a:gd name="connsiteY68" fmla="*/ 264319 h 1095375"/>
                  <a:gd name="connsiteX69" fmla="*/ 1438275 w 1466850"/>
                  <a:gd name="connsiteY69" fmla="*/ 202406 h 1095375"/>
                  <a:gd name="connsiteX70" fmla="*/ 1435894 w 1466850"/>
                  <a:gd name="connsiteY70" fmla="*/ 173831 h 1095375"/>
                  <a:gd name="connsiteX71" fmla="*/ 1404937 w 1466850"/>
                  <a:gd name="connsiteY71" fmla="*/ 164306 h 1095375"/>
                  <a:gd name="connsiteX72" fmla="*/ 1364456 w 1466850"/>
                  <a:gd name="connsiteY72" fmla="*/ 154781 h 1095375"/>
                  <a:gd name="connsiteX73" fmla="*/ 1293019 w 1466850"/>
                  <a:gd name="connsiteY73" fmla="*/ 154781 h 1095375"/>
                  <a:gd name="connsiteX74" fmla="*/ 1233487 w 1466850"/>
                  <a:gd name="connsiteY74" fmla="*/ 121444 h 1095375"/>
                  <a:gd name="connsiteX75" fmla="*/ 1207294 w 1466850"/>
                  <a:gd name="connsiteY75" fmla="*/ 114300 h 1095375"/>
                  <a:gd name="connsiteX76" fmla="*/ 1188244 w 1466850"/>
                  <a:gd name="connsiteY76" fmla="*/ 126206 h 1095375"/>
                  <a:gd name="connsiteX77" fmla="*/ 1133475 w 1466850"/>
                  <a:gd name="connsiteY77" fmla="*/ 188119 h 1095375"/>
                  <a:gd name="connsiteX78" fmla="*/ 1116806 w 1466850"/>
                  <a:gd name="connsiteY78" fmla="*/ 188119 h 1095375"/>
                  <a:gd name="connsiteX79" fmla="*/ 1078706 w 1466850"/>
                  <a:gd name="connsiteY79" fmla="*/ 142875 h 1095375"/>
                  <a:gd name="connsiteX80" fmla="*/ 1054894 w 1466850"/>
                  <a:gd name="connsiteY80" fmla="*/ 138112 h 1095375"/>
                  <a:gd name="connsiteX81" fmla="*/ 997744 w 1466850"/>
                  <a:gd name="connsiteY81" fmla="*/ 157162 h 1095375"/>
                  <a:gd name="connsiteX82" fmla="*/ 973931 w 1466850"/>
                  <a:gd name="connsiteY82" fmla="*/ 178594 h 1095375"/>
                  <a:gd name="connsiteX83" fmla="*/ 928687 w 1466850"/>
                  <a:gd name="connsiteY83" fmla="*/ 173831 h 1095375"/>
                  <a:gd name="connsiteX84" fmla="*/ 878681 w 1466850"/>
                  <a:gd name="connsiteY84" fmla="*/ 164306 h 1095375"/>
                  <a:gd name="connsiteX85" fmla="*/ 864394 w 1466850"/>
                  <a:gd name="connsiteY85" fmla="*/ 83344 h 1095375"/>
                  <a:gd name="connsiteX86" fmla="*/ 845344 w 1466850"/>
                  <a:gd name="connsiteY86" fmla="*/ 69056 h 1095375"/>
                  <a:gd name="connsiteX87" fmla="*/ 747712 w 1466850"/>
                  <a:gd name="connsiteY87" fmla="*/ 119062 h 1095375"/>
                  <a:gd name="connsiteX88" fmla="*/ 721519 w 1466850"/>
                  <a:gd name="connsiteY88" fmla="*/ 140494 h 1095375"/>
                  <a:gd name="connsiteX89" fmla="*/ 709612 w 1466850"/>
                  <a:gd name="connsiteY89" fmla="*/ 190500 h 1095375"/>
                  <a:gd name="connsiteX90" fmla="*/ 707231 w 1466850"/>
                  <a:gd name="connsiteY90" fmla="*/ 195262 h 1095375"/>
                  <a:gd name="connsiteX91" fmla="*/ 654844 w 1466850"/>
                  <a:gd name="connsiteY91" fmla="*/ 190500 h 1095375"/>
                  <a:gd name="connsiteX92" fmla="*/ 633412 w 1466850"/>
                  <a:gd name="connsiteY92" fmla="*/ 180975 h 1095375"/>
                  <a:gd name="connsiteX93" fmla="*/ 614362 w 1466850"/>
                  <a:gd name="connsiteY93" fmla="*/ 142875 h 1095375"/>
                  <a:gd name="connsiteX94" fmla="*/ 590550 w 1466850"/>
                  <a:gd name="connsiteY94" fmla="*/ 130969 h 1095375"/>
                  <a:gd name="connsiteX95" fmla="*/ 540544 w 1466850"/>
                  <a:gd name="connsiteY95" fmla="*/ 161925 h 1095375"/>
                  <a:gd name="connsiteX96" fmla="*/ 507206 w 1466850"/>
                  <a:gd name="connsiteY96" fmla="*/ 154781 h 1095375"/>
                  <a:gd name="connsiteX97" fmla="*/ 495300 w 1466850"/>
                  <a:gd name="connsiteY97" fmla="*/ 123825 h 1095375"/>
                  <a:gd name="connsiteX98" fmla="*/ 490537 w 1466850"/>
                  <a:gd name="connsiteY98" fmla="*/ 114300 h 1095375"/>
                  <a:gd name="connsiteX99" fmla="*/ 431006 w 1466850"/>
                  <a:gd name="connsiteY99" fmla="*/ 97631 h 1095375"/>
                  <a:gd name="connsiteX100" fmla="*/ 442912 w 1466850"/>
                  <a:gd name="connsiteY100" fmla="*/ 33337 h 1095375"/>
                  <a:gd name="connsiteX101" fmla="*/ 423862 w 1466850"/>
                  <a:gd name="connsiteY101" fmla="*/ 19050 h 1095375"/>
                  <a:gd name="connsiteX102" fmla="*/ 335756 w 1466850"/>
                  <a:gd name="connsiteY102" fmla="*/ 0 h 1095375"/>
                  <a:gd name="connsiteX103" fmla="*/ 302419 w 1466850"/>
                  <a:gd name="connsiteY103" fmla="*/ 35719 h 1095375"/>
                  <a:gd name="connsiteX104" fmla="*/ 266700 w 1466850"/>
                  <a:gd name="connsiteY104" fmla="*/ 50006 h 1095375"/>
                  <a:gd name="connsiteX105" fmla="*/ 271462 w 1466850"/>
                  <a:gd name="connsiteY105" fmla="*/ 95250 h 1095375"/>
                  <a:gd name="connsiteX106" fmla="*/ 316706 w 1466850"/>
                  <a:gd name="connsiteY106" fmla="*/ 121444 h 1095375"/>
                  <a:gd name="connsiteX107" fmla="*/ 302419 w 1466850"/>
                  <a:gd name="connsiteY107" fmla="*/ 145256 h 1095375"/>
                  <a:gd name="connsiteX108" fmla="*/ 247650 w 1466850"/>
                  <a:gd name="connsiteY108" fmla="*/ 159544 h 1095375"/>
                  <a:gd name="connsiteX109" fmla="*/ 214312 w 1466850"/>
                  <a:gd name="connsiteY109" fmla="*/ 216694 h 1095375"/>
                  <a:gd name="connsiteX110" fmla="*/ 183356 w 1466850"/>
                  <a:gd name="connsiteY110" fmla="*/ 221456 h 1095375"/>
                  <a:gd name="connsiteX111" fmla="*/ 183356 w 1466850"/>
                  <a:gd name="connsiteY111" fmla="*/ 254794 h 1095375"/>
                  <a:gd name="connsiteX112" fmla="*/ 161925 w 1466850"/>
                  <a:gd name="connsiteY112" fmla="*/ 304800 h 1095375"/>
                  <a:gd name="connsiteX113" fmla="*/ 140494 w 1466850"/>
                  <a:gd name="connsiteY113" fmla="*/ 323850 h 1095375"/>
                  <a:gd name="connsiteX114" fmla="*/ 71439 w 1466850"/>
                  <a:gd name="connsiteY114" fmla="*/ 300039 h 1095375"/>
                  <a:gd name="connsiteX115" fmla="*/ 59530 w 1466850"/>
                  <a:gd name="connsiteY115" fmla="*/ 302418 h 1095375"/>
                  <a:gd name="connsiteX116" fmla="*/ 30956 w 1466850"/>
                  <a:gd name="connsiteY116" fmla="*/ 295274 h 1095375"/>
                  <a:gd name="connsiteX0" fmla="*/ 30956 w 1466850"/>
                  <a:gd name="connsiteY0" fmla="*/ 295274 h 1095375"/>
                  <a:gd name="connsiteX1" fmla="*/ 19050 w 1466850"/>
                  <a:gd name="connsiteY1" fmla="*/ 381000 h 1095375"/>
                  <a:gd name="connsiteX2" fmla="*/ 19050 w 1466850"/>
                  <a:gd name="connsiteY2" fmla="*/ 397669 h 1095375"/>
                  <a:gd name="connsiteX3" fmla="*/ 0 w 1466850"/>
                  <a:gd name="connsiteY3" fmla="*/ 459581 h 1095375"/>
                  <a:gd name="connsiteX4" fmla="*/ 7144 w 1466850"/>
                  <a:gd name="connsiteY4" fmla="*/ 497681 h 1095375"/>
                  <a:gd name="connsiteX5" fmla="*/ 9525 w 1466850"/>
                  <a:gd name="connsiteY5" fmla="*/ 535781 h 1095375"/>
                  <a:gd name="connsiteX6" fmla="*/ 19050 w 1466850"/>
                  <a:gd name="connsiteY6" fmla="*/ 583406 h 1095375"/>
                  <a:gd name="connsiteX7" fmla="*/ 23812 w 1466850"/>
                  <a:gd name="connsiteY7" fmla="*/ 688181 h 1095375"/>
                  <a:gd name="connsiteX8" fmla="*/ 35719 w 1466850"/>
                  <a:gd name="connsiteY8" fmla="*/ 747712 h 1095375"/>
                  <a:gd name="connsiteX9" fmla="*/ 40481 w 1466850"/>
                  <a:gd name="connsiteY9" fmla="*/ 778669 h 1095375"/>
                  <a:gd name="connsiteX10" fmla="*/ 47625 w 1466850"/>
                  <a:gd name="connsiteY10" fmla="*/ 831056 h 1095375"/>
                  <a:gd name="connsiteX11" fmla="*/ 38100 w 1466850"/>
                  <a:gd name="connsiteY11" fmla="*/ 919162 h 1095375"/>
                  <a:gd name="connsiteX12" fmla="*/ 78581 w 1466850"/>
                  <a:gd name="connsiteY12" fmla="*/ 1028700 h 1095375"/>
                  <a:gd name="connsiteX13" fmla="*/ 71437 w 1466850"/>
                  <a:gd name="connsiteY13" fmla="*/ 1095375 h 1095375"/>
                  <a:gd name="connsiteX14" fmla="*/ 114300 w 1466850"/>
                  <a:gd name="connsiteY14" fmla="*/ 1095375 h 1095375"/>
                  <a:gd name="connsiteX15" fmla="*/ 242887 w 1466850"/>
                  <a:gd name="connsiteY15" fmla="*/ 1092994 h 1095375"/>
                  <a:gd name="connsiteX16" fmla="*/ 238125 w 1466850"/>
                  <a:gd name="connsiteY16" fmla="*/ 1045369 h 1095375"/>
                  <a:gd name="connsiteX17" fmla="*/ 230981 w 1466850"/>
                  <a:gd name="connsiteY17" fmla="*/ 1035844 h 1095375"/>
                  <a:gd name="connsiteX18" fmla="*/ 252412 w 1466850"/>
                  <a:gd name="connsiteY18" fmla="*/ 1019175 h 1095375"/>
                  <a:gd name="connsiteX19" fmla="*/ 314325 w 1466850"/>
                  <a:gd name="connsiteY19" fmla="*/ 995362 h 1095375"/>
                  <a:gd name="connsiteX20" fmla="*/ 311944 w 1466850"/>
                  <a:gd name="connsiteY20" fmla="*/ 959644 h 1095375"/>
                  <a:gd name="connsiteX21" fmla="*/ 326231 w 1466850"/>
                  <a:gd name="connsiteY21" fmla="*/ 942975 h 1095375"/>
                  <a:gd name="connsiteX22" fmla="*/ 452437 w 1466850"/>
                  <a:gd name="connsiteY22" fmla="*/ 950119 h 1095375"/>
                  <a:gd name="connsiteX23" fmla="*/ 464344 w 1466850"/>
                  <a:gd name="connsiteY23" fmla="*/ 933450 h 1095375"/>
                  <a:gd name="connsiteX24" fmla="*/ 476250 w 1466850"/>
                  <a:gd name="connsiteY24" fmla="*/ 883444 h 1095375"/>
                  <a:gd name="connsiteX25" fmla="*/ 488156 w 1466850"/>
                  <a:gd name="connsiteY25" fmla="*/ 857250 h 1095375"/>
                  <a:gd name="connsiteX26" fmla="*/ 526256 w 1466850"/>
                  <a:gd name="connsiteY26" fmla="*/ 862012 h 1095375"/>
                  <a:gd name="connsiteX27" fmla="*/ 545306 w 1466850"/>
                  <a:gd name="connsiteY27" fmla="*/ 909637 h 1095375"/>
                  <a:gd name="connsiteX28" fmla="*/ 566737 w 1466850"/>
                  <a:gd name="connsiteY28" fmla="*/ 881062 h 1095375"/>
                  <a:gd name="connsiteX29" fmla="*/ 621506 w 1466850"/>
                  <a:gd name="connsiteY29" fmla="*/ 845344 h 1095375"/>
                  <a:gd name="connsiteX30" fmla="*/ 709612 w 1466850"/>
                  <a:gd name="connsiteY30" fmla="*/ 814387 h 1095375"/>
                  <a:gd name="connsiteX31" fmla="*/ 716756 w 1466850"/>
                  <a:gd name="connsiteY31" fmla="*/ 769144 h 1095375"/>
                  <a:gd name="connsiteX32" fmla="*/ 742950 w 1466850"/>
                  <a:gd name="connsiteY32" fmla="*/ 750094 h 1095375"/>
                  <a:gd name="connsiteX33" fmla="*/ 785812 w 1466850"/>
                  <a:gd name="connsiteY33" fmla="*/ 726281 h 1095375"/>
                  <a:gd name="connsiteX34" fmla="*/ 800100 w 1466850"/>
                  <a:gd name="connsiteY34" fmla="*/ 716756 h 1095375"/>
                  <a:gd name="connsiteX35" fmla="*/ 862012 w 1466850"/>
                  <a:gd name="connsiteY35" fmla="*/ 721519 h 1095375"/>
                  <a:gd name="connsiteX36" fmla="*/ 883444 w 1466850"/>
                  <a:gd name="connsiteY36" fmla="*/ 721519 h 1095375"/>
                  <a:gd name="connsiteX37" fmla="*/ 892969 w 1466850"/>
                  <a:gd name="connsiteY37" fmla="*/ 697706 h 1095375"/>
                  <a:gd name="connsiteX38" fmla="*/ 892969 w 1466850"/>
                  <a:gd name="connsiteY38" fmla="*/ 697706 h 1095375"/>
                  <a:gd name="connsiteX39" fmla="*/ 921544 w 1466850"/>
                  <a:gd name="connsiteY39" fmla="*/ 609600 h 1095375"/>
                  <a:gd name="connsiteX40" fmla="*/ 909637 w 1466850"/>
                  <a:gd name="connsiteY40" fmla="*/ 552450 h 1095375"/>
                  <a:gd name="connsiteX41" fmla="*/ 928687 w 1466850"/>
                  <a:gd name="connsiteY41" fmla="*/ 540544 h 1095375"/>
                  <a:gd name="connsiteX42" fmla="*/ 973931 w 1466850"/>
                  <a:gd name="connsiteY42" fmla="*/ 535781 h 1095375"/>
                  <a:gd name="connsiteX43" fmla="*/ 1014412 w 1466850"/>
                  <a:gd name="connsiteY43" fmla="*/ 447675 h 1095375"/>
                  <a:gd name="connsiteX44" fmla="*/ 1038225 w 1466850"/>
                  <a:gd name="connsiteY44" fmla="*/ 445294 h 1095375"/>
                  <a:gd name="connsiteX45" fmla="*/ 1073944 w 1466850"/>
                  <a:gd name="connsiteY45" fmla="*/ 476250 h 1095375"/>
                  <a:gd name="connsiteX46" fmla="*/ 1112044 w 1466850"/>
                  <a:gd name="connsiteY46" fmla="*/ 514350 h 1095375"/>
                  <a:gd name="connsiteX47" fmla="*/ 1171575 w 1466850"/>
                  <a:gd name="connsiteY47" fmla="*/ 540544 h 1095375"/>
                  <a:gd name="connsiteX48" fmla="*/ 1219200 w 1466850"/>
                  <a:gd name="connsiteY48" fmla="*/ 521494 h 1095375"/>
                  <a:gd name="connsiteX49" fmla="*/ 1245394 w 1466850"/>
                  <a:gd name="connsiteY49" fmla="*/ 502444 h 1095375"/>
                  <a:gd name="connsiteX50" fmla="*/ 1278731 w 1466850"/>
                  <a:gd name="connsiteY50" fmla="*/ 511969 h 1095375"/>
                  <a:gd name="connsiteX51" fmla="*/ 1295400 w 1466850"/>
                  <a:gd name="connsiteY51" fmla="*/ 531019 h 1095375"/>
                  <a:gd name="connsiteX52" fmla="*/ 1273969 w 1466850"/>
                  <a:gd name="connsiteY52" fmla="*/ 573881 h 1095375"/>
                  <a:gd name="connsiteX53" fmla="*/ 1271587 w 1466850"/>
                  <a:gd name="connsiteY53" fmla="*/ 602456 h 1095375"/>
                  <a:gd name="connsiteX54" fmla="*/ 1285875 w 1466850"/>
                  <a:gd name="connsiteY54" fmla="*/ 611981 h 1095375"/>
                  <a:gd name="connsiteX55" fmla="*/ 1300162 w 1466850"/>
                  <a:gd name="connsiteY55" fmla="*/ 628650 h 1095375"/>
                  <a:gd name="connsiteX56" fmla="*/ 1321594 w 1466850"/>
                  <a:gd name="connsiteY56" fmla="*/ 666750 h 1095375"/>
                  <a:gd name="connsiteX57" fmla="*/ 1347787 w 1466850"/>
                  <a:gd name="connsiteY57" fmla="*/ 681037 h 1095375"/>
                  <a:gd name="connsiteX58" fmla="*/ 1371600 w 1466850"/>
                  <a:gd name="connsiteY58" fmla="*/ 681037 h 1095375"/>
                  <a:gd name="connsiteX59" fmla="*/ 1376362 w 1466850"/>
                  <a:gd name="connsiteY59" fmla="*/ 628650 h 1095375"/>
                  <a:gd name="connsiteX60" fmla="*/ 1395412 w 1466850"/>
                  <a:gd name="connsiteY60" fmla="*/ 578644 h 1095375"/>
                  <a:gd name="connsiteX61" fmla="*/ 1426369 w 1466850"/>
                  <a:gd name="connsiteY61" fmla="*/ 571500 h 1095375"/>
                  <a:gd name="connsiteX62" fmla="*/ 1466850 w 1466850"/>
                  <a:gd name="connsiteY62" fmla="*/ 552450 h 1095375"/>
                  <a:gd name="connsiteX63" fmla="*/ 1443037 w 1466850"/>
                  <a:gd name="connsiteY63" fmla="*/ 509587 h 1095375"/>
                  <a:gd name="connsiteX64" fmla="*/ 1414462 w 1466850"/>
                  <a:gd name="connsiteY64" fmla="*/ 464344 h 1095375"/>
                  <a:gd name="connsiteX65" fmla="*/ 1388269 w 1466850"/>
                  <a:gd name="connsiteY65" fmla="*/ 438150 h 1095375"/>
                  <a:gd name="connsiteX66" fmla="*/ 1404937 w 1466850"/>
                  <a:gd name="connsiteY66" fmla="*/ 400050 h 1095375"/>
                  <a:gd name="connsiteX67" fmla="*/ 1404937 w 1466850"/>
                  <a:gd name="connsiteY67" fmla="*/ 383381 h 1095375"/>
                  <a:gd name="connsiteX68" fmla="*/ 1431131 w 1466850"/>
                  <a:gd name="connsiteY68" fmla="*/ 338137 h 1095375"/>
                  <a:gd name="connsiteX69" fmla="*/ 1419225 w 1466850"/>
                  <a:gd name="connsiteY69" fmla="*/ 264319 h 1095375"/>
                  <a:gd name="connsiteX70" fmla="*/ 1438275 w 1466850"/>
                  <a:gd name="connsiteY70" fmla="*/ 202406 h 1095375"/>
                  <a:gd name="connsiteX71" fmla="*/ 1435894 w 1466850"/>
                  <a:gd name="connsiteY71" fmla="*/ 173831 h 1095375"/>
                  <a:gd name="connsiteX72" fmla="*/ 1404937 w 1466850"/>
                  <a:gd name="connsiteY72" fmla="*/ 164306 h 1095375"/>
                  <a:gd name="connsiteX73" fmla="*/ 1364456 w 1466850"/>
                  <a:gd name="connsiteY73" fmla="*/ 154781 h 1095375"/>
                  <a:gd name="connsiteX74" fmla="*/ 1293019 w 1466850"/>
                  <a:gd name="connsiteY74" fmla="*/ 154781 h 1095375"/>
                  <a:gd name="connsiteX75" fmla="*/ 1233487 w 1466850"/>
                  <a:gd name="connsiteY75" fmla="*/ 121444 h 1095375"/>
                  <a:gd name="connsiteX76" fmla="*/ 1207294 w 1466850"/>
                  <a:gd name="connsiteY76" fmla="*/ 114300 h 1095375"/>
                  <a:gd name="connsiteX77" fmla="*/ 1188244 w 1466850"/>
                  <a:gd name="connsiteY77" fmla="*/ 126206 h 1095375"/>
                  <a:gd name="connsiteX78" fmla="*/ 1133475 w 1466850"/>
                  <a:gd name="connsiteY78" fmla="*/ 188119 h 1095375"/>
                  <a:gd name="connsiteX79" fmla="*/ 1116806 w 1466850"/>
                  <a:gd name="connsiteY79" fmla="*/ 188119 h 1095375"/>
                  <a:gd name="connsiteX80" fmla="*/ 1078706 w 1466850"/>
                  <a:gd name="connsiteY80" fmla="*/ 142875 h 1095375"/>
                  <a:gd name="connsiteX81" fmla="*/ 1054894 w 1466850"/>
                  <a:gd name="connsiteY81" fmla="*/ 138112 h 1095375"/>
                  <a:gd name="connsiteX82" fmla="*/ 997744 w 1466850"/>
                  <a:gd name="connsiteY82" fmla="*/ 157162 h 1095375"/>
                  <a:gd name="connsiteX83" fmla="*/ 973931 w 1466850"/>
                  <a:gd name="connsiteY83" fmla="*/ 178594 h 1095375"/>
                  <a:gd name="connsiteX84" fmla="*/ 928687 w 1466850"/>
                  <a:gd name="connsiteY84" fmla="*/ 173831 h 1095375"/>
                  <a:gd name="connsiteX85" fmla="*/ 878681 w 1466850"/>
                  <a:gd name="connsiteY85" fmla="*/ 164306 h 1095375"/>
                  <a:gd name="connsiteX86" fmla="*/ 864394 w 1466850"/>
                  <a:gd name="connsiteY86" fmla="*/ 83344 h 1095375"/>
                  <a:gd name="connsiteX87" fmla="*/ 845344 w 1466850"/>
                  <a:gd name="connsiteY87" fmla="*/ 69056 h 1095375"/>
                  <a:gd name="connsiteX88" fmla="*/ 747712 w 1466850"/>
                  <a:gd name="connsiteY88" fmla="*/ 119062 h 1095375"/>
                  <a:gd name="connsiteX89" fmla="*/ 721519 w 1466850"/>
                  <a:gd name="connsiteY89" fmla="*/ 140494 h 1095375"/>
                  <a:gd name="connsiteX90" fmla="*/ 709612 w 1466850"/>
                  <a:gd name="connsiteY90" fmla="*/ 190500 h 1095375"/>
                  <a:gd name="connsiteX91" fmla="*/ 707231 w 1466850"/>
                  <a:gd name="connsiteY91" fmla="*/ 195262 h 1095375"/>
                  <a:gd name="connsiteX92" fmla="*/ 654844 w 1466850"/>
                  <a:gd name="connsiteY92" fmla="*/ 190500 h 1095375"/>
                  <a:gd name="connsiteX93" fmla="*/ 633412 w 1466850"/>
                  <a:gd name="connsiteY93" fmla="*/ 180975 h 1095375"/>
                  <a:gd name="connsiteX94" fmla="*/ 614362 w 1466850"/>
                  <a:gd name="connsiteY94" fmla="*/ 142875 h 1095375"/>
                  <a:gd name="connsiteX95" fmla="*/ 590550 w 1466850"/>
                  <a:gd name="connsiteY95" fmla="*/ 130969 h 1095375"/>
                  <a:gd name="connsiteX96" fmla="*/ 540544 w 1466850"/>
                  <a:gd name="connsiteY96" fmla="*/ 161925 h 1095375"/>
                  <a:gd name="connsiteX97" fmla="*/ 507206 w 1466850"/>
                  <a:gd name="connsiteY97" fmla="*/ 154781 h 1095375"/>
                  <a:gd name="connsiteX98" fmla="*/ 495300 w 1466850"/>
                  <a:gd name="connsiteY98" fmla="*/ 123825 h 1095375"/>
                  <a:gd name="connsiteX99" fmla="*/ 490537 w 1466850"/>
                  <a:gd name="connsiteY99" fmla="*/ 114300 h 1095375"/>
                  <a:gd name="connsiteX100" fmla="*/ 431006 w 1466850"/>
                  <a:gd name="connsiteY100" fmla="*/ 97631 h 1095375"/>
                  <a:gd name="connsiteX101" fmla="*/ 442912 w 1466850"/>
                  <a:gd name="connsiteY101" fmla="*/ 33337 h 1095375"/>
                  <a:gd name="connsiteX102" fmla="*/ 423862 w 1466850"/>
                  <a:gd name="connsiteY102" fmla="*/ 19050 h 1095375"/>
                  <a:gd name="connsiteX103" fmla="*/ 335756 w 1466850"/>
                  <a:gd name="connsiteY103" fmla="*/ 0 h 1095375"/>
                  <a:gd name="connsiteX104" fmla="*/ 302419 w 1466850"/>
                  <a:gd name="connsiteY104" fmla="*/ 35719 h 1095375"/>
                  <a:gd name="connsiteX105" fmla="*/ 266700 w 1466850"/>
                  <a:gd name="connsiteY105" fmla="*/ 50006 h 1095375"/>
                  <a:gd name="connsiteX106" fmla="*/ 271462 w 1466850"/>
                  <a:gd name="connsiteY106" fmla="*/ 95250 h 1095375"/>
                  <a:gd name="connsiteX107" fmla="*/ 316706 w 1466850"/>
                  <a:gd name="connsiteY107" fmla="*/ 121444 h 1095375"/>
                  <a:gd name="connsiteX108" fmla="*/ 302419 w 1466850"/>
                  <a:gd name="connsiteY108" fmla="*/ 145256 h 1095375"/>
                  <a:gd name="connsiteX109" fmla="*/ 247650 w 1466850"/>
                  <a:gd name="connsiteY109" fmla="*/ 159544 h 1095375"/>
                  <a:gd name="connsiteX110" fmla="*/ 214312 w 1466850"/>
                  <a:gd name="connsiteY110" fmla="*/ 216694 h 1095375"/>
                  <a:gd name="connsiteX111" fmla="*/ 183356 w 1466850"/>
                  <a:gd name="connsiteY111" fmla="*/ 221456 h 1095375"/>
                  <a:gd name="connsiteX112" fmla="*/ 183356 w 1466850"/>
                  <a:gd name="connsiteY112" fmla="*/ 254794 h 1095375"/>
                  <a:gd name="connsiteX113" fmla="*/ 161925 w 1466850"/>
                  <a:gd name="connsiteY113" fmla="*/ 304800 h 1095375"/>
                  <a:gd name="connsiteX114" fmla="*/ 140494 w 1466850"/>
                  <a:gd name="connsiteY114" fmla="*/ 323850 h 1095375"/>
                  <a:gd name="connsiteX115" fmla="*/ 71439 w 1466850"/>
                  <a:gd name="connsiteY115" fmla="*/ 300039 h 1095375"/>
                  <a:gd name="connsiteX116" fmla="*/ 59530 w 1466850"/>
                  <a:gd name="connsiteY116" fmla="*/ 302418 h 1095375"/>
                  <a:gd name="connsiteX117" fmla="*/ 30956 w 1466850"/>
                  <a:gd name="connsiteY117" fmla="*/ 295274 h 1095375"/>
                  <a:gd name="connsiteX0" fmla="*/ 30956 w 1466850"/>
                  <a:gd name="connsiteY0" fmla="*/ 295274 h 1164431"/>
                  <a:gd name="connsiteX1" fmla="*/ 19050 w 1466850"/>
                  <a:gd name="connsiteY1" fmla="*/ 381000 h 1164431"/>
                  <a:gd name="connsiteX2" fmla="*/ 19050 w 1466850"/>
                  <a:gd name="connsiteY2" fmla="*/ 397669 h 1164431"/>
                  <a:gd name="connsiteX3" fmla="*/ 0 w 1466850"/>
                  <a:gd name="connsiteY3" fmla="*/ 459581 h 1164431"/>
                  <a:gd name="connsiteX4" fmla="*/ 7144 w 1466850"/>
                  <a:gd name="connsiteY4" fmla="*/ 497681 h 1164431"/>
                  <a:gd name="connsiteX5" fmla="*/ 9525 w 1466850"/>
                  <a:gd name="connsiteY5" fmla="*/ 535781 h 1164431"/>
                  <a:gd name="connsiteX6" fmla="*/ 19050 w 1466850"/>
                  <a:gd name="connsiteY6" fmla="*/ 583406 h 1164431"/>
                  <a:gd name="connsiteX7" fmla="*/ 23812 w 1466850"/>
                  <a:gd name="connsiteY7" fmla="*/ 688181 h 1164431"/>
                  <a:gd name="connsiteX8" fmla="*/ 35719 w 1466850"/>
                  <a:gd name="connsiteY8" fmla="*/ 747712 h 1164431"/>
                  <a:gd name="connsiteX9" fmla="*/ 40481 w 1466850"/>
                  <a:gd name="connsiteY9" fmla="*/ 778669 h 1164431"/>
                  <a:gd name="connsiteX10" fmla="*/ 47625 w 1466850"/>
                  <a:gd name="connsiteY10" fmla="*/ 831056 h 1164431"/>
                  <a:gd name="connsiteX11" fmla="*/ 38100 w 1466850"/>
                  <a:gd name="connsiteY11" fmla="*/ 919162 h 1164431"/>
                  <a:gd name="connsiteX12" fmla="*/ 78581 w 1466850"/>
                  <a:gd name="connsiteY12" fmla="*/ 1028700 h 1164431"/>
                  <a:gd name="connsiteX13" fmla="*/ 71437 w 1466850"/>
                  <a:gd name="connsiteY13" fmla="*/ 1095375 h 1164431"/>
                  <a:gd name="connsiteX14" fmla="*/ 88106 w 1466850"/>
                  <a:gd name="connsiteY14" fmla="*/ 1164431 h 1164431"/>
                  <a:gd name="connsiteX15" fmla="*/ 242887 w 1466850"/>
                  <a:gd name="connsiteY15" fmla="*/ 1092994 h 1164431"/>
                  <a:gd name="connsiteX16" fmla="*/ 238125 w 1466850"/>
                  <a:gd name="connsiteY16" fmla="*/ 1045369 h 1164431"/>
                  <a:gd name="connsiteX17" fmla="*/ 230981 w 1466850"/>
                  <a:gd name="connsiteY17" fmla="*/ 1035844 h 1164431"/>
                  <a:gd name="connsiteX18" fmla="*/ 252412 w 1466850"/>
                  <a:gd name="connsiteY18" fmla="*/ 1019175 h 1164431"/>
                  <a:gd name="connsiteX19" fmla="*/ 314325 w 1466850"/>
                  <a:gd name="connsiteY19" fmla="*/ 995362 h 1164431"/>
                  <a:gd name="connsiteX20" fmla="*/ 311944 w 1466850"/>
                  <a:gd name="connsiteY20" fmla="*/ 959644 h 1164431"/>
                  <a:gd name="connsiteX21" fmla="*/ 326231 w 1466850"/>
                  <a:gd name="connsiteY21" fmla="*/ 942975 h 1164431"/>
                  <a:gd name="connsiteX22" fmla="*/ 452437 w 1466850"/>
                  <a:gd name="connsiteY22" fmla="*/ 950119 h 1164431"/>
                  <a:gd name="connsiteX23" fmla="*/ 464344 w 1466850"/>
                  <a:gd name="connsiteY23" fmla="*/ 933450 h 1164431"/>
                  <a:gd name="connsiteX24" fmla="*/ 476250 w 1466850"/>
                  <a:gd name="connsiteY24" fmla="*/ 883444 h 1164431"/>
                  <a:gd name="connsiteX25" fmla="*/ 488156 w 1466850"/>
                  <a:gd name="connsiteY25" fmla="*/ 857250 h 1164431"/>
                  <a:gd name="connsiteX26" fmla="*/ 526256 w 1466850"/>
                  <a:gd name="connsiteY26" fmla="*/ 862012 h 1164431"/>
                  <a:gd name="connsiteX27" fmla="*/ 545306 w 1466850"/>
                  <a:gd name="connsiteY27" fmla="*/ 909637 h 1164431"/>
                  <a:gd name="connsiteX28" fmla="*/ 566737 w 1466850"/>
                  <a:gd name="connsiteY28" fmla="*/ 881062 h 1164431"/>
                  <a:gd name="connsiteX29" fmla="*/ 621506 w 1466850"/>
                  <a:gd name="connsiteY29" fmla="*/ 845344 h 1164431"/>
                  <a:gd name="connsiteX30" fmla="*/ 709612 w 1466850"/>
                  <a:gd name="connsiteY30" fmla="*/ 814387 h 1164431"/>
                  <a:gd name="connsiteX31" fmla="*/ 716756 w 1466850"/>
                  <a:gd name="connsiteY31" fmla="*/ 769144 h 1164431"/>
                  <a:gd name="connsiteX32" fmla="*/ 742950 w 1466850"/>
                  <a:gd name="connsiteY32" fmla="*/ 750094 h 1164431"/>
                  <a:gd name="connsiteX33" fmla="*/ 785812 w 1466850"/>
                  <a:gd name="connsiteY33" fmla="*/ 726281 h 1164431"/>
                  <a:gd name="connsiteX34" fmla="*/ 800100 w 1466850"/>
                  <a:gd name="connsiteY34" fmla="*/ 716756 h 1164431"/>
                  <a:gd name="connsiteX35" fmla="*/ 862012 w 1466850"/>
                  <a:gd name="connsiteY35" fmla="*/ 721519 h 1164431"/>
                  <a:gd name="connsiteX36" fmla="*/ 883444 w 1466850"/>
                  <a:gd name="connsiteY36" fmla="*/ 721519 h 1164431"/>
                  <a:gd name="connsiteX37" fmla="*/ 892969 w 1466850"/>
                  <a:gd name="connsiteY37" fmla="*/ 697706 h 1164431"/>
                  <a:gd name="connsiteX38" fmla="*/ 892969 w 1466850"/>
                  <a:gd name="connsiteY38" fmla="*/ 697706 h 1164431"/>
                  <a:gd name="connsiteX39" fmla="*/ 921544 w 1466850"/>
                  <a:gd name="connsiteY39" fmla="*/ 609600 h 1164431"/>
                  <a:gd name="connsiteX40" fmla="*/ 909637 w 1466850"/>
                  <a:gd name="connsiteY40" fmla="*/ 552450 h 1164431"/>
                  <a:gd name="connsiteX41" fmla="*/ 928687 w 1466850"/>
                  <a:gd name="connsiteY41" fmla="*/ 540544 h 1164431"/>
                  <a:gd name="connsiteX42" fmla="*/ 973931 w 1466850"/>
                  <a:gd name="connsiteY42" fmla="*/ 535781 h 1164431"/>
                  <a:gd name="connsiteX43" fmla="*/ 1014412 w 1466850"/>
                  <a:gd name="connsiteY43" fmla="*/ 447675 h 1164431"/>
                  <a:gd name="connsiteX44" fmla="*/ 1038225 w 1466850"/>
                  <a:gd name="connsiteY44" fmla="*/ 445294 h 1164431"/>
                  <a:gd name="connsiteX45" fmla="*/ 1073944 w 1466850"/>
                  <a:gd name="connsiteY45" fmla="*/ 476250 h 1164431"/>
                  <a:gd name="connsiteX46" fmla="*/ 1112044 w 1466850"/>
                  <a:gd name="connsiteY46" fmla="*/ 514350 h 1164431"/>
                  <a:gd name="connsiteX47" fmla="*/ 1171575 w 1466850"/>
                  <a:gd name="connsiteY47" fmla="*/ 540544 h 1164431"/>
                  <a:gd name="connsiteX48" fmla="*/ 1219200 w 1466850"/>
                  <a:gd name="connsiteY48" fmla="*/ 521494 h 1164431"/>
                  <a:gd name="connsiteX49" fmla="*/ 1245394 w 1466850"/>
                  <a:gd name="connsiteY49" fmla="*/ 502444 h 1164431"/>
                  <a:gd name="connsiteX50" fmla="*/ 1278731 w 1466850"/>
                  <a:gd name="connsiteY50" fmla="*/ 511969 h 1164431"/>
                  <a:gd name="connsiteX51" fmla="*/ 1295400 w 1466850"/>
                  <a:gd name="connsiteY51" fmla="*/ 531019 h 1164431"/>
                  <a:gd name="connsiteX52" fmla="*/ 1273969 w 1466850"/>
                  <a:gd name="connsiteY52" fmla="*/ 573881 h 1164431"/>
                  <a:gd name="connsiteX53" fmla="*/ 1271587 w 1466850"/>
                  <a:gd name="connsiteY53" fmla="*/ 602456 h 1164431"/>
                  <a:gd name="connsiteX54" fmla="*/ 1285875 w 1466850"/>
                  <a:gd name="connsiteY54" fmla="*/ 611981 h 1164431"/>
                  <a:gd name="connsiteX55" fmla="*/ 1300162 w 1466850"/>
                  <a:gd name="connsiteY55" fmla="*/ 628650 h 1164431"/>
                  <a:gd name="connsiteX56" fmla="*/ 1321594 w 1466850"/>
                  <a:gd name="connsiteY56" fmla="*/ 666750 h 1164431"/>
                  <a:gd name="connsiteX57" fmla="*/ 1347787 w 1466850"/>
                  <a:gd name="connsiteY57" fmla="*/ 681037 h 1164431"/>
                  <a:gd name="connsiteX58" fmla="*/ 1371600 w 1466850"/>
                  <a:gd name="connsiteY58" fmla="*/ 681037 h 1164431"/>
                  <a:gd name="connsiteX59" fmla="*/ 1376362 w 1466850"/>
                  <a:gd name="connsiteY59" fmla="*/ 628650 h 1164431"/>
                  <a:gd name="connsiteX60" fmla="*/ 1395412 w 1466850"/>
                  <a:gd name="connsiteY60" fmla="*/ 578644 h 1164431"/>
                  <a:gd name="connsiteX61" fmla="*/ 1426369 w 1466850"/>
                  <a:gd name="connsiteY61" fmla="*/ 571500 h 1164431"/>
                  <a:gd name="connsiteX62" fmla="*/ 1466850 w 1466850"/>
                  <a:gd name="connsiteY62" fmla="*/ 552450 h 1164431"/>
                  <a:gd name="connsiteX63" fmla="*/ 1443037 w 1466850"/>
                  <a:gd name="connsiteY63" fmla="*/ 509587 h 1164431"/>
                  <a:gd name="connsiteX64" fmla="*/ 1414462 w 1466850"/>
                  <a:gd name="connsiteY64" fmla="*/ 464344 h 1164431"/>
                  <a:gd name="connsiteX65" fmla="*/ 1388269 w 1466850"/>
                  <a:gd name="connsiteY65" fmla="*/ 438150 h 1164431"/>
                  <a:gd name="connsiteX66" fmla="*/ 1404937 w 1466850"/>
                  <a:gd name="connsiteY66" fmla="*/ 400050 h 1164431"/>
                  <a:gd name="connsiteX67" fmla="*/ 1404937 w 1466850"/>
                  <a:gd name="connsiteY67" fmla="*/ 383381 h 1164431"/>
                  <a:gd name="connsiteX68" fmla="*/ 1431131 w 1466850"/>
                  <a:gd name="connsiteY68" fmla="*/ 338137 h 1164431"/>
                  <a:gd name="connsiteX69" fmla="*/ 1419225 w 1466850"/>
                  <a:gd name="connsiteY69" fmla="*/ 264319 h 1164431"/>
                  <a:gd name="connsiteX70" fmla="*/ 1438275 w 1466850"/>
                  <a:gd name="connsiteY70" fmla="*/ 202406 h 1164431"/>
                  <a:gd name="connsiteX71" fmla="*/ 1435894 w 1466850"/>
                  <a:gd name="connsiteY71" fmla="*/ 173831 h 1164431"/>
                  <a:gd name="connsiteX72" fmla="*/ 1404937 w 1466850"/>
                  <a:gd name="connsiteY72" fmla="*/ 164306 h 1164431"/>
                  <a:gd name="connsiteX73" fmla="*/ 1364456 w 1466850"/>
                  <a:gd name="connsiteY73" fmla="*/ 154781 h 1164431"/>
                  <a:gd name="connsiteX74" fmla="*/ 1293019 w 1466850"/>
                  <a:gd name="connsiteY74" fmla="*/ 154781 h 1164431"/>
                  <a:gd name="connsiteX75" fmla="*/ 1233487 w 1466850"/>
                  <a:gd name="connsiteY75" fmla="*/ 121444 h 1164431"/>
                  <a:gd name="connsiteX76" fmla="*/ 1207294 w 1466850"/>
                  <a:gd name="connsiteY76" fmla="*/ 114300 h 1164431"/>
                  <a:gd name="connsiteX77" fmla="*/ 1188244 w 1466850"/>
                  <a:gd name="connsiteY77" fmla="*/ 126206 h 1164431"/>
                  <a:gd name="connsiteX78" fmla="*/ 1133475 w 1466850"/>
                  <a:gd name="connsiteY78" fmla="*/ 188119 h 1164431"/>
                  <a:gd name="connsiteX79" fmla="*/ 1116806 w 1466850"/>
                  <a:gd name="connsiteY79" fmla="*/ 188119 h 1164431"/>
                  <a:gd name="connsiteX80" fmla="*/ 1078706 w 1466850"/>
                  <a:gd name="connsiteY80" fmla="*/ 142875 h 1164431"/>
                  <a:gd name="connsiteX81" fmla="*/ 1054894 w 1466850"/>
                  <a:gd name="connsiteY81" fmla="*/ 138112 h 1164431"/>
                  <a:gd name="connsiteX82" fmla="*/ 997744 w 1466850"/>
                  <a:gd name="connsiteY82" fmla="*/ 157162 h 1164431"/>
                  <a:gd name="connsiteX83" fmla="*/ 973931 w 1466850"/>
                  <a:gd name="connsiteY83" fmla="*/ 178594 h 1164431"/>
                  <a:gd name="connsiteX84" fmla="*/ 928687 w 1466850"/>
                  <a:gd name="connsiteY84" fmla="*/ 173831 h 1164431"/>
                  <a:gd name="connsiteX85" fmla="*/ 878681 w 1466850"/>
                  <a:gd name="connsiteY85" fmla="*/ 164306 h 1164431"/>
                  <a:gd name="connsiteX86" fmla="*/ 864394 w 1466850"/>
                  <a:gd name="connsiteY86" fmla="*/ 83344 h 1164431"/>
                  <a:gd name="connsiteX87" fmla="*/ 845344 w 1466850"/>
                  <a:gd name="connsiteY87" fmla="*/ 69056 h 1164431"/>
                  <a:gd name="connsiteX88" fmla="*/ 747712 w 1466850"/>
                  <a:gd name="connsiteY88" fmla="*/ 119062 h 1164431"/>
                  <a:gd name="connsiteX89" fmla="*/ 721519 w 1466850"/>
                  <a:gd name="connsiteY89" fmla="*/ 140494 h 1164431"/>
                  <a:gd name="connsiteX90" fmla="*/ 709612 w 1466850"/>
                  <a:gd name="connsiteY90" fmla="*/ 190500 h 1164431"/>
                  <a:gd name="connsiteX91" fmla="*/ 707231 w 1466850"/>
                  <a:gd name="connsiteY91" fmla="*/ 195262 h 1164431"/>
                  <a:gd name="connsiteX92" fmla="*/ 654844 w 1466850"/>
                  <a:gd name="connsiteY92" fmla="*/ 190500 h 1164431"/>
                  <a:gd name="connsiteX93" fmla="*/ 633412 w 1466850"/>
                  <a:gd name="connsiteY93" fmla="*/ 180975 h 1164431"/>
                  <a:gd name="connsiteX94" fmla="*/ 614362 w 1466850"/>
                  <a:gd name="connsiteY94" fmla="*/ 142875 h 1164431"/>
                  <a:gd name="connsiteX95" fmla="*/ 590550 w 1466850"/>
                  <a:gd name="connsiteY95" fmla="*/ 130969 h 1164431"/>
                  <a:gd name="connsiteX96" fmla="*/ 540544 w 1466850"/>
                  <a:gd name="connsiteY96" fmla="*/ 161925 h 1164431"/>
                  <a:gd name="connsiteX97" fmla="*/ 507206 w 1466850"/>
                  <a:gd name="connsiteY97" fmla="*/ 154781 h 1164431"/>
                  <a:gd name="connsiteX98" fmla="*/ 495300 w 1466850"/>
                  <a:gd name="connsiteY98" fmla="*/ 123825 h 1164431"/>
                  <a:gd name="connsiteX99" fmla="*/ 490537 w 1466850"/>
                  <a:gd name="connsiteY99" fmla="*/ 114300 h 1164431"/>
                  <a:gd name="connsiteX100" fmla="*/ 431006 w 1466850"/>
                  <a:gd name="connsiteY100" fmla="*/ 97631 h 1164431"/>
                  <a:gd name="connsiteX101" fmla="*/ 442912 w 1466850"/>
                  <a:gd name="connsiteY101" fmla="*/ 33337 h 1164431"/>
                  <a:gd name="connsiteX102" fmla="*/ 423862 w 1466850"/>
                  <a:gd name="connsiteY102" fmla="*/ 19050 h 1164431"/>
                  <a:gd name="connsiteX103" fmla="*/ 335756 w 1466850"/>
                  <a:gd name="connsiteY103" fmla="*/ 0 h 1164431"/>
                  <a:gd name="connsiteX104" fmla="*/ 302419 w 1466850"/>
                  <a:gd name="connsiteY104" fmla="*/ 35719 h 1164431"/>
                  <a:gd name="connsiteX105" fmla="*/ 266700 w 1466850"/>
                  <a:gd name="connsiteY105" fmla="*/ 50006 h 1164431"/>
                  <a:gd name="connsiteX106" fmla="*/ 271462 w 1466850"/>
                  <a:gd name="connsiteY106" fmla="*/ 95250 h 1164431"/>
                  <a:gd name="connsiteX107" fmla="*/ 316706 w 1466850"/>
                  <a:gd name="connsiteY107" fmla="*/ 121444 h 1164431"/>
                  <a:gd name="connsiteX108" fmla="*/ 302419 w 1466850"/>
                  <a:gd name="connsiteY108" fmla="*/ 145256 h 1164431"/>
                  <a:gd name="connsiteX109" fmla="*/ 247650 w 1466850"/>
                  <a:gd name="connsiteY109" fmla="*/ 159544 h 1164431"/>
                  <a:gd name="connsiteX110" fmla="*/ 214312 w 1466850"/>
                  <a:gd name="connsiteY110" fmla="*/ 216694 h 1164431"/>
                  <a:gd name="connsiteX111" fmla="*/ 183356 w 1466850"/>
                  <a:gd name="connsiteY111" fmla="*/ 221456 h 1164431"/>
                  <a:gd name="connsiteX112" fmla="*/ 183356 w 1466850"/>
                  <a:gd name="connsiteY112" fmla="*/ 254794 h 1164431"/>
                  <a:gd name="connsiteX113" fmla="*/ 161925 w 1466850"/>
                  <a:gd name="connsiteY113" fmla="*/ 304800 h 1164431"/>
                  <a:gd name="connsiteX114" fmla="*/ 140494 w 1466850"/>
                  <a:gd name="connsiteY114" fmla="*/ 323850 h 1164431"/>
                  <a:gd name="connsiteX115" fmla="*/ 71439 w 1466850"/>
                  <a:gd name="connsiteY115" fmla="*/ 300039 h 1164431"/>
                  <a:gd name="connsiteX116" fmla="*/ 59530 w 1466850"/>
                  <a:gd name="connsiteY116" fmla="*/ 302418 h 1164431"/>
                  <a:gd name="connsiteX117" fmla="*/ 30956 w 1466850"/>
                  <a:gd name="connsiteY117" fmla="*/ 295274 h 1164431"/>
                  <a:gd name="connsiteX0" fmla="*/ 30956 w 1466850"/>
                  <a:gd name="connsiteY0" fmla="*/ 295274 h 1164431"/>
                  <a:gd name="connsiteX1" fmla="*/ 19050 w 1466850"/>
                  <a:gd name="connsiteY1" fmla="*/ 381000 h 1164431"/>
                  <a:gd name="connsiteX2" fmla="*/ 19050 w 1466850"/>
                  <a:gd name="connsiteY2" fmla="*/ 397669 h 1164431"/>
                  <a:gd name="connsiteX3" fmla="*/ 0 w 1466850"/>
                  <a:gd name="connsiteY3" fmla="*/ 459581 h 1164431"/>
                  <a:gd name="connsiteX4" fmla="*/ 7144 w 1466850"/>
                  <a:gd name="connsiteY4" fmla="*/ 497681 h 1164431"/>
                  <a:gd name="connsiteX5" fmla="*/ 9525 w 1466850"/>
                  <a:gd name="connsiteY5" fmla="*/ 535781 h 1164431"/>
                  <a:gd name="connsiteX6" fmla="*/ 19050 w 1466850"/>
                  <a:gd name="connsiteY6" fmla="*/ 583406 h 1164431"/>
                  <a:gd name="connsiteX7" fmla="*/ 23812 w 1466850"/>
                  <a:gd name="connsiteY7" fmla="*/ 688181 h 1164431"/>
                  <a:gd name="connsiteX8" fmla="*/ 35719 w 1466850"/>
                  <a:gd name="connsiteY8" fmla="*/ 747712 h 1164431"/>
                  <a:gd name="connsiteX9" fmla="*/ 40481 w 1466850"/>
                  <a:gd name="connsiteY9" fmla="*/ 778669 h 1164431"/>
                  <a:gd name="connsiteX10" fmla="*/ 47625 w 1466850"/>
                  <a:gd name="connsiteY10" fmla="*/ 831056 h 1164431"/>
                  <a:gd name="connsiteX11" fmla="*/ 38100 w 1466850"/>
                  <a:gd name="connsiteY11" fmla="*/ 919162 h 1164431"/>
                  <a:gd name="connsiteX12" fmla="*/ 78581 w 1466850"/>
                  <a:gd name="connsiteY12" fmla="*/ 1028700 h 1164431"/>
                  <a:gd name="connsiteX13" fmla="*/ 71437 w 1466850"/>
                  <a:gd name="connsiteY13" fmla="*/ 1095375 h 1164431"/>
                  <a:gd name="connsiteX14" fmla="*/ 88106 w 1466850"/>
                  <a:gd name="connsiteY14" fmla="*/ 1164431 h 1164431"/>
                  <a:gd name="connsiteX15" fmla="*/ 128587 w 1466850"/>
                  <a:gd name="connsiteY15" fmla="*/ 1145381 h 1164431"/>
                  <a:gd name="connsiteX16" fmla="*/ 242887 w 1466850"/>
                  <a:gd name="connsiteY16" fmla="*/ 1092994 h 1164431"/>
                  <a:gd name="connsiteX17" fmla="*/ 238125 w 1466850"/>
                  <a:gd name="connsiteY17" fmla="*/ 1045369 h 1164431"/>
                  <a:gd name="connsiteX18" fmla="*/ 230981 w 1466850"/>
                  <a:gd name="connsiteY18" fmla="*/ 1035844 h 1164431"/>
                  <a:gd name="connsiteX19" fmla="*/ 252412 w 1466850"/>
                  <a:gd name="connsiteY19" fmla="*/ 1019175 h 1164431"/>
                  <a:gd name="connsiteX20" fmla="*/ 314325 w 1466850"/>
                  <a:gd name="connsiteY20" fmla="*/ 995362 h 1164431"/>
                  <a:gd name="connsiteX21" fmla="*/ 311944 w 1466850"/>
                  <a:gd name="connsiteY21" fmla="*/ 959644 h 1164431"/>
                  <a:gd name="connsiteX22" fmla="*/ 326231 w 1466850"/>
                  <a:gd name="connsiteY22" fmla="*/ 942975 h 1164431"/>
                  <a:gd name="connsiteX23" fmla="*/ 452437 w 1466850"/>
                  <a:gd name="connsiteY23" fmla="*/ 950119 h 1164431"/>
                  <a:gd name="connsiteX24" fmla="*/ 464344 w 1466850"/>
                  <a:gd name="connsiteY24" fmla="*/ 933450 h 1164431"/>
                  <a:gd name="connsiteX25" fmla="*/ 476250 w 1466850"/>
                  <a:gd name="connsiteY25" fmla="*/ 883444 h 1164431"/>
                  <a:gd name="connsiteX26" fmla="*/ 488156 w 1466850"/>
                  <a:gd name="connsiteY26" fmla="*/ 857250 h 1164431"/>
                  <a:gd name="connsiteX27" fmla="*/ 526256 w 1466850"/>
                  <a:gd name="connsiteY27" fmla="*/ 862012 h 1164431"/>
                  <a:gd name="connsiteX28" fmla="*/ 545306 w 1466850"/>
                  <a:gd name="connsiteY28" fmla="*/ 909637 h 1164431"/>
                  <a:gd name="connsiteX29" fmla="*/ 566737 w 1466850"/>
                  <a:gd name="connsiteY29" fmla="*/ 881062 h 1164431"/>
                  <a:gd name="connsiteX30" fmla="*/ 621506 w 1466850"/>
                  <a:gd name="connsiteY30" fmla="*/ 845344 h 1164431"/>
                  <a:gd name="connsiteX31" fmla="*/ 709612 w 1466850"/>
                  <a:gd name="connsiteY31" fmla="*/ 814387 h 1164431"/>
                  <a:gd name="connsiteX32" fmla="*/ 716756 w 1466850"/>
                  <a:gd name="connsiteY32" fmla="*/ 769144 h 1164431"/>
                  <a:gd name="connsiteX33" fmla="*/ 742950 w 1466850"/>
                  <a:gd name="connsiteY33" fmla="*/ 750094 h 1164431"/>
                  <a:gd name="connsiteX34" fmla="*/ 785812 w 1466850"/>
                  <a:gd name="connsiteY34" fmla="*/ 726281 h 1164431"/>
                  <a:gd name="connsiteX35" fmla="*/ 800100 w 1466850"/>
                  <a:gd name="connsiteY35" fmla="*/ 716756 h 1164431"/>
                  <a:gd name="connsiteX36" fmla="*/ 862012 w 1466850"/>
                  <a:gd name="connsiteY36" fmla="*/ 721519 h 1164431"/>
                  <a:gd name="connsiteX37" fmla="*/ 883444 w 1466850"/>
                  <a:gd name="connsiteY37" fmla="*/ 721519 h 1164431"/>
                  <a:gd name="connsiteX38" fmla="*/ 892969 w 1466850"/>
                  <a:gd name="connsiteY38" fmla="*/ 697706 h 1164431"/>
                  <a:gd name="connsiteX39" fmla="*/ 892969 w 1466850"/>
                  <a:gd name="connsiteY39" fmla="*/ 697706 h 1164431"/>
                  <a:gd name="connsiteX40" fmla="*/ 921544 w 1466850"/>
                  <a:gd name="connsiteY40" fmla="*/ 609600 h 1164431"/>
                  <a:gd name="connsiteX41" fmla="*/ 909637 w 1466850"/>
                  <a:gd name="connsiteY41" fmla="*/ 552450 h 1164431"/>
                  <a:gd name="connsiteX42" fmla="*/ 928687 w 1466850"/>
                  <a:gd name="connsiteY42" fmla="*/ 540544 h 1164431"/>
                  <a:gd name="connsiteX43" fmla="*/ 973931 w 1466850"/>
                  <a:gd name="connsiteY43" fmla="*/ 535781 h 1164431"/>
                  <a:gd name="connsiteX44" fmla="*/ 1014412 w 1466850"/>
                  <a:gd name="connsiteY44" fmla="*/ 447675 h 1164431"/>
                  <a:gd name="connsiteX45" fmla="*/ 1038225 w 1466850"/>
                  <a:gd name="connsiteY45" fmla="*/ 445294 h 1164431"/>
                  <a:gd name="connsiteX46" fmla="*/ 1073944 w 1466850"/>
                  <a:gd name="connsiteY46" fmla="*/ 476250 h 1164431"/>
                  <a:gd name="connsiteX47" fmla="*/ 1112044 w 1466850"/>
                  <a:gd name="connsiteY47" fmla="*/ 514350 h 1164431"/>
                  <a:gd name="connsiteX48" fmla="*/ 1171575 w 1466850"/>
                  <a:gd name="connsiteY48" fmla="*/ 540544 h 1164431"/>
                  <a:gd name="connsiteX49" fmla="*/ 1219200 w 1466850"/>
                  <a:gd name="connsiteY49" fmla="*/ 521494 h 1164431"/>
                  <a:gd name="connsiteX50" fmla="*/ 1245394 w 1466850"/>
                  <a:gd name="connsiteY50" fmla="*/ 502444 h 1164431"/>
                  <a:gd name="connsiteX51" fmla="*/ 1278731 w 1466850"/>
                  <a:gd name="connsiteY51" fmla="*/ 511969 h 1164431"/>
                  <a:gd name="connsiteX52" fmla="*/ 1295400 w 1466850"/>
                  <a:gd name="connsiteY52" fmla="*/ 531019 h 1164431"/>
                  <a:gd name="connsiteX53" fmla="*/ 1273969 w 1466850"/>
                  <a:gd name="connsiteY53" fmla="*/ 573881 h 1164431"/>
                  <a:gd name="connsiteX54" fmla="*/ 1271587 w 1466850"/>
                  <a:gd name="connsiteY54" fmla="*/ 602456 h 1164431"/>
                  <a:gd name="connsiteX55" fmla="*/ 1285875 w 1466850"/>
                  <a:gd name="connsiteY55" fmla="*/ 611981 h 1164431"/>
                  <a:gd name="connsiteX56" fmla="*/ 1300162 w 1466850"/>
                  <a:gd name="connsiteY56" fmla="*/ 628650 h 1164431"/>
                  <a:gd name="connsiteX57" fmla="*/ 1321594 w 1466850"/>
                  <a:gd name="connsiteY57" fmla="*/ 666750 h 1164431"/>
                  <a:gd name="connsiteX58" fmla="*/ 1347787 w 1466850"/>
                  <a:gd name="connsiteY58" fmla="*/ 681037 h 1164431"/>
                  <a:gd name="connsiteX59" fmla="*/ 1371600 w 1466850"/>
                  <a:gd name="connsiteY59" fmla="*/ 681037 h 1164431"/>
                  <a:gd name="connsiteX60" fmla="*/ 1376362 w 1466850"/>
                  <a:gd name="connsiteY60" fmla="*/ 628650 h 1164431"/>
                  <a:gd name="connsiteX61" fmla="*/ 1395412 w 1466850"/>
                  <a:gd name="connsiteY61" fmla="*/ 578644 h 1164431"/>
                  <a:gd name="connsiteX62" fmla="*/ 1426369 w 1466850"/>
                  <a:gd name="connsiteY62" fmla="*/ 571500 h 1164431"/>
                  <a:gd name="connsiteX63" fmla="*/ 1466850 w 1466850"/>
                  <a:gd name="connsiteY63" fmla="*/ 552450 h 1164431"/>
                  <a:gd name="connsiteX64" fmla="*/ 1443037 w 1466850"/>
                  <a:gd name="connsiteY64" fmla="*/ 509587 h 1164431"/>
                  <a:gd name="connsiteX65" fmla="*/ 1414462 w 1466850"/>
                  <a:gd name="connsiteY65" fmla="*/ 464344 h 1164431"/>
                  <a:gd name="connsiteX66" fmla="*/ 1388269 w 1466850"/>
                  <a:gd name="connsiteY66" fmla="*/ 438150 h 1164431"/>
                  <a:gd name="connsiteX67" fmla="*/ 1404937 w 1466850"/>
                  <a:gd name="connsiteY67" fmla="*/ 400050 h 1164431"/>
                  <a:gd name="connsiteX68" fmla="*/ 1404937 w 1466850"/>
                  <a:gd name="connsiteY68" fmla="*/ 383381 h 1164431"/>
                  <a:gd name="connsiteX69" fmla="*/ 1431131 w 1466850"/>
                  <a:gd name="connsiteY69" fmla="*/ 338137 h 1164431"/>
                  <a:gd name="connsiteX70" fmla="*/ 1419225 w 1466850"/>
                  <a:gd name="connsiteY70" fmla="*/ 264319 h 1164431"/>
                  <a:gd name="connsiteX71" fmla="*/ 1438275 w 1466850"/>
                  <a:gd name="connsiteY71" fmla="*/ 202406 h 1164431"/>
                  <a:gd name="connsiteX72" fmla="*/ 1435894 w 1466850"/>
                  <a:gd name="connsiteY72" fmla="*/ 173831 h 1164431"/>
                  <a:gd name="connsiteX73" fmla="*/ 1404937 w 1466850"/>
                  <a:gd name="connsiteY73" fmla="*/ 164306 h 1164431"/>
                  <a:gd name="connsiteX74" fmla="*/ 1364456 w 1466850"/>
                  <a:gd name="connsiteY74" fmla="*/ 154781 h 1164431"/>
                  <a:gd name="connsiteX75" fmla="*/ 1293019 w 1466850"/>
                  <a:gd name="connsiteY75" fmla="*/ 154781 h 1164431"/>
                  <a:gd name="connsiteX76" fmla="*/ 1233487 w 1466850"/>
                  <a:gd name="connsiteY76" fmla="*/ 121444 h 1164431"/>
                  <a:gd name="connsiteX77" fmla="*/ 1207294 w 1466850"/>
                  <a:gd name="connsiteY77" fmla="*/ 114300 h 1164431"/>
                  <a:gd name="connsiteX78" fmla="*/ 1188244 w 1466850"/>
                  <a:gd name="connsiteY78" fmla="*/ 126206 h 1164431"/>
                  <a:gd name="connsiteX79" fmla="*/ 1133475 w 1466850"/>
                  <a:gd name="connsiteY79" fmla="*/ 188119 h 1164431"/>
                  <a:gd name="connsiteX80" fmla="*/ 1116806 w 1466850"/>
                  <a:gd name="connsiteY80" fmla="*/ 188119 h 1164431"/>
                  <a:gd name="connsiteX81" fmla="*/ 1078706 w 1466850"/>
                  <a:gd name="connsiteY81" fmla="*/ 142875 h 1164431"/>
                  <a:gd name="connsiteX82" fmla="*/ 1054894 w 1466850"/>
                  <a:gd name="connsiteY82" fmla="*/ 138112 h 1164431"/>
                  <a:gd name="connsiteX83" fmla="*/ 997744 w 1466850"/>
                  <a:gd name="connsiteY83" fmla="*/ 157162 h 1164431"/>
                  <a:gd name="connsiteX84" fmla="*/ 973931 w 1466850"/>
                  <a:gd name="connsiteY84" fmla="*/ 178594 h 1164431"/>
                  <a:gd name="connsiteX85" fmla="*/ 928687 w 1466850"/>
                  <a:gd name="connsiteY85" fmla="*/ 173831 h 1164431"/>
                  <a:gd name="connsiteX86" fmla="*/ 878681 w 1466850"/>
                  <a:gd name="connsiteY86" fmla="*/ 164306 h 1164431"/>
                  <a:gd name="connsiteX87" fmla="*/ 864394 w 1466850"/>
                  <a:gd name="connsiteY87" fmla="*/ 83344 h 1164431"/>
                  <a:gd name="connsiteX88" fmla="*/ 845344 w 1466850"/>
                  <a:gd name="connsiteY88" fmla="*/ 69056 h 1164431"/>
                  <a:gd name="connsiteX89" fmla="*/ 747712 w 1466850"/>
                  <a:gd name="connsiteY89" fmla="*/ 119062 h 1164431"/>
                  <a:gd name="connsiteX90" fmla="*/ 721519 w 1466850"/>
                  <a:gd name="connsiteY90" fmla="*/ 140494 h 1164431"/>
                  <a:gd name="connsiteX91" fmla="*/ 709612 w 1466850"/>
                  <a:gd name="connsiteY91" fmla="*/ 190500 h 1164431"/>
                  <a:gd name="connsiteX92" fmla="*/ 707231 w 1466850"/>
                  <a:gd name="connsiteY92" fmla="*/ 195262 h 1164431"/>
                  <a:gd name="connsiteX93" fmla="*/ 654844 w 1466850"/>
                  <a:gd name="connsiteY93" fmla="*/ 190500 h 1164431"/>
                  <a:gd name="connsiteX94" fmla="*/ 633412 w 1466850"/>
                  <a:gd name="connsiteY94" fmla="*/ 180975 h 1164431"/>
                  <a:gd name="connsiteX95" fmla="*/ 614362 w 1466850"/>
                  <a:gd name="connsiteY95" fmla="*/ 142875 h 1164431"/>
                  <a:gd name="connsiteX96" fmla="*/ 590550 w 1466850"/>
                  <a:gd name="connsiteY96" fmla="*/ 130969 h 1164431"/>
                  <a:gd name="connsiteX97" fmla="*/ 540544 w 1466850"/>
                  <a:gd name="connsiteY97" fmla="*/ 161925 h 1164431"/>
                  <a:gd name="connsiteX98" fmla="*/ 507206 w 1466850"/>
                  <a:gd name="connsiteY98" fmla="*/ 154781 h 1164431"/>
                  <a:gd name="connsiteX99" fmla="*/ 495300 w 1466850"/>
                  <a:gd name="connsiteY99" fmla="*/ 123825 h 1164431"/>
                  <a:gd name="connsiteX100" fmla="*/ 490537 w 1466850"/>
                  <a:gd name="connsiteY100" fmla="*/ 114300 h 1164431"/>
                  <a:gd name="connsiteX101" fmla="*/ 431006 w 1466850"/>
                  <a:gd name="connsiteY101" fmla="*/ 97631 h 1164431"/>
                  <a:gd name="connsiteX102" fmla="*/ 442912 w 1466850"/>
                  <a:gd name="connsiteY102" fmla="*/ 33337 h 1164431"/>
                  <a:gd name="connsiteX103" fmla="*/ 423862 w 1466850"/>
                  <a:gd name="connsiteY103" fmla="*/ 19050 h 1164431"/>
                  <a:gd name="connsiteX104" fmla="*/ 335756 w 1466850"/>
                  <a:gd name="connsiteY104" fmla="*/ 0 h 1164431"/>
                  <a:gd name="connsiteX105" fmla="*/ 302419 w 1466850"/>
                  <a:gd name="connsiteY105" fmla="*/ 35719 h 1164431"/>
                  <a:gd name="connsiteX106" fmla="*/ 266700 w 1466850"/>
                  <a:gd name="connsiteY106" fmla="*/ 50006 h 1164431"/>
                  <a:gd name="connsiteX107" fmla="*/ 271462 w 1466850"/>
                  <a:gd name="connsiteY107" fmla="*/ 95250 h 1164431"/>
                  <a:gd name="connsiteX108" fmla="*/ 316706 w 1466850"/>
                  <a:gd name="connsiteY108" fmla="*/ 121444 h 1164431"/>
                  <a:gd name="connsiteX109" fmla="*/ 302419 w 1466850"/>
                  <a:gd name="connsiteY109" fmla="*/ 145256 h 1164431"/>
                  <a:gd name="connsiteX110" fmla="*/ 247650 w 1466850"/>
                  <a:gd name="connsiteY110" fmla="*/ 159544 h 1164431"/>
                  <a:gd name="connsiteX111" fmla="*/ 214312 w 1466850"/>
                  <a:gd name="connsiteY111" fmla="*/ 216694 h 1164431"/>
                  <a:gd name="connsiteX112" fmla="*/ 183356 w 1466850"/>
                  <a:gd name="connsiteY112" fmla="*/ 221456 h 1164431"/>
                  <a:gd name="connsiteX113" fmla="*/ 183356 w 1466850"/>
                  <a:gd name="connsiteY113" fmla="*/ 254794 h 1164431"/>
                  <a:gd name="connsiteX114" fmla="*/ 161925 w 1466850"/>
                  <a:gd name="connsiteY114" fmla="*/ 304800 h 1164431"/>
                  <a:gd name="connsiteX115" fmla="*/ 140494 w 1466850"/>
                  <a:gd name="connsiteY115" fmla="*/ 323850 h 1164431"/>
                  <a:gd name="connsiteX116" fmla="*/ 71439 w 1466850"/>
                  <a:gd name="connsiteY116" fmla="*/ 300039 h 1164431"/>
                  <a:gd name="connsiteX117" fmla="*/ 59530 w 1466850"/>
                  <a:gd name="connsiteY117" fmla="*/ 302418 h 1164431"/>
                  <a:gd name="connsiteX118" fmla="*/ 30956 w 1466850"/>
                  <a:gd name="connsiteY118" fmla="*/ 295274 h 1164431"/>
                  <a:gd name="connsiteX0" fmla="*/ 30956 w 1466850"/>
                  <a:gd name="connsiteY0" fmla="*/ 295274 h 1200149"/>
                  <a:gd name="connsiteX1" fmla="*/ 19050 w 1466850"/>
                  <a:gd name="connsiteY1" fmla="*/ 381000 h 1200149"/>
                  <a:gd name="connsiteX2" fmla="*/ 19050 w 1466850"/>
                  <a:gd name="connsiteY2" fmla="*/ 397669 h 1200149"/>
                  <a:gd name="connsiteX3" fmla="*/ 0 w 1466850"/>
                  <a:gd name="connsiteY3" fmla="*/ 459581 h 1200149"/>
                  <a:gd name="connsiteX4" fmla="*/ 7144 w 1466850"/>
                  <a:gd name="connsiteY4" fmla="*/ 497681 h 1200149"/>
                  <a:gd name="connsiteX5" fmla="*/ 9525 w 1466850"/>
                  <a:gd name="connsiteY5" fmla="*/ 535781 h 1200149"/>
                  <a:gd name="connsiteX6" fmla="*/ 19050 w 1466850"/>
                  <a:gd name="connsiteY6" fmla="*/ 583406 h 1200149"/>
                  <a:gd name="connsiteX7" fmla="*/ 23812 w 1466850"/>
                  <a:gd name="connsiteY7" fmla="*/ 688181 h 1200149"/>
                  <a:gd name="connsiteX8" fmla="*/ 35719 w 1466850"/>
                  <a:gd name="connsiteY8" fmla="*/ 747712 h 1200149"/>
                  <a:gd name="connsiteX9" fmla="*/ 40481 w 1466850"/>
                  <a:gd name="connsiteY9" fmla="*/ 778669 h 1200149"/>
                  <a:gd name="connsiteX10" fmla="*/ 47625 w 1466850"/>
                  <a:gd name="connsiteY10" fmla="*/ 831056 h 1200149"/>
                  <a:gd name="connsiteX11" fmla="*/ 38100 w 1466850"/>
                  <a:gd name="connsiteY11" fmla="*/ 919162 h 1200149"/>
                  <a:gd name="connsiteX12" fmla="*/ 78581 w 1466850"/>
                  <a:gd name="connsiteY12" fmla="*/ 1028700 h 1200149"/>
                  <a:gd name="connsiteX13" fmla="*/ 71437 w 1466850"/>
                  <a:gd name="connsiteY13" fmla="*/ 1095375 h 1200149"/>
                  <a:gd name="connsiteX14" fmla="*/ 88106 w 1466850"/>
                  <a:gd name="connsiteY14" fmla="*/ 1164431 h 1200149"/>
                  <a:gd name="connsiteX15" fmla="*/ 166687 w 1466850"/>
                  <a:gd name="connsiteY15" fmla="*/ 1200149 h 1200149"/>
                  <a:gd name="connsiteX16" fmla="*/ 242887 w 1466850"/>
                  <a:gd name="connsiteY16" fmla="*/ 1092994 h 1200149"/>
                  <a:gd name="connsiteX17" fmla="*/ 238125 w 1466850"/>
                  <a:gd name="connsiteY17" fmla="*/ 1045369 h 1200149"/>
                  <a:gd name="connsiteX18" fmla="*/ 230981 w 1466850"/>
                  <a:gd name="connsiteY18" fmla="*/ 1035844 h 1200149"/>
                  <a:gd name="connsiteX19" fmla="*/ 252412 w 1466850"/>
                  <a:gd name="connsiteY19" fmla="*/ 1019175 h 1200149"/>
                  <a:gd name="connsiteX20" fmla="*/ 314325 w 1466850"/>
                  <a:gd name="connsiteY20" fmla="*/ 995362 h 1200149"/>
                  <a:gd name="connsiteX21" fmla="*/ 311944 w 1466850"/>
                  <a:gd name="connsiteY21" fmla="*/ 959644 h 1200149"/>
                  <a:gd name="connsiteX22" fmla="*/ 326231 w 1466850"/>
                  <a:gd name="connsiteY22" fmla="*/ 942975 h 1200149"/>
                  <a:gd name="connsiteX23" fmla="*/ 452437 w 1466850"/>
                  <a:gd name="connsiteY23" fmla="*/ 950119 h 1200149"/>
                  <a:gd name="connsiteX24" fmla="*/ 464344 w 1466850"/>
                  <a:gd name="connsiteY24" fmla="*/ 933450 h 1200149"/>
                  <a:gd name="connsiteX25" fmla="*/ 476250 w 1466850"/>
                  <a:gd name="connsiteY25" fmla="*/ 883444 h 1200149"/>
                  <a:gd name="connsiteX26" fmla="*/ 488156 w 1466850"/>
                  <a:gd name="connsiteY26" fmla="*/ 857250 h 1200149"/>
                  <a:gd name="connsiteX27" fmla="*/ 526256 w 1466850"/>
                  <a:gd name="connsiteY27" fmla="*/ 862012 h 1200149"/>
                  <a:gd name="connsiteX28" fmla="*/ 545306 w 1466850"/>
                  <a:gd name="connsiteY28" fmla="*/ 909637 h 1200149"/>
                  <a:gd name="connsiteX29" fmla="*/ 566737 w 1466850"/>
                  <a:gd name="connsiteY29" fmla="*/ 881062 h 1200149"/>
                  <a:gd name="connsiteX30" fmla="*/ 621506 w 1466850"/>
                  <a:gd name="connsiteY30" fmla="*/ 845344 h 1200149"/>
                  <a:gd name="connsiteX31" fmla="*/ 709612 w 1466850"/>
                  <a:gd name="connsiteY31" fmla="*/ 814387 h 1200149"/>
                  <a:gd name="connsiteX32" fmla="*/ 716756 w 1466850"/>
                  <a:gd name="connsiteY32" fmla="*/ 769144 h 1200149"/>
                  <a:gd name="connsiteX33" fmla="*/ 742950 w 1466850"/>
                  <a:gd name="connsiteY33" fmla="*/ 750094 h 1200149"/>
                  <a:gd name="connsiteX34" fmla="*/ 785812 w 1466850"/>
                  <a:gd name="connsiteY34" fmla="*/ 726281 h 1200149"/>
                  <a:gd name="connsiteX35" fmla="*/ 800100 w 1466850"/>
                  <a:gd name="connsiteY35" fmla="*/ 716756 h 1200149"/>
                  <a:gd name="connsiteX36" fmla="*/ 862012 w 1466850"/>
                  <a:gd name="connsiteY36" fmla="*/ 721519 h 1200149"/>
                  <a:gd name="connsiteX37" fmla="*/ 883444 w 1466850"/>
                  <a:gd name="connsiteY37" fmla="*/ 721519 h 1200149"/>
                  <a:gd name="connsiteX38" fmla="*/ 892969 w 1466850"/>
                  <a:gd name="connsiteY38" fmla="*/ 697706 h 1200149"/>
                  <a:gd name="connsiteX39" fmla="*/ 892969 w 1466850"/>
                  <a:gd name="connsiteY39" fmla="*/ 697706 h 1200149"/>
                  <a:gd name="connsiteX40" fmla="*/ 921544 w 1466850"/>
                  <a:gd name="connsiteY40" fmla="*/ 609600 h 1200149"/>
                  <a:gd name="connsiteX41" fmla="*/ 909637 w 1466850"/>
                  <a:gd name="connsiteY41" fmla="*/ 552450 h 1200149"/>
                  <a:gd name="connsiteX42" fmla="*/ 928687 w 1466850"/>
                  <a:gd name="connsiteY42" fmla="*/ 540544 h 1200149"/>
                  <a:gd name="connsiteX43" fmla="*/ 973931 w 1466850"/>
                  <a:gd name="connsiteY43" fmla="*/ 535781 h 1200149"/>
                  <a:gd name="connsiteX44" fmla="*/ 1014412 w 1466850"/>
                  <a:gd name="connsiteY44" fmla="*/ 447675 h 1200149"/>
                  <a:gd name="connsiteX45" fmla="*/ 1038225 w 1466850"/>
                  <a:gd name="connsiteY45" fmla="*/ 445294 h 1200149"/>
                  <a:gd name="connsiteX46" fmla="*/ 1073944 w 1466850"/>
                  <a:gd name="connsiteY46" fmla="*/ 476250 h 1200149"/>
                  <a:gd name="connsiteX47" fmla="*/ 1112044 w 1466850"/>
                  <a:gd name="connsiteY47" fmla="*/ 514350 h 1200149"/>
                  <a:gd name="connsiteX48" fmla="*/ 1171575 w 1466850"/>
                  <a:gd name="connsiteY48" fmla="*/ 540544 h 1200149"/>
                  <a:gd name="connsiteX49" fmla="*/ 1219200 w 1466850"/>
                  <a:gd name="connsiteY49" fmla="*/ 521494 h 1200149"/>
                  <a:gd name="connsiteX50" fmla="*/ 1245394 w 1466850"/>
                  <a:gd name="connsiteY50" fmla="*/ 502444 h 1200149"/>
                  <a:gd name="connsiteX51" fmla="*/ 1278731 w 1466850"/>
                  <a:gd name="connsiteY51" fmla="*/ 511969 h 1200149"/>
                  <a:gd name="connsiteX52" fmla="*/ 1295400 w 1466850"/>
                  <a:gd name="connsiteY52" fmla="*/ 531019 h 1200149"/>
                  <a:gd name="connsiteX53" fmla="*/ 1273969 w 1466850"/>
                  <a:gd name="connsiteY53" fmla="*/ 573881 h 1200149"/>
                  <a:gd name="connsiteX54" fmla="*/ 1271587 w 1466850"/>
                  <a:gd name="connsiteY54" fmla="*/ 602456 h 1200149"/>
                  <a:gd name="connsiteX55" fmla="*/ 1285875 w 1466850"/>
                  <a:gd name="connsiteY55" fmla="*/ 611981 h 1200149"/>
                  <a:gd name="connsiteX56" fmla="*/ 1300162 w 1466850"/>
                  <a:gd name="connsiteY56" fmla="*/ 628650 h 1200149"/>
                  <a:gd name="connsiteX57" fmla="*/ 1321594 w 1466850"/>
                  <a:gd name="connsiteY57" fmla="*/ 666750 h 1200149"/>
                  <a:gd name="connsiteX58" fmla="*/ 1347787 w 1466850"/>
                  <a:gd name="connsiteY58" fmla="*/ 681037 h 1200149"/>
                  <a:gd name="connsiteX59" fmla="*/ 1371600 w 1466850"/>
                  <a:gd name="connsiteY59" fmla="*/ 681037 h 1200149"/>
                  <a:gd name="connsiteX60" fmla="*/ 1376362 w 1466850"/>
                  <a:gd name="connsiteY60" fmla="*/ 628650 h 1200149"/>
                  <a:gd name="connsiteX61" fmla="*/ 1395412 w 1466850"/>
                  <a:gd name="connsiteY61" fmla="*/ 578644 h 1200149"/>
                  <a:gd name="connsiteX62" fmla="*/ 1426369 w 1466850"/>
                  <a:gd name="connsiteY62" fmla="*/ 571500 h 1200149"/>
                  <a:gd name="connsiteX63" fmla="*/ 1466850 w 1466850"/>
                  <a:gd name="connsiteY63" fmla="*/ 552450 h 1200149"/>
                  <a:gd name="connsiteX64" fmla="*/ 1443037 w 1466850"/>
                  <a:gd name="connsiteY64" fmla="*/ 509587 h 1200149"/>
                  <a:gd name="connsiteX65" fmla="*/ 1414462 w 1466850"/>
                  <a:gd name="connsiteY65" fmla="*/ 464344 h 1200149"/>
                  <a:gd name="connsiteX66" fmla="*/ 1388269 w 1466850"/>
                  <a:gd name="connsiteY66" fmla="*/ 438150 h 1200149"/>
                  <a:gd name="connsiteX67" fmla="*/ 1404937 w 1466850"/>
                  <a:gd name="connsiteY67" fmla="*/ 400050 h 1200149"/>
                  <a:gd name="connsiteX68" fmla="*/ 1404937 w 1466850"/>
                  <a:gd name="connsiteY68" fmla="*/ 383381 h 1200149"/>
                  <a:gd name="connsiteX69" fmla="*/ 1431131 w 1466850"/>
                  <a:gd name="connsiteY69" fmla="*/ 338137 h 1200149"/>
                  <a:gd name="connsiteX70" fmla="*/ 1419225 w 1466850"/>
                  <a:gd name="connsiteY70" fmla="*/ 264319 h 1200149"/>
                  <a:gd name="connsiteX71" fmla="*/ 1438275 w 1466850"/>
                  <a:gd name="connsiteY71" fmla="*/ 202406 h 1200149"/>
                  <a:gd name="connsiteX72" fmla="*/ 1435894 w 1466850"/>
                  <a:gd name="connsiteY72" fmla="*/ 173831 h 1200149"/>
                  <a:gd name="connsiteX73" fmla="*/ 1404937 w 1466850"/>
                  <a:gd name="connsiteY73" fmla="*/ 164306 h 1200149"/>
                  <a:gd name="connsiteX74" fmla="*/ 1364456 w 1466850"/>
                  <a:gd name="connsiteY74" fmla="*/ 154781 h 1200149"/>
                  <a:gd name="connsiteX75" fmla="*/ 1293019 w 1466850"/>
                  <a:gd name="connsiteY75" fmla="*/ 154781 h 1200149"/>
                  <a:gd name="connsiteX76" fmla="*/ 1233487 w 1466850"/>
                  <a:gd name="connsiteY76" fmla="*/ 121444 h 1200149"/>
                  <a:gd name="connsiteX77" fmla="*/ 1207294 w 1466850"/>
                  <a:gd name="connsiteY77" fmla="*/ 114300 h 1200149"/>
                  <a:gd name="connsiteX78" fmla="*/ 1188244 w 1466850"/>
                  <a:gd name="connsiteY78" fmla="*/ 126206 h 1200149"/>
                  <a:gd name="connsiteX79" fmla="*/ 1133475 w 1466850"/>
                  <a:gd name="connsiteY79" fmla="*/ 188119 h 1200149"/>
                  <a:gd name="connsiteX80" fmla="*/ 1116806 w 1466850"/>
                  <a:gd name="connsiteY80" fmla="*/ 188119 h 1200149"/>
                  <a:gd name="connsiteX81" fmla="*/ 1078706 w 1466850"/>
                  <a:gd name="connsiteY81" fmla="*/ 142875 h 1200149"/>
                  <a:gd name="connsiteX82" fmla="*/ 1054894 w 1466850"/>
                  <a:gd name="connsiteY82" fmla="*/ 138112 h 1200149"/>
                  <a:gd name="connsiteX83" fmla="*/ 997744 w 1466850"/>
                  <a:gd name="connsiteY83" fmla="*/ 157162 h 1200149"/>
                  <a:gd name="connsiteX84" fmla="*/ 973931 w 1466850"/>
                  <a:gd name="connsiteY84" fmla="*/ 178594 h 1200149"/>
                  <a:gd name="connsiteX85" fmla="*/ 928687 w 1466850"/>
                  <a:gd name="connsiteY85" fmla="*/ 173831 h 1200149"/>
                  <a:gd name="connsiteX86" fmla="*/ 878681 w 1466850"/>
                  <a:gd name="connsiteY86" fmla="*/ 164306 h 1200149"/>
                  <a:gd name="connsiteX87" fmla="*/ 864394 w 1466850"/>
                  <a:gd name="connsiteY87" fmla="*/ 83344 h 1200149"/>
                  <a:gd name="connsiteX88" fmla="*/ 845344 w 1466850"/>
                  <a:gd name="connsiteY88" fmla="*/ 69056 h 1200149"/>
                  <a:gd name="connsiteX89" fmla="*/ 747712 w 1466850"/>
                  <a:gd name="connsiteY89" fmla="*/ 119062 h 1200149"/>
                  <a:gd name="connsiteX90" fmla="*/ 721519 w 1466850"/>
                  <a:gd name="connsiteY90" fmla="*/ 140494 h 1200149"/>
                  <a:gd name="connsiteX91" fmla="*/ 709612 w 1466850"/>
                  <a:gd name="connsiteY91" fmla="*/ 190500 h 1200149"/>
                  <a:gd name="connsiteX92" fmla="*/ 707231 w 1466850"/>
                  <a:gd name="connsiteY92" fmla="*/ 195262 h 1200149"/>
                  <a:gd name="connsiteX93" fmla="*/ 654844 w 1466850"/>
                  <a:gd name="connsiteY93" fmla="*/ 190500 h 1200149"/>
                  <a:gd name="connsiteX94" fmla="*/ 633412 w 1466850"/>
                  <a:gd name="connsiteY94" fmla="*/ 180975 h 1200149"/>
                  <a:gd name="connsiteX95" fmla="*/ 614362 w 1466850"/>
                  <a:gd name="connsiteY95" fmla="*/ 142875 h 1200149"/>
                  <a:gd name="connsiteX96" fmla="*/ 590550 w 1466850"/>
                  <a:gd name="connsiteY96" fmla="*/ 130969 h 1200149"/>
                  <a:gd name="connsiteX97" fmla="*/ 540544 w 1466850"/>
                  <a:gd name="connsiteY97" fmla="*/ 161925 h 1200149"/>
                  <a:gd name="connsiteX98" fmla="*/ 507206 w 1466850"/>
                  <a:gd name="connsiteY98" fmla="*/ 154781 h 1200149"/>
                  <a:gd name="connsiteX99" fmla="*/ 495300 w 1466850"/>
                  <a:gd name="connsiteY99" fmla="*/ 123825 h 1200149"/>
                  <a:gd name="connsiteX100" fmla="*/ 490537 w 1466850"/>
                  <a:gd name="connsiteY100" fmla="*/ 114300 h 1200149"/>
                  <a:gd name="connsiteX101" fmla="*/ 431006 w 1466850"/>
                  <a:gd name="connsiteY101" fmla="*/ 97631 h 1200149"/>
                  <a:gd name="connsiteX102" fmla="*/ 442912 w 1466850"/>
                  <a:gd name="connsiteY102" fmla="*/ 33337 h 1200149"/>
                  <a:gd name="connsiteX103" fmla="*/ 423862 w 1466850"/>
                  <a:gd name="connsiteY103" fmla="*/ 19050 h 1200149"/>
                  <a:gd name="connsiteX104" fmla="*/ 335756 w 1466850"/>
                  <a:gd name="connsiteY104" fmla="*/ 0 h 1200149"/>
                  <a:gd name="connsiteX105" fmla="*/ 302419 w 1466850"/>
                  <a:gd name="connsiteY105" fmla="*/ 35719 h 1200149"/>
                  <a:gd name="connsiteX106" fmla="*/ 266700 w 1466850"/>
                  <a:gd name="connsiteY106" fmla="*/ 50006 h 1200149"/>
                  <a:gd name="connsiteX107" fmla="*/ 271462 w 1466850"/>
                  <a:gd name="connsiteY107" fmla="*/ 95250 h 1200149"/>
                  <a:gd name="connsiteX108" fmla="*/ 316706 w 1466850"/>
                  <a:gd name="connsiteY108" fmla="*/ 121444 h 1200149"/>
                  <a:gd name="connsiteX109" fmla="*/ 302419 w 1466850"/>
                  <a:gd name="connsiteY109" fmla="*/ 145256 h 1200149"/>
                  <a:gd name="connsiteX110" fmla="*/ 247650 w 1466850"/>
                  <a:gd name="connsiteY110" fmla="*/ 159544 h 1200149"/>
                  <a:gd name="connsiteX111" fmla="*/ 214312 w 1466850"/>
                  <a:gd name="connsiteY111" fmla="*/ 216694 h 1200149"/>
                  <a:gd name="connsiteX112" fmla="*/ 183356 w 1466850"/>
                  <a:gd name="connsiteY112" fmla="*/ 221456 h 1200149"/>
                  <a:gd name="connsiteX113" fmla="*/ 183356 w 1466850"/>
                  <a:gd name="connsiteY113" fmla="*/ 254794 h 1200149"/>
                  <a:gd name="connsiteX114" fmla="*/ 161925 w 1466850"/>
                  <a:gd name="connsiteY114" fmla="*/ 304800 h 1200149"/>
                  <a:gd name="connsiteX115" fmla="*/ 140494 w 1466850"/>
                  <a:gd name="connsiteY115" fmla="*/ 323850 h 1200149"/>
                  <a:gd name="connsiteX116" fmla="*/ 71439 w 1466850"/>
                  <a:gd name="connsiteY116" fmla="*/ 300039 h 1200149"/>
                  <a:gd name="connsiteX117" fmla="*/ 59530 w 1466850"/>
                  <a:gd name="connsiteY117" fmla="*/ 302418 h 1200149"/>
                  <a:gd name="connsiteX118" fmla="*/ 30956 w 1466850"/>
                  <a:gd name="connsiteY118" fmla="*/ 295274 h 1200149"/>
                  <a:gd name="connsiteX0" fmla="*/ 30956 w 1466850"/>
                  <a:gd name="connsiteY0" fmla="*/ 295274 h 1200149"/>
                  <a:gd name="connsiteX1" fmla="*/ 19050 w 1466850"/>
                  <a:gd name="connsiteY1" fmla="*/ 381000 h 1200149"/>
                  <a:gd name="connsiteX2" fmla="*/ 19050 w 1466850"/>
                  <a:gd name="connsiteY2" fmla="*/ 397669 h 1200149"/>
                  <a:gd name="connsiteX3" fmla="*/ 0 w 1466850"/>
                  <a:gd name="connsiteY3" fmla="*/ 459581 h 1200149"/>
                  <a:gd name="connsiteX4" fmla="*/ 7144 w 1466850"/>
                  <a:gd name="connsiteY4" fmla="*/ 497681 h 1200149"/>
                  <a:gd name="connsiteX5" fmla="*/ 9525 w 1466850"/>
                  <a:gd name="connsiteY5" fmla="*/ 535781 h 1200149"/>
                  <a:gd name="connsiteX6" fmla="*/ 19050 w 1466850"/>
                  <a:gd name="connsiteY6" fmla="*/ 583406 h 1200149"/>
                  <a:gd name="connsiteX7" fmla="*/ 23812 w 1466850"/>
                  <a:gd name="connsiteY7" fmla="*/ 688181 h 1200149"/>
                  <a:gd name="connsiteX8" fmla="*/ 35719 w 1466850"/>
                  <a:gd name="connsiteY8" fmla="*/ 747712 h 1200149"/>
                  <a:gd name="connsiteX9" fmla="*/ 40481 w 1466850"/>
                  <a:gd name="connsiteY9" fmla="*/ 778669 h 1200149"/>
                  <a:gd name="connsiteX10" fmla="*/ 47625 w 1466850"/>
                  <a:gd name="connsiteY10" fmla="*/ 831056 h 1200149"/>
                  <a:gd name="connsiteX11" fmla="*/ 38100 w 1466850"/>
                  <a:gd name="connsiteY11" fmla="*/ 919162 h 1200149"/>
                  <a:gd name="connsiteX12" fmla="*/ 78581 w 1466850"/>
                  <a:gd name="connsiteY12" fmla="*/ 1028700 h 1200149"/>
                  <a:gd name="connsiteX13" fmla="*/ 71437 w 1466850"/>
                  <a:gd name="connsiteY13" fmla="*/ 1095375 h 1200149"/>
                  <a:gd name="connsiteX14" fmla="*/ 88106 w 1466850"/>
                  <a:gd name="connsiteY14" fmla="*/ 1164431 h 1200149"/>
                  <a:gd name="connsiteX15" fmla="*/ 166687 w 1466850"/>
                  <a:gd name="connsiteY15" fmla="*/ 1200149 h 1200149"/>
                  <a:gd name="connsiteX16" fmla="*/ 185737 w 1466850"/>
                  <a:gd name="connsiteY16" fmla="*/ 1173956 h 1200149"/>
                  <a:gd name="connsiteX17" fmla="*/ 242887 w 1466850"/>
                  <a:gd name="connsiteY17" fmla="*/ 1092994 h 1200149"/>
                  <a:gd name="connsiteX18" fmla="*/ 238125 w 1466850"/>
                  <a:gd name="connsiteY18" fmla="*/ 1045369 h 1200149"/>
                  <a:gd name="connsiteX19" fmla="*/ 230981 w 1466850"/>
                  <a:gd name="connsiteY19" fmla="*/ 1035844 h 1200149"/>
                  <a:gd name="connsiteX20" fmla="*/ 252412 w 1466850"/>
                  <a:gd name="connsiteY20" fmla="*/ 1019175 h 1200149"/>
                  <a:gd name="connsiteX21" fmla="*/ 314325 w 1466850"/>
                  <a:gd name="connsiteY21" fmla="*/ 995362 h 1200149"/>
                  <a:gd name="connsiteX22" fmla="*/ 311944 w 1466850"/>
                  <a:gd name="connsiteY22" fmla="*/ 959644 h 1200149"/>
                  <a:gd name="connsiteX23" fmla="*/ 326231 w 1466850"/>
                  <a:gd name="connsiteY23" fmla="*/ 942975 h 1200149"/>
                  <a:gd name="connsiteX24" fmla="*/ 452437 w 1466850"/>
                  <a:gd name="connsiteY24" fmla="*/ 950119 h 1200149"/>
                  <a:gd name="connsiteX25" fmla="*/ 464344 w 1466850"/>
                  <a:gd name="connsiteY25" fmla="*/ 933450 h 1200149"/>
                  <a:gd name="connsiteX26" fmla="*/ 476250 w 1466850"/>
                  <a:gd name="connsiteY26" fmla="*/ 883444 h 1200149"/>
                  <a:gd name="connsiteX27" fmla="*/ 488156 w 1466850"/>
                  <a:gd name="connsiteY27" fmla="*/ 857250 h 1200149"/>
                  <a:gd name="connsiteX28" fmla="*/ 526256 w 1466850"/>
                  <a:gd name="connsiteY28" fmla="*/ 862012 h 1200149"/>
                  <a:gd name="connsiteX29" fmla="*/ 545306 w 1466850"/>
                  <a:gd name="connsiteY29" fmla="*/ 909637 h 1200149"/>
                  <a:gd name="connsiteX30" fmla="*/ 566737 w 1466850"/>
                  <a:gd name="connsiteY30" fmla="*/ 881062 h 1200149"/>
                  <a:gd name="connsiteX31" fmla="*/ 621506 w 1466850"/>
                  <a:gd name="connsiteY31" fmla="*/ 845344 h 1200149"/>
                  <a:gd name="connsiteX32" fmla="*/ 709612 w 1466850"/>
                  <a:gd name="connsiteY32" fmla="*/ 814387 h 1200149"/>
                  <a:gd name="connsiteX33" fmla="*/ 716756 w 1466850"/>
                  <a:gd name="connsiteY33" fmla="*/ 769144 h 1200149"/>
                  <a:gd name="connsiteX34" fmla="*/ 742950 w 1466850"/>
                  <a:gd name="connsiteY34" fmla="*/ 750094 h 1200149"/>
                  <a:gd name="connsiteX35" fmla="*/ 785812 w 1466850"/>
                  <a:gd name="connsiteY35" fmla="*/ 726281 h 1200149"/>
                  <a:gd name="connsiteX36" fmla="*/ 800100 w 1466850"/>
                  <a:gd name="connsiteY36" fmla="*/ 716756 h 1200149"/>
                  <a:gd name="connsiteX37" fmla="*/ 862012 w 1466850"/>
                  <a:gd name="connsiteY37" fmla="*/ 721519 h 1200149"/>
                  <a:gd name="connsiteX38" fmla="*/ 883444 w 1466850"/>
                  <a:gd name="connsiteY38" fmla="*/ 721519 h 1200149"/>
                  <a:gd name="connsiteX39" fmla="*/ 892969 w 1466850"/>
                  <a:gd name="connsiteY39" fmla="*/ 697706 h 1200149"/>
                  <a:gd name="connsiteX40" fmla="*/ 892969 w 1466850"/>
                  <a:gd name="connsiteY40" fmla="*/ 697706 h 1200149"/>
                  <a:gd name="connsiteX41" fmla="*/ 921544 w 1466850"/>
                  <a:gd name="connsiteY41" fmla="*/ 609600 h 1200149"/>
                  <a:gd name="connsiteX42" fmla="*/ 909637 w 1466850"/>
                  <a:gd name="connsiteY42" fmla="*/ 552450 h 1200149"/>
                  <a:gd name="connsiteX43" fmla="*/ 928687 w 1466850"/>
                  <a:gd name="connsiteY43" fmla="*/ 540544 h 1200149"/>
                  <a:gd name="connsiteX44" fmla="*/ 973931 w 1466850"/>
                  <a:gd name="connsiteY44" fmla="*/ 535781 h 1200149"/>
                  <a:gd name="connsiteX45" fmla="*/ 1014412 w 1466850"/>
                  <a:gd name="connsiteY45" fmla="*/ 447675 h 1200149"/>
                  <a:gd name="connsiteX46" fmla="*/ 1038225 w 1466850"/>
                  <a:gd name="connsiteY46" fmla="*/ 445294 h 1200149"/>
                  <a:gd name="connsiteX47" fmla="*/ 1073944 w 1466850"/>
                  <a:gd name="connsiteY47" fmla="*/ 476250 h 1200149"/>
                  <a:gd name="connsiteX48" fmla="*/ 1112044 w 1466850"/>
                  <a:gd name="connsiteY48" fmla="*/ 514350 h 1200149"/>
                  <a:gd name="connsiteX49" fmla="*/ 1171575 w 1466850"/>
                  <a:gd name="connsiteY49" fmla="*/ 540544 h 1200149"/>
                  <a:gd name="connsiteX50" fmla="*/ 1219200 w 1466850"/>
                  <a:gd name="connsiteY50" fmla="*/ 521494 h 1200149"/>
                  <a:gd name="connsiteX51" fmla="*/ 1245394 w 1466850"/>
                  <a:gd name="connsiteY51" fmla="*/ 502444 h 1200149"/>
                  <a:gd name="connsiteX52" fmla="*/ 1278731 w 1466850"/>
                  <a:gd name="connsiteY52" fmla="*/ 511969 h 1200149"/>
                  <a:gd name="connsiteX53" fmla="*/ 1295400 w 1466850"/>
                  <a:gd name="connsiteY53" fmla="*/ 531019 h 1200149"/>
                  <a:gd name="connsiteX54" fmla="*/ 1273969 w 1466850"/>
                  <a:gd name="connsiteY54" fmla="*/ 573881 h 1200149"/>
                  <a:gd name="connsiteX55" fmla="*/ 1271587 w 1466850"/>
                  <a:gd name="connsiteY55" fmla="*/ 602456 h 1200149"/>
                  <a:gd name="connsiteX56" fmla="*/ 1285875 w 1466850"/>
                  <a:gd name="connsiteY56" fmla="*/ 611981 h 1200149"/>
                  <a:gd name="connsiteX57" fmla="*/ 1300162 w 1466850"/>
                  <a:gd name="connsiteY57" fmla="*/ 628650 h 1200149"/>
                  <a:gd name="connsiteX58" fmla="*/ 1321594 w 1466850"/>
                  <a:gd name="connsiteY58" fmla="*/ 666750 h 1200149"/>
                  <a:gd name="connsiteX59" fmla="*/ 1347787 w 1466850"/>
                  <a:gd name="connsiteY59" fmla="*/ 681037 h 1200149"/>
                  <a:gd name="connsiteX60" fmla="*/ 1371600 w 1466850"/>
                  <a:gd name="connsiteY60" fmla="*/ 681037 h 1200149"/>
                  <a:gd name="connsiteX61" fmla="*/ 1376362 w 1466850"/>
                  <a:gd name="connsiteY61" fmla="*/ 628650 h 1200149"/>
                  <a:gd name="connsiteX62" fmla="*/ 1395412 w 1466850"/>
                  <a:gd name="connsiteY62" fmla="*/ 578644 h 1200149"/>
                  <a:gd name="connsiteX63" fmla="*/ 1426369 w 1466850"/>
                  <a:gd name="connsiteY63" fmla="*/ 571500 h 1200149"/>
                  <a:gd name="connsiteX64" fmla="*/ 1466850 w 1466850"/>
                  <a:gd name="connsiteY64" fmla="*/ 552450 h 1200149"/>
                  <a:gd name="connsiteX65" fmla="*/ 1443037 w 1466850"/>
                  <a:gd name="connsiteY65" fmla="*/ 509587 h 1200149"/>
                  <a:gd name="connsiteX66" fmla="*/ 1414462 w 1466850"/>
                  <a:gd name="connsiteY66" fmla="*/ 464344 h 1200149"/>
                  <a:gd name="connsiteX67" fmla="*/ 1388269 w 1466850"/>
                  <a:gd name="connsiteY67" fmla="*/ 438150 h 1200149"/>
                  <a:gd name="connsiteX68" fmla="*/ 1404937 w 1466850"/>
                  <a:gd name="connsiteY68" fmla="*/ 400050 h 1200149"/>
                  <a:gd name="connsiteX69" fmla="*/ 1404937 w 1466850"/>
                  <a:gd name="connsiteY69" fmla="*/ 383381 h 1200149"/>
                  <a:gd name="connsiteX70" fmla="*/ 1431131 w 1466850"/>
                  <a:gd name="connsiteY70" fmla="*/ 338137 h 1200149"/>
                  <a:gd name="connsiteX71" fmla="*/ 1419225 w 1466850"/>
                  <a:gd name="connsiteY71" fmla="*/ 264319 h 1200149"/>
                  <a:gd name="connsiteX72" fmla="*/ 1438275 w 1466850"/>
                  <a:gd name="connsiteY72" fmla="*/ 202406 h 1200149"/>
                  <a:gd name="connsiteX73" fmla="*/ 1435894 w 1466850"/>
                  <a:gd name="connsiteY73" fmla="*/ 173831 h 1200149"/>
                  <a:gd name="connsiteX74" fmla="*/ 1404937 w 1466850"/>
                  <a:gd name="connsiteY74" fmla="*/ 164306 h 1200149"/>
                  <a:gd name="connsiteX75" fmla="*/ 1364456 w 1466850"/>
                  <a:gd name="connsiteY75" fmla="*/ 154781 h 1200149"/>
                  <a:gd name="connsiteX76" fmla="*/ 1293019 w 1466850"/>
                  <a:gd name="connsiteY76" fmla="*/ 154781 h 1200149"/>
                  <a:gd name="connsiteX77" fmla="*/ 1233487 w 1466850"/>
                  <a:gd name="connsiteY77" fmla="*/ 121444 h 1200149"/>
                  <a:gd name="connsiteX78" fmla="*/ 1207294 w 1466850"/>
                  <a:gd name="connsiteY78" fmla="*/ 114300 h 1200149"/>
                  <a:gd name="connsiteX79" fmla="*/ 1188244 w 1466850"/>
                  <a:gd name="connsiteY79" fmla="*/ 126206 h 1200149"/>
                  <a:gd name="connsiteX80" fmla="*/ 1133475 w 1466850"/>
                  <a:gd name="connsiteY80" fmla="*/ 188119 h 1200149"/>
                  <a:gd name="connsiteX81" fmla="*/ 1116806 w 1466850"/>
                  <a:gd name="connsiteY81" fmla="*/ 188119 h 1200149"/>
                  <a:gd name="connsiteX82" fmla="*/ 1078706 w 1466850"/>
                  <a:gd name="connsiteY82" fmla="*/ 142875 h 1200149"/>
                  <a:gd name="connsiteX83" fmla="*/ 1054894 w 1466850"/>
                  <a:gd name="connsiteY83" fmla="*/ 138112 h 1200149"/>
                  <a:gd name="connsiteX84" fmla="*/ 997744 w 1466850"/>
                  <a:gd name="connsiteY84" fmla="*/ 157162 h 1200149"/>
                  <a:gd name="connsiteX85" fmla="*/ 973931 w 1466850"/>
                  <a:gd name="connsiteY85" fmla="*/ 178594 h 1200149"/>
                  <a:gd name="connsiteX86" fmla="*/ 928687 w 1466850"/>
                  <a:gd name="connsiteY86" fmla="*/ 173831 h 1200149"/>
                  <a:gd name="connsiteX87" fmla="*/ 878681 w 1466850"/>
                  <a:gd name="connsiteY87" fmla="*/ 164306 h 1200149"/>
                  <a:gd name="connsiteX88" fmla="*/ 864394 w 1466850"/>
                  <a:gd name="connsiteY88" fmla="*/ 83344 h 1200149"/>
                  <a:gd name="connsiteX89" fmla="*/ 845344 w 1466850"/>
                  <a:gd name="connsiteY89" fmla="*/ 69056 h 1200149"/>
                  <a:gd name="connsiteX90" fmla="*/ 747712 w 1466850"/>
                  <a:gd name="connsiteY90" fmla="*/ 119062 h 1200149"/>
                  <a:gd name="connsiteX91" fmla="*/ 721519 w 1466850"/>
                  <a:gd name="connsiteY91" fmla="*/ 140494 h 1200149"/>
                  <a:gd name="connsiteX92" fmla="*/ 709612 w 1466850"/>
                  <a:gd name="connsiteY92" fmla="*/ 190500 h 1200149"/>
                  <a:gd name="connsiteX93" fmla="*/ 707231 w 1466850"/>
                  <a:gd name="connsiteY93" fmla="*/ 195262 h 1200149"/>
                  <a:gd name="connsiteX94" fmla="*/ 654844 w 1466850"/>
                  <a:gd name="connsiteY94" fmla="*/ 190500 h 1200149"/>
                  <a:gd name="connsiteX95" fmla="*/ 633412 w 1466850"/>
                  <a:gd name="connsiteY95" fmla="*/ 180975 h 1200149"/>
                  <a:gd name="connsiteX96" fmla="*/ 614362 w 1466850"/>
                  <a:gd name="connsiteY96" fmla="*/ 142875 h 1200149"/>
                  <a:gd name="connsiteX97" fmla="*/ 590550 w 1466850"/>
                  <a:gd name="connsiteY97" fmla="*/ 130969 h 1200149"/>
                  <a:gd name="connsiteX98" fmla="*/ 540544 w 1466850"/>
                  <a:gd name="connsiteY98" fmla="*/ 161925 h 1200149"/>
                  <a:gd name="connsiteX99" fmla="*/ 507206 w 1466850"/>
                  <a:gd name="connsiteY99" fmla="*/ 154781 h 1200149"/>
                  <a:gd name="connsiteX100" fmla="*/ 495300 w 1466850"/>
                  <a:gd name="connsiteY100" fmla="*/ 123825 h 1200149"/>
                  <a:gd name="connsiteX101" fmla="*/ 490537 w 1466850"/>
                  <a:gd name="connsiteY101" fmla="*/ 114300 h 1200149"/>
                  <a:gd name="connsiteX102" fmla="*/ 431006 w 1466850"/>
                  <a:gd name="connsiteY102" fmla="*/ 97631 h 1200149"/>
                  <a:gd name="connsiteX103" fmla="*/ 442912 w 1466850"/>
                  <a:gd name="connsiteY103" fmla="*/ 33337 h 1200149"/>
                  <a:gd name="connsiteX104" fmla="*/ 423862 w 1466850"/>
                  <a:gd name="connsiteY104" fmla="*/ 19050 h 1200149"/>
                  <a:gd name="connsiteX105" fmla="*/ 335756 w 1466850"/>
                  <a:gd name="connsiteY105" fmla="*/ 0 h 1200149"/>
                  <a:gd name="connsiteX106" fmla="*/ 302419 w 1466850"/>
                  <a:gd name="connsiteY106" fmla="*/ 35719 h 1200149"/>
                  <a:gd name="connsiteX107" fmla="*/ 266700 w 1466850"/>
                  <a:gd name="connsiteY107" fmla="*/ 50006 h 1200149"/>
                  <a:gd name="connsiteX108" fmla="*/ 271462 w 1466850"/>
                  <a:gd name="connsiteY108" fmla="*/ 95250 h 1200149"/>
                  <a:gd name="connsiteX109" fmla="*/ 316706 w 1466850"/>
                  <a:gd name="connsiteY109" fmla="*/ 121444 h 1200149"/>
                  <a:gd name="connsiteX110" fmla="*/ 302419 w 1466850"/>
                  <a:gd name="connsiteY110" fmla="*/ 145256 h 1200149"/>
                  <a:gd name="connsiteX111" fmla="*/ 247650 w 1466850"/>
                  <a:gd name="connsiteY111" fmla="*/ 159544 h 1200149"/>
                  <a:gd name="connsiteX112" fmla="*/ 214312 w 1466850"/>
                  <a:gd name="connsiteY112" fmla="*/ 216694 h 1200149"/>
                  <a:gd name="connsiteX113" fmla="*/ 183356 w 1466850"/>
                  <a:gd name="connsiteY113" fmla="*/ 221456 h 1200149"/>
                  <a:gd name="connsiteX114" fmla="*/ 183356 w 1466850"/>
                  <a:gd name="connsiteY114" fmla="*/ 254794 h 1200149"/>
                  <a:gd name="connsiteX115" fmla="*/ 161925 w 1466850"/>
                  <a:gd name="connsiteY115" fmla="*/ 304800 h 1200149"/>
                  <a:gd name="connsiteX116" fmla="*/ 140494 w 1466850"/>
                  <a:gd name="connsiteY116" fmla="*/ 323850 h 1200149"/>
                  <a:gd name="connsiteX117" fmla="*/ 71439 w 1466850"/>
                  <a:gd name="connsiteY117" fmla="*/ 300039 h 1200149"/>
                  <a:gd name="connsiteX118" fmla="*/ 59530 w 1466850"/>
                  <a:gd name="connsiteY118" fmla="*/ 302418 h 1200149"/>
                  <a:gd name="connsiteX119" fmla="*/ 30956 w 1466850"/>
                  <a:gd name="connsiteY119" fmla="*/ 295274 h 1200149"/>
                  <a:gd name="connsiteX0" fmla="*/ 30956 w 1466850"/>
                  <a:gd name="connsiteY0" fmla="*/ 295274 h 1209675"/>
                  <a:gd name="connsiteX1" fmla="*/ 19050 w 1466850"/>
                  <a:gd name="connsiteY1" fmla="*/ 381000 h 1209675"/>
                  <a:gd name="connsiteX2" fmla="*/ 19050 w 1466850"/>
                  <a:gd name="connsiteY2" fmla="*/ 397669 h 1209675"/>
                  <a:gd name="connsiteX3" fmla="*/ 0 w 1466850"/>
                  <a:gd name="connsiteY3" fmla="*/ 459581 h 1209675"/>
                  <a:gd name="connsiteX4" fmla="*/ 7144 w 1466850"/>
                  <a:gd name="connsiteY4" fmla="*/ 497681 h 1209675"/>
                  <a:gd name="connsiteX5" fmla="*/ 9525 w 1466850"/>
                  <a:gd name="connsiteY5" fmla="*/ 535781 h 1209675"/>
                  <a:gd name="connsiteX6" fmla="*/ 19050 w 1466850"/>
                  <a:gd name="connsiteY6" fmla="*/ 583406 h 1209675"/>
                  <a:gd name="connsiteX7" fmla="*/ 23812 w 1466850"/>
                  <a:gd name="connsiteY7" fmla="*/ 688181 h 1209675"/>
                  <a:gd name="connsiteX8" fmla="*/ 35719 w 1466850"/>
                  <a:gd name="connsiteY8" fmla="*/ 747712 h 1209675"/>
                  <a:gd name="connsiteX9" fmla="*/ 40481 w 1466850"/>
                  <a:gd name="connsiteY9" fmla="*/ 778669 h 1209675"/>
                  <a:gd name="connsiteX10" fmla="*/ 47625 w 1466850"/>
                  <a:gd name="connsiteY10" fmla="*/ 831056 h 1209675"/>
                  <a:gd name="connsiteX11" fmla="*/ 38100 w 1466850"/>
                  <a:gd name="connsiteY11" fmla="*/ 919162 h 1209675"/>
                  <a:gd name="connsiteX12" fmla="*/ 78581 w 1466850"/>
                  <a:gd name="connsiteY12" fmla="*/ 1028700 h 1209675"/>
                  <a:gd name="connsiteX13" fmla="*/ 71437 w 1466850"/>
                  <a:gd name="connsiteY13" fmla="*/ 1095375 h 1209675"/>
                  <a:gd name="connsiteX14" fmla="*/ 88106 w 1466850"/>
                  <a:gd name="connsiteY14" fmla="*/ 1164431 h 1209675"/>
                  <a:gd name="connsiteX15" fmla="*/ 166687 w 1466850"/>
                  <a:gd name="connsiteY15" fmla="*/ 1200149 h 1209675"/>
                  <a:gd name="connsiteX16" fmla="*/ 202406 w 1466850"/>
                  <a:gd name="connsiteY16" fmla="*/ 1209675 h 1209675"/>
                  <a:gd name="connsiteX17" fmla="*/ 242887 w 1466850"/>
                  <a:gd name="connsiteY17" fmla="*/ 1092994 h 1209675"/>
                  <a:gd name="connsiteX18" fmla="*/ 238125 w 1466850"/>
                  <a:gd name="connsiteY18" fmla="*/ 1045369 h 1209675"/>
                  <a:gd name="connsiteX19" fmla="*/ 230981 w 1466850"/>
                  <a:gd name="connsiteY19" fmla="*/ 1035844 h 1209675"/>
                  <a:gd name="connsiteX20" fmla="*/ 252412 w 1466850"/>
                  <a:gd name="connsiteY20" fmla="*/ 1019175 h 1209675"/>
                  <a:gd name="connsiteX21" fmla="*/ 314325 w 1466850"/>
                  <a:gd name="connsiteY21" fmla="*/ 995362 h 1209675"/>
                  <a:gd name="connsiteX22" fmla="*/ 311944 w 1466850"/>
                  <a:gd name="connsiteY22" fmla="*/ 959644 h 1209675"/>
                  <a:gd name="connsiteX23" fmla="*/ 326231 w 1466850"/>
                  <a:gd name="connsiteY23" fmla="*/ 942975 h 1209675"/>
                  <a:gd name="connsiteX24" fmla="*/ 452437 w 1466850"/>
                  <a:gd name="connsiteY24" fmla="*/ 950119 h 1209675"/>
                  <a:gd name="connsiteX25" fmla="*/ 464344 w 1466850"/>
                  <a:gd name="connsiteY25" fmla="*/ 933450 h 1209675"/>
                  <a:gd name="connsiteX26" fmla="*/ 476250 w 1466850"/>
                  <a:gd name="connsiteY26" fmla="*/ 883444 h 1209675"/>
                  <a:gd name="connsiteX27" fmla="*/ 488156 w 1466850"/>
                  <a:gd name="connsiteY27" fmla="*/ 857250 h 1209675"/>
                  <a:gd name="connsiteX28" fmla="*/ 526256 w 1466850"/>
                  <a:gd name="connsiteY28" fmla="*/ 862012 h 1209675"/>
                  <a:gd name="connsiteX29" fmla="*/ 545306 w 1466850"/>
                  <a:gd name="connsiteY29" fmla="*/ 909637 h 1209675"/>
                  <a:gd name="connsiteX30" fmla="*/ 566737 w 1466850"/>
                  <a:gd name="connsiteY30" fmla="*/ 881062 h 1209675"/>
                  <a:gd name="connsiteX31" fmla="*/ 621506 w 1466850"/>
                  <a:gd name="connsiteY31" fmla="*/ 845344 h 1209675"/>
                  <a:gd name="connsiteX32" fmla="*/ 709612 w 1466850"/>
                  <a:gd name="connsiteY32" fmla="*/ 814387 h 1209675"/>
                  <a:gd name="connsiteX33" fmla="*/ 716756 w 1466850"/>
                  <a:gd name="connsiteY33" fmla="*/ 769144 h 1209675"/>
                  <a:gd name="connsiteX34" fmla="*/ 742950 w 1466850"/>
                  <a:gd name="connsiteY34" fmla="*/ 750094 h 1209675"/>
                  <a:gd name="connsiteX35" fmla="*/ 785812 w 1466850"/>
                  <a:gd name="connsiteY35" fmla="*/ 726281 h 1209675"/>
                  <a:gd name="connsiteX36" fmla="*/ 800100 w 1466850"/>
                  <a:gd name="connsiteY36" fmla="*/ 716756 h 1209675"/>
                  <a:gd name="connsiteX37" fmla="*/ 862012 w 1466850"/>
                  <a:gd name="connsiteY37" fmla="*/ 721519 h 1209675"/>
                  <a:gd name="connsiteX38" fmla="*/ 883444 w 1466850"/>
                  <a:gd name="connsiteY38" fmla="*/ 721519 h 1209675"/>
                  <a:gd name="connsiteX39" fmla="*/ 892969 w 1466850"/>
                  <a:gd name="connsiteY39" fmla="*/ 697706 h 1209675"/>
                  <a:gd name="connsiteX40" fmla="*/ 892969 w 1466850"/>
                  <a:gd name="connsiteY40" fmla="*/ 697706 h 1209675"/>
                  <a:gd name="connsiteX41" fmla="*/ 921544 w 1466850"/>
                  <a:gd name="connsiteY41" fmla="*/ 609600 h 1209675"/>
                  <a:gd name="connsiteX42" fmla="*/ 909637 w 1466850"/>
                  <a:gd name="connsiteY42" fmla="*/ 552450 h 1209675"/>
                  <a:gd name="connsiteX43" fmla="*/ 928687 w 1466850"/>
                  <a:gd name="connsiteY43" fmla="*/ 540544 h 1209675"/>
                  <a:gd name="connsiteX44" fmla="*/ 973931 w 1466850"/>
                  <a:gd name="connsiteY44" fmla="*/ 535781 h 1209675"/>
                  <a:gd name="connsiteX45" fmla="*/ 1014412 w 1466850"/>
                  <a:gd name="connsiteY45" fmla="*/ 447675 h 1209675"/>
                  <a:gd name="connsiteX46" fmla="*/ 1038225 w 1466850"/>
                  <a:gd name="connsiteY46" fmla="*/ 445294 h 1209675"/>
                  <a:gd name="connsiteX47" fmla="*/ 1073944 w 1466850"/>
                  <a:gd name="connsiteY47" fmla="*/ 476250 h 1209675"/>
                  <a:gd name="connsiteX48" fmla="*/ 1112044 w 1466850"/>
                  <a:gd name="connsiteY48" fmla="*/ 514350 h 1209675"/>
                  <a:gd name="connsiteX49" fmla="*/ 1171575 w 1466850"/>
                  <a:gd name="connsiteY49" fmla="*/ 540544 h 1209675"/>
                  <a:gd name="connsiteX50" fmla="*/ 1219200 w 1466850"/>
                  <a:gd name="connsiteY50" fmla="*/ 521494 h 1209675"/>
                  <a:gd name="connsiteX51" fmla="*/ 1245394 w 1466850"/>
                  <a:gd name="connsiteY51" fmla="*/ 502444 h 1209675"/>
                  <a:gd name="connsiteX52" fmla="*/ 1278731 w 1466850"/>
                  <a:gd name="connsiteY52" fmla="*/ 511969 h 1209675"/>
                  <a:gd name="connsiteX53" fmla="*/ 1295400 w 1466850"/>
                  <a:gd name="connsiteY53" fmla="*/ 531019 h 1209675"/>
                  <a:gd name="connsiteX54" fmla="*/ 1273969 w 1466850"/>
                  <a:gd name="connsiteY54" fmla="*/ 573881 h 1209675"/>
                  <a:gd name="connsiteX55" fmla="*/ 1271587 w 1466850"/>
                  <a:gd name="connsiteY55" fmla="*/ 602456 h 1209675"/>
                  <a:gd name="connsiteX56" fmla="*/ 1285875 w 1466850"/>
                  <a:gd name="connsiteY56" fmla="*/ 611981 h 1209675"/>
                  <a:gd name="connsiteX57" fmla="*/ 1300162 w 1466850"/>
                  <a:gd name="connsiteY57" fmla="*/ 628650 h 1209675"/>
                  <a:gd name="connsiteX58" fmla="*/ 1321594 w 1466850"/>
                  <a:gd name="connsiteY58" fmla="*/ 666750 h 1209675"/>
                  <a:gd name="connsiteX59" fmla="*/ 1347787 w 1466850"/>
                  <a:gd name="connsiteY59" fmla="*/ 681037 h 1209675"/>
                  <a:gd name="connsiteX60" fmla="*/ 1371600 w 1466850"/>
                  <a:gd name="connsiteY60" fmla="*/ 681037 h 1209675"/>
                  <a:gd name="connsiteX61" fmla="*/ 1376362 w 1466850"/>
                  <a:gd name="connsiteY61" fmla="*/ 628650 h 1209675"/>
                  <a:gd name="connsiteX62" fmla="*/ 1395412 w 1466850"/>
                  <a:gd name="connsiteY62" fmla="*/ 578644 h 1209675"/>
                  <a:gd name="connsiteX63" fmla="*/ 1426369 w 1466850"/>
                  <a:gd name="connsiteY63" fmla="*/ 571500 h 1209675"/>
                  <a:gd name="connsiteX64" fmla="*/ 1466850 w 1466850"/>
                  <a:gd name="connsiteY64" fmla="*/ 552450 h 1209675"/>
                  <a:gd name="connsiteX65" fmla="*/ 1443037 w 1466850"/>
                  <a:gd name="connsiteY65" fmla="*/ 509587 h 1209675"/>
                  <a:gd name="connsiteX66" fmla="*/ 1414462 w 1466850"/>
                  <a:gd name="connsiteY66" fmla="*/ 464344 h 1209675"/>
                  <a:gd name="connsiteX67" fmla="*/ 1388269 w 1466850"/>
                  <a:gd name="connsiteY67" fmla="*/ 438150 h 1209675"/>
                  <a:gd name="connsiteX68" fmla="*/ 1404937 w 1466850"/>
                  <a:gd name="connsiteY68" fmla="*/ 400050 h 1209675"/>
                  <a:gd name="connsiteX69" fmla="*/ 1404937 w 1466850"/>
                  <a:gd name="connsiteY69" fmla="*/ 383381 h 1209675"/>
                  <a:gd name="connsiteX70" fmla="*/ 1431131 w 1466850"/>
                  <a:gd name="connsiteY70" fmla="*/ 338137 h 1209675"/>
                  <a:gd name="connsiteX71" fmla="*/ 1419225 w 1466850"/>
                  <a:gd name="connsiteY71" fmla="*/ 264319 h 1209675"/>
                  <a:gd name="connsiteX72" fmla="*/ 1438275 w 1466850"/>
                  <a:gd name="connsiteY72" fmla="*/ 202406 h 1209675"/>
                  <a:gd name="connsiteX73" fmla="*/ 1435894 w 1466850"/>
                  <a:gd name="connsiteY73" fmla="*/ 173831 h 1209675"/>
                  <a:gd name="connsiteX74" fmla="*/ 1404937 w 1466850"/>
                  <a:gd name="connsiteY74" fmla="*/ 164306 h 1209675"/>
                  <a:gd name="connsiteX75" fmla="*/ 1364456 w 1466850"/>
                  <a:gd name="connsiteY75" fmla="*/ 154781 h 1209675"/>
                  <a:gd name="connsiteX76" fmla="*/ 1293019 w 1466850"/>
                  <a:gd name="connsiteY76" fmla="*/ 154781 h 1209675"/>
                  <a:gd name="connsiteX77" fmla="*/ 1233487 w 1466850"/>
                  <a:gd name="connsiteY77" fmla="*/ 121444 h 1209675"/>
                  <a:gd name="connsiteX78" fmla="*/ 1207294 w 1466850"/>
                  <a:gd name="connsiteY78" fmla="*/ 114300 h 1209675"/>
                  <a:gd name="connsiteX79" fmla="*/ 1188244 w 1466850"/>
                  <a:gd name="connsiteY79" fmla="*/ 126206 h 1209675"/>
                  <a:gd name="connsiteX80" fmla="*/ 1133475 w 1466850"/>
                  <a:gd name="connsiteY80" fmla="*/ 188119 h 1209675"/>
                  <a:gd name="connsiteX81" fmla="*/ 1116806 w 1466850"/>
                  <a:gd name="connsiteY81" fmla="*/ 188119 h 1209675"/>
                  <a:gd name="connsiteX82" fmla="*/ 1078706 w 1466850"/>
                  <a:gd name="connsiteY82" fmla="*/ 142875 h 1209675"/>
                  <a:gd name="connsiteX83" fmla="*/ 1054894 w 1466850"/>
                  <a:gd name="connsiteY83" fmla="*/ 138112 h 1209675"/>
                  <a:gd name="connsiteX84" fmla="*/ 997744 w 1466850"/>
                  <a:gd name="connsiteY84" fmla="*/ 157162 h 1209675"/>
                  <a:gd name="connsiteX85" fmla="*/ 973931 w 1466850"/>
                  <a:gd name="connsiteY85" fmla="*/ 178594 h 1209675"/>
                  <a:gd name="connsiteX86" fmla="*/ 928687 w 1466850"/>
                  <a:gd name="connsiteY86" fmla="*/ 173831 h 1209675"/>
                  <a:gd name="connsiteX87" fmla="*/ 878681 w 1466850"/>
                  <a:gd name="connsiteY87" fmla="*/ 164306 h 1209675"/>
                  <a:gd name="connsiteX88" fmla="*/ 864394 w 1466850"/>
                  <a:gd name="connsiteY88" fmla="*/ 83344 h 1209675"/>
                  <a:gd name="connsiteX89" fmla="*/ 845344 w 1466850"/>
                  <a:gd name="connsiteY89" fmla="*/ 69056 h 1209675"/>
                  <a:gd name="connsiteX90" fmla="*/ 747712 w 1466850"/>
                  <a:gd name="connsiteY90" fmla="*/ 119062 h 1209675"/>
                  <a:gd name="connsiteX91" fmla="*/ 721519 w 1466850"/>
                  <a:gd name="connsiteY91" fmla="*/ 140494 h 1209675"/>
                  <a:gd name="connsiteX92" fmla="*/ 709612 w 1466850"/>
                  <a:gd name="connsiteY92" fmla="*/ 190500 h 1209675"/>
                  <a:gd name="connsiteX93" fmla="*/ 707231 w 1466850"/>
                  <a:gd name="connsiteY93" fmla="*/ 195262 h 1209675"/>
                  <a:gd name="connsiteX94" fmla="*/ 654844 w 1466850"/>
                  <a:gd name="connsiteY94" fmla="*/ 190500 h 1209675"/>
                  <a:gd name="connsiteX95" fmla="*/ 633412 w 1466850"/>
                  <a:gd name="connsiteY95" fmla="*/ 180975 h 1209675"/>
                  <a:gd name="connsiteX96" fmla="*/ 614362 w 1466850"/>
                  <a:gd name="connsiteY96" fmla="*/ 142875 h 1209675"/>
                  <a:gd name="connsiteX97" fmla="*/ 590550 w 1466850"/>
                  <a:gd name="connsiteY97" fmla="*/ 130969 h 1209675"/>
                  <a:gd name="connsiteX98" fmla="*/ 540544 w 1466850"/>
                  <a:gd name="connsiteY98" fmla="*/ 161925 h 1209675"/>
                  <a:gd name="connsiteX99" fmla="*/ 507206 w 1466850"/>
                  <a:gd name="connsiteY99" fmla="*/ 154781 h 1209675"/>
                  <a:gd name="connsiteX100" fmla="*/ 495300 w 1466850"/>
                  <a:gd name="connsiteY100" fmla="*/ 123825 h 1209675"/>
                  <a:gd name="connsiteX101" fmla="*/ 490537 w 1466850"/>
                  <a:gd name="connsiteY101" fmla="*/ 114300 h 1209675"/>
                  <a:gd name="connsiteX102" fmla="*/ 431006 w 1466850"/>
                  <a:gd name="connsiteY102" fmla="*/ 97631 h 1209675"/>
                  <a:gd name="connsiteX103" fmla="*/ 442912 w 1466850"/>
                  <a:gd name="connsiteY103" fmla="*/ 33337 h 1209675"/>
                  <a:gd name="connsiteX104" fmla="*/ 423862 w 1466850"/>
                  <a:gd name="connsiteY104" fmla="*/ 19050 h 1209675"/>
                  <a:gd name="connsiteX105" fmla="*/ 335756 w 1466850"/>
                  <a:gd name="connsiteY105" fmla="*/ 0 h 1209675"/>
                  <a:gd name="connsiteX106" fmla="*/ 302419 w 1466850"/>
                  <a:gd name="connsiteY106" fmla="*/ 35719 h 1209675"/>
                  <a:gd name="connsiteX107" fmla="*/ 266700 w 1466850"/>
                  <a:gd name="connsiteY107" fmla="*/ 50006 h 1209675"/>
                  <a:gd name="connsiteX108" fmla="*/ 271462 w 1466850"/>
                  <a:gd name="connsiteY108" fmla="*/ 95250 h 1209675"/>
                  <a:gd name="connsiteX109" fmla="*/ 316706 w 1466850"/>
                  <a:gd name="connsiteY109" fmla="*/ 121444 h 1209675"/>
                  <a:gd name="connsiteX110" fmla="*/ 302419 w 1466850"/>
                  <a:gd name="connsiteY110" fmla="*/ 145256 h 1209675"/>
                  <a:gd name="connsiteX111" fmla="*/ 247650 w 1466850"/>
                  <a:gd name="connsiteY111" fmla="*/ 159544 h 1209675"/>
                  <a:gd name="connsiteX112" fmla="*/ 214312 w 1466850"/>
                  <a:gd name="connsiteY112" fmla="*/ 216694 h 1209675"/>
                  <a:gd name="connsiteX113" fmla="*/ 183356 w 1466850"/>
                  <a:gd name="connsiteY113" fmla="*/ 221456 h 1209675"/>
                  <a:gd name="connsiteX114" fmla="*/ 183356 w 1466850"/>
                  <a:gd name="connsiteY114" fmla="*/ 254794 h 1209675"/>
                  <a:gd name="connsiteX115" fmla="*/ 161925 w 1466850"/>
                  <a:gd name="connsiteY115" fmla="*/ 304800 h 1209675"/>
                  <a:gd name="connsiteX116" fmla="*/ 140494 w 1466850"/>
                  <a:gd name="connsiteY116" fmla="*/ 323850 h 1209675"/>
                  <a:gd name="connsiteX117" fmla="*/ 71439 w 1466850"/>
                  <a:gd name="connsiteY117" fmla="*/ 300039 h 1209675"/>
                  <a:gd name="connsiteX118" fmla="*/ 59530 w 1466850"/>
                  <a:gd name="connsiteY118" fmla="*/ 302418 h 1209675"/>
                  <a:gd name="connsiteX119" fmla="*/ 30956 w 1466850"/>
                  <a:gd name="connsiteY119" fmla="*/ 295274 h 1209675"/>
                  <a:gd name="connsiteX0" fmla="*/ 30956 w 1466850"/>
                  <a:gd name="connsiteY0" fmla="*/ 295274 h 1209675"/>
                  <a:gd name="connsiteX1" fmla="*/ 19050 w 1466850"/>
                  <a:gd name="connsiteY1" fmla="*/ 381000 h 1209675"/>
                  <a:gd name="connsiteX2" fmla="*/ 19050 w 1466850"/>
                  <a:gd name="connsiteY2" fmla="*/ 397669 h 1209675"/>
                  <a:gd name="connsiteX3" fmla="*/ 0 w 1466850"/>
                  <a:gd name="connsiteY3" fmla="*/ 459581 h 1209675"/>
                  <a:gd name="connsiteX4" fmla="*/ 7144 w 1466850"/>
                  <a:gd name="connsiteY4" fmla="*/ 497681 h 1209675"/>
                  <a:gd name="connsiteX5" fmla="*/ 9525 w 1466850"/>
                  <a:gd name="connsiteY5" fmla="*/ 535781 h 1209675"/>
                  <a:gd name="connsiteX6" fmla="*/ 19050 w 1466850"/>
                  <a:gd name="connsiteY6" fmla="*/ 583406 h 1209675"/>
                  <a:gd name="connsiteX7" fmla="*/ 23812 w 1466850"/>
                  <a:gd name="connsiteY7" fmla="*/ 688181 h 1209675"/>
                  <a:gd name="connsiteX8" fmla="*/ 35719 w 1466850"/>
                  <a:gd name="connsiteY8" fmla="*/ 747712 h 1209675"/>
                  <a:gd name="connsiteX9" fmla="*/ 40481 w 1466850"/>
                  <a:gd name="connsiteY9" fmla="*/ 778669 h 1209675"/>
                  <a:gd name="connsiteX10" fmla="*/ 47625 w 1466850"/>
                  <a:gd name="connsiteY10" fmla="*/ 831056 h 1209675"/>
                  <a:gd name="connsiteX11" fmla="*/ 38100 w 1466850"/>
                  <a:gd name="connsiteY11" fmla="*/ 919162 h 1209675"/>
                  <a:gd name="connsiteX12" fmla="*/ 78581 w 1466850"/>
                  <a:gd name="connsiteY12" fmla="*/ 1028700 h 1209675"/>
                  <a:gd name="connsiteX13" fmla="*/ 71437 w 1466850"/>
                  <a:gd name="connsiteY13" fmla="*/ 1095375 h 1209675"/>
                  <a:gd name="connsiteX14" fmla="*/ 88106 w 1466850"/>
                  <a:gd name="connsiteY14" fmla="*/ 1164431 h 1209675"/>
                  <a:gd name="connsiteX15" fmla="*/ 166687 w 1466850"/>
                  <a:gd name="connsiteY15" fmla="*/ 1200149 h 1209675"/>
                  <a:gd name="connsiteX16" fmla="*/ 202406 w 1466850"/>
                  <a:gd name="connsiteY16" fmla="*/ 1209675 h 1209675"/>
                  <a:gd name="connsiteX17" fmla="*/ 219075 w 1466850"/>
                  <a:gd name="connsiteY17" fmla="*/ 1150144 h 1209675"/>
                  <a:gd name="connsiteX18" fmla="*/ 242887 w 1466850"/>
                  <a:gd name="connsiteY18" fmla="*/ 1092994 h 1209675"/>
                  <a:gd name="connsiteX19" fmla="*/ 238125 w 1466850"/>
                  <a:gd name="connsiteY19" fmla="*/ 1045369 h 1209675"/>
                  <a:gd name="connsiteX20" fmla="*/ 230981 w 1466850"/>
                  <a:gd name="connsiteY20" fmla="*/ 1035844 h 1209675"/>
                  <a:gd name="connsiteX21" fmla="*/ 252412 w 1466850"/>
                  <a:gd name="connsiteY21" fmla="*/ 1019175 h 1209675"/>
                  <a:gd name="connsiteX22" fmla="*/ 314325 w 1466850"/>
                  <a:gd name="connsiteY22" fmla="*/ 995362 h 1209675"/>
                  <a:gd name="connsiteX23" fmla="*/ 311944 w 1466850"/>
                  <a:gd name="connsiteY23" fmla="*/ 959644 h 1209675"/>
                  <a:gd name="connsiteX24" fmla="*/ 326231 w 1466850"/>
                  <a:gd name="connsiteY24" fmla="*/ 942975 h 1209675"/>
                  <a:gd name="connsiteX25" fmla="*/ 452437 w 1466850"/>
                  <a:gd name="connsiteY25" fmla="*/ 950119 h 1209675"/>
                  <a:gd name="connsiteX26" fmla="*/ 464344 w 1466850"/>
                  <a:gd name="connsiteY26" fmla="*/ 933450 h 1209675"/>
                  <a:gd name="connsiteX27" fmla="*/ 476250 w 1466850"/>
                  <a:gd name="connsiteY27" fmla="*/ 883444 h 1209675"/>
                  <a:gd name="connsiteX28" fmla="*/ 488156 w 1466850"/>
                  <a:gd name="connsiteY28" fmla="*/ 857250 h 1209675"/>
                  <a:gd name="connsiteX29" fmla="*/ 526256 w 1466850"/>
                  <a:gd name="connsiteY29" fmla="*/ 862012 h 1209675"/>
                  <a:gd name="connsiteX30" fmla="*/ 545306 w 1466850"/>
                  <a:gd name="connsiteY30" fmla="*/ 909637 h 1209675"/>
                  <a:gd name="connsiteX31" fmla="*/ 566737 w 1466850"/>
                  <a:gd name="connsiteY31" fmla="*/ 881062 h 1209675"/>
                  <a:gd name="connsiteX32" fmla="*/ 621506 w 1466850"/>
                  <a:gd name="connsiteY32" fmla="*/ 845344 h 1209675"/>
                  <a:gd name="connsiteX33" fmla="*/ 709612 w 1466850"/>
                  <a:gd name="connsiteY33" fmla="*/ 814387 h 1209675"/>
                  <a:gd name="connsiteX34" fmla="*/ 716756 w 1466850"/>
                  <a:gd name="connsiteY34" fmla="*/ 769144 h 1209675"/>
                  <a:gd name="connsiteX35" fmla="*/ 742950 w 1466850"/>
                  <a:gd name="connsiteY35" fmla="*/ 750094 h 1209675"/>
                  <a:gd name="connsiteX36" fmla="*/ 785812 w 1466850"/>
                  <a:gd name="connsiteY36" fmla="*/ 726281 h 1209675"/>
                  <a:gd name="connsiteX37" fmla="*/ 800100 w 1466850"/>
                  <a:gd name="connsiteY37" fmla="*/ 716756 h 1209675"/>
                  <a:gd name="connsiteX38" fmla="*/ 862012 w 1466850"/>
                  <a:gd name="connsiteY38" fmla="*/ 721519 h 1209675"/>
                  <a:gd name="connsiteX39" fmla="*/ 883444 w 1466850"/>
                  <a:gd name="connsiteY39" fmla="*/ 721519 h 1209675"/>
                  <a:gd name="connsiteX40" fmla="*/ 892969 w 1466850"/>
                  <a:gd name="connsiteY40" fmla="*/ 697706 h 1209675"/>
                  <a:gd name="connsiteX41" fmla="*/ 892969 w 1466850"/>
                  <a:gd name="connsiteY41" fmla="*/ 697706 h 1209675"/>
                  <a:gd name="connsiteX42" fmla="*/ 921544 w 1466850"/>
                  <a:gd name="connsiteY42" fmla="*/ 609600 h 1209675"/>
                  <a:gd name="connsiteX43" fmla="*/ 909637 w 1466850"/>
                  <a:gd name="connsiteY43" fmla="*/ 552450 h 1209675"/>
                  <a:gd name="connsiteX44" fmla="*/ 928687 w 1466850"/>
                  <a:gd name="connsiteY44" fmla="*/ 540544 h 1209675"/>
                  <a:gd name="connsiteX45" fmla="*/ 973931 w 1466850"/>
                  <a:gd name="connsiteY45" fmla="*/ 535781 h 1209675"/>
                  <a:gd name="connsiteX46" fmla="*/ 1014412 w 1466850"/>
                  <a:gd name="connsiteY46" fmla="*/ 447675 h 1209675"/>
                  <a:gd name="connsiteX47" fmla="*/ 1038225 w 1466850"/>
                  <a:gd name="connsiteY47" fmla="*/ 445294 h 1209675"/>
                  <a:gd name="connsiteX48" fmla="*/ 1073944 w 1466850"/>
                  <a:gd name="connsiteY48" fmla="*/ 476250 h 1209675"/>
                  <a:gd name="connsiteX49" fmla="*/ 1112044 w 1466850"/>
                  <a:gd name="connsiteY49" fmla="*/ 514350 h 1209675"/>
                  <a:gd name="connsiteX50" fmla="*/ 1171575 w 1466850"/>
                  <a:gd name="connsiteY50" fmla="*/ 540544 h 1209675"/>
                  <a:gd name="connsiteX51" fmla="*/ 1219200 w 1466850"/>
                  <a:gd name="connsiteY51" fmla="*/ 521494 h 1209675"/>
                  <a:gd name="connsiteX52" fmla="*/ 1245394 w 1466850"/>
                  <a:gd name="connsiteY52" fmla="*/ 502444 h 1209675"/>
                  <a:gd name="connsiteX53" fmla="*/ 1278731 w 1466850"/>
                  <a:gd name="connsiteY53" fmla="*/ 511969 h 1209675"/>
                  <a:gd name="connsiteX54" fmla="*/ 1295400 w 1466850"/>
                  <a:gd name="connsiteY54" fmla="*/ 531019 h 1209675"/>
                  <a:gd name="connsiteX55" fmla="*/ 1273969 w 1466850"/>
                  <a:gd name="connsiteY55" fmla="*/ 573881 h 1209675"/>
                  <a:gd name="connsiteX56" fmla="*/ 1271587 w 1466850"/>
                  <a:gd name="connsiteY56" fmla="*/ 602456 h 1209675"/>
                  <a:gd name="connsiteX57" fmla="*/ 1285875 w 1466850"/>
                  <a:gd name="connsiteY57" fmla="*/ 611981 h 1209675"/>
                  <a:gd name="connsiteX58" fmla="*/ 1300162 w 1466850"/>
                  <a:gd name="connsiteY58" fmla="*/ 628650 h 1209675"/>
                  <a:gd name="connsiteX59" fmla="*/ 1321594 w 1466850"/>
                  <a:gd name="connsiteY59" fmla="*/ 666750 h 1209675"/>
                  <a:gd name="connsiteX60" fmla="*/ 1347787 w 1466850"/>
                  <a:gd name="connsiteY60" fmla="*/ 681037 h 1209675"/>
                  <a:gd name="connsiteX61" fmla="*/ 1371600 w 1466850"/>
                  <a:gd name="connsiteY61" fmla="*/ 681037 h 1209675"/>
                  <a:gd name="connsiteX62" fmla="*/ 1376362 w 1466850"/>
                  <a:gd name="connsiteY62" fmla="*/ 628650 h 1209675"/>
                  <a:gd name="connsiteX63" fmla="*/ 1395412 w 1466850"/>
                  <a:gd name="connsiteY63" fmla="*/ 578644 h 1209675"/>
                  <a:gd name="connsiteX64" fmla="*/ 1426369 w 1466850"/>
                  <a:gd name="connsiteY64" fmla="*/ 571500 h 1209675"/>
                  <a:gd name="connsiteX65" fmla="*/ 1466850 w 1466850"/>
                  <a:gd name="connsiteY65" fmla="*/ 552450 h 1209675"/>
                  <a:gd name="connsiteX66" fmla="*/ 1443037 w 1466850"/>
                  <a:gd name="connsiteY66" fmla="*/ 509587 h 1209675"/>
                  <a:gd name="connsiteX67" fmla="*/ 1414462 w 1466850"/>
                  <a:gd name="connsiteY67" fmla="*/ 464344 h 1209675"/>
                  <a:gd name="connsiteX68" fmla="*/ 1388269 w 1466850"/>
                  <a:gd name="connsiteY68" fmla="*/ 438150 h 1209675"/>
                  <a:gd name="connsiteX69" fmla="*/ 1404937 w 1466850"/>
                  <a:gd name="connsiteY69" fmla="*/ 400050 h 1209675"/>
                  <a:gd name="connsiteX70" fmla="*/ 1404937 w 1466850"/>
                  <a:gd name="connsiteY70" fmla="*/ 383381 h 1209675"/>
                  <a:gd name="connsiteX71" fmla="*/ 1431131 w 1466850"/>
                  <a:gd name="connsiteY71" fmla="*/ 338137 h 1209675"/>
                  <a:gd name="connsiteX72" fmla="*/ 1419225 w 1466850"/>
                  <a:gd name="connsiteY72" fmla="*/ 264319 h 1209675"/>
                  <a:gd name="connsiteX73" fmla="*/ 1438275 w 1466850"/>
                  <a:gd name="connsiteY73" fmla="*/ 202406 h 1209675"/>
                  <a:gd name="connsiteX74" fmla="*/ 1435894 w 1466850"/>
                  <a:gd name="connsiteY74" fmla="*/ 173831 h 1209675"/>
                  <a:gd name="connsiteX75" fmla="*/ 1404937 w 1466850"/>
                  <a:gd name="connsiteY75" fmla="*/ 164306 h 1209675"/>
                  <a:gd name="connsiteX76" fmla="*/ 1364456 w 1466850"/>
                  <a:gd name="connsiteY76" fmla="*/ 154781 h 1209675"/>
                  <a:gd name="connsiteX77" fmla="*/ 1293019 w 1466850"/>
                  <a:gd name="connsiteY77" fmla="*/ 154781 h 1209675"/>
                  <a:gd name="connsiteX78" fmla="*/ 1233487 w 1466850"/>
                  <a:gd name="connsiteY78" fmla="*/ 121444 h 1209675"/>
                  <a:gd name="connsiteX79" fmla="*/ 1207294 w 1466850"/>
                  <a:gd name="connsiteY79" fmla="*/ 114300 h 1209675"/>
                  <a:gd name="connsiteX80" fmla="*/ 1188244 w 1466850"/>
                  <a:gd name="connsiteY80" fmla="*/ 126206 h 1209675"/>
                  <a:gd name="connsiteX81" fmla="*/ 1133475 w 1466850"/>
                  <a:gd name="connsiteY81" fmla="*/ 188119 h 1209675"/>
                  <a:gd name="connsiteX82" fmla="*/ 1116806 w 1466850"/>
                  <a:gd name="connsiteY82" fmla="*/ 188119 h 1209675"/>
                  <a:gd name="connsiteX83" fmla="*/ 1078706 w 1466850"/>
                  <a:gd name="connsiteY83" fmla="*/ 142875 h 1209675"/>
                  <a:gd name="connsiteX84" fmla="*/ 1054894 w 1466850"/>
                  <a:gd name="connsiteY84" fmla="*/ 138112 h 1209675"/>
                  <a:gd name="connsiteX85" fmla="*/ 997744 w 1466850"/>
                  <a:gd name="connsiteY85" fmla="*/ 157162 h 1209675"/>
                  <a:gd name="connsiteX86" fmla="*/ 973931 w 1466850"/>
                  <a:gd name="connsiteY86" fmla="*/ 178594 h 1209675"/>
                  <a:gd name="connsiteX87" fmla="*/ 928687 w 1466850"/>
                  <a:gd name="connsiteY87" fmla="*/ 173831 h 1209675"/>
                  <a:gd name="connsiteX88" fmla="*/ 878681 w 1466850"/>
                  <a:gd name="connsiteY88" fmla="*/ 164306 h 1209675"/>
                  <a:gd name="connsiteX89" fmla="*/ 864394 w 1466850"/>
                  <a:gd name="connsiteY89" fmla="*/ 83344 h 1209675"/>
                  <a:gd name="connsiteX90" fmla="*/ 845344 w 1466850"/>
                  <a:gd name="connsiteY90" fmla="*/ 69056 h 1209675"/>
                  <a:gd name="connsiteX91" fmla="*/ 747712 w 1466850"/>
                  <a:gd name="connsiteY91" fmla="*/ 119062 h 1209675"/>
                  <a:gd name="connsiteX92" fmla="*/ 721519 w 1466850"/>
                  <a:gd name="connsiteY92" fmla="*/ 140494 h 1209675"/>
                  <a:gd name="connsiteX93" fmla="*/ 709612 w 1466850"/>
                  <a:gd name="connsiteY93" fmla="*/ 190500 h 1209675"/>
                  <a:gd name="connsiteX94" fmla="*/ 707231 w 1466850"/>
                  <a:gd name="connsiteY94" fmla="*/ 195262 h 1209675"/>
                  <a:gd name="connsiteX95" fmla="*/ 654844 w 1466850"/>
                  <a:gd name="connsiteY95" fmla="*/ 190500 h 1209675"/>
                  <a:gd name="connsiteX96" fmla="*/ 633412 w 1466850"/>
                  <a:gd name="connsiteY96" fmla="*/ 180975 h 1209675"/>
                  <a:gd name="connsiteX97" fmla="*/ 614362 w 1466850"/>
                  <a:gd name="connsiteY97" fmla="*/ 142875 h 1209675"/>
                  <a:gd name="connsiteX98" fmla="*/ 590550 w 1466850"/>
                  <a:gd name="connsiteY98" fmla="*/ 130969 h 1209675"/>
                  <a:gd name="connsiteX99" fmla="*/ 540544 w 1466850"/>
                  <a:gd name="connsiteY99" fmla="*/ 161925 h 1209675"/>
                  <a:gd name="connsiteX100" fmla="*/ 507206 w 1466850"/>
                  <a:gd name="connsiteY100" fmla="*/ 154781 h 1209675"/>
                  <a:gd name="connsiteX101" fmla="*/ 495300 w 1466850"/>
                  <a:gd name="connsiteY101" fmla="*/ 123825 h 1209675"/>
                  <a:gd name="connsiteX102" fmla="*/ 490537 w 1466850"/>
                  <a:gd name="connsiteY102" fmla="*/ 114300 h 1209675"/>
                  <a:gd name="connsiteX103" fmla="*/ 431006 w 1466850"/>
                  <a:gd name="connsiteY103" fmla="*/ 97631 h 1209675"/>
                  <a:gd name="connsiteX104" fmla="*/ 442912 w 1466850"/>
                  <a:gd name="connsiteY104" fmla="*/ 33337 h 1209675"/>
                  <a:gd name="connsiteX105" fmla="*/ 423862 w 1466850"/>
                  <a:gd name="connsiteY105" fmla="*/ 19050 h 1209675"/>
                  <a:gd name="connsiteX106" fmla="*/ 335756 w 1466850"/>
                  <a:gd name="connsiteY106" fmla="*/ 0 h 1209675"/>
                  <a:gd name="connsiteX107" fmla="*/ 302419 w 1466850"/>
                  <a:gd name="connsiteY107" fmla="*/ 35719 h 1209675"/>
                  <a:gd name="connsiteX108" fmla="*/ 266700 w 1466850"/>
                  <a:gd name="connsiteY108" fmla="*/ 50006 h 1209675"/>
                  <a:gd name="connsiteX109" fmla="*/ 271462 w 1466850"/>
                  <a:gd name="connsiteY109" fmla="*/ 95250 h 1209675"/>
                  <a:gd name="connsiteX110" fmla="*/ 316706 w 1466850"/>
                  <a:gd name="connsiteY110" fmla="*/ 121444 h 1209675"/>
                  <a:gd name="connsiteX111" fmla="*/ 302419 w 1466850"/>
                  <a:gd name="connsiteY111" fmla="*/ 145256 h 1209675"/>
                  <a:gd name="connsiteX112" fmla="*/ 247650 w 1466850"/>
                  <a:gd name="connsiteY112" fmla="*/ 159544 h 1209675"/>
                  <a:gd name="connsiteX113" fmla="*/ 214312 w 1466850"/>
                  <a:gd name="connsiteY113" fmla="*/ 216694 h 1209675"/>
                  <a:gd name="connsiteX114" fmla="*/ 183356 w 1466850"/>
                  <a:gd name="connsiteY114" fmla="*/ 221456 h 1209675"/>
                  <a:gd name="connsiteX115" fmla="*/ 183356 w 1466850"/>
                  <a:gd name="connsiteY115" fmla="*/ 254794 h 1209675"/>
                  <a:gd name="connsiteX116" fmla="*/ 161925 w 1466850"/>
                  <a:gd name="connsiteY116" fmla="*/ 304800 h 1209675"/>
                  <a:gd name="connsiteX117" fmla="*/ 140494 w 1466850"/>
                  <a:gd name="connsiteY117" fmla="*/ 323850 h 1209675"/>
                  <a:gd name="connsiteX118" fmla="*/ 71439 w 1466850"/>
                  <a:gd name="connsiteY118" fmla="*/ 300039 h 1209675"/>
                  <a:gd name="connsiteX119" fmla="*/ 59530 w 1466850"/>
                  <a:gd name="connsiteY119" fmla="*/ 302418 h 1209675"/>
                  <a:gd name="connsiteX120" fmla="*/ 30956 w 1466850"/>
                  <a:gd name="connsiteY120" fmla="*/ 295274 h 1209675"/>
                  <a:gd name="connsiteX0" fmla="*/ 30956 w 1466850"/>
                  <a:gd name="connsiteY0" fmla="*/ 295274 h 1209675"/>
                  <a:gd name="connsiteX1" fmla="*/ 19050 w 1466850"/>
                  <a:gd name="connsiteY1" fmla="*/ 381000 h 1209675"/>
                  <a:gd name="connsiteX2" fmla="*/ 19050 w 1466850"/>
                  <a:gd name="connsiteY2" fmla="*/ 397669 h 1209675"/>
                  <a:gd name="connsiteX3" fmla="*/ 0 w 1466850"/>
                  <a:gd name="connsiteY3" fmla="*/ 459581 h 1209675"/>
                  <a:gd name="connsiteX4" fmla="*/ 7144 w 1466850"/>
                  <a:gd name="connsiteY4" fmla="*/ 497681 h 1209675"/>
                  <a:gd name="connsiteX5" fmla="*/ 9525 w 1466850"/>
                  <a:gd name="connsiteY5" fmla="*/ 535781 h 1209675"/>
                  <a:gd name="connsiteX6" fmla="*/ 19050 w 1466850"/>
                  <a:gd name="connsiteY6" fmla="*/ 583406 h 1209675"/>
                  <a:gd name="connsiteX7" fmla="*/ 23812 w 1466850"/>
                  <a:gd name="connsiteY7" fmla="*/ 688181 h 1209675"/>
                  <a:gd name="connsiteX8" fmla="*/ 35719 w 1466850"/>
                  <a:gd name="connsiteY8" fmla="*/ 747712 h 1209675"/>
                  <a:gd name="connsiteX9" fmla="*/ 40481 w 1466850"/>
                  <a:gd name="connsiteY9" fmla="*/ 778669 h 1209675"/>
                  <a:gd name="connsiteX10" fmla="*/ 47625 w 1466850"/>
                  <a:gd name="connsiteY10" fmla="*/ 831056 h 1209675"/>
                  <a:gd name="connsiteX11" fmla="*/ 38100 w 1466850"/>
                  <a:gd name="connsiteY11" fmla="*/ 919162 h 1209675"/>
                  <a:gd name="connsiteX12" fmla="*/ 78581 w 1466850"/>
                  <a:gd name="connsiteY12" fmla="*/ 1028700 h 1209675"/>
                  <a:gd name="connsiteX13" fmla="*/ 71437 w 1466850"/>
                  <a:gd name="connsiteY13" fmla="*/ 1095375 h 1209675"/>
                  <a:gd name="connsiteX14" fmla="*/ 88106 w 1466850"/>
                  <a:gd name="connsiteY14" fmla="*/ 1164431 h 1209675"/>
                  <a:gd name="connsiteX15" fmla="*/ 166687 w 1466850"/>
                  <a:gd name="connsiteY15" fmla="*/ 1200149 h 1209675"/>
                  <a:gd name="connsiteX16" fmla="*/ 202406 w 1466850"/>
                  <a:gd name="connsiteY16" fmla="*/ 1209675 h 1209675"/>
                  <a:gd name="connsiteX17" fmla="*/ 159544 w 1466850"/>
                  <a:gd name="connsiteY17" fmla="*/ 1112044 h 1209675"/>
                  <a:gd name="connsiteX18" fmla="*/ 242887 w 1466850"/>
                  <a:gd name="connsiteY18" fmla="*/ 1092994 h 1209675"/>
                  <a:gd name="connsiteX19" fmla="*/ 238125 w 1466850"/>
                  <a:gd name="connsiteY19" fmla="*/ 1045369 h 1209675"/>
                  <a:gd name="connsiteX20" fmla="*/ 230981 w 1466850"/>
                  <a:gd name="connsiteY20" fmla="*/ 1035844 h 1209675"/>
                  <a:gd name="connsiteX21" fmla="*/ 252412 w 1466850"/>
                  <a:gd name="connsiteY21" fmla="*/ 1019175 h 1209675"/>
                  <a:gd name="connsiteX22" fmla="*/ 314325 w 1466850"/>
                  <a:gd name="connsiteY22" fmla="*/ 995362 h 1209675"/>
                  <a:gd name="connsiteX23" fmla="*/ 311944 w 1466850"/>
                  <a:gd name="connsiteY23" fmla="*/ 959644 h 1209675"/>
                  <a:gd name="connsiteX24" fmla="*/ 326231 w 1466850"/>
                  <a:gd name="connsiteY24" fmla="*/ 942975 h 1209675"/>
                  <a:gd name="connsiteX25" fmla="*/ 452437 w 1466850"/>
                  <a:gd name="connsiteY25" fmla="*/ 950119 h 1209675"/>
                  <a:gd name="connsiteX26" fmla="*/ 464344 w 1466850"/>
                  <a:gd name="connsiteY26" fmla="*/ 933450 h 1209675"/>
                  <a:gd name="connsiteX27" fmla="*/ 476250 w 1466850"/>
                  <a:gd name="connsiteY27" fmla="*/ 883444 h 1209675"/>
                  <a:gd name="connsiteX28" fmla="*/ 488156 w 1466850"/>
                  <a:gd name="connsiteY28" fmla="*/ 857250 h 1209675"/>
                  <a:gd name="connsiteX29" fmla="*/ 526256 w 1466850"/>
                  <a:gd name="connsiteY29" fmla="*/ 862012 h 1209675"/>
                  <a:gd name="connsiteX30" fmla="*/ 545306 w 1466850"/>
                  <a:gd name="connsiteY30" fmla="*/ 909637 h 1209675"/>
                  <a:gd name="connsiteX31" fmla="*/ 566737 w 1466850"/>
                  <a:gd name="connsiteY31" fmla="*/ 881062 h 1209675"/>
                  <a:gd name="connsiteX32" fmla="*/ 621506 w 1466850"/>
                  <a:gd name="connsiteY32" fmla="*/ 845344 h 1209675"/>
                  <a:gd name="connsiteX33" fmla="*/ 709612 w 1466850"/>
                  <a:gd name="connsiteY33" fmla="*/ 814387 h 1209675"/>
                  <a:gd name="connsiteX34" fmla="*/ 716756 w 1466850"/>
                  <a:gd name="connsiteY34" fmla="*/ 769144 h 1209675"/>
                  <a:gd name="connsiteX35" fmla="*/ 742950 w 1466850"/>
                  <a:gd name="connsiteY35" fmla="*/ 750094 h 1209675"/>
                  <a:gd name="connsiteX36" fmla="*/ 785812 w 1466850"/>
                  <a:gd name="connsiteY36" fmla="*/ 726281 h 1209675"/>
                  <a:gd name="connsiteX37" fmla="*/ 800100 w 1466850"/>
                  <a:gd name="connsiteY37" fmla="*/ 716756 h 1209675"/>
                  <a:gd name="connsiteX38" fmla="*/ 862012 w 1466850"/>
                  <a:gd name="connsiteY38" fmla="*/ 721519 h 1209675"/>
                  <a:gd name="connsiteX39" fmla="*/ 883444 w 1466850"/>
                  <a:gd name="connsiteY39" fmla="*/ 721519 h 1209675"/>
                  <a:gd name="connsiteX40" fmla="*/ 892969 w 1466850"/>
                  <a:gd name="connsiteY40" fmla="*/ 697706 h 1209675"/>
                  <a:gd name="connsiteX41" fmla="*/ 892969 w 1466850"/>
                  <a:gd name="connsiteY41" fmla="*/ 697706 h 1209675"/>
                  <a:gd name="connsiteX42" fmla="*/ 921544 w 1466850"/>
                  <a:gd name="connsiteY42" fmla="*/ 609600 h 1209675"/>
                  <a:gd name="connsiteX43" fmla="*/ 909637 w 1466850"/>
                  <a:gd name="connsiteY43" fmla="*/ 552450 h 1209675"/>
                  <a:gd name="connsiteX44" fmla="*/ 928687 w 1466850"/>
                  <a:gd name="connsiteY44" fmla="*/ 540544 h 1209675"/>
                  <a:gd name="connsiteX45" fmla="*/ 973931 w 1466850"/>
                  <a:gd name="connsiteY45" fmla="*/ 535781 h 1209675"/>
                  <a:gd name="connsiteX46" fmla="*/ 1014412 w 1466850"/>
                  <a:gd name="connsiteY46" fmla="*/ 447675 h 1209675"/>
                  <a:gd name="connsiteX47" fmla="*/ 1038225 w 1466850"/>
                  <a:gd name="connsiteY47" fmla="*/ 445294 h 1209675"/>
                  <a:gd name="connsiteX48" fmla="*/ 1073944 w 1466850"/>
                  <a:gd name="connsiteY48" fmla="*/ 476250 h 1209675"/>
                  <a:gd name="connsiteX49" fmla="*/ 1112044 w 1466850"/>
                  <a:gd name="connsiteY49" fmla="*/ 514350 h 1209675"/>
                  <a:gd name="connsiteX50" fmla="*/ 1171575 w 1466850"/>
                  <a:gd name="connsiteY50" fmla="*/ 540544 h 1209675"/>
                  <a:gd name="connsiteX51" fmla="*/ 1219200 w 1466850"/>
                  <a:gd name="connsiteY51" fmla="*/ 521494 h 1209675"/>
                  <a:gd name="connsiteX52" fmla="*/ 1245394 w 1466850"/>
                  <a:gd name="connsiteY52" fmla="*/ 502444 h 1209675"/>
                  <a:gd name="connsiteX53" fmla="*/ 1278731 w 1466850"/>
                  <a:gd name="connsiteY53" fmla="*/ 511969 h 1209675"/>
                  <a:gd name="connsiteX54" fmla="*/ 1295400 w 1466850"/>
                  <a:gd name="connsiteY54" fmla="*/ 531019 h 1209675"/>
                  <a:gd name="connsiteX55" fmla="*/ 1273969 w 1466850"/>
                  <a:gd name="connsiteY55" fmla="*/ 573881 h 1209675"/>
                  <a:gd name="connsiteX56" fmla="*/ 1271587 w 1466850"/>
                  <a:gd name="connsiteY56" fmla="*/ 602456 h 1209675"/>
                  <a:gd name="connsiteX57" fmla="*/ 1285875 w 1466850"/>
                  <a:gd name="connsiteY57" fmla="*/ 611981 h 1209675"/>
                  <a:gd name="connsiteX58" fmla="*/ 1300162 w 1466850"/>
                  <a:gd name="connsiteY58" fmla="*/ 628650 h 1209675"/>
                  <a:gd name="connsiteX59" fmla="*/ 1321594 w 1466850"/>
                  <a:gd name="connsiteY59" fmla="*/ 666750 h 1209675"/>
                  <a:gd name="connsiteX60" fmla="*/ 1347787 w 1466850"/>
                  <a:gd name="connsiteY60" fmla="*/ 681037 h 1209675"/>
                  <a:gd name="connsiteX61" fmla="*/ 1371600 w 1466850"/>
                  <a:gd name="connsiteY61" fmla="*/ 681037 h 1209675"/>
                  <a:gd name="connsiteX62" fmla="*/ 1376362 w 1466850"/>
                  <a:gd name="connsiteY62" fmla="*/ 628650 h 1209675"/>
                  <a:gd name="connsiteX63" fmla="*/ 1395412 w 1466850"/>
                  <a:gd name="connsiteY63" fmla="*/ 578644 h 1209675"/>
                  <a:gd name="connsiteX64" fmla="*/ 1426369 w 1466850"/>
                  <a:gd name="connsiteY64" fmla="*/ 571500 h 1209675"/>
                  <a:gd name="connsiteX65" fmla="*/ 1466850 w 1466850"/>
                  <a:gd name="connsiteY65" fmla="*/ 552450 h 1209675"/>
                  <a:gd name="connsiteX66" fmla="*/ 1443037 w 1466850"/>
                  <a:gd name="connsiteY66" fmla="*/ 509587 h 1209675"/>
                  <a:gd name="connsiteX67" fmla="*/ 1414462 w 1466850"/>
                  <a:gd name="connsiteY67" fmla="*/ 464344 h 1209675"/>
                  <a:gd name="connsiteX68" fmla="*/ 1388269 w 1466850"/>
                  <a:gd name="connsiteY68" fmla="*/ 438150 h 1209675"/>
                  <a:gd name="connsiteX69" fmla="*/ 1404937 w 1466850"/>
                  <a:gd name="connsiteY69" fmla="*/ 400050 h 1209675"/>
                  <a:gd name="connsiteX70" fmla="*/ 1404937 w 1466850"/>
                  <a:gd name="connsiteY70" fmla="*/ 383381 h 1209675"/>
                  <a:gd name="connsiteX71" fmla="*/ 1431131 w 1466850"/>
                  <a:gd name="connsiteY71" fmla="*/ 338137 h 1209675"/>
                  <a:gd name="connsiteX72" fmla="*/ 1419225 w 1466850"/>
                  <a:gd name="connsiteY72" fmla="*/ 264319 h 1209675"/>
                  <a:gd name="connsiteX73" fmla="*/ 1438275 w 1466850"/>
                  <a:gd name="connsiteY73" fmla="*/ 202406 h 1209675"/>
                  <a:gd name="connsiteX74" fmla="*/ 1435894 w 1466850"/>
                  <a:gd name="connsiteY74" fmla="*/ 173831 h 1209675"/>
                  <a:gd name="connsiteX75" fmla="*/ 1404937 w 1466850"/>
                  <a:gd name="connsiteY75" fmla="*/ 164306 h 1209675"/>
                  <a:gd name="connsiteX76" fmla="*/ 1364456 w 1466850"/>
                  <a:gd name="connsiteY76" fmla="*/ 154781 h 1209675"/>
                  <a:gd name="connsiteX77" fmla="*/ 1293019 w 1466850"/>
                  <a:gd name="connsiteY77" fmla="*/ 154781 h 1209675"/>
                  <a:gd name="connsiteX78" fmla="*/ 1233487 w 1466850"/>
                  <a:gd name="connsiteY78" fmla="*/ 121444 h 1209675"/>
                  <a:gd name="connsiteX79" fmla="*/ 1207294 w 1466850"/>
                  <a:gd name="connsiteY79" fmla="*/ 114300 h 1209675"/>
                  <a:gd name="connsiteX80" fmla="*/ 1188244 w 1466850"/>
                  <a:gd name="connsiteY80" fmla="*/ 126206 h 1209675"/>
                  <a:gd name="connsiteX81" fmla="*/ 1133475 w 1466850"/>
                  <a:gd name="connsiteY81" fmla="*/ 188119 h 1209675"/>
                  <a:gd name="connsiteX82" fmla="*/ 1116806 w 1466850"/>
                  <a:gd name="connsiteY82" fmla="*/ 188119 h 1209675"/>
                  <a:gd name="connsiteX83" fmla="*/ 1078706 w 1466850"/>
                  <a:gd name="connsiteY83" fmla="*/ 142875 h 1209675"/>
                  <a:gd name="connsiteX84" fmla="*/ 1054894 w 1466850"/>
                  <a:gd name="connsiteY84" fmla="*/ 138112 h 1209675"/>
                  <a:gd name="connsiteX85" fmla="*/ 997744 w 1466850"/>
                  <a:gd name="connsiteY85" fmla="*/ 157162 h 1209675"/>
                  <a:gd name="connsiteX86" fmla="*/ 973931 w 1466850"/>
                  <a:gd name="connsiteY86" fmla="*/ 178594 h 1209675"/>
                  <a:gd name="connsiteX87" fmla="*/ 928687 w 1466850"/>
                  <a:gd name="connsiteY87" fmla="*/ 173831 h 1209675"/>
                  <a:gd name="connsiteX88" fmla="*/ 878681 w 1466850"/>
                  <a:gd name="connsiteY88" fmla="*/ 164306 h 1209675"/>
                  <a:gd name="connsiteX89" fmla="*/ 864394 w 1466850"/>
                  <a:gd name="connsiteY89" fmla="*/ 83344 h 1209675"/>
                  <a:gd name="connsiteX90" fmla="*/ 845344 w 1466850"/>
                  <a:gd name="connsiteY90" fmla="*/ 69056 h 1209675"/>
                  <a:gd name="connsiteX91" fmla="*/ 747712 w 1466850"/>
                  <a:gd name="connsiteY91" fmla="*/ 119062 h 1209675"/>
                  <a:gd name="connsiteX92" fmla="*/ 721519 w 1466850"/>
                  <a:gd name="connsiteY92" fmla="*/ 140494 h 1209675"/>
                  <a:gd name="connsiteX93" fmla="*/ 709612 w 1466850"/>
                  <a:gd name="connsiteY93" fmla="*/ 190500 h 1209675"/>
                  <a:gd name="connsiteX94" fmla="*/ 707231 w 1466850"/>
                  <a:gd name="connsiteY94" fmla="*/ 195262 h 1209675"/>
                  <a:gd name="connsiteX95" fmla="*/ 654844 w 1466850"/>
                  <a:gd name="connsiteY95" fmla="*/ 190500 h 1209675"/>
                  <a:gd name="connsiteX96" fmla="*/ 633412 w 1466850"/>
                  <a:gd name="connsiteY96" fmla="*/ 180975 h 1209675"/>
                  <a:gd name="connsiteX97" fmla="*/ 614362 w 1466850"/>
                  <a:gd name="connsiteY97" fmla="*/ 142875 h 1209675"/>
                  <a:gd name="connsiteX98" fmla="*/ 590550 w 1466850"/>
                  <a:gd name="connsiteY98" fmla="*/ 130969 h 1209675"/>
                  <a:gd name="connsiteX99" fmla="*/ 540544 w 1466850"/>
                  <a:gd name="connsiteY99" fmla="*/ 161925 h 1209675"/>
                  <a:gd name="connsiteX100" fmla="*/ 507206 w 1466850"/>
                  <a:gd name="connsiteY100" fmla="*/ 154781 h 1209675"/>
                  <a:gd name="connsiteX101" fmla="*/ 495300 w 1466850"/>
                  <a:gd name="connsiteY101" fmla="*/ 123825 h 1209675"/>
                  <a:gd name="connsiteX102" fmla="*/ 490537 w 1466850"/>
                  <a:gd name="connsiteY102" fmla="*/ 114300 h 1209675"/>
                  <a:gd name="connsiteX103" fmla="*/ 431006 w 1466850"/>
                  <a:gd name="connsiteY103" fmla="*/ 97631 h 1209675"/>
                  <a:gd name="connsiteX104" fmla="*/ 442912 w 1466850"/>
                  <a:gd name="connsiteY104" fmla="*/ 33337 h 1209675"/>
                  <a:gd name="connsiteX105" fmla="*/ 423862 w 1466850"/>
                  <a:gd name="connsiteY105" fmla="*/ 19050 h 1209675"/>
                  <a:gd name="connsiteX106" fmla="*/ 335756 w 1466850"/>
                  <a:gd name="connsiteY106" fmla="*/ 0 h 1209675"/>
                  <a:gd name="connsiteX107" fmla="*/ 302419 w 1466850"/>
                  <a:gd name="connsiteY107" fmla="*/ 35719 h 1209675"/>
                  <a:gd name="connsiteX108" fmla="*/ 266700 w 1466850"/>
                  <a:gd name="connsiteY108" fmla="*/ 50006 h 1209675"/>
                  <a:gd name="connsiteX109" fmla="*/ 271462 w 1466850"/>
                  <a:gd name="connsiteY109" fmla="*/ 95250 h 1209675"/>
                  <a:gd name="connsiteX110" fmla="*/ 316706 w 1466850"/>
                  <a:gd name="connsiteY110" fmla="*/ 121444 h 1209675"/>
                  <a:gd name="connsiteX111" fmla="*/ 302419 w 1466850"/>
                  <a:gd name="connsiteY111" fmla="*/ 145256 h 1209675"/>
                  <a:gd name="connsiteX112" fmla="*/ 247650 w 1466850"/>
                  <a:gd name="connsiteY112" fmla="*/ 159544 h 1209675"/>
                  <a:gd name="connsiteX113" fmla="*/ 214312 w 1466850"/>
                  <a:gd name="connsiteY113" fmla="*/ 216694 h 1209675"/>
                  <a:gd name="connsiteX114" fmla="*/ 183356 w 1466850"/>
                  <a:gd name="connsiteY114" fmla="*/ 221456 h 1209675"/>
                  <a:gd name="connsiteX115" fmla="*/ 183356 w 1466850"/>
                  <a:gd name="connsiteY115" fmla="*/ 254794 h 1209675"/>
                  <a:gd name="connsiteX116" fmla="*/ 161925 w 1466850"/>
                  <a:gd name="connsiteY116" fmla="*/ 304800 h 1209675"/>
                  <a:gd name="connsiteX117" fmla="*/ 140494 w 1466850"/>
                  <a:gd name="connsiteY117" fmla="*/ 323850 h 1209675"/>
                  <a:gd name="connsiteX118" fmla="*/ 71439 w 1466850"/>
                  <a:gd name="connsiteY118" fmla="*/ 300039 h 1209675"/>
                  <a:gd name="connsiteX119" fmla="*/ 59530 w 1466850"/>
                  <a:gd name="connsiteY119" fmla="*/ 302418 h 1209675"/>
                  <a:gd name="connsiteX120" fmla="*/ 30956 w 1466850"/>
                  <a:gd name="connsiteY120" fmla="*/ 295274 h 1209675"/>
                  <a:gd name="connsiteX0" fmla="*/ 30956 w 1466850"/>
                  <a:gd name="connsiteY0" fmla="*/ 295274 h 1209675"/>
                  <a:gd name="connsiteX1" fmla="*/ 19050 w 1466850"/>
                  <a:gd name="connsiteY1" fmla="*/ 381000 h 1209675"/>
                  <a:gd name="connsiteX2" fmla="*/ 19050 w 1466850"/>
                  <a:gd name="connsiteY2" fmla="*/ 397669 h 1209675"/>
                  <a:gd name="connsiteX3" fmla="*/ 0 w 1466850"/>
                  <a:gd name="connsiteY3" fmla="*/ 459581 h 1209675"/>
                  <a:gd name="connsiteX4" fmla="*/ 7144 w 1466850"/>
                  <a:gd name="connsiteY4" fmla="*/ 497681 h 1209675"/>
                  <a:gd name="connsiteX5" fmla="*/ 9525 w 1466850"/>
                  <a:gd name="connsiteY5" fmla="*/ 535781 h 1209675"/>
                  <a:gd name="connsiteX6" fmla="*/ 19050 w 1466850"/>
                  <a:gd name="connsiteY6" fmla="*/ 583406 h 1209675"/>
                  <a:gd name="connsiteX7" fmla="*/ 23812 w 1466850"/>
                  <a:gd name="connsiteY7" fmla="*/ 688181 h 1209675"/>
                  <a:gd name="connsiteX8" fmla="*/ 35719 w 1466850"/>
                  <a:gd name="connsiteY8" fmla="*/ 747712 h 1209675"/>
                  <a:gd name="connsiteX9" fmla="*/ 40481 w 1466850"/>
                  <a:gd name="connsiteY9" fmla="*/ 778669 h 1209675"/>
                  <a:gd name="connsiteX10" fmla="*/ 47625 w 1466850"/>
                  <a:gd name="connsiteY10" fmla="*/ 831056 h 1209675"/>
                  <a:gd name="connsiteX11" fmla="*/ 38100 w 1466850"/>
                  <a:gd name="connsiteY11" fmla="*/ 919162 h 1209675"/>
                  <a:gd name="connsiteX12" fmla="*/ 78581 w 1466850"/>
                  <a:gd name="connsiteY12" fmla="*/ 1028700 h 1209675"/>
                  <a:gd name="connsiteX13" fmla="*/ 71437 w 1466850"/>
                  <a:gd name="connsiteY13" fmla="*/ 1095375 h 1209675"/>
                  <a:gd name="connsiteX14" fmla="*/ 88106 w 1466850"/>
                  <a:gd name="connsiteY14" fmla="*/ 1164431 h 1209675"/>
                  <a:gd name="connsiteX15" fmla="*/ 166687 w 1466850"/>
                  <a:gd name="connsiteY15" fmla="*/ 1200149 h 1209675"/>
                  <a:gd name="connsiteX16" fmla="*/ 202406 w 1466850"/>
                  <a:gd name="connsiteY16" fmla="*/ 1209675 h 1209675"/>
                  <a:gd name="connsiteX17" fmla="*/ 188119 w 1466850"/>
                  <a:gd name="connsiteY17" fmla="*/ 1145381 h 1209675"/>
                  <a:gd name="connsiteX18" fmla="*/ 242887 w 1466850"/>
                  <a:gd name="connsiteY18" fmla="*/ 1092994 h 1209675"/>
                  <a:gd name="connsiteX19" fmla="*/ 238125 w 1466850"/>
                  <a:gd name="connsiteY19" fmla="*/ 1045369 h 1209675"/>
                  <a:gd name="connsiteX20" fmla="*/ 230981 w 1466850"/>
                  <a:gd name="connsiteY20" fmla="*/ 1035844 h 1209675"/>
                  <a:gd name="connsiteX21" fmla="*/ 252412 w 1466850"/>
                  <a:gd name="connsiteY21" fmla="*/ 1019175 h 1209675"/>
                  <a:gd name="connsiteX22" fmla="*/ 314325 w 1466850"/>
                  <a:gd name="connsiteY22" fmla="*/ 995362 h 1209675"/>
                  <a:gd name="connsiteX23" fmla="*/ 311944 w 1466850"/>
                  <a:gd name="connsiteY23" fmla="*/ 959644 h 1209675"/>
                  <a:gd name="connsiteX24" fmla="*/ 326231 w 1466850"/>
                  <a:gd name="connsiteY24" fmla="*/ 942975 h 1209675"/>
                  <a:gd name="connsiteX25" fmla="*/ 452437 w 1466850"/>
                  <a:gd name="connsiteY25" fmla="*/ 950119 h 1209675"/>
                  <a:gd name="connsiteX26" fmla="*/ 464344 w 1466850"/>
                  <a:gd name="connsiteY26" fmla="*/ 933450 h 1209675"/>
                  <a:gd name="connsiteX27" fmla="*/ 476250 w 1466850"/>
                  <a:gd name="connsiteY27" fmla="*/ 883444 h 1209675"/>
                  <a:gd name="connsiteX28" fmla="*/ 488156 w 1466850"/>
                  <a:gd name="connsiteY28" fmla="*/ 857250 h 1209675"/>
                  <a:gd name="connsiteX29" fmla="*/ 526256 w 1466850"/>
                  <a:gd name="connsiteY29" fmla="*/ 862012 h 1209675"/>
                  <a:gd name="connsiteX30" fmla="*/ 545306 w 1466850"/>
                  <a:gd name="connsiteY30" fmla="*/ 909637 h 1209675"/>
                  <a:gd name="connsiteX31" fmla="*/ 566737 w 1466850"/>
                  <a:gd name="connsiteY31" fmla="*/ 881062 h 1209675"/>
                  <a:gd name="connsiteX32" fmla="*/ 621506 w 1466850"/>
                  <a:gd name="connsiteY32" fmla="*/ 845344 h 1209675"/>
                  <a:gd name="connsiteX33" fmla="*/ 709612 w 1466850"/>
                  <a:gd name="connsiteY33" fmla="*/ 814387 h 1209675"/>
                  <a:gd name="connsiteX34" fmla="*/ 716756 w 1466850"/>
                  <a:gd name="connsiteY34" fmla="*/ 769144 h 1209675"/>
                  <a:gd name="connsiteX35" fmla="*/ 742950 w 1466850"/>
                  <a:gd name="connsiteY35" fmla="*/ 750094 h 1209675"/>
                  <a:gd name="connsiteX36" fmla="*/ 785812 w 1466850"/>
                  <a:gd name="connsiteY36" fmla="*/ 726281 h 1209675"/>
                  <a:gd name="connsiteX37" fmla="*/ 800100 w 1466850"/>
                  <a:gd name="connsiteY37" fmla="*/ 716756 h 1209675"/>
                  <a:gd name="connsiteX38" fmla="*/ 862012 w 1466850"/>
                  <a:gd name="connsiteY38" fmla="*/ 721519 h 1209675"/>
                  <a:gd name="connsiteX39" fmla="*/ 883444 w 1466850"/>
                  <a:gd name="connsiteY39" fmla="*/ 721519 h 1209675"/>
                  <a:gd name="connsiteX40" fmla="*/ 892969 w 1466850"/>
                  <a:gd name="connsiteY40" fmla="*/ 697706 h 1209675"/>
                  <a:gd name="connsiteX41" fmla="*/ 892969 w 1466850"/>
                  <a:gd name="connsiteY41" fmla="*/ 697706 h 1209675"/>
                  <a:gd name="connsiteX42" fmla="*/ 921544 w 1466850"/>
                  <a:gd name="connsiteY42" fmla="*/ 609600 h 1209675"/>
                  <a:gd name="connsiteX43" fmla="*/ 909637 w 1466850"/>
                  <a:gd name="connsiteY43" fmla="*/ 552450 h 1209675"/>
                  <a:gd name="connsiteX44" fmla="*/ 928687 w 1466850"/>
                  <a:gd name="connsiteY44" fmla="*/ 540544 h 1209675"/>
                  <a:gd name="connsiteX45" fmla="*/ 973931 w 1466850"/>
                  <a:gd name="connsiteY45" fmla="*/ 535781 h 1209675"/>
                  <a:gd name="connsiteX46" fmla="*/ 1014412 w 1466850"/>
                  <a:gd name="connsiteY46" fmla="*/ 447675 h 1209675"/>
                  <a:gd name="connsiteX47" fmla="*/ 1038225 w 1466850"/>
                  <a:gd name="connsiteY47" fmla="*/ 445294 h 1209675"/>
                  <a:gd name="connsiteX48" fmla="*/ 1073944 w 1466850"/>
                  <a:gd name="connsiteY48" fmla="*/ 476250 h 1209675"/>
                  <a:gd name="connsiteX49" fmla="*/ 1112044 w 1466850"/>
                  <a:gd name="connsiteY49" fmla="*/ 514350 h 1209675"/>
                  <a:gd name="connsiteX50" fmla="*/ 1171575 w 1466850"/>
                  <a:gd name="connsiteY50" fmla="*/ 540544 h 1209675"/>
                  <a:gd name="connsiteX51" fmla="*/ 1219200 w 1466850"/>
                  <a:gd name="connsiteY51" fmla="*/ 521494 h 1209675"/>
                  <a:gd name="connsiteX52" fmla="*/ 1245394 w 1466850"/>
                  <a:gd name="connsiteY52" fmla="*/ 502444 h 1209675"/>
                  <a:gd name="connsiteX53" fmla="*/ 1278731 w 1466850"/>
                  <a:gd name="connsiteY53" fmla="*/ 511969 h 1209675"/>
                  <a:gd name="connsiteX54" fmla="*/ 1295400 w 1466850"/>
                  <a:gd name="connsiteY54" fmla="*/ 531019 h 1209675"/>
                  <a:gd name="connsiteX55" fmla="*/ 1273969 w 1466850"/>
                  <a:gd name="connsiteY55" fmla="*/ 573881 h 1209675"/>
                  <a:gd name="connsiteX56" fmla="*/ 1271587 w 1466850"/>
                  <a:gd name="connsiteY56" fmla="*/ 602456 h 1209675"/>
                  <a:gd name="connsiteX57" fmla="*/ 1285875 w 1466850"/>
                  <a:gd name="connsiteY57" fmla="*/ 611981 h 1209675"/>
                  <a:gd name="connsiteX58" fmla="*/ 1300162 w 1466850"/>
                  <a:gd name="connsiteY58" fmla="*/ 628650 h 1209675"/>
                  <a:gd name="connsiteX59" fmla="*/ 1321594 w 1466850"/>
                  <a:gd name="connsiteY59" fmla="*/ 666750 h 1209675"/>
                  <a:gd name="connsiteX60" fmla="*/ 1347787 w 1466850"/>
                  <a:gd name="connsiteY60" fmla="*/ 681037 h 1209675"/>
                  <a:gd name="connsiteX61" fmla="*/ 1371600 w 1466850"/>
                  <a:gd name="connsiteY61" fmla="*/ 681037 h 1209675"/>
                  <a:gd name="connsiteX62" fmla="*/ 1376362 w 1466850"/>
                  <a:gd name="connsiteY62" fmla="*/ 628650 h 1209675"/>
                  <a:gd name="connsiteX63" fmla="*/ 1395412 w 1466850"/>
                  <a:gd name="connsiteY63" fmla="*/ 578644 h 1209675"/>
                  <a:gd name="connsiteX64" fmla="*/ 1426369 w 1466850"/>
                  <a:gd name="connsiteY64" fmla="*/ 571500 h 1209675"/>
                  <a:gd name="connsiteX65" fmla="*/ 1466850 w 1466850"/>
                  <a:gd name="connsiteY65" fmla="*/ 552450 h 1209675"/>
                  <a:gd name="connsiteX66" fmla="*/ 1443037 w 1466850"/>
                  <a:gd name="connsiteY66" fmla="*/ 509587 h 1209675"/>
                  <a:gd name="connsiteX67" fmla="*/ 1414462 w 1466850"/>
                  <a:gd name="connsiteY67" fmla="*/ 464344 h 1209675"/>
                  <a:gd name="connsiteX68" fmla="*/ 1388269 w 1466850"/>
                  <a:gd name="connsiteY68" fmla="*/ 438150 h 1209675"/>
                  <a:gd name="connsiteX69" fmla="*/ 1404937 w 1466850"/>
                  <a:gd name="connsiteY69" fmla="*/ 400050 h 1209675"/>
                  <a:gd name="connsiteX70" fmla="*/ 1404937 w 1466850"/>
                  <a:gd name="connsiteY70" fmla="*/ 383381 h 1209675"/>
                  <a:gd name="connsiteX71" fmla="*/ 1431131 w 1466850"/>
                  <a:gd name="connsiteY71" fmla="*/ 338137 h 1209675"/>
                  <a:gd name="connsiteX72" fmla="*/ 1419225 w 1466850"/>
                  <a:gd name="connsiteY72" fmla="*/ 264319 h 1209675"/>
                  <a:gd name="connsiteX73" fmla="*/ 1438275 w 1466850"/>
                  <a:gd name="connsiteY73" fmla="*/ 202406 h 1209675"/>
                  <a:gd name="connsiteX74" fmla="*/ 1435894 w 1466850"/>
                  <a:gd name="connsiteY74" fmla="*/ 173831 h 1209675"/>
                  <a:gd name="connsiteX75" fmla="*/ 1404937 w 1466850"/>
                  <a:gd name="connsiteY75" fmla="*/ 164306 h 1209675"/>
                  <a:gd name="connsiteX76" fmla="*/ 1364456 w 1466850"/>
                  <a:gd name="connsiteY76" fmla="*/ 154781 h 1209675"/>
                  <a:gd name="connsiteX77" fmla="*/ 1293019 w 1466850"/>
                  <a:gd name="connsiteY77" fmla="*/ 154781 h 1209675"/>
                  <a:gd name="connsiteX78" fmla="*/ 1233487 w 1466850"/>
                  <a:gd name="connsiteY78" fmla="*/ 121444 h 1209675"/>
                  <a:gd name="connsiteX79" fmla="*/ 1207294 w 1466850"/>
                  <a:gd name="connsiteY79" fmla="*/ 114300 h 1209675"/>
                  <a:gd name="connsiteX80" fmla="*/ 1188244 w 1466850"/>
                  <a:gd name="connsiteY80" fmla="*/ 126206 h 1209675"/>
                  <a:gd name="connsiteX81" fmla="*/ 1133475 w 1466850"/>
                  <a:gd name="connsiteY81" fmla="*/ 188119 h 1209675"/>
                  <a:gd name="connsiteX82" fmla="*/ 1116806 w 1466850"/>
                  <a:gd name="connsiteY82" fmla="*/ 188119 h 1209675"/>
                  <a:gd name="connsiteX83" fmla="*/ 1078706 w 1466850"/>
                  <a:gd name="connsiteY83" fmla="*/ 142875 h 1209675"/>
                  <a:gd name="connsiteX84" fmla="*/ 1054894 w 1466850"/>
                  <a:gd name="connsiteY84" fmla="*/ 138112 h 1209675"/>
                  <a:gd name="connsiteX85" fmla="*/ 997744 w 1466850"/>
                  <a:gd name="connsiteY85" fmla="*/ 157162 h 1209675"/>
                  <a:gd name="connsiteX86" fmla="*/ 973931 w 1466850"/>
                  <a:gd name="connsiteY86" fmla="*/ 178594 h 1209675"/>
                  <a:gd name="connsiteX87" fmla="*/ 928687 w 1466850"/>
                  <a:gd name="connsiteY87" fmla="*/ 173831 h 1209675"/>
                  <a:gd name="connsiteX88" fmla="*/ 878681 w 1466850"/>
                  <a:gd name="connsiteY88" fmla="*/ 164306 h 1209675"/>
                  <a:gd name="connsiteX89" fmla="*/ 864394 w 1466850"/>
                  <a:gd name="connsiteY89" fmla="*/ 83344 h 1209675"/>
                  <a:gd name="connsiteX90" fmla="*/ 845344 w 1466850"/>
                  <a:gd name="connsiteY90" fmla="*/ 69056 h 1209675"/>
                  <a:gd name="connsiteX91" fmla="*/ 747712 w 1466850"/>
                  <a:gd name="connsiteY91" fmla="*/ 119062 h 1209675"/>
                  <a:gd name="connsiteX92" fmla="*/ 721519 w 1466850"/>
                  <a:gd name="connsiteY92" fmla="*/ 140494 h 1209675"/>
                  <a:gd name="connsiteX93" fmla="*/ 709612 w 1466850"/>
                  <a:gd name="connsiteY93" fmla="*/ 190500 h 1209675"/>
                  <a:gd name="connsiteX94" fmla="*/ 707231 w 1466850"/>
                  <a:gd name="connsiteY94" fmla="*/ 195262 h 1209675"/>
                  <a:gd name="connsiteX95" fmla="*/ 654844 w 1466850"/>
                  <a:gd name="connsiteY95" fmla="*/ 190500 h 1209675"/>
                  <a:gd name="connsiteX96" fmla="*/ 633412 w 1466850"/>
                  <a:gd name="connsiteY96" fmla="*/ 180975 h 1209675"/>
                  <a:gd name="connsiteX97" fmla="*/ 614362 w 1466850"/>
                  <a:gd name="connsiteY97" fmla="*/ 142875 h 1209675"/>
                  <a:gd name="connsiteX98" fmla="*/ 590550 w 1466850"/>
                  <a:gd name="connsiteY98" fmla="*/ 130969 h 1209675"/>
                  <a:gd name="connsiteX99" fmla="*/ 540544 w 1466850"/>
                  <a:gd name="connsiteY99" fmla="*/ 161925 h 1209675"/>
                  <a:gd name="connsiteX100" fmla="*/ 507206 w 1466850"/>
                  <a:gd name="connsiteY100" fmla="*/ 154781 h 1209675"/>
                  <a:gd name="connsiteX101" fmla="*/ 495300 w 1466850"/>
                  <a:gd name="connsiteY101" fmla="*/ 123825 h 1209675"/>
                  <a:gd name="connsiteX102" fmla="*/ 490537 w 1466850"/>
                  <a:gd name="connsiteY102" fmla="*/ 114300 h 1209675"/>
                  <a:gd name="connsiteX103" fmla="*/ 431006 w 1466850"/>
                  <a:gd name="connsiteY103" fmla="*/ 97631 h 1209675"/>
                  <a:gd name="connsiteX104" fmla="*/ 442912 w 1466850"/>
                  <a:gd name="connsiteY104" fmla="*/ 33337 h 1209675"/>
                  <a:gd name="connsiteX105" fmla="*/ 423862 w 1466850"/>
                  <a:gd name="connsiteY105" fmla="*/ 19050 h 1209675"/>
                  <a:gd name="connsiteX106" fmla="*/ 335756 w 1466850"/>
                  <a:gd name="connsiteY106" fmla="*/ 0 h 1209675"/>
                  <a:gd name="connsiteX107" fmla="*/ 302419 w 1466850"/>
                  <a:gd name="connsiteY107" fmla="*/ 35719 h 1209675"/>
                  <a:gd name="connsiteX108" fmla="*/ 266700 w 1466850"/>
                  <a:gd name="connsiteY108" fmla="*/ 50006 h 1209675"/>
                  <a:gd name="connsiteX109" fmla="*/ 271462 w 1466850"/>
                  <a:gd name="connsiteY109" fmla="*/ 95250 h 1209675"/>
                  <a:gd name="connsiteX110" fmla="*/ 316706 w 1466850"/>
                  <a:gd name="connsiteY110" fmla="*/ 121444 h 1209675"/>
                  <a:gd name="connsiteX111" fmla="*/ 302419 w 1466850"/>
                  <a:gd name="connsiteY111" fmla="*/ 145256 h 1209675"/>
                  <a:gd name="connsiteX112" fmla="*/ 247650 w 1466850"/>
                  <a:gd name="connsiteY112" fmla="*/ 159544 h 1209675"/>
                  <a:gd name="connsiteX113" fmla="*/ 214312 w 1466850"/>
                  <a:gd name="connsiteY113" fmla="*/ 216694 h 1209675"/>
                  <a:gd name="connsiteX114" fmla="*/ 183356 w 1466850"/>
                  <a:gd name="connsiteY114" fmla="*/ 221456 h 1209675"/>
                  <a:gd name="connsiteX115" fmla="*/ 183356 w 1466850"/>
                  <a:gd name="connsiteY115" fmla="*/ 254794 h 1209675"/>
                  <a:gd name="connsiteX116" fmla="*/ 161925 w 1466850"/>
                  <a:gd name="connsiteY116" fmla="*/ 304800 h 1209675"/>
                  <a:gd name="connsiteX117" fmla="*/ 140494 w 1466850"/>
                  <a:gd name="connsiteY117" fmla="*/ 323850 h 1209675"/>
                  <a:gd name="connsiteX118" fmla="*/ 71439 w 1466850"/>
                  <a:gd name="connsiteY118" fmla="*/ 300039 h 1209675"/>
                  <a:gd name="connsiteX119" fmla="*/ 59530 w 1466850"/>
                  <a:gd name="connsiteY119" fmla="*/ 302418 h 1209675"/>
                  <a:gd name="connsiteX120" fmla="*/ 30956 w 1466850"/>
                  <a:gd name="connsiteY120" fmla="*/ 295274 h 1209675"/>
                  <a:gd name="connsiteX0" fmla="*/ 30956 w 1466850"/>
                  <a:gd name="connsiteY0" fmla="*/ 295274 h 1209675"/>
                  <a:gd name="connsiteX1" fmla="*/ 19050 w 1466850"/>
                  <a:gd name="connsiteY1" fmla="*/ 381000 h 1209675"/>
                  <a:gd name="connsiteX2" fmla="*/ 19050 w 1466850"/>
                  <a:gd name="connsiteY2" fmla="*/ 397669 h 1209675"/>
                  <a:gd name="connsiteX3" fmla="*/ 0 w 1466850"/>
                  <a:gd name="connsiteY3" fmla="*/ 459581 h 1209675"/>
                  <a:gd name="connsiteX4" fmla="*/ 7144 w 1466850"/>
                  <a:gd name="connsiteY4" fmla="*/ 497681 h 1209675"/>
                  <a:gd name="connsiteX5" fmla="*/ 9525 w 1466850"/>
                  <a:gd name="connsiteY5" fmla="*/ 535781 h 1209675"/>
                  <a:gd name="connsiteX6" fmla="*/ 19050 w 1466850"/>
                  <a:gd name="connsiteY6" fmla="*/ 583406 h 1209675"/>
                  <a:gd name="connsiteX7" fmla="*/ 23812 w 1466850"/>
                  <a:gd name="connsiteY7" fmla="*/ 688181 h 1209675"/>
                  <a:gd name="connsiteX8" fmla="*/ 35719 w 1466850"/>
                  <a:gd name="connsiteY8" fmla="*/ 747712 h 1209675"/>
                  <a:gd name="connsiteX9" fmla="*/ 40481 w 1466850"/>
                  <a:gd name="connsiteY9" fmla="*/ 778669 h 1209675"/>
                  <a:gd name="connsiteX10" fmla="*/ 47625 w 1466850"/>
                  <a:gd name="connsiteY10" fmla="*/ 831056 h 1209675"/>
                  <a:gd name="connsiteX11" fmla="*/ 38100 w 1466850"/>
                  <a:gd name="connsiteY11" fmla="*/ 919162 h 1209675"/>
                  <a:gd name="connsiteX12" fmla="*/ 78581 w 1466850"/>
                  <a:gd name="connsiteY12" fmla="*/ 1028700 h 1209675"/>
                  <a:gd name="connsiteX13" fmla="*/ 71437 w 1466850"/>
                  <a:gd name="connsiteY13" fmla="*/ 1095375 h 1209675"/>
                  <a:gd name="connsiteX14" fmla="*/ 88106 w 1466850"/>
                  <a:gd name="connsiteY14" fmla="*/ 1164431 h 1209675"/>
                  <a:gd name="connsiteX15" fmla="*/ 166687 w 1466850"/>
                  <a:gd name="connsiteY15" fmla="*/ 1200149 h 1209675"/>
                  <a:gd name="connsiteX16" fmla="*/ 202406 w 1466850"/>
                  <a:gd name="connsiteY16" fmla="*/ 1209675 h 1209675"/>
                  <a:gd name="connsiteX17" fmla="*/ 188119 w 1466850"/>
                  <a:gd name="connsiteY17" fmla="*/ 1145381 h 1209675"/>
                  <a:gd name="connsiteX18" fmla="*/ 242887 w 1466850"/>
                  <a:gd name="connsiteY18" fmla="*/ 1092994 h 1209675"/>
                  <a:gd name="connsiteX19" fmla="*/ 238125 w 1466850"/>
                  <a:gd name="connsiteY19" fmla="*/ 1045369 h 1209675"/>
                  <a:gd name="connsiteX20" fmla="*/ 230981 w 1466850"/>
                  <a:gd name="connsiteY20" fmla="*/ 1035844 h 1209675"/>
                  <a:gd name="connsiteX21" fmla="*/ 252412 w 1466850"/>
                  <a:gd name="connsiteY21" fmla="*/ 1019175 h 1209675"/>
                  <a:gd name="connsiteX22" fmla="*/ 314325 w 1466850"/>
                  <a:gd name="connsiteY22" fmla="*/ 995362 h 1209675"/>
                  <a:gd name="connsiteX23" fmla="*/ 311944 w 1466850"/>
                  <a:gd name="connsiteY23" fmla="*/ 959644 h 1209675"/>
                  <a:gd name="connsiteX24" fmla="*/ 326231 w 1466850"/>
                  <a:gd name="connsiteY24" fmla="*/ 942975 h 1209675"/>
                  <a:gd name="connsiteX25" fmla="*/ 452437 w 1466850"/>
                  <a:gd name="connsiteY25" fmla="*/ 950119 h 1209675"/>
                  <a:gd name="connsiteX26" fmla="*/ 464344 w 1466850"/>
                  <a:gd name="connsiteY26" fmla="*/ 933450 h 1209675"/>
                  <a:gd name="connsiteX27" fmla="*/ 476250 w 1466850"/>
                  <a:gd name="connsiteY27" fmla="*/ 883444 h 1209675"/>
                  <a:gd name="connsiteX28" fmla="*/ 488156 w 1466850"/>
                  <a:gd name="connsiteY28" fmla="*/ 857250 h 1209675"/>
                  <a:gd name="connsiteX29" fmla="*/ 526256 w 1466850"/>
                  <a:gd name="connsiteY29" fmla="*/ 862012 h 1209675"/>
                  <a:gd name="connsiteX30" fmla="*/ 545306 w 1466850"/>
                  <a:gd name="connsiteY30" fmla="*/ 909637 h 1209675"/>
                  <a:gd name="connsiteX31" fmla="*/ 566737 w 1466850"/>
                  <a:gd name="connsiteY31" fmla="*/ 881062 h 1209675"/>
                  <a:gd name="connsiteX32" fmla="*/ 621506 w 1466850"/>
                  <a:gd name="connsiteY32" fmla="*/ 845344 h 1209675"/>
                  <a:gd name="connsiteX33" fmla="*/ 709612 w 1466850"/>
                  <a:gd name="connsiteY33" fmla="*/ 814387 h 1209675"/>
                  <a:gd name="connsiteX34" fmla="*/ 716756 w 1466850"/>
                  <a:gd name="connsiteY34" fmla="*/ 769144 h 1209675"/>
                  <a:gd name="connsiteX35" fmla="*/ 742950 w 1466850"/>
                  <a:gd name="connsiteY35" fmla="*/ 750094 h 1209675"/>
                  <a:gd name="connsiteX36" fmla="*/ 785812 w 1466850"/>
                  <a:gd name="connsiteY36" fmla="*/ 726281 h 1209675"/>
                  <a:gd name="connsiteX37" fmla="*/ 800100 w 1466850"/>
                  <a:gd name="connsiteY37" fmla="*/ 716756 h 1209675"/>
                  <a:gd name="connsiteX38" fmla="*/ 862012 w 1466850"/>
                  <a:gd name="connsiteY38" fmla="*/ 721519 h 1209675"/>
                  <a:gd name="connsiteX39" fmla="*/ 883444 w 1466850"/>
                  <a:gd name="connsiteY39" fmla="*/ 721519 h 1209675"/>
                  <a:gd name="connsiteX40" fmla="*/ 892969 w 1466850"/>
                  <a:gd name="connsiteY40" fmla="*/ 697706 h 1209675"/>
                  <a:gd name="connsiteX41" fmla="*/ 892969 w 1466850"/>
                  <a:gd name="connsiteY41" fmla="*/ 697706 h 1209675"/>
                  <a:gd name="connsiteX42" fmla="*/ 921544 w 1466850"/>
                  <a:gd name="connsiteY42" fmla="*/ 609600 h 1209675"/>
                  <a:gd name="connsiteX43" fmla="*/ 909637 w 1466850"/>
                  <a:gd name="connsiteY43" fmla="*/ 552450 h 1209675"/>
                  <a:gd name="connsiteX44" fmla="*/ 928687 w 1466850"/>
                  <a:gd name="connsiteY44" fmla="*/ 540544 h 1209675"/>
                  <a:gd name="connsiteX45" fmla="*/ 973931 w 1466850"/>
                  <a:gd name="connsiteY45" fmla="*/ 535781 h 1209675"/>
                  <a:gd name="connsiteX46" fmla="*/ 1014412 w 1466850"/>
                  <a:gd name="connsiteY46" fmla="*/ 447675 h 1209675"/>
                  <a:gd name="connsiteX47" fmla="*/ 1038225 w 1466850"/>
                  <a:gd name="connsiteY47" fmla="*/ 445294 h 1209675"/>
                  <a:gd name="connsiteX48" fmla="*/ 1073944 w 1466850"/>
                  <a:gd name="connsiteY48" fmla="*/ 476250 h 1209675"/>
                  <a:gd name="connsiteX49" fmla="*/ 1112044 w 1466850"/>
                  <a:gd name="connsiteY49" fmla="*/ 514350 h 1209675"/>
                  <a:gd name="connsiteX50" fmla="*/ 1171575 w 1466850"/>
                  <a:gd name="connsiteY50" fmla="*/ 540544 h 1209675"/>
                  <a:gd name="connsiteX51" fmla="*/ 1219200 w 1466850"/>
                  <a:gd name="connsiteY51" fmla="*/ 521494 h 1209675"/>
                  <a:gd name="connsiteX52" fmla="*/ 1245394 w 1466850"/>
                  <a:gd name="connsiteY52" fmla="*/ 502444 h 1209675"/>
                  <a:gd name="connsiteX53" fmla="*/ 1278731 w 1466850"/>
                  <a:gd name="connsiteY53" fmla="*/ 511969 h 1209675"/>
                  <a:gd name="connsiteX54" fmla="*/ 1295400 w 1466850"/>
                  <a:gd name="connsiteY54" fmla="*/ 531019 h 1209675"/>
                  <a:gd name="connsiteX55" fmla="*/ 1273969 w 1466850"/>
                  <a:gd name="connsiteY55" fmla="*/ 573881 h 1209675"/>
                  <a:gd name="connsiteX56" fmla="*/ 1271587 w 1466850"/>
                  <a:gd name="connsiteY56" fmla="*/ 602456 h 1209675"/>
                  <a:gd name="connsiteX57" fmla="*/ 1285875 w 1466850"/>
                  <a:gd name="connsiteY57" fmla="*/ 611981 h 1209675"/>
                  <a:gd name="connsiteX58" fmla="*/ 1300162 w 1466850"/>
                  <a:gd name="connsiteY58" fmla="*/ 628650 h 1209675"/>
                  <a:gd name="connsiteX59" fmla="*/ 1321594 w 1466850"/>
                  <a:gd name="connsiteY59" fmla="*/ 666750 h 1209675"/>
                  <a:gd name="connsiteX60" fmla="*/ 1347787 w 1466850"/>
                  <a:gd name="connsiteY60" fmla="*/ 681037 h 1209675"/>
                  <a:gd name="connsiteX61" fmla="*/ 1371600 w 1466850"/>
                  <a:gd name="connsiteY61" fmla="*/ 681037 h 1209675"/>
                  <a:gd name="connsiteX62" fmla="*/ 1376362 w 1466850"/>
                  <a:gd name="connsiteY62" fmla="*/ 628650 h 1209675"/>
                  <a:gd name="connsiteX63" fmla="*/ 1395412 w 1466850"/>
                  <a:gd name="connsiteY63" fmla="*/ 578644 h 1209675"/>
                  <a:gd name="connsiteX64" fmla="*/ 1426369 w 1466850"/>
                  <a:gd name="connsiteY64" fmla="*/ 571500 h 1209675"/>
                  <a:gd name="connsiteX65" fmla="*/ 1466850 w 1466850"/>
                  <a:gd name="connsiteY65" fmla="*/ 552450 h 1209675"/>
                  <a:gd name="connsiteX66" fmla="*/ 1443037 w 1466850"/>
                  <a:gd name="connsiteY66" fmla="*/ 509587 h 1209675"/>
                  <a:gd name="connsiteX67" fmla="*/ 1414462 w 1466850"/>
                  <a:gd name="connsiteY67" fmla="*/ 464344 h 1209675"/>
                  <a:gd name="connsiteX68" fmla="*/ 1388269 w 1466850"/>
                  <a:gd name="connsiteY68" fmla="*/ 438150 h 1209675"/>
                  <a:gd name="connsiteX69" fmla="*/ 1404937 w 1466850"/>
                  <a:gd name="connsiteY69" fmla="*/ 400050 h 1209675"/>
                  <a:gd name="connsiteX70" fmla="*/ 1404937 w 1466850"/>
                  <a:gd name="connsiteY70" fmla="*/ 383381 h 1209675"/>
                  <a:gd name="connsiteX71" fmla="*/ 1431131 w 1466850"/>
                  <a:gd name="connsiteY71" fmla="*/ 338137 h 1209675"/>
                  <a:gd name="connsiteX72" fmla="*/ 1419225 w 1466850"/>
                  <a:gd name="connsiteY72" fmla="*/ 264319 h 1209675"/>
                  <a:gd name="connsiteX73" fmla="*/ 1438275 w 1466850"/>
                  <a:gd name="connsiteY73" fmla="*/ 202406 h 1209675"/>
                  <a:gd name="connsiteX74" fmla="*/ 1435894 w 1466850"/>
                  <a:gd name="connsiteY74" fmla="*/ 173831 h 1209675"/>
                  <a:gd name="connsiteX75" fmla="*/ 1404937 w 1466850"/>
                  <a:gd name="connsiteY75" fmla="*/ 164306 h 1209675"/>
                  <a:gd name="connsiteX76" fmla="*/ 1364456 w 1466850"/>
                  <a:gd name="connsiteY76" fmla="*/ 154781 h 1209675"/>
                  <a:gd name="connsiteX77" fmla="*/ 1293019 w 1466850"/>
                  <a:gd name="connsiteY77" fmla="*/ 154781 h 1209675"/>
                  <a:gd name="connsiteX78" fmla="*/ 1233487 w 1466850"/>
                  <a:gd name="connsiteY78" fmla="*/ 121444 h 1209675"/>
                  <a:gd name="connsiteX79" fmla="*/ 1207294 w 1466850"/>
                  <a:gd name="connsiteY79" fmla="*/ 114300 h 1209675"/>
                  <a:gd name="connsiteX80" fmla="*/ 1188244 w 1466850"/>
                  <a:gd name="connsiteY80" fmla="*/ 126206 h 1209675"/>
                  <a:gd name="connsiteX81" fmla="*/ 1133475 w 1466850"/>
                  <a:gd name="connsiteY81" fmla="*/ 188119 h 1209675"/>
                  <a:gd name="connsiteX82" fmla="*/ 1116806 w 1466850"/>
                  <a:gd name="connsiteY82" fmla="*/ 188119 h 1209675"/>
                  <a:gd name="connsiteX83" fmla="*/ 1078706 w 1466850"/>
                  <a:gd name="connsiteY83" fmla="*/ 142875 h 1209675"/>
                  <a:gd name="connsiteX84" fmla="*/ 1054894 w 1466850"/>
                  <a:gd name="connsiteY84" fmla="*/ 138112 h 1209675"/>
                  <a:gd name="connsiteX85" fmla="*/ 997744 w 1466850"/>
                  <a:gd name="connsiteY85" fmla="*/ 157162 h 1209675"/>
                  <a:gd name="connsiteX86" fmla="*/ 973931 w 1466850"/>
                  <a:gd name="connsiteY86" fmla="*/ 178594 h 1209675"/>
                  <a:gd name="connsiteX87" fmla="*/ 928687 w 1466850"/>
                  <a:gd name="connsiteY87" fmla="*/ 173831 h 1209675"/>
                  <a:gd name="connsiteX88" fmla="*/ 878681 w 1466850"/>
                  <a:gd name="connsiteY88" fmla="*/ 164306 h 1209675"/>
                  <a:gd name="connsiteX89" fmla="*/ 864394 w 1466850"/>
                  <a:gd name="connsiteY89" fmla="*/ 83344 h 1209675"/>
                  <a:gd name="connsiteX90" fmla="*/ 845344 w 1466850"/>
                  <a:gd name="connsiteY90" fmla="*/ 69056 h 1209675"/>
                  <a:gd name="connsiteX91" fmla="*/ 747712 w 1466850"/>
                  <a:gd name="connsiteY91" fmla="*/ 119062 h 1209675"/>
                  <a:gd name="connsiteX92" fmla="*/ 721519 w 1466850"/>
                  <a:gd name="connsiteY92" fmla="*/ 140494 h 1209675"/>
                  <a:gd name="connsiteX93" fmla="*/ 709612 w 1466850"/>
                  <a:gd name="connsiteY93" fmla="*/ 190500 h 1209675"/>
                  <a:gd name="connsiteX94" fmla="*/ 707231 w 1466850"/>
                  <a:gd name="connsiteY94" fmla="*/ 195262 h 1209675"/>
                  <a:gd name="connsiteX95" fmla="*/ 654844 w 1466850"/>
                  <a:gd name="connsiteY95" fmla="*/ 190500 h 1209675"/>
                  <a:gd name="connsiteX96" fmla="*/ 633412 w 1466850"/>
                  <a:gd name="connsiteY96" fmla="*/ 180975 h 1209675"/>
                  <a:gd name="connsiteX97" fmla="*/ 614362 w 1466850"/>
                  <a:gd name="connsiteY97" fmla="*/ 142875 h 1209675"/>
                  <a:gd name="connsiteX98" fmla="*/ 590550 w 1466850"/>
                  <a:gd name="connsiteY98" fmla="*/ 130969 h 1209675"/>
                  <a:gd name="connsiteX99" fmla="*/ 540544 w 1466850"/>
                  <a:gd name="connsiteY99" fmla="*/ 161925 h 1209675"/>
                  <a:gd name="connsiteX100" fmla="*/ 507206 w 1466850"/>
                  <a:gd name="connsiteY100" fmla="*/ 154781 h 1209675"/>
                  <a:gd name="connsiteX101" fmla="*/ 495300 w 1466850"/>
                  <a:gd name="connsiteY101" fmla="*/ 123825 h 1209675"/>
                  <a:gd name="connsiteX102" fmla="*/ 490537 w 1466850"/>
                  <a:gd name="connsiteY102" fmla="*/ 114300 h 1209675"/>
                  <a:gd name="connsiteX103" fmla="*/ 431006 w 1466850"/>
                  <a:gd name="connsiteY103" fmla="*/ 97631 h 1209675"/>
                  <a:gd name="connsiteX104" fmla="*/ 442912 w 1466850"/>
                  <a:gd name="connsiteY104" fmla="*/ 33337 h 1209675"/>
                  <a:gd name="connsiteX105" fmla="*/ 423862 w 1466850"/>
                  <a:gd name="connsiteY105" fmla="*/ 19050 h 1209675"/>
                  <a:gd name="connsiteX106" fmla="*/ 335756 w 1466850"/>
                  <a:gd name="connsiteY106" fmla="*/ 0 h 1209675"/>
                  <a:gd name="connsiteX107" fmla="*/ 302419 w 1466850"/>
                  <a:gd name="connsiteY107" fmla="*/ 35719 h 1209675"/>
                  <a:gd name="connsiteX108" fmla="*/ 266700 w 1466850"/>
                  <a:gd name="connsiteY108" fmla="*/ 50006 h 1209675"/>
                  <a:gd name="connsiteX109" fmla="*/ 271462 w 1466850"/>
                  <a:gd name="connsiteY109" fmla="*/ 95250 h 1209675"/>
                  <a:gd name="connsiteX110" fmla="*/ 316706 w 1466850"/>
                  <a:gd name="connsiteY110" fmla="*/ 121444 h 1209675"/>
                  <a:gd name="connsiteX111" fmla="*/ 302419 w 1466850"/>
                  <a:gd name="connsiteY111" fmla="*/ 145256 h 1209675"/>
                  <a:gd name="connsiteX112" fmla="*/ 247650 w 1466850"/>
                  <a:gd name="connsiteY112" fmla="*/ 159544 h 1209675"/>
                  <a:gd name="connsiteX113" fmla="*/ 214312 w 1466850"/>
                  <a:gd name="connsiteY113" fmla="*/ 216694 h 1209675"/>
                  <a:gd name="connsiteX114" fmla="*/ 183356 w 1466850"/>
                  <a:gd name="connsiteY114" fmla="*/ 221456 h 1209675"/>
                  <a:gd name="connsiteX115" fmla="*/ 183356 w 1466850"/>
                  <a:gd name="connsiteY115" fmla="*/ 254794 h 1209675"/>
                  <a:gd name="connsiteX116" fmla="*/ 161925 w 1466850"/>
                  <a:gd name="connsiteY116" fmla="*/ 304800 h 1209675"/>
                  <a:gd name="connsiteX117" fmla="*/ 140494 w 1466850"/>
                  <a:gd name="connsiteY117" fmla="*/ 323850 h 1209675"/>
                  <a:gd name="connsiteX118" fmla="*/ 71439 w 1466850"/>
                  <a:gd name="connsiteY118" fmla="*/ 300039 h 1209675"/>
                  <a:gd name="connsiteX119" fmla="*/ 59530 w 1466850"/>
                  <a:gd name="connsiteY119" fmla="*/ 302418 h 1209675"/>
                  <a:gd name="connsiteX120" fmla="*/ 30956 w 1466850"/>
                  <a:gd name="connsiteY120" fmla="*/ 295274 h 1209675"/>
                  <a:gd name="connsiteX0" fmla="*/ 30956 w 1466850"/>
                  <a:gd name="connsiteY0" fmla="*/ 295274 h 1209675"/>
                  <a:gd name="connsiteX1" fmla="*/ 19050 w 1466850"/>
                  <a:gd name="connsiteY1" fmla="*/ 381000 h 1209675"/>
                  <a:gd name="connsiteX2" fmla="*/ 19050 w 1466850"/>
                  <a:gd name="connsiteY2" fmla="*/ 397669 h 1209675"/>
                  <a:gd name="connsiteX3" fmla="*/ 0 w 1466850"/>
                  <a:gd name="connsiteY3" fmla="*/ 459581 h 1209675"/>
                  <a:gd name="connsiteX4" fmla="*/ 7144 w 1466850"/>
                  <a:gd name="connsiteY4" fmla="*/ 497681 h 1209675"/>
                  <a:gd name="connsiteX5" fmla="*/ 9525 w 1466850"/>
                  <a:gd name="connsiteY5" fmla="*/ 535781 h 1209675"/>
                  <a:gd name="connsiteX6" fmla="*/ 19050 w 1466850"/>
                  <a:gd name="connsiteY6" fmla="*/ 583406 h 1209675"/>
                  <a:gd name="connsiteX7" fmla="*/ 23812 w 1466850"/>
                  <a:gd name="connsiteY7" fmla="*/ 688181 h 1209675"/>
                  <a:gd name="connsiteX8" fmla="*/ 35719 w 1466850"/>
                  <a:gd name="connsiteY8" fmla="*/ 747712 h 1209675"/>
                  <a:gd name="connsiteX9" fmla="*/ 40481 w 1466850"/>
                  <a:gd name="connsiteY9" fmla="*/ 778669 h 1209675"/>
                  <a:gd name="connsiteX10" fmla="*/ 47625 w 1466850"/>
                  <a:gd name="connsiteY10" fmla="*/ 831056 h 1209675"/>
                  <a:gd name="connsiteX11" fmla="*/ 38100 w 1466850"/>
                  <a:gd name="connsiteY11" fmla="*/ 919162 h 1209675"/>
                  <a:gd name="connsiteX12" fmla="*/ 78581 w 1466850"/>
                  <a:gd name="connsiteY12" fmla="*/ 1028700 h 1209675"/>
                  <a:gd name="connsiteX13" fmla="*/ 71437 w 1466850"/>
                  <a:gd name="connsiteY13" fmla="*/ 1095375 h 1209675"/>
                  <a:gd name="connsiteX14" fmla="*/ 88106 w 1466850"/>
                  <a:gd name="connsiteY14" fmla="*/ 1164431 h 1209675"/>
                  <a:gd name="connsiteX15" fmla="*/ 166687 w 1466850"/>
                  <a:gd name="connsiteY15" fmla="*/ 1200149 h 1209675"/>
                  <a:gd name="connsiteX16" fmla="*/ 202406 w 1466850"/>
                  <a:gd name="connsiteY16" fmla="*/ 1209675 h 1209675"/>
                  <a:gd name="connsiteX17" fmla="*/ 188119 w 1466850"/>
                  <a:gd name="connsiteY17" fmla="*/ 1145381 h 1209675"/>
                  <a:gd name="connsiteX18" fmla="*/ 242887 w 1466850"/>
                  <a:gd name="connsiteY18" fmla="*/ 1092994 h 1209675"/>
                  <a:gd name="connsiteX19" fmla="*/ 238125 w 1466850"/>
                  <a:gd name="connsiteY19" fmla="*/ 1045369 h 1209675"/>
                  <a:gd name="connsiteX20" fmla="*/ 230981 w 1466850"/>
                  <a:gd name="connsiteY20" fmla="*/ 1035844 h 1209675"/>
                  <a:gd name="connsiteX21" fmla="*/ 252412 w 1466850"/>
                  <a:gd name="connsiteY21" fmla="*/ 1019175 h 1209675"/>
                  <a:gd name="connsiteX22" fmla="*/ 314325 w 1466850"/>
                  <a:gd name="connsiteY22" fmla="*/ 995362 h 1209675"/>
                  <a:gd name="connsiteX23" fmla="*/ 311944 w 1466850"/>
                  <a:gd name="connsiteY23" fmla="*/ 959644 h 1209675"/>
                  <a:gd name="connsiteX24" fmla="*/ 326231 w 1466850"/>
                  <a:gd name="connsiteY24" fmla="*/ 942975 h 1209675"/>
                  <a:gd name="connsiteX25" fmla="*/ 452437 w 1466850"/>
                  <a:gd name="connsiteY25" fmla="*/ 950119 h 1209675"/>
                  <a:gd name="connsiteX26" fmla="*/ 464344 w 1466850"/>
                  <a:gd name="connsiteY26" fmla="*/ 933450 h 1209675"/>
                  <a:gd name="connsiteX27" fmla="*/ 476250 w 1466850"/>
                  <a:gd name="connsiteY27" fmla="*/ 883444 h 1209675"/>
                  <a:gd name="connsiteX28" fmla="*/ 488156 w 1466850"/>
                  <a:gd name="connsiteY28" fmla="*/ 857250 h 1209675"/>
                  <a:gd name="connsiteX29" fmla="*/ 526256 w 1466850"/>
                  <a:gd name="connsiteY29" fmla="*/ 862012 h 1209675"/>
                  <a:gd name="connsiteX30" fmla="*/ 545306 w 1466850"/>
                  <a:gd name="connsiteY30" fmla="*/ 909637 h 1209675"/>
                  <a:gd name="connsiteX31" fmla="*/ 566737 w 1466850"/>
                  <a:gd name="connsiteY31" fmla="*/ 881062 h 1209675"/>
                  <a:gd name="connsiteX32" fmla="*/ 621506 w 1466850"/>
                  <a:gd name="connsiteY32" fmla="*/ 845344 h 1209675"/>
                  <a:gd name="connsiteX33" fmla="*/ 709612 w 1466850"/>
                  <a:gd name="connsiteY33" fmla="*/ 814387 h 1209675"/>
                  <a:gd name="connsiteX34" fmla="*/ 716756 w 1466850"/>
                  <a:gd name="connsiteY34" fmla="*/ 769144 h 1209675"/>
                  <a:gd name="connsiteX35" fmla="*/ 742950 w 1466850"/>
                  <a:gd name="connsiteY35" fmla="*/ 750094 h 1209675"/>
                  <a:gd name="connsiteX36" fmla="*/ 785812 w 1466850"/>
                  <a:gd name="connsiteY36" fmla="*/ 726281 h 1209675"/>
                  <a:gd name="connsiteX37" fmla="*/ 800100 w 1466850"/>
                  <a:gd name="connsiteY37" fmla="*/ 716756 h 1209675"/>
                  <a:gd name="connsiteX38" fmla="*/ 862012 w 1466850"/>
                  <a:gd name="connsiteY38" fmla="*/ 721519 h 1209675"/>
                  <a:gd name="connsiteX39" fmla="*/ 883444 w 1466850"/>
                  <a:gd name="connsiteY39" fmla="*/ 721519 h 1209675"/>
                  <a:gd name="connsiteX40" fmla="*/ 892969 w 1466850"/>
                  <a:gd name="connsiteY40" fmla="*/ 697706 h 1209675"/>
                  <a:gd name="connsiteX41" fmla="*/ 892969 w 1466850"/>
                  <a:gd name="connsiteY41" fmla="*/ 697706 h 1209675"/>
                  <a:gd name="connsiteX42" fmla="*/ 921544 w 1466850"/>
                  <a:gd name="connsiteY42" fmla="*/ 609600 h 1209675"/>
                  <a:gd name="connsiteX43" fmla="*/ 909637 w 1466850"/>
                  <a:gd name="connsiteY43" fmla="*/ 552450 h 1209675"/>
                  <a:gd name="connsiteX44" fmla="*/ 928687 w 1466850"/>
                  <a:gd name="connsiteY44" fmla="*/ 540544 h 1209675"/>
                  <a:gd name="connsiteX45" fmla="*/ 973931 w 1466850"/>
                  <a:gd name="connsiteY45" fmla="*/ 535781 h 1209675"/>
                  <a:gd name="connsiteX46" fmla="*/ 1014412 w 1466850"/>
                  <a:gd name="connsiteY46" fmla="*/ 447675 h 1209675"/>
                  <a:gd name="connsiteX47" fmla="*/ 1038225 w 1466850"/>
                  <a:gd name="connsiteY47" fmla="*/ 445294 h 1209675"/>
                  <a:gd name="connsiteX48" fmla="*/ 1073944 w 1466850"/>
                  <a:gd name="connsiteY48" fmla="*/ 476250 h 1209675"/>
                  <a:gd name="connsiteX49" fmla="*/ 1112044 w 1466850"/>
                  <a:gd name="connsiteY49" fmla="*/ 514350 h 1209675"/>
                  <a:gd name="connsiteX50" fmla="*/ 1171575 w 1466850"/>
                  <a:gd name="connsiteY50" fmla="*/ 540544 h 1209675"/>
                  <a:gd name="connsiteX51" fmla="*/ 1219200 w 1466850"/>
                  <a:gd name="connsiteY51" fmla="*/ 521494 h 1209675"/>
                  <a:gd name="connsiteX52" fmla="*/ 1245394 w 1466850"/>
                  <a:gd name="connsiteY52" fmla="*/ 502444 h 1209675"/>
                  <a:gd name="connsiteX53" fmla="*/ 1278731 w 1466850"/>
                  <a:gd name="connsiteY53" fmla="*/ 511969 h 1209675"/>
                  <a:gd name="connsiteX54" fmla="*/ 1295400 w 1466850"/>
                  <a:gd name="connsiteY54" fmla="*/ 531019 h 1209675"/>
                  <a:gd name="connsiteX55" fmla="*/ 1273969 w 1466850"/>
                  <a:gd name="connsiteY55" fmla="*/ 573881 h 1209675"/>
                  <a:gd name="connsiteX56" fmla="*/ 1285875 w 1466850"/>
                  <a:gd name="connsiteY56" fmla="*/ 611981 h 1209675"/>
                  <a:gd name="connsiteX57" fmla="*/ 1300162 w 1466850"/>
                  <a:gd name="connsiteY57" fmla="*/ 628650 h 1209675"/>
                  <a:gd name="connsiteX58" fmla="*/ 1321594 w 1466850"/>
                  <a:gd name="connsiteY58" fmla="*/ 666750 h 1209675"/>
                  <a:gd name="connsiteX59" fmla="*/ 1347787 w 1466850"/>
                  <a:gd name="connsiteY59" fmla="*/ 681037 h 1209675"/>
                  <a:gd name="connsiteX60" fmla="*/ 1371600 w 1466850"/>
                  <a:gd name="connsiteY60" fmla="*/ 681037 h 1209675"/>
                  <a:gd name="connsiteX61" fmla="*/ 1376362 w 1466850"/>
                  <a:gd name="connsiteY61" fmla="*/ 628650 h 1209675"/>
                  <a:gd name="connsiteX62" fmla="*/ 1395412 w 1466850"/>
                  <a:gd name="connsiteY62" fmla="*/ 578644 h 1209675"/>
                  <a:gd name="connsiteX63" fmla="*/ 1426369 w 1466850"/>
                  <a:gd name="connsiteY63" fmla="*/ 571500 h 1209675"/>
                  <a:gd name="connsiteX64" fmla="*/ 1466850 w 1466850"/>
                  <a:gd name="connsiteY64" fmla="*/ 552450 h 1209675"/>
                  <a:gd name="connsiteX65" fmla="*/ 1443037 w 1466850"/>
                  <a:gd name="connsiteY65" fmla="*/ 509587 h 1209675"/>
                  <a:gd name="connsiteX66" fmla="*/ 1414462 w 1466850"/>
                  <a:gd name="connsiteY66" fmla="*/ 464344 h 1209675"/>
                  <a:gd name="connsiteX67" fmla="*/ 1388269 w 1466850"/>
                  <a:gd name="connsiteY67" fmla="*/ 438150 h 1209675"/>
                  <a:gd name="connsiteX68" fmla="*/ 1404937 w 1466850"/>
                  <a:gd name="connsiteY68" fmla="*/ 400050 h 1209675"/>
                  <a:gd name="connsiteX69" fmla="*/ 1404937 w 1466850"/>
                  <a:gd name="connsiteY69" fmla="*/ 383381 h 1209675"/>
                  <a:gd name="connsiteX70" fmla="*/ 1431131 w 1466850"/>
                  <a:gd name="connsiteY70" fmla="*/ 338137 h 1209675"/>
                  <a:gd name="connsiteX71" fmla="*/ 1419225 w 1466850"/>
                  <a:gd name="connsiteY71" fmla="*/ 264319 h 1209675"/>
                  <a:gd name="connsiteX72" fmla="*/ 1438275 w 1466850"/>
                  <a:gd name="connsiteY72" fmla="*/ 202406 h 1209675"/>
                  <a:gd name="connsiteX73" fmla="*/ 1435894 w 1466850"/>
                  <a:gd name="connsiteY73" fmla="*/ 173831 h 1209675"/>
                  <a:gd name="connsiteX74" fmla="*/ 1404937 w 1466850"/>
                  <a:gd name="connsiteY74" fmla="*/ 164306 h 1209675"/>
                  <a:gd name="connsiteX75" fmla="*/ 1364456 w 1466850"/>
                  <a:gd name="connsiteY75" fmla="*/ 154781 h 1209675"/>
                  <a:gd name="connsiteX76" fmla="*/ 1293019 w 1466850"/>
                  <a:gd name="connsiteY76" fmla="*/ 154781 h 1209675"/>
                  <a:gd name="connsiteX77" fmla="*/ 1233487 w 1466850"/>
                  <a:gd name="connsiteY77" fmla="*/ 121444 h 1209675"/>
                  <a:gd name="connsiteX78" fmla="*/ 1207294 w 1466850"/>
                  <a:gd name="connsiteY78" fmla="*/ 114300 h 1209675"/>
                  <a:gd name="connsiteX79" fmla="*/ 1188244 w 1466850"/>
                  <a:gd name="connsiteY79" fmla="*/ 126206 h 1209675"/>
                  <a:gd name="connsiteX80" fmla="*/ 1133475 w 1466850"/>
                  <a:gd name="connsiteY80" fmla="*/ 188119 h 1209675"/>
                  <a:gd name="connsiteX81" fmla="*/ 1116806 w 1466850"/>
                  <a:gd name="connsiteY81" fmla="*/ 188119 h 1209675"/>
                  <a:gd name="connsiteX82" fmla="*/ 1078706 w 1466850"/>
                  <a:gd name="connsiteY82" fmla="*/ 142875 h 1209675"/>
                  <a:gd name="connsiteX83" fmla="*/ 1054894 w 1466850"/>
                  <a:gd name="connsiteY83" fmla="*/ 138112 h 1209675"/>
                  <a:gd name="connsiteX84" fmla="*/ 997744 w 1466850"/>
                  <a:gd name="connsiteY84" fmla="*/ 157162 h 1209675"/>
                  <a:gd name="connsiteX85" fmla="*/ 973931 w 1466850"/>
                  <a:gd name="connsiteY85" fmla="*/ 178594 h 1209675"/>
                  <a:gd name="connsiteX86" fmla="*/ 928687 w 1466850"/>
                  <a:gd name="connsiteY86" fmla="*/ 173831 h 1209675"/>
                  <a:gd name="connsiteX87" fmla="*/ 878681 w 1466850"/>
                  <a:gd name="connsiteY87" fmla="*/ 164306 h 1209675"/>
                  <a:gd name="connsiteX88" fmla="*/ 864394 w 1466850"/>
                  <a:gd name="connsiteY88" fmla="*/ 83344 h 1209675"/>
                  <a:gd name="connsiteX89" fmla="*/ 845344 w 1466850"/>
                  <a:gd name="connsiteY89" fmla="*/ 69056 h 1209675"/>
                  <a:gd name="connsiteX90" fmla="*/ 747712 w 1466850"/>
                  <a:gd name="connsiteY90" fmla="*/ 119062 h 1209675"/>
                  <a:gd name="connsiteX91" fmla="*/ 721519 w 1466850"/>
                  <a:gd name="connsiteY91" fmla="*/ 140494 h 1209675"/>
                  <a:gd name="connsiteX92" fmla="*/ 709612 w 1466850"/>
                  <a:gd name="connsiteY92" fmla="*/ 190500 h 1209675"/>
                  <a:gd name="connsiteX93" fmla="*/ 707231 w 1466850"/>
                  <a:gd name="connsiteY93" fmla="*/ 195262 h 1209675"/>
                  <a:gd name="connsiteX94" fmla="*/ 654844 w 1466850"/>
                  <a:gd name="connsiteY94" fmla="*/ 190500 h 1209675"/>
                  <a:gd name="connsiteX95" fmla="*/ 633412 w 1466850"/>
                  <a:gd name="connsiteY95" fmla="*/ 180975 h 1209675"/>
                  <a:gd name="connsiteX96" fmla="*/ 614362 w 1466850"/>
                  <a:gd name="connsiteY96" fmla="*/ 142875 h 1209675"/>
                  <a:gd name="connsiteX97" fmla="*/ 590550 w 1466850"/>
                  <a:gd name="connsiteY97" fmla="*/ 130969 h 1209675"/>
                  <a:gd name="connsiteX98" fmla="*/ 540544 w 1466850"/>
                  <a:gd name="connsiteY98" fmla="*/ 161925 h 1209675"/>
                  <a:gd name="connsiteX99" fmla="*/ 507206 w 1466850"/>
                  <a:gd name="connsiteY99" fmla="*/ 154781 h 1209675"/>
                  <a:gd name="connsiteX100" fmla="*/ 495300 w 1466850"/>
                  <a:gd name="connsiteY100" fmla="*/ 123825 h 1209675"/>
                  <a:gd name="connsiteX101" fmla="*/ 490537 w 1466850"/>
                  <a:gd name="connsiteY101" fmla="*/ 114300 h 1209675"/>
                  <a:gd name="connsiteX102" fmla="*/ 431006 w 1466850"/>
                  <a:gd name="connsiteY102" fmla="*/ 97631 h 1209675"/>
                  <a:gd name="connsiteX103" fmla="*/ 442912 w 1466850"/>
                  <a:gd name="connsiteY103" fmla="*/ 33337 h 1209675"/>
                  <a:gd name="connsiteX104" fmla="*/ 423862 w 1466850"/>
                  <a:gd name="connsiteY104" fmla="*/ 19050 h 1209675"/>
                  <a:gd name="connsiteX105" fmla="*/ 335756 w 1466850"/>
                  <a:gd name="connsiteY105" fmla="*/ 0 h 1209675"/>
                  <a:gd name="connsiteX106" fmla="*/ 302419 w 1466850"/>
                  <a:gd name="connsiteY106" fmla="*/ 35719 h 1209675"/>
                  <a:gd name="connsiteX107" fmla="*/ 266700 w 1466850"/>
                  <a:gd name="connsiteY107" fmla="*/ 50006 h 1209675"/>
                  <a:gd name="connsiteX108" fmla="*/ 271462 w 1466850"/>
                  <a:gd name="connsiteY108" fmla="*/ 95250 h 1209675"/>
                  <a:gd name="connsiteX109" fmla="*/ 316706 w 1466850"/>
                  <a:gd name="connsiteY109" fmla="*/ 121444 h 1209675"/>
                  <a:gd name="connsiteX110" fmla="*/ 302419 w 1466850"/>
                  <a:gd name="connsiteY110" fmla="*/ 145256 h 1209675"/>
                  <a:gd name="connsiteX111" fmla="*/ 247650 w 1466850"/>
                  <a:gd name="connsiteY111" fmla="*/ 159544 h 1209675"/>
                  <a:gd name="connsiteX112" fmla="*/ 214312 w 1466850"/>
                  <a:gd name="connsiteY112" fmla="*/ 216694 h 1209675"/>
                  <a:gd name="connsiteX113" fmla="*/ 183356 w 1466850"/>
                  <a:gd name="connsiteY113" fmla="*/ 221456 h 1209675"/>
                  <a:gd name="connsiteX114" fmla="*/ 183356 w 1466850"/>
                  <a:gd name="connsiteY114" fmla="*/ 254794 h 1209675"/>
                  <a:gd name="connsiteX115" fmla="*/ 161925 w 1466850"/>
                  <a:gd name="connsiteY115" fmla="*/ 304800 h 1209675"/>
                  <a:gd name="connsiteX116" fmla="*/ 140494 w 1466850"/>
                  <a:gd name="connsiteY116" fmla="*/ 323850 h 1209675"/>
                  <a:gd name="connsiteX117" fmla="*/ 71439 w 1466850"/>
                  <a:gd name="connsiteY117" fmla="*/ 300039 h 1209675"/>
                  <a:gd name="connsiteX118" fmla="*/ 59530 w 1466850"/>
                  <a:gd name="connsiteY118" fmla="*/ 302418 h 1209675"/>
                  <a:gd name="connsiteX119" fmla="*/ 30956 w 1466850"/>
                  <a:gd name="connsiteY119" fmla="*/ 295274 h 1209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1466850" h="1209675">
                    <a:moveTo>
                      <a:pt x="30956" y="295274"/>
                    </a:moveTo>
                    <a:lnTo>
                      <a:pt x="19050" y="381000"/>
                    </a:lnTo>
                    <a:lnTo>
                      <a:pt x="19050" y="397669"/>
                    </a:lnTo>
                    <a:lnTo>
                      <a:pt x="0" y="459581"/>
                    </a:lnTo>
                    <a:lnTo>
                      <a:pt x="7144" y="497681"/>
                    </a:lnTo>
                    <a:lnTo>
                      <a:pt x="9525" y="535781"/>
                    </a:lnTo>
                    <a:lnTo>
                      <a:pt x="19050" y="583406"/>
                    </a:lnTo>
                    <a:lnTo>
                      <a:pt x="23812" y="688181"/>
                    </a:lnTo>
                    <a:lnTo>
                      <a:pt x="35719" y="747712"/>
                    </a:lnTo>
                    <a:lnTo>
                      <a:pt x="40481" y="778669"/>
                    </a:lnTo>
                    <a:lnTo>
                      <a:pt x="47625" y="831056"/>
                    </a:lnTo>
                    <a:lnTo>
                      <a:pt x="38100" y="919162"/>
                    </a:lnTo>
                    <a:lnTo>
                      <a:pt x="78581" y="1028700"/>
                    </a:lnTo>
                    <a:lnTo>
                      <a:pt x="71437" y="1095375"/>
                    </a:lnTo>
                    <a:lnTo>
                      <a:pt x="88106" y="1164431"/>
                    </a:lnTo>
                    <a:lnTo>
                      <a:pt x="166687" y="1200149"/>
                    </a:lnTo>
                    <a:lnTo>
                      <a:pt x="202406" y="1209675"/>
                    </a:lnTo>
                    <a:lnTo>
                      <a:pt x="188119" y="1145381"/>
                    </a:lnTo>
                    <a:cubicBezTo>
                      <a:pt x="211137" y="1135063"/>
                      <a:pt x="224631" y="1110456"/>
                      <a:pt x="242887" y="1092994"/>
                    </a:cubicBezTo>
                    <a:lnTo>
                      <a:pt x="238125" y="1045369"/>
                    </a:lnTo>
                    <a:lnTo>
                      <a:pt x="230981" y="1035844"/>
                    </a:lnTo>
                    <a:lnTo>
                      <a:pt x="252412" y="1019175"/>
                    </a:lnTo>
                    <a:lnTo>
                      <a:pt x="314325" y="995362"/>
                    </a:lnTo>
                    <a:lnTo>
                      <a:pt x="311944" y="959644"/>
                    </a:lnTo>
                    <a:lnTo>
                      <a:pt x="326231" y="942975"/>
                    </a:lnTo>
                    <a:lnTo>
                      <a:pt x="452437" y="950119"/>
                    </a:lnTo>
                    <a:lnTo>
                      <a:pt x="464344" y="933450"/>
                    </a:lnTo>
                    <a:lnTo>
                      <a:pt x="476250" y="883444"/>
                    </a:lnTo>
                    <a:lnTo>
                      <a:pt x="488156" y="857250"/>
                    </a:lnTo>
                    <a:lnTo>
                      <a:pt x="526256" y="862012"/>
                    </a:lnTo>
                    <a:lnTo>
                      <a:pt x="545306" y="909637"/>
                    </a:lnTo>
                    <a:lnTo>
                      <a:pt x="566737" y="881062"/>
                    </a:lnTo>
                    <a:lnTo>
                      <a:pt x="621506" y="845344"/>
                    </a:lnTo>
                    <a:lnTo>
                      <a:pt x="709612" y="814387"/>
                    </a:lnTo>
                    <a:lnTo>
                      <a:pt x="716756" y="769144"/>
                    </a:lnTo>
                    <a:lnTo>
                      <a:pt x="742950" y="750094"/>
                    </a:lnTo>
                    <a:lnTo>
                      <a:pt x="785812" y="726281"/>
                    </a:lnTo>
                    <a:lnTo>
                      <a:pt x="800100" y="716756"/>
                    </a:lnTo>
                    <a:lnTo>
                      <a:pt x="862012" y="721519"/>
                    </a:lnTo>
                    <a:lnTo>
                      <a:pt x="883444" y="721519"/>
                    </a:lnTo>
                    <a:lnTo>
                      <a:pt x="892969" y="697706"/>
                    </a:lnTo>
                    <a:lnTo>
                      <a:pt x="892969" y="697706"/>
                    </a:lnTo>
                    <a:lnTo>
                      <a:pt x="921544" y="609600"/>
                    </a:lnTo>
                    <a:lnTo>
                      <a:pt x="909637" y="552450"/>
                    </a:lnTo>
                    <a:lnTo>
                      <a:pt x="928687" y="540544"/>
                    </a:lnTo>
                    <a:lnTo>
                      <a:pt x="973931" y="535781"/>
                    </a:lnTo>
                    <a:lnTo>
                      <a:pt x="1014412" y="447675"/>
                    </a:lnTo>
                    <a:lnTo>
                      <a:pt x="1038225" y="445294"/>
                    </a:lnTo>
                    <a:lnTo>
                      <a:pt x="1073944" y="476250"/>
                    </a:lnTo>
                    <a:lnTo>
                      <a:pt x="1112044" y="514350"/>
                    </a:lnTo>
                    <a:lnTo>
                      <a:pt x="1171575" y="540544"/>
                    </a:lnTo>
                    <a:lnTo>
                      <a:pt x="1219200" y="521494"/>
                    </a:lnTo>
                    <a:lnTo>
                      <a:pt x="1245394" y="502444"/>
                    </a:lnTo>
                    <a:lnTo>
                      <a:pt x="1278731" y="511969"/>
                    </a:lnTo>
                    <a:lnTo>
                      <a:pt x="1295400" y="531019"/>
                    </a:lnTo>
                    <a:lnTo>
                      <a:pt x="1273969" y="573881"/>
                    </a:lnTo>
                    <a:lnTo>
                      <a:pt x="1285875" y="611981"/>
                    </a:lnTo>
                    <a:lnTo>
                      <a:pt x="1300162" y="628650"/>
                    </a:lnTo>
                    <a:lnTo>
                      <a:pt x="1321594" y="666750"/>
                    </a:lnTo>
                    <a:lnTo>
                      <a:pt x="1347787" y="681037"/>
                    </a:lnTo>
                    <a:lnTo>
                      <a:pt x="1371600" y="681037"/>
                    </a:lnTo>
                    <a:lnTo>
                      <a:pt x="1376362" y="628650"/>
                    </a:lnTo>
                    <a:lnTo>
                      <a:pt x="1395412" y="578644"/>
                    </a:lnTo>
                    <a:lnTo>
                      <a:pt x="1426369" y="571500"/>
                    </a:lnTo>
                    <a:lnTo>
                      <a:pt x="1466850" y="552450"/>
                    </a:lnTo>
                    <a:lnTo>
                      <a:pt x="1443037" y="509587"/>
                    </a:lnTo>
                    <a:lnTo>
                      <a:pt x="1414462" y="464344"/>
                    </a:lnTo>
                    <a:lnTo>
                      <a:pt x="1388269" y="438150"/>
                    </a:lnTo>
                    <a:lnTo>
                      <a:pt x="1404937" y="400050"/>
                    </a:lnTo>
                    <a:lnTo>
                      <a:pt x="1404937" y="383381"/>
                    </a:lnTo>
                    <a:lnTo>
                      <a:pt x="1431131" y="338137"/>
                    </a:lnTo>
                    <a:lnTo>
                      <a:pt x="1419225" y="264319"/>
                    </a:lnTo>
                    <a:lnTo>
                      <a:pt x="1438275" y="202406"/>
                    </a:lnTo>
                    <a:lnTo>
                      <a:pt x="1435894" y="173831"/>
                    </a:lnTo>
                    <a:lnTo>
                      <a:pt x="1404937" y="164306"/>
                    </a:lnTo>
                    <a:lnTo>
                      <a:pt x="1364456" y="154781"/>
                    </a:lnTo>
                    <a:lnTo>
                      <a:pt x="1293019" y="154781"/>
                    </a:lnTo>
                    <a:lnTo>
                      <a:pt x="1233487" y="121444"/>
                    </a:lnTo>
                    <a:lnTo>
                      <a:pt x="1207294" y="114300"/>
                    </a:lnTo>
                    <a:lnTo>
                      <a:pt x="1188244" y="126206"/>
                    </a:lnTo>
                    <a:lnTo>
                      <a:pt x="1133475" y="188119"/>
                    </a:lnTo>
                    <a:lnTo>
                      <a:pt x="1116806" y="188119"/>
                    </a:lnTo>
                    <a:lnTo>
                      <a:pt x="1078706" y="142875"/>
                    </a:lnTo>
                    <a:lnTo>
                      <a:pt x="1054894" y="138112"/>
                    </a:lnTo>
                    <a:lnTo>
                      <a:pt x="997744" y="157162"/>
                    </a:lnTo>
                    <a:lnTo>
                      <a:pt x="973931" y="178594"/>
                    </a:lnTo>
                    <a:lnTo>
                      <a:pt x="928687" y="173831"/>
                    </a:lnTo>
                    <a:lnTo>
                      <a:pt x="878681" y="164306"/>
                    </a:lnTo>
                    <a:lnTo>
                      <a:pt x="864394" y="83344"/>
                    </a:lnTo>
                    <a:lnTo>
                      <a:pt x="845344" y="69056"/>
                    </a:lnTo>
                    <a:lnTo>
                      <a:pt x="747712" y="119062"/>
                    </a:lnTo>
                    <a:lnTo>
                      <a:pt x="721519" y="140494"/>
                    </a:lnTo>
                    <a:lnTo>
                      <a:pt x="709612" y="190500"/>
                    </a:lnTo>
                    <a:lnTo>
                      <a:pt x="707231" y="195262"/>
                    </a:lnTo>
                    <a:lnTo>
                      <a:pt x="654844" y="190500"/>
                    </a:lnTo>
                    <a:lnTo>
                      <a:pt x="633412" y="180975"/>
                    </a:lnTo>
                    <a:lnTo>
                      <a:pt x="614362" y="142875"/>
                    </a:lnTo>
                    <a:lnTo>
                      <a:pt x="590550" y="130969"/>
                    </a:lnTo>
                    <a:lnTo>
                      <a:pt x="540544" y="161925"/>
                    </a:lnTo>
                    <a:lnTo>
                      <a:pt x="507206" y="154781"/>
                    </a:lnTo>
                    <a:lnTo>
                      <a:pt x="495300" y="123825"/>
                    </a:lnTo>
                    <a:lnTo>
                      <a:pt x="490537" y="114300"/>
                    </a:lnTo>
                    <a:lnTo>
                      <a:pt x="431006" y="97631"/>
                    </a:lnTo>
                    <a:lnTo>
                      <a:pt x="442912" y="33337"/>
                    </a:lnTo>
                    <a:lnTo>
                      <a:pt x="423862" y="19050"/>
                    </a:lnTo>
                    <a:lnTo>
                      <a:pt x="335756" y="0"/>
                    </a:lnTo>
                    <a:lnTo>
                      <a:pt x="302419" y="35719"/>
                    </a:lnTo>
                    <a:lnTo>
                      <a:pt x="266700" y="50006"/>
                    </a:lnTo>
                    <a:lnTo>
                      <a:pt x="271462" y="95250"/>
                    </a:lnTo>
                    <a:lnTo>
                      <a:pt x="316706" y="121444"/>
                    </a:lnTo>
                    <a:lnTo>
                      <a:pt x="302419" y="145256"/>
                    </a:lnTo>
                    <a:lnTo>
                      <a:pt x="247650" y="159544"/>
                    </a:lnTo>
                    <a:lnTo>
                      <a:pt x="214312" y="216694"/>
                    </a:lnTo>
                    <a:lnTo>
                      <a:pt x="183356" y="221456"/>
                    </a:lnTo>
                    <a:lnTo>
                      <a:pt x="183356" y="254794"/>
                    </a:lnTo>
                    <a:lnTo>
                      <a:pt x="161925" y="304800"/>
                    </a:lnTo>
                    <a:lnTo>
                      <a:pt x="140494" y="323850"/>
                    </a:lnTo>
                    <a:lnTo>
                      <a:pt x="71439" y="300039"/>
                    </a:lnTo>
                    <a:lnTo>
                      <a:pt x="59530" y="302418"/>
                    </a:lnTo>
                    <a:lnTo>
                      <a:pt x="30956" y="295274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55" name="Freeform 20">
                <a:extLst>
                  <a:ext uri="{FF2B5EF4-FFF2-40B4-BE49-F238E27FC236}">
                    <a16:creationId xmlns:a16="http://schemas.microsoft.com/office/drawing/2014/main" id="{48D207B2-83F5-42A8-97AB-30435105846E}"/>
                  </a:ext>
                </a:extLst>
              </p:cNvPr>
              <p:cNvSpPr/>
              <p:nvPr/>
            </p:nvSpPr>
            <p:spPr>
              <a:xfrm>
                <a:off x="4084638" y="4468813"/>
                <a:ext cx="1562100" cy="1309687"/>
              </a:xfrm>
              <a:custGeom>
                <a:avLst/>
                <a:gdLst>
                  <a:gd name="connsiteX0" fmla="*/ 688181 w 1562100"/>
                  <a:gd name="connsiteY0" fmla="*/ 1000125 h 1126331"/>
                  <a:gd name="connsiteX1" fmla="*/ 688181 w 1562100"/>
                  <a:gd name="connsiteY1" fmla="*/ 914400 h 1126331"/>
                  <a:gd name="connsiteX2" fmla="*/ 692944 w 1562100"/>
                  <a:gd name="connsiteY2" fmla="*/ 871537 h 1126331"/>
                  <a:gd name="connsiteX3" fmla="*/ 692944 w 1562100"/>
                  <a:gd name="connsiteY3" fmla="*/ 826294 h 1126331"/>
                  <a:gd name="connsiteX4" fmla="*/ 676275 w 1562100"/>
                  <a:gd name="connsiteY4" fmla="*/ 802481 h 1126331"/>
                  <a:gd name="connsiteX5" fmla="*/ 690563 w 1562100"/>
                  <a:gd name="connsiteY5" fmla="*/ 750094 h 1126331"/>
                  <a:gd name="connsiteX6" fmla="*/ 685800 w 1562100"/>
                  <a:gd name="connsiteY6" fmla="*/ 723900 h 1126331"/>
                  <a:gd name="connsiteX7" fmla="*/ 697706 w 1562100"/>
                  <a:gd name="connsiteY7" fmla="*/ 678656 h 1126331"/>
                  <a:gd name="connsiteX8" fmla="*/ 714375 w 1562100"/>
                  <a:gd name="connsiteY8" fmla="*/ 654844 h 1126331"/>
                  <a:gd name="connsiteX9" fmla="*/ 721519 w 1562100"/>
                  <a:gd name="connsiteY9" fmla="*/ 621506 h 1126331"/>
                  <a:gd name="connsiteX10" fmla="*/ 735806 w 1562100"/>
                  <a:gd name="connsiteY10" fmla="*/ 602456 h 1126331"/>
                  <a:gd name="connsiteX11" fmla="*/ 792956 w 1562100"/>
                  <a:gd name="connsiteY11" fmla="*/ 592931 h 1126331"/>
                  <a:gd name="connsiteX12" fmla="*/ 838200 w 1562100"/>
                  <a:gd name="connsiteY12" fmla="*/ 576262 h 1126331"/>
                  <a:gd name="connsiteX13" fmla="*/ 876300 w 1562100"/>
                  <a:gd name="connsiteY13" fmla="*/ 535781 h 1126331"/>
                  <a:gd name="connsiteX14" fmla="*/ 923925 w 1562100"/>
                  <a:gd name="connsiteY14" fmla="*/ 521494 h 1126331"/>
                  <a:gd name="connsiteX15" fmla="*/ 995363 w 1562100"/>
                  <a:gd name="connsiteY15" fmla="*/ 516731 h 1126331"/>
                  <a:gd name="connsiteX16" fmla="*/ 1040606 w 1562100"/>
                  <a:gd name="connsiteY16" fmla="*/ 507206 h 1126331"/>
                  <a:gd name="connsiteX17" fmla="*/ 1119188 w 1562100"/>
                  <a:gd name="connsiteY17" fmla="*/ 400050 h 1126331"/>
                  <a:gd name="connsiteX18" fmla="*/ 1126331 w 1562100"/>
                  <a:gd name="connsiteY18" fmla="*/ 366712 h 1126331"/>
                  <a:gd name="connsiteX19" fmla="*/ 1152525 w 1562100"/>
                  <a:gd name="connsiteY19" fmla="*/ 338137 h 1126331"/>
                  <a:gd name="connsiteX20" fmla="*/ 1197769 w 1562100"/>
                  <a:gd name="connsiteY20" fmla="*/ 328612 h 1126331"/>
                  <a:gd name="connsiteX21" fmla="*/ 1290638 w 1562100"/>
                  <a:gd name="connsiteY21" fmla="*/ 252412 h 1126331"/>
                  <a:gd name="connsiteX22" fmla="*/ 1314450 w 1562100"/>
                  <a:gd name="connsiteY22" fmla="*/ 250031 h 1126331"/>
                  <a:gd name="connsiteX23" fmla="*/ 1409700 w 1562100"/>
                  <a:gd name="connsiteY23" fmla="*/ 169069 h 1126331"/>
                  <a:gd name="connsiteX24" fmla="*/ 1414463 w 1562100"/>
                  <a:gd name="connsiteY24" fmla="*/ 150019 h 1126331"/>
                  <a:gd name="connsiteX25" fmla="*/ 1507331 w 1562100"/>
                  <a:gd name="connsiteY25" fmla="*/ 95250 h 1126331"/>
                  <a:gd name="connsiteX26" fmla="*/ 1543050 w 1562100"/>
                  <a:gd name="connsiteY26" fmla="*/ 50006 h 1126331"/>
                  <a:gd name="connsiteX27" fmla="*/ 1562100 w 1562100"/>
                  <a:gd name="connsiteY27" fmla="*/ 11906 h 1126331"/>
                  <a:gd name="connsiteX28" fmla="*/ 1512094 w 1562100"/>
                  <a:gd name="connsiteY28" fmla="*/ 30956 h 1126331"/>
                  <a:gd name="connsiteX29" fmla="*/ 1478756 w 1562100"/>
                  <a:gd name="connsiteY29" fmla="*/ 30956 h 1126331"/>
                  <a:gd name="connsiteX30" fmla="*/ 1452563 w 1562100"/>
                  <a:gd name="connsiteY30" fmla="*/ 69056 h 1126331"/>
                  <a:gd name="connsiteX31" fmla="*/ 1421606 w 1562100"/>
                  <a:gd name="connsiteY31" fmla="*/ 66675 h 1126331"/>
                  <a:gd name="connsiteX32" fmla="*/ 1366838 w 1562100"/>
                  <a:gd name="connsiteY32" fmla="*/ 35719 h 1126331"/>
                  <a:gd name="connsiteX33" fmla="*/ 1323975 w 1562100"/>
                  <a:gd name="connsiteY33" fmla="*/ 23812 h 1126331"/>
                  <a:gd name="connsiteX34" fmla="*/ 1238250 w 1562100"/>
                  <a:gd name="connsiteY34" fmla="*/ 59531 h 1126331"/>
                  <a:gd name="connsiteX35" fmla="*/ 1223963 w 1562100"/>
                  <a:gd name="connsiteY35" fmla="*/ 97631 h 1126331"/>
                  <a:gd name="connsiteX36" fmla="*/ 1195388 w 1562100"/>
                  <a:gd name="connsiteY36" fmla="*/ 154781 h 1126331"/>
                  <a:gd name="connsiteX37" fmla="*/ 1109663 w 1562100"/>
                  <a:gd name="connsiteY37" fmla="*/ 116681 h 1126331"/>
                  <a:gd name="connsiteX38" fmla="*/ 1097756 w 1562100"/>
                  <a:gd name="connsiteY38" fmla="*/ 159544 h 1126331"/>
                  <a:gd name="connsiteX39" fmla="*/ 1083469 w 1562100"/>
                  <a:gd name="connsiteY39" fmla="*/ 192881 h 1126331"/>
                  <a:gd name="connsiteX40" fmla="*/ 959644 w 1562100"/>
                  <a:gd name="connsiteY40" fmla="*/ 223837 h 1126331"/>
                  <a:gd name="connsiteX41" fmla="*/ 945356 w 1562100"/>
                  <a:gd name="connsiteY41" fmla="*/ 219075 h 1126331"/>
                  <a:gd name="connsiteX42" fmla="*/ 926306 w 1562100"/>
                  <a:gd name="connsiteY42" fmla="*/ 240506 h 1126331"/>
                  <a:gd name="connsiteX43" fmla="*/ 890588 w 1562100"/>
                  <a:gd name="connsiteY43" fmla="*/ 247650 h 1126331"/>
                  <a:gd name="connsiteX44" fmla="*/ 854869 w 1562100"/>
                  <a:gd name="connsiteY44" fmla="*/ 197644 h 1126331"/>
                  <a:gd name="connsiteX45" fmla="*/ 835819 w 1562100"/>
                  <a:gd name="connsiteY45" fmla="*/ 185737 h 1126331"/>
                  <a:gd name="connsiteX46" fmla="*/ 826294 w 1562100"/>
                  <a:gd name="connsiteY46" fmla="*/ 140494 h 1126331"/>
                  <a:gd name="connsiteX47" fmla="*/ 792956 w 1562100"/>
                  <a:gd name="connsiteY47" fmla="*/ 123825 h 1126331"/>
                  <a:gd name="connsiteX48" fmla="*/ 759619 w 1562100"/>
                  <a:gd name="connsiteY48" fmla="*/ 116681 h 1126331"/>
                  <a:gd name="connsiteX49" fmla="*/ 740569 w 1562100"/>
                  <a:gd name="connsiteY49" fmla="*/ 111919 h 1126331"/>
                  <a:gd name="connsiteX50" fmla="*/ 728663 w 1562100"/>
                  <a:gd name="connsiteY50" fmla="*/ 102394 h 1126331"/>
                  <a:gd name="connsiteX51" fmla="*/ 735806 w 1562100"/>
                  <a:gd name="connsiteY51" fmla="*/ 76200 h 1126331"/>
                  <a:gd name="connsiteX52" fmla="*/ 742950 w 1562100"/>
                  <a:gd name="connsiteY52" fmla="*/ 52387 h 1126331"/>
                  <a:gd name="connsiteX53" fmla="*/ 700088 w 1562100"/>
                  <a:gd name="connsiteY53" fmla="*/ 2381 h 1126331"/>
                  <a:gd name="connsiteX54" fmla="*/ 328613 w 1562100"/>
                  <a:gd name="connsiteY54" fmla="*/ 0 h 1126331"/>
                  <a:gd name="connsiteX55" fmla="*/ 292894 w 1562100"/>
                  <a:gd name="connsiteY55" fmla="*/ 102394 h 1126331"/>
                  <a:gd name="connsiteX56" fmla="*/ 264319 w 1562100"/>
                  <a:gd name="connsiteY56" fmla="*/ 109537 h 1126331"/>
                  <a:gd name="connsiteX57" fmla="*/ 261938 w 1562100"/>
                  <a:gd name="connsiteY57" fmla="*/ 123825 h 1126331"/>
                  <a:gd name="connsiteX58" fmla="*/ 261938 w 1562100"/>
                  <a:gd name="connsiteY58" fmla="*/ 157162 h 1126331"/>
                  <a:gd name="connsiteX59" fmla="*/ 228600 w 1562100"/>
                  <a:gd name="connsiteY59" fmla="*/ 200025 h 1126331"/>
                  <a:gd name="connsiteX60" fmla="*/ 271463 w 1562100"/>
                  <a:gd name="connsiteY60" fmla="*/ 216694 h 1126331"/>
                  <a:gd name="connsiteX61" fmla="*/ 278606 w 1562100"/>
                  <a:gd name="connsiteY61" fmla="*/ 235744 h 1126331"/>
                  <a:gd name="connsiteX62" fmla="*/ 257175 w 1562100"/>
                  <a:gd name="connsiteY62" fmla="*/ 271462 h 1126331"/>
                  <a:gd name="connsiteX63" fmla="*/ 221456 w 1562100"/>
                  <a:gd name="connsiteY63" fmla="*/ 280987 h 1126331"/>
                  <a:gd name="connsiteX64" fmla="*/ 221456 w 1562100"/>
                  <a:gd name="connsiteY64" fmla="*/ 321469 h 1126331"/>
                  <a:gd name="connsiteX65" fmla="*/ 254794 w 1562100"/>
                  <a:gd name="connsiteY65" fmla="*/ 359569 h 1126331"/>
                  <a:gd name="connsiteX66" fmla="*/ 226219 w 1562100"/>
                  <a:gd name="connsiteY66" fmla="*/ 423862 h 1126331"/>
                  <a:gd name="connsiteX67" fmla="*/ 180975 w 1562100"/>
                  <a:gd name="connsiteY67" fmla="*/ 452437 h 1126331"/>
                  <a:gd name="connsiteX68" fmla="*/ 183356 w 1562100"/>
                  <a:gd name="connsiteY68" fmla="*/ 469106 h 1126331"/>
                  <a:gd name="connsiteX69" fmla="*/ 204788 w 1562100"/>
                  <a:gd name="connsiteY69" fmla="*/ 478631 h 1126331"/>
                  <a:gd name="connsiteX70" fmla="*/ 219075 w 1562100"/>
                  <a:gd name="connsiteY70" fmla="*/ 488156 h 1126331"/>
                  <a:gd name="connsiteX71" fmla="*/ 223838 w 1562100"/>
                  <a:gd name="connsiteY71" fmla="*/ 507206 h 1126331"/>
                  <a:gd name="connsiteX72" fmla="*/ 195263 w 1562100"/>
                  <a:gd name="connsiteY72" fmla="*/ 533400 h 1126331"/>
                  <a:gd name="connsiteX73" fmla="*/ 123825 w 1562100"/>
                  <a:gd name="connsiteY73" fmla="*/ 578644 h 1126331"/>
                  <a:gd name="connsiteX74" fmla="*/ 123825 w 1562100"/>
                  <a:gd name="connsiteY74" fmla="*/ 614362 h 1126331"/>
                  <a:gd name="connsiteX75" fmla="*/ 135731 w 1562100"/>
                  <a:gd name="connsiteY75" fmla="*/ 645319 h 1126331"/>
                  <a:gd name="connsiteX76" fmla="*/ 123825 w 1562100"/>
                  <a:gd name="connsiteY76" fmla="*/ 685800 h 1126331"/>
                  <a:gd name="connsiteX77" fmla="*/ 76200 w 1562100"/>
                  <a:gd name="connsiteY77" fmla="*/ 681037 h 1126331"/>
                  <a:gd name="connsiteX78" fmla="*/ 52388 w 1562100"/>
                  <a:gd name="connsiteY78" fmla="*/ 626269 h 1126331"/>
                  <a:gd name="connsiteX79" fmla="*/ 33338 w 1562100"/>
                  <a:gd name="connsiteY79" fmla="*/ 619125 h 1126331"/>
                  <a:gd name="connsiteX80" fmla="*/ 23813 w 1562100"/>
                  <a:gd name="connsiteY80" fmla="*/ 657225 h 1126331"/>
                  <a:gd name="connsiteX81" fmla="*/ 21431 w 1562100"/>
                  <a:gd name="connsiteY81" fmla="*/ 666750 h 1126331"/>
                  <a:gd name="connsiteX82" fmla="*/ 7144 w 1562100"/>
                  <a:gd name="connsiteY82" fmla="*/ 683419 h 1126331"/>
                  <a:gd name="connsiteX83" fmla="*/ 0 w 1562100"/>
                  <a:gd name="connsiteY83" fmla="*/ 740569 h 1126331"/>
                  <a:gd name="connsiteX84" fmla="*/ 23813 w 1562100"/>
                  <a:gd name="connsiteY84" fmla="*/ 769144 h 1126331"/>
                  <a:gd name="connsiteX85" fmla="*/ 16669 w 1562100"/>
                  <a:gd name="connsiteY85" fmla="*/ 809625 h 1126331"/>
                  <a:gd name="connsiteX86" fmla="*/ 35719 w 1562100"/>
                  <a:gd name="connsiteY86" fmla="*/ 814387 h 1126331"/>
                  <a:gd name="connsiteX87" fmla="*/ 69056 w 1562100"/>
                  <a:gd name="connsiteY87" fmla="*/ 814387 h 1126331"/>
                  <a:gd name="connsiteX88" fmla="*/ 85725 w 1562100"/>
                  <a:gd name="connsiteY88" fmla="*/ 804862 h 1126331"/>
                  <a:gd name="connsiteX89" fmla="*/ 135731 w 1562100"/>
                  <a:gd name="connsiteY89" fmla="*/ 862012 h 1126331"/>
                  <a:gd name="connsiteX90" fmla="*/ 123825 w 1562100"/>
                  <a:gd name="connsiteY90" fmla="*/ 881062 h 1126331"/>
                  <a:gd name="connsiteX91" fmla="*/ 133350 w 1562100"/>
                  <a:gd name="connsiteY91" fmla="*/ 909637 h 1126331"/>
                  <a:gd name="connsiteX92" fmla="*/ 164306 w 1562100"/>
                  <a:gd name="connsiteY92" fmla="*/ 928687 h 1126331"/>
                  <a:gd name="connsiteX93" fmla="*/ 190500 w 1562100"/>
                  <a:gd name="connsiteY93" fmla="*/ 938212 h 1126331"/>
                  <a:gd name="connsiteX94" fmla="*/ 216694 w 1562100"/>
                  <a:gd name="connsiteY94" fmla="*/ 945356 h 1126331"/>
                  <a:gd name="connsiteX95" fmla="*/ 228600 w 1562100"/>
                  <a:gd name="connsiteY95" fmla="*/ 947737 h 1126331"/>
                  <a:gd name="connsiteX96" fmla="*/ 240506 w 1562100"/>
                  <a:gd name="connsiteY96" fmla="*/ 909637 h 1126331"/>
                  <a:gd name="connsiteX97" fmla="*/ 269081 w 1562100"/>
                  <a:gd name="connsiteY97" fmla="*/ 914400 h 1126331"/>
                  <a:gd name="connsiteX98" fmla="*/ 288131 w 1562100"/>
                  <a:gd name="connsiteY98" fmla="*/ 902494 h 1126331"/>
                  <a:gd name="connsiteX99" fmla="*/ 307181 w 1562100"/>
                  <a:gd name="connsiteY99" fmla="*/ 952500 h 1126331"/>
                  <a:gd name="connsiteX100" fmla="*/ 330994 w 1562100"/>
                  <a:gd name="connsiteY100" fmla="*/ 966787 h 1126331"/>
                  <a:gd name="connsiteX101" fmla="*/ 340519 w 1562100"/>
                  <a:gd name="connsiteY101" fmla="*/ 995362 h 1126331"/>
                  <a:gd name="connsiteX102" fmla="*/ 357188 w 1562100"/>
                  <a:gd name="connsiteY102" fmla="*/ 1004887 h 1126331"/>
                  <a:gd name="connsiteX103" fmla="*/ 364331 w 1562100"/>
                  <a:gd name="connsiteY103" fmla="*/ 1035844 h 1126331"/>
                  <a:gd name="connsiteX104" fmla="*/ 335756 w 1562100"/>
                  <a:gd name="connsiteY104" fmla="*/ 1062037 h 1126331"/>
                  <a:gd name="connsiteX105" fmla="*/ 309563 w 1562100"/>
                  <a:gd name="connsiteY105" fmla="*/ 1078706 h 1126331"/>
                  <a:gd name="connsiteX106" fmla="*/ 297656 w 1562100"/>
                  <a:gd name="connsiteY106" fmla="*/ 1102519 h 1126331"/>
                  <a:gd name="connsiteX107" fmla="*/ 302419 w 1562100"/>
                  <a:gd name="connsiteY107" fmla="*/ 1126331 h 1126331"/>
                  <a:gd name="connsiteX108" fmla="*/ 342900 w 1562100"/>
                  <a:gd name="connsiteY108" fmla="*/ 1126331 h 1126331"/>
                  <a:gd name="connsiteX109" fmla="*/ 390525 w 1562100"/>
                  <a:gd name="connsiteY109" fmla="*/ 1121569 h 1126331"/>
                  <a:gd name="connsiteX110" fmla="*/ 428625 w 1562100"/>
                  <a:gd name="connsiteY110" fmla="*/ 1112044 h 1126331"/>
                  <a:gd name="connsiteX111" fmla="*/ 454819 w 1562100"/>
                  <a:gd name="connsiteY111" fmla="*/ 1119187 h 1126331"/>
                  <a:gd name="connsiteX112" fmla="*/ 473869 w 1562100"/>
                  <a:gd name="connsiteY112" fmla="*/ 1097756 h 1126331"/>
                  <a:gd name="connsiteX113" fmla="*/ 492919 w 1562100"/>
                  <a:gd name="connsiteY113" fmla="*/ 1097756 h 1126331"/>
                  <a:gd name="connsiteX114" fmla="*/ 507206 w 1562100"/>
                  <a:gd name="connsiteY114" fmla="*/ 1066800 h 1126331"/>
                  <a:gd name="connsiteX115" fmla="*/ 557213 w 1562100"/>
                  <a:gd name="connsiteY115" fmla="*/ 1052512 h 1126331"/>
                  <a:gd name="connsiteX116" fmla="*/ 583406 w 1562100"/>
                  <a:gd name="connsiteY116" fmla="*/ 1033462 h 1126331"/>
                  <a:gd name="connsiteX117" fmla="*/ 590550 w 1562100"/>
                  <a:gd name="connsiteY117" fmla="*/ 995362 h 1126331"/>
                  <a:gd name="connsiteX118" fmla="*/ 607219 w 1562100"/>
                  <a:gd name="connsiteY118" fmla="*/ 969169 h 1126331"/>
                  <a:gd name="connsiteX119" fmla="*/ 688181 w 1562100"/>
                  <a:gd name="connsiteY119" fmla="*/ 1000125 h 1126331"/>
                  <a:gd name="connsiteX0" fmla="*/ 688181 w 1562100"/>
                  <a:gd name="connsiteY0" fmla="*/ 1000125 h 1126331"/>
                  <a:gd name="connsiteX1" fmla="*/ 688181 w 1562100"/>
                  <a:gd name="connsiteY1" fmla="*/ 914400 h 1126331"/>
                  <a:gd name="connsiteX2" fmla="*/ 692944 w 1562100"/>
                  <a:gd name="connsiteY2" fmla="*/ 871537 h 1126331"/>
                  <a:gd name="connsiteX3" fmla="*/ 692944 w 1562100"/>
                  <a:gd name="connsiteY3" fmla="*/ 826294 h 1126331"/>
                  <a:gd name="connsiteX4" fmla="*/ 676275 w 1562100"/>
                  <a:gd name="connsiteY4" fmla="*/ 802481 h 1126331"/>
                  <a:gd name="connsiteX5" fmla="*/ 690563 w 1562100"/>
                  <a:gd name="connsiteY5" fmla="*/ 750094 h 1126331"/>
                  <a:gd name="connsiteX6" fmla="*/ 685800 w 1562100"/>
                  <a:gd name="connsiteY6" fmla="*/ 723900 h 1126331"/>
                  <a:gd name="connsiteX7" fmla="*/ 697706 w 1562100"/>
                  <a:gd name="connsiteY7" fmla="*/ 678656 h 1126331"/>
                  <a:gd name="connsiteX8" fmla="*/ 714375 w 1562100"/>
                  <a:gd name="connsiteY8" fmla="*/ 654844 h 1126331"/>
                  <a:gd name="connsiteX9" fmla="*/ 721519 w 1562100"/>
                  <a:gd name="connsiteY9" fmla="*/ 621506 h 1126331"/>
                  <a:gd name="connsiteX10" fmla="*/ 735806 w 1562100"/>
                  <a:gd name="connsiteY10" fmla="*/ 602456 h 1126331"/>
                  <a:gd name="connsiteX11" fmla="*/ 792956 w 1562100"/>
                  <a:gd name="connsiteY11" fmla="*/ 592931 h 1126331"/>
                  <a:gd name="connsiteX12" fmla="*/ 838200 w 1562100"/>
                  <a:gd name="connsiteY12" fmla="*/ 576262 h 1126331"/>
                  <a:gd name="connsiteX13" fmla="*/ 876300 w 1562100"/>
                  <a:gd name="connsiteY13" fmla="*/ 535781 h 1126331"/>
                  <a:gd name="connsiteX14" fmla="*/ 923925 w 1562100"/>
                  <a:gd name="connsiteY14" fmla="*/ 521494 h 1126331"/>
                  <a:gd name="connsiteX15" fmla="*/ 995363 w 1562100"/>
                  <a:gd name="connsiteY15" fmla="*/ 516731 h 1126331"/>
                  <a:gd name="connsiteX16" fmla="*/ 1040606 w 1562100"/>
                  <a:gd name="connsiteY16" fmla="*/ 507206 h 1126331"/>
                  <a:gd name="connsiteX17" fmla="*/ 1119188 w 1562100"/>
                  <a:gd name="connsiteY17" fmla="*/ 400050 h 1126331"/>
                  <a:gd name="connsiteX18" fmla="*/ 1126331 w 1562100"/>
                  <a:gd name="connsiteY18" fmla="*/ 366712 h 1126331"/>
                  <a:gd name="connsiteX19" fmla="*/ 1152525 w 1562100"/>
                  <a:gd name="connsiteY19" fmla="*/ 338137 h 1126331"/>
                  <a:gd name="connsiteX20" fmla="*/ 1197769 w 1562100"/>
                  <a:gd name="connsiteY20" fmla="*/ 328612 h 1126331"/>
                  <a:gd name="connsiteX21" fmla="*/ 1290638 w 1562100"/>
                  <a:gd name="connsiteY21" fmla="*/ 252412 h 1126331"/>
                  <a:gd name="connsiteX22" fmla="*/ 1314450 w 1562100"/>
                  <a:gd name="connsiteY22" fmla="*/ 250031 h 1126331"/>
                  <a:gd name="connsiteX23" fmla="*/ 1409700 w 1562100"/>
                  <a:gd name="connsiteY23" fmla="*/ 169069 h 1126331"/>
                  <a:gd name="connsiteX24" fmla="*/ 1414463 w 1562100"/>
                  <a:gd name="connsiteY24" fmla="*/ 150019 h 1126331"/>
                  <a:gd name="connsiteX25" fmla="*/ 1507331 w 1562100"/>
                  <a:gd name="connsiteY25" fmla="*/ 95250 h 1126331"/>
                  <a:gd name="connsiteX26" fmla="*/ 1543050 w 1562100"/>
                  <a:gd name="connsiteY26" fmla="*/ 50006 h 1126331"/>
                  <a:gd name="connsiteX27" fmla="*/ 1562100 w 1562100"/>
                  <a:gd name="connsiteY27" fmla="*/ 11906 h 1126331"/>
                  <a:gd name="connsiteX28" fmla="*/ 1512094 w 1562100"/>
                  <a:gd name="connsiteY28" fmla="*/ 30956 h 1126331"/>
                  <a:gd name="connsiteX29" fmla="*/ 1478756 w 1562100"/>
                  <a:gd name="connsiteY29" fmla="*/ 30956 h 1126331"/>
                  <a:gd name="connsiteX30" fmla="*/ 1452563 w 1562100"/>
                  <a:gd name="connsiteY30" fmla="*/ 69056 h 1126331"/>
                  <a:gd name="connsiteX31" fmla="*/ 1421606 w 1562100"/>
                  <a:gd name="connsiteY31" fmla="*/ 66675 h 1126331"/>
                  <a:gd name="connsiteX32" fmla="*/ 1366838 w 1562100"/>
                  <a:gd name="connsiteY32" fmla="*/ 35719 h 1126331"/>
                  <a:gd name="connsiteX33" fmla="*/ 1323975 w 1562100"/>
                  <a:gd name="connsiteY33" fmla="*/ 23812 h 1126331"/>
                  <a:gd name="connsiteX34" fmla="*/ 1238250 w 1562100"/>
                  <a:gd name="connsiteY34" fmla="*/ 59531 h 1126331"/>
                  <a:gd name="connsiteX35" fmla="*/ 1223963 w 1562100"/>
                  <a:gd name="connsiteY35" fmla="*/ 97631 h 1126331"/>
                  <a:gd name="connsiteX36" fmla="*/ 1195388 w 1562100"/>
                  <a:gd name="connsiteY36" fmla="*/ 154781 h 1126331"/>
                  <a:gd name="connsiteX37" fmla="*/ 1109663 w 1562100"/>
                  <a:gd name="connsiteY37" fmla="*/ 116681 h 1126331"/>
                  <a:gd name="connsiteX38" fmla="*/ 1097756 w 1562100"/>
                  <a:gd name="connsiteY38" fmla="*/ 159544 h 1126331"/>
                  <a:gd name="connsiteX39" fmla="*/ 1083469 w 1562100"/>
                  <a:gd name="connsiteY39" fmla="*/ 192881 h 1126331"/>
                  <a:gd name="connsiteX40" fmla="*/ 959644 w 1562100"/>
                  <a:gd name="connsiteY40" fmla="*/ 223837 h 1126331"/>
                  <a:gd name="connsiteX41" fmla="*/ 945356 w 1562100"/>
                  <a:gd name="connsiteY41" fmla="*/ 219075 h 1126331"/>
                  <a:gd name="connsiteX42" fmla="*/ 926306 w 1562100"/>
                  <a:gd name="connsiteY42" fmla="*/ 240506 h 1126331"/>
                  <a:gd name="connsiteX43" fmla="*/ 890588 w 1562100"/>
                  <a:gd name="connsiteY43" fmla="*/ 247650 h 1126331"/>
                  <a:gd name="connsiteX44" fmla="*/ 854869 w 1562100"/>
                  <a:gd name="connsiteY44" fmla="*/ 197644 h 1126331"/>
                  <a:gd name="connsiteX45" fmla="*/ 835819 w 1562100"/>
                  <a:gd name="connsiteY45" fmla="*/ 185737 h 1126331"/>
                  <a:gd name="connsiteX46" fmla="*/ 826294 w 1562100"/>
                  <a:gd name="connsiteY46" fmla="*/ 140494 h 1126331"/>
                  <a:gd name="connsiteX47" fmla="*/ 792956 w 1562100"/>
                  <a:gd name="connsiteY47" fmla="*/ 123825 h 1126331"/>
                  <a:gd name="connsiteX48" fmla="*/ 759619 w 1562100"/>
                  <a:gd name="connsiteY48" fmla="*/ 116681 h 1126331"/>
                  <a:gd name="connsiteX49" fmla="*/ 740569 w 1562100"/>
                  <a:gd name="connsiteY49" fmla="*/ 111919 h 1126331"/>
                  <a:gd name="connsiteX50" fmla="*/ 728663 w 1562100"/>
                  <a:gd name="connsiteY50" fmla="*/ 102394 h 1126331"/>
                  <a:gd name="connsiteX51" fmla="*/ 735806 w 1562100"/>
                  <a:gd name="connsiteY51" fmla="*/ 76200 h 1126331"/>
                  <a:gd name="connsiteX52" fmla="*/ 742950 w 1562100"/>
                  <a:gd name="connsiteY52" fmla="*/ 52387 h 1126331"/>
                  <a:gd name="connsiteX53" fmla="*/ 700088 w 1562100"/>
                  <a:gd name="connsiteY53" fmla="*/ 2381 h 1126331"/>
                  <a:gd name="connsiteX54" fmla="*/ 378619 w 1562100"/>
                  <a:gd name="connsiteY54" fmla="*/ 2381 h 1126331"/>
                  <a:gd name="connsiteX55" fmla="*/ 328613 w 1562100"/>
                  <a:gd name="connsiteY55" fmla="*/ 0 h 1126331"/>
                  <a:gd name="connsiteX56" fmla="*/ 292894 w 1562100"/>
                  <a:gd name="connsiteY56" fmla="*/ 102394 h 1126331"/>
                  <a:gd name="connsiteX57" fmla="*/ 264319 w 1562100"/>
                  <a:gd name="connsiteY57" fmla="*/ 109537 h 1126331"/>
                  <a:gd name="connsiteX58" fmla="*/ 261938 w 1562100"/>
                  <a:gd name="connsiteY58" fmla="*/ 123825 h 1126331"/>
                  <a:gd name="connsiteX59" fmla="*/ 261938 w 1562100"/>
                  <a:gd name="connsiteY59" fmla="*/ 157162 h 1126331"/>
                  <a:gd name="connsiteX60" fmla="*/ 228600 w 1562100"/>
                  <a:gd name="connsiteY60" fmla="*/ 200025 h 1126331"/>
                  <a:gd name="connsiteX61" fmla="*/ 271463 w 1562100"/>
                  <a:gd name="connsiteY61" fmla="*/ 216694 h 1126331"/>
                  <a:gd name="connsiteX62" fmla="*/ 278606 w 1562100"/>
                  <a:gd name="connsiteY62" fmla="*/ 235744 h 1126331"/>
                  <a:gd name="connsiteX63" fmla="*/ 257175 w 1562100"/>
                  <a:gd name="connsiteY63" fmla="*/ 271462 h 1126331"/>
                  <a:gd name="connsiteX64" fmla="*/ 221456 w 1562100"/>
                  <a:gd name="connsiteY64" fmla="*/ 280987 h 1126331"/>
                  <a:gd name="connsiteX65" fmla="*/ 221456 w 1562100"/>
                  <a:gd name="connsiteY65" fmla="*/ 321469 h 1126331"/>
                  <a:gd name="connsiteX66" fmla="*/ 254794 w 1562100"/>
                  <a:gd name="connsiteY66" fmla="*/ 359569 h 1126331"/>
                  <a:gd name="connsiteX67" fmla="*/ 226219 w 1562100"/>
                  <a:gd name="connsiteY67" fmla="*/ 423862 h 1126331"/>
                  <a:gd name="connsiteX68" fmla="*/ 180975 w 1562100"/>
                  <a:gd name="connsiteY68" fmla="*/ 452437 h 1126331"/>
                  <a:gd name="connsiteX69" fmla="*/ 183356 w 1562100"/>
                  <a:gd name="connsiteY69" fmla="*/ 469106 h 1126331"/>
                  <a:gd name="connsiteX70" fmla="*/ 204788 w 1562100"/>
                  <a:gd name="connsiteY70" fmla="*/ 478631 h 1126331"/>
                  <a:gd name="connsiteX71" fmla="*/ 219075 w 1562100"/>
                  <a:gd name="connsiteY71" fmla="*/ 488156 h 1126331"/>
                  <a:gd name="connsiteX72" fmla="*/ 223838 w 1562100"/>
                  <a:gd name="connsiteY72" fmla="*/ 507206 h 1126331"/>
                  <a:gd name="connsiteX73" fmla="*/ 195263 w 1562100"/>
                  <a:gd name="connsiteY73" fmla="*/ 533400 h 1126331"/>
                  <a:gd name="connsiteX74" fmla="*/ 123825 w 1562100"/>
                  <a:gd name="connsiteY74" fmla="*/ 578644 h 1126331"/>
                  <a:gd name="connsiteX75" fmla="*/ 123825 w 1562100"/>
                  <a:gd name="connsiteY75" fmla="*/ 614362 h 1126331"/>
                  <a:gd name="connsiteX76" fmla="*/ 135731 w 1562100"/>
                  <a:gd name="connsiteY76" fmla="*/ 645319 h 1126331"/>
                  <a:gd name="connsiteX77" fmla="*/ 123825 w 1562100"/>
                  <a:gd name="connsiteY77" fmla="*/ 685800 h 1126331"/>
                  <a:gd name="connsiteX78" fmla="*/ 76200 w 1562100"/>
                  <a:gd name="connsiteY78" fmla="*/ 681037 h 1126331"/>
                  <a:gd name="connsiteX79" fmla="*/ 52388 w 1562100"/>
                  <a:gd name="connsiteY79" fmla="*/ 626269 h 1126331"/>
                  <a:gd name="connsiteX80" fmla="*/ 33338 w 1562100"/>
                  <a:gd name="connsiteY80" fmla="*/ 619125 h 1126331"/>
                  <a:gd name="connsiteX81" fmla="*/ 23813 w 1562100"/>
                  <a:gd name="connsiteY81" fmla="*/ 657225 h 1126331"/>
                  <a:gd name="connsiteX82" fmla="*/ 21431 w 1562100"/>
                  <a:gd name="connsiteY82" fmla="*/ 666750 h 1126331"/>
                  <a:gd name="connsiteX83" fmla="*/ 7144 w 1562100"/>
                  <a:gd name="connsiteY83" fmla="*/ 683419 h 1126331"/>
                  <a:gd name="connsiteX84" fmla="*/ 0 w 1562100"/>
                  <a:gd name="connsiteY84" fmla="*/ 740569 h 1126331"/>
                  <a:gd name="connsiteX85" fmla="*/ 23813 w 1562100"/>
                  <a:gd name="connsiteY85" fmla="*/ 769144 h 1126331"/>
                  <a:gd name="connsiteX86" fmla="*/ 16669 w 1562100"/>
                  <a:gd name="connsiteY86" fmla="*/ 809625 h 1126331"/>
                  <a:gd name="connsiteX87" fmla="*/ 35719 w 1562100"/>
                  <a:gd name="connsiteY87" fmla="*/ 814387 h 1126331"/>
                  <a:gd name="connsiteX88" fmla="*/ 69056 w 1562100"/>
                  <a:gd name="connsiteY88" fmla="*/ 814387 h 1126331"/>
                  <a:gd name="connsiteX89" fmla="*/ 85725 w 1562100"/>
                  <a:gd name="connsiteY89" fmla="*/ 804862 h 1126331"/>
                  <a:gd name="connsiteX90" fmla="*/ 135731 w 1562100"/>
                  <a:gd name="connsiteY90" fmla="*/ 862012 h 1126331"/>
                  <a:gd name="connsiteX91" fmla="*/ 123825 w 1562100"/>
                  <a:gd name="connsiteY91" fmla="*/ 881062 h 1126331"/>
                  <a:gd name="connsiteX92" fmla="*/ 133350 w 1562100"/>
                  <a:gd name="connsiteY92" fmla="*/ 909637 h 1126331"/>
                  <a:gd name="connsiteX93" fmla="*/ 164306 w 1562100"/>
                  <a:gd name="connsiteY93" fmla="*/ 928687 h 1126331"/>
                  <a:gd name="connsiteX94" fmla="*/ 190500 w 1562100"/>
                  <a:gd name="connsiteY94" fmla="*/ 938212 h 1126331"/>
                  <a:gd name="connsiteX95" fmla="*/ 216694 w 1562100"/>
                  <a:gd name="connsiteY95" fmla="*/ 945356 h 1126331"/>
                  <a:gd name="connsiteX96" fmla="*/ 228600 w 1562100"/>
                  <a:gd name="connsiteY96" fmla="*/ 947737 h 1126331"/>
                  <a:gd name="connsiteX97" fmla="*/ 240506 w 1562100"/>
                  <a:gd name="connsiteY97" fmla="*/ 909637 h 1126331"/>
                  <a:gd name="connsiteX98" fmla="*/ 269081 w 1562100"/>
                  <a:gd name="connsiteY98" fmla="*/ 914400 h 1126331"/>
                  <a:gd name="connsiteX99" fmla="*/ 288131 w 1562100"/>
                  <a:gd name="connsiteY99" fmla="*/ 902494 h 1126331"/>
                  <a:gd name="connsiteX100" fmla="*/ 307181 w 1562100"/>
                  <a:gd name="connsiteY100" fmla="*/ 952500 h 1126331"/>
                  <a:gd name="connsiteX101" fmla="*/ 330994 w 1562100"/>
                  <a:gd name="connsiteY101" fmla="*/ 966787 h 1126331"/>
                  <a:gd name="connsiteX102" fmla="*/ 340519 w 1562100"/>
                  <a:gd name="connsiteY102" fmla="*/ 995362 h 1126331"/>
                  <a:gd name="connsiteX103" fmla="*/ 357188 w 1562100"/>
                  <a:gd name="connsiteY103" fmla="*/ 1004887 h 1126331"/>
                  <a:gd name="connsiteX104" fmla="*/ 364331 w 1562100"/>
                  <a:gd name="connsiteY104" fmla="*/ 1035844 h 1126331"/>
                  <a:gd name="connsiteX105" fmla="*/ 335756 w 1562100"/>
                  <a:gd name="connsiteY105" fmla="*/ 1062037 h 1126331"/>
                  <a:gd name="connsiteX106" fmla="*/ 309563 w 1562100"/>
                  <a:gd name="connsiteY106" fmla="*/ 1078706 h 1126331"/>
                  <a:gd name="connsiteX107" fmla="*/ 297656 w 1562100"/>
                  <a:gd name="connsiteY107" fmla="*/ 1102519 h 1126331"/>
                  <a:gd name="connsiteX108" fmla="*/ 302419 w 1562100"/>
                  <a:gd name="connsiteY108" fmla="*/ 1126331 h 1126331"/>
                  <a:gd name="connsiteX109" fmla="*/ 342900 w 1562100"/>
                  <a:gd name="connsiteY109" fmla="*/ 1126331 h 1126331"/>
                  <a:gd name="connsiteX110" fmla="*/ 390525 w 1562100"/>
                  <a:gd name="connsiteY110" fmla="*/ 1121569 h 1126331"/>
                  <a:gd name="connsiteX111" fmla="*/ 428625 w 1562100"/>
                  <a:gd name="connsiteY111" fmla="*/ 1112044 h 1126331"/>
                  <a:gd name="connsiteX112" fmla="*/ 454819 w 1562100"/>
                  <a:gd name="connsiteY112" fmla="*/ 1119187 h 1126331"/>
                  <a:gd name="connsiteX113" fmla="*/ 473869 w 1562100"/>
                  <a:gd name="connsiteY113" fmla="*/ 1097756 h 1126331"/>
                  <a:gd name="connsiteX114" fmla="*/ 492919 w 1562100"/>
                  <a:gd name="connsiteY114" fmla="*/ 1097756 h 1126331"/>
                  <a:gd name="connsiteX115" fmla="*/ 507206 w 1562100"/>
                  <a:gd name="connsiteY115" fmla="*/ 1066800 h 1126331"/>
                  <a:gd name="connsiteX116" fmla="*/ 557213 w 1562100"/>
                  <a:gd name="connsiteY116" fmla="*/ 1052512 h 1126331"/>
                  <a:gd name="connsiteX117" fmla="*/ 583406 w 1562100"/>
                  <a:gd name="connsiteY117" fmla="*/ 1033462 h 1126331"/>
                  <a:gd name="connsiteX118" fmla="*/ 590550 w 1562100"/>
                  <a:gd name="connsiteY118" fmla="*/ 995362 h 1126331"/>
                  <a:gd name="connsiteX119" fmla="*/ 607219 w 1562100"/>
                  <a:gd name="connsiteY119" fmla="*/ 969169 h 1126331"/>
                  <a:gd name="connsiteX120" fmla="*/ 688181 w 1562100"/>
                  <a:gd name="connsiteY120" fmla="*/ 1000125 h 1126331"/>
                  <a:gd name="connsiteX0" fmla="*/ 688181 w 1562100"/>
                  <a:gd name="connsiteY0" fmla="*/ 1078707 h 1204913"/>
                  <a:gd name="connsiteX1" fmla="*/ 688181 w 1562100"/>
                  <a:gd name="connsiteY1" fmla="*/ 992982 h 1204913"/>
                  <a:gd name="connsiteX2" fmla="*/ 692944 w 1562100"/>
                  <a:gd name="connsiteY2" fmla="*/ 950119 h 1204913"/>
                  <a:gd name="connsiteX3" fmla="*/ 692944 w 1562100"/>
                  <a:gd name="connsiteY3" fmla="*/ 904876 h 1204913"/>
                  <a:gd name="connsiteX4" fmla="*/ 676275 w 1562100"/>
                  <a:gd name="connsiteY4" fmla="*/ 881063 h 1204913"/>
                  <a:gd name="connsiteX5" fmla="*/ 690563 w 1562100"/>
                  <a:gd name="connsiteY5" fmla="*/ 828676 h 1204913"/>
                  <a:gd name="connsiteX6" fmla="*/ 685800 w 1562100"/>
                  <a:gd name="connsiteY6" fmla="*/ 802482 h 1204913"/>
                  <a:gd name="connsiteX7" fmla="*/ 697706 w 1562100"/>
                  <a:gd name="connsiteY7" fmla="*/ 757238 h 1204913"/>
                  <a:gd name="connsiteX8" fmla="*/ 714375 w 1562100"/>
                  <a:gd name="connsiteY8" fmla="*/ 733426 h 1204913"/>
                  <a:gd name="connsiteX9" fmla="*/ 721519 w 1562100"/>
                  <a:gd name="connsiteY9" fmla="*/ 700088 h 1204913"/>
                  <a:gd name="connsiteX10" fmla="*/ 735806 w 1562100"/>
                  <a:gd name="connsiteY10" fmla="*/ 681038 h 1204913"/>
                  <a:gd name="connsiteX11" fmla="*/ 792956 w 1562100"/>
                  <a:gd name="connsiteY11" fmla="*/ 671513 h 1204913"/>
                  <a:gd name="connsiteX12" fmla="*/ 838200 w 1562100"/>
                  <a:gd name="connsiteY12" fmla="*/ 654844 h 1204913"/>
                  <a:gd name="connsiteX13" fmla="*/ 876300 w 1562100"/>
                  <a:gd name="connsiteY13" fmla="*/ 614363 h 1204913"/>
                  <a:gd name="connsiteX14" fmla="*/ 923925 w 1562100"/>
                  <a:gd name="connsiteY14" fmla="*/ 600076 h 1204913"/>
                  <a:gd name="connsiteX15" fmla="*/ 995363 w 1562100"/>
                  <a:gd name="connsiteY15" fmla="*/ 595313 h 1204913"/>
                  <a:gd name="connsiteX16" fmla="*/ 1040606 w 1562100"/>
                  <a:gd name="connsiteY16" fmla="*/ 585788 h 1204913"/>
                  <a:gd name="connsiteX17" fmla="*/ 1119188 w 1562100"/>
                  <a:gd name="connsiteY17" fmla="*/ 478632 h 1204913"/>
                  <a:gd name="connsiteX18" fmla="*/ 1126331 w 1562100"/>
                  <a:gd name="connsiteY18" fmla="*/ 445294 h 1204913"/>
                  <a:gd name="connsiteX19" fmla="*/ 1152525 w 1562100"/>
                  <a:gd name="connsiteY19" fmla="*/ 416719 h 1204913"/>
                  <a:gd name="connsiteX20" fmla="*/ 1197769 w 1562100"/>
                  <a:gd name="connsiteY20" fmla="*/ 407194 h 1204913"/>
                  <a:gd name="connsiteX21" fmla="*/ 1290638 w 1562100"/>
                  <a:gd name="connsiteY21" fmla="*/ 330994 h 1204913"/>
                  <a:gd name="connsiteX22" fmla="*/ 1314450 w 1562100"/>
                  <a:gd name="connsiteY22" fmla="*/ 328613 h 1204913"/>
                  <a:gd name="connsiteX23" fmla="*/ 1409700 w 1562100"/>
                  <a:gd name="connsiteY23" fmla="*/ 247651 h 1204913"/>
                  <a:gd name="connsiteX24" fmla="*/ 1414463 w 1562100"/>
                  <a:gd name="connsiteY24" fmla="*/ 228601 h 1204913"/>
                  <a:gd name="connsiteX25" fmla="*/ 1507331 w 1562100"/>
                  <a:gd name="connsiteY25" fmla="*/ 173832 h 1204913"/>
                  <a:gd name="connsiteX26" fmla="*/ 1543050 w 1562100"/>
                  <a:gd name="connsiteY26" fmla="*/ 128588 h 1204913"/>
                  <a:gd name="connsiteX27" fmla="*/ 1562100 w 1562100"/>
                  <a:gd name="connsiteY27" fmla="*/ 90488 h 1204913"/>
                  <a:gd name="connsiteX28" fmla="*/ 1512094 w 1562100"/>
                  <a:gd name="connsiteY28" fmla="*/ 109538 h 1204913"/>
                  <a:gd name="connsiteX29" fmla="*/ 1478756 w 1562100"/>
                  <a:gd name="connsiteY29" fmla="*/ 109538 h 1204913"/>
                  <a:gd name="connsiteX30" fmla="*/ 1452563 w 1562100"/>
                  <a:gd name="connsiteY30" fmla="*/ 147638 h 1204913"/>
                  <a:gd name="connsiteX31" fmla="*/ 1421606 w 1562100"/>
                  <a:gd name="connsiteY31" fmla="*/ 145257 h 1204913"/>
                  <a:gd name="connsiteX32" fmla="*/ 1366838 w 1562100"/>
                  <a:gd name="connsiteY32" fmla="*/ 114301 h 1204913"/>
                  <a:gd name="connsiteX33" fmla="*/ 1323975 w 1562100"/>
                  <a:gd name="connsiteY33" fmla="*/ 102394 h 1204913"/>
                  <a:gd name="connsiteX34" fmla="*/ 1238250 w 1562100"/>
                  <a:gd name="connsiteY34" fmla="*/ 138113 h 1204913"/>
                  <a:gd name="connsiteX35" fmla="*/ 1223963 w 1562100"/>
                  <a:gd name="connsiteY35" fmla="*/ 176213 h 1204913"/>
                  <a:gd name="connsiteX36" fmla="*/ 1195388 w 1562100"/>
                  <a:gd name="connsiteY36" fmla="*/ 233363 h 1204913"/>
                  <a:gd name="connsiteX37" fmla="*/ 1109663 w 1562100"/>
                  <a:gd name="connsiteY37" fmla="*/ 195263 h 1204913"/>
                  <a:gd name="connsiteX38" fmla="*/ 1097756 w 1562100"/>
                  <a:gd name="connsiteY38" fmla="*/ 238126 h 1204913"/>
                  <a:gd name="connsiteX39" fmla="*/ 1083469 w 1562100"/>
                  <a:gd name="connsiteY39" fmla="*/ 271463 h 1204913"/>
                  <a:gd name="connsiteX40" fmla="*/ 959644 w 1562100"/>
                  <a:gd name="connsiteY40" fmla="*/ 302419 h 1204913"/>
                  <a:gd name="connsiteX41" fmla="*/ 945356 w 1562100"/>
                  <a:gd name="connsiteY41" fmla="*/ 297657 h 1204913"/>
                  <a:gd name="connsiteX42" fmla="*/ 926306 w 1562100"/>
                  <a:gd name="connsiteY42" fmla="*/ 319088 h 1204913"/>
                  <a:gd name="connsiteX43" fmla="*/ 890588 w 1562100"/>
                  <a:gd name="connsiteY43" fmla="*/ 326232 h 1204913"/>
                  <a:gd name="connsiteX44" fmla="*/ 854869 w 1562100"/>
                  <a:gd name="connsiteY44" fmla="*/ 276226 h 1204913"/>
                  <a:gd name="connsiteX45" fmla="*/ 835819 w 1562100"/>
                  <a:gd name="connsiteY45" fmla="*/ 264319 h 1204913"/>
                  <a:gd name="connsiteX46" fmla="*/ 826294 w 1562100"/>
                  <a:gd name="connsiteY46" fmla="*/ 219076 h 1204913"/>
                  <a:gd name="connsiteX47" fmla="*/ 792956 w 1562100"/>
                  <a:gd name="connsiteY47" fmla="*/ 202407 h 1204913"/>
                  <a:gd name="connsiteX48" fmla="*/ 759619 w 1562100"/>
                  <a:gd name="connsiteY48" fmla="*/ 195263 h 1204913"/>
                  <a:gd name="connsiteX49" fmla="*/ 740569 w 1562100"/>
                  <a:gd name="connsiteY49" fmla="*/ 190501 h 1204913"/>
                  <a:gd name="connsiteX50" fmla="*/ 728663 w 1562100"/>
                  <a:gd name="connsiteY50" fmla="*/ 180976 h 1204913"/>
                  <a:gd name="connsiteX51" fmla="*/ 735806 w 1562100"/>
                  <a:gd name="connsiteY51" fmla="*/ 154782 h 1204913"/>
                  <a:gd name="connsiteX52" fmla="*/ 742950 w 1562100"/>
                  <a:gd name="connsiteY52" fmla="*/ 130969 h 1204913"/>
                  <a:gd name="connsiteX53" fmla="*/ 700088 w 1562100"/>
                  <a:gd name="connsiteY53" fmla="*/ 80963 h 1204913"/>
                  <a:gd name="connsiteX54" fmla="*/ 314326 w 1562100"/>
                  <a:gd name="connsiteY54" fmla="*/ 0 h 1204913"/>
                  <a:gd name="connsiteX55" fmla="*/ 328613 w 1562100"/>
                  <a:gd name="connsiteY55" fmla="*/ 78582 h 1204913"/>
                  <a:gd name="connsiteX56" fmla="*/ 292894 w 1562100"/>
                  <a:gd name="connsiteY56" fmla="*/ 180976 h 1204913"/>
                  <a:gd name="connsiteX57" fmla="*/ 264319 w 1562100"/>
                  <a:gd name="connsiteY57" fmla="*/ 188119 h 1204913"/>
                  <a:gd name="connsiteX58" fmla="*/ 261938 w 1562100"/>
                  <a:gd name="connsiteY58" fmla="*/ 202407 h 1204913"/>
                  <a:gd name="connsiteX59" fmla="*/ 261938 w 1562100"/>
                  <a:gd name="connsiteY59" fmla="*/ 235744 h 1204913"/>
                  <a:gd name="connsiteX60" fmla="*/ 228600 w 1562100"/>
                  <a:gd name="connsiteY60" fmla="*/ 278607 h 1204913"/>
                  <a:gd name="connsiteX61" fmla="*/ 271463 w 1562100"/>
                  <a:gd name="connsiteY61" fmla="*/ 295276 h 1204913"/>
                  <a:gd name="connsiteX62" fmla="*/ 278606 w 1562100"/>
                  <a:gd name="connsiteY62" fmla="*/ 314326 h 1204913"/>
                  <a:gd name="connsiteX63" fmla="*/ 257175 w 1562100"/>
                  <a:gd name="connsiteY63" fmla="*/ 350044 h 1204913"/>
                  <a:gd name="connsiteX64" fmla="*/ 221456 w 1562100"/>
                  <a:gd name="connsiteY64" fmla="*/ 359569 h 1204913"/>
                  <a:gd name="connsiteX65" fmla="*/ 221456 w 1562100"/>
                  <a:gd name="connsiteY65" fmla="*/ 400051 h 1204913"/>
                  <a:gd name="connsiteX66" fmla="*/ 254794 w 1562100"/>
                  <a:gd name="connsiteY66" fmla="*/ 438151 h 1204913"/>
                  <a:gd name="connsiteX67" fmla="*/ 226219 w 1562100"/>
                  <a:gd name="connsiteY67" fmla="*/ 502444 h 1204913"/>
                  <a:gd name="connsiteX68" fmla="*/ 180975 w 1562100"/>
                  <a:gd name="connsiteY68" fmla="*/ 531019 h 1204913"/>
                  <a:gd name="connsiteX69" fmla="*/ 183356 w 1562100"/>
                  <a:gd name="connsiteY69" fmla="*/ 547688 h 1204913"/>
                  <a:gd name="connsiteX70" fmla="*/ 204788 w 1562100"/>
                  <a:gd name="connsiteY70" fmla="*/ 557213 h 1204913"/>
                  <a:gd name="connsiteX71" fmla="*/ 219075 w 1562100"/>
                  <a:gd name="connsiteY71" fmla="*/ 566738 h 1204913"/>
                  <a:gd name="connsiteX72" fmla="*/ 223838 w 1562100"/>
                  <a:gd name="connsiteY72" fmla="*/ 585788 h 1204913"/>
                  <a:gd name="connsiteX73" fmla="*/ 195263 w 1562100"/>
                  <a:gd name="connsiteY73" fmla="*/ 611982 h 1204913"/>
                  <a:gd name="connsiteX74" fmla="*/ 123825 w 1562100"/>
                  <a:gd name="connsiteY74" fmla="*/ 657226 h 1204913"/>
                  <a:gd name="connsiteX75" fmla="*/ 123825 w 1562100"/>
                  <a:gd name="connsiteY75" fmla="*/ 692944 h 1204913"/>
                  <a:gd name="connsiteX76" fmla="*/ 135731 w 1562100"/>
                  <a:gd name="connsiteY76" fmla="*/ 723901 h 1204913"/>
                  <a:gd name="connsiteX77" fmla="*/ 123825 w 1562100"/>
                  <a:gd name="connsiteY77" fmla="*/ 764382 h 1204913"/>
                  <a:gd name="connsiteX78" fmla="*/ 76200 w 1562100"/>
                  <a:gd name="connsiteY78" fmla="*/ 759619 h 1204913"/>
                  <a:gd name="connsiteX79" fmla="*/ 52388 w 1562100"/>
                  <a:gd name="connsiteY79" fmla="*/ 704851 h 1204913"/>
                  <a:gd name="connsiteX80" fmla="*/ 33338 w 1562100"/>
                  <a:gd name="connsiteY80" fmla="*/ 697707 h 1204913"/>
                  <a:gd name="connsiteX81" fmla="*/ 23813 w 1562100"/>
                  <a:gd name="connsiteY81" fmla="*/ 735807 h 1204913"/>
                  <a:gd name="connsiteX82" fmla="*/ 21431 w 1562100"/>
                  <a:gd name="connsiteY82" fmla="*/ 745332 h 1204913"/>
                  <a:gd name="connsiteX83" fmla="*/ 7144 w 1562100"/>
                  <a:gd name="connsiteY83" fmla="*/ 762001 h 1204913"/>
                  <a:gd name="connsiteX84" fmla="*/ 0 w 1562100"/>
                  <a:gd name="connsiteY84" fmla="*/ 819151 h 1204913"/>
                  <a:gd name="connsiteX85" fmla="*/ 23813 w 1562100"/>
                  <a:gd name="connsiteY85" fmla="*/ 847726 h 1204913"/>
                  <a:gd name="connsiteX86" fmla="*/ 16669 w 1562100"/>
                  <a:gd name="connsiteY86" fmla="*/ 888207 h 1204913"/>
                  <a:gd name="connsiteX87" fmla="*/ 35719 w 1562100"/>
                  <a:gd name="connsiteY87" fmla="*/ 892969 h 1204913"/>
                  <a:gd name="connsiteX88" fmla="*/ 69056 w 1562100"/>
                  <a:gd name="connsiteY88" fmla="*/ 892969 h 1204913"/>
                  <a:gd name="connsiteX89" fmla="*/ 85725 w 1562100"/>
                  <a:gd name="connsiteY89" fmla="*/ 883444 h 1204913"/>
                  <a:gd name="connsiteX90" fmla="*/ 135731 w 1562100"/>
                  <a:gd name="connsiteY90" fmla="*/ 940594 h 1204913"/>
                  <a:gd name="connsiteX91" fmla="*/ 123825 w 1562100"/>
                  <a:gd name="connsiteY91" fmla="*/ 959644 h 1204913"/>
                  <a:gd name="connsiteX92" fmla="*/ 133350 w 1562100"/>
                  <a:gd name="connsiteY92" fmla="*/ 988219 h 1204913"/>
                  <a:gd name="connsiteX93" fmla="*/ 164306 w 1562100"/>
                  <a:gd name="connsiteY93" fmla="*/ 1007269 h 1204913"/>
                  <a:gd name="connsiteX94" fmla="*/ 190500 w 1562100"/>
                  <a:gd name="connsiteY94" fmla="*/ 1016794 h 1204913"/>
                  <a:gd name="connsiteX95" fmla="*/ 216694 w 1562100"/>
                  <a:gd name="connsiteY95" fmla="*/ 1023938 h 1204913"/>
                  <a:gd name="connsiteX96" fmla="*/ 228600 w 1562100"/>
                  <a:gd name="connsiteY96" fmla="*/ 1026319 h 1204913"/>
                  <a:gd name="connsiteX97" fmla="*/ 240506 w 1562100"/>
                  <a:gd name="connsiteY97" fmla="*/ 988219 h 1204913"/>
                  <a:gd name="connsiteX98" fmla="*/ 269081 w 1562100"/>
                  <a:gd name="connsiteY98" fmla="*/ 992982 h 1204913"/>
                  <a:gd name="connsiteX99" fmla="*/ 288131 w 1562100"/>
                  <a:gd name="connsiteY99" fmla="*/ 981076 h 1204913"/>
                  <a:gd name="connsiteX100" fmla="*/ 307181 w 1562100"/>
                  <a:gd name="connsiteY100" fmla="*/ 1031082 h 1204913"/>
                  <a:gd name="connsiteX101" fmla="*/ 330994 w 1562100"/>
                  <a:gd name="connsiteY101" fmla="*/ 1045369 h 1204913"/>
                  <a:gd name="connsiteX102" fmla="*/ 340519 w 1562100"/>
                  <a:gd name="connsiteY102" fmla="*/ 1073944 h 1204913"/>
                  <a:gd name="connsiteX103" fmla="*/ 357188 w 1562100"/>
                  <a:gd name="connsiteY103" fmla="*/ 1083469 h 1204913"/>
                  <a:gd name="connsiteX104" fmla="*/ 364331 w 1562100"/>
                  <a:gd name="connsiteY104" fmla="*/ 1114426 h 1204913"/>
                  <a:gd name="connsiteX105" fmla="*/ 335756 w 1562100"/>
                  <a:gd name="connsiteY105" fmla="*/ 1140619 h 1204913"/>
                  <a:gd name="connsiteX106" fmla="*/ 309563 w 1562100"/>
                  <a:gd name="connsiteY106" fmla="*/ 1157288 h 1204913"/>
                  <a:gd name="connsiteX107" fmla="*/ 297656 w 1562100"/>
                  <a:gd name="connsiteY107" fmla="*/ 1181101 h 1204913"/>
                  <a:gd name="connsiteX108" fmla="*/ 302419 w 1562100"/>
                  <a:gd name="connsiteY108" fmla="*/ 1204913 h 1204913"/>
                  <a:gd name="connsiteX109" fmla="*/ 342900 w 1562100"/>
                  <a:gd name="connsiteY109" fmla="*/ 1204913 h 1204913"/>
                  <a:gd name="connsiteX110" fmla="*/ 390525 w 1562100"/>
                  <a:gd name="connsiteY110" fmla="*/ 1200151 h 1204913"/>
                  <a:gd name="connsiteX111" fmla="*/ 428625 w 1562100"/>
                  <a:gd name="connsiteY111" fmla="*/ 1190626 h 1204913"/>
                  <a:gd name="connsiteX112" fmla="*/ 454819 w 1562100"/>
                  <a:gd name="connsiteY112" fmla="*/ 1197769 h 1204913"/>
                  <a:gd name="connsiteX113" fmla="*/ 473869 w 1562100"/>
                  <a:gd name="connsiteY113" fmla="*/ 1176338 h 1204913"/>
                  <a:gd name="connsiteX114" fmla="*/ 492919 w 1562100"/>
                  <a:gd name="connsiteY114" fmla="*/ 1176338 h 1204913"/>
                  <a:gd name="connsiteX115" fmla="*/ 507206 w 1562100"/>
                  <a:gd name="connsiteY115" fmla="*/ 1145382 h 1204913"/>
                  <a:gd name="connsiteX116" fmla="*/ 557213 w 1562100"/>
                  <a:gd name="connsiteY116" fmla="*/ 1131094 h 1204913"/>
                  <a:gd name="connsiteX117" fmla="*/ 583406 w 1562100"/>
                  <a:gd name="connsiteY117" fmla="*/ 1112044 h 1204913"/>
                  <a:gd name="connsiteX118" fmla="*/ 590550 w 1562100"/>
                  <a:gd name="connsiteY118" fmla="*/ 1073944 h 1204913"/>
                  <a:gd name="connsiteX119" fmla="*/ 607219 w 1562100"/>
                  <a:gd name="connsiteY119" fmla="*/ 1047751 h 1204913"/>
                  <a:gd name="connsiteX120" fmla="*/ 688181 w 1562100"/>
                  <a:gd name="connsiteY120" fmla="*/ 1078707 h 1204913"/>
                  <a:gd name="connsiteX0" fmla="*/ 688181 w 1562100"/>
                  <a:gd name="connsiteY0" fmla="*/ 1078707 h 1204913"/>
                  <a:gd name="connsiteX1" fmla="*/ 688181 w 1562100"/>
                  <a:gd name="connsiteY1" fmla="*/ 992982 h 1204913"/>
                  <a:gd name="connsiteX2" fmla="*/ 692944 w 1562100"/>
                  <a:gd name="connsiteY2" fmla="*/ 950119 h 1204913"/>
                  <a:gd name="connsiteX3" fmla="*/ 692944 w 1562100"/>
                  <a:gd name="connsiteY3" fmla="*/ 904876 h 1204913"/>
                  <a:gd name="connsiteX4" fmla="*/ 676275 w 1562100"/>
                  <a:gd name="connsiteY4" fmla="*/ 881063 h 1204913"/>
                  <a:gd name="connsiteX5" fmla="*/ 690563 w 1562100"/>
                  <a:gd name="connsiteY5" fmla="*/ 828676 h 1204913"/>
                  <a:gd name="connsiteX6" fmla="*/ 685800 w 1562100"/>
                  <a:gd name="connsiteY6" fmla="*/ 802482 h 1204913"/>
                  <a:gd name="connsiteX7" fmla="*/ 697706 w 1562100"/>
                  <a:gd name="connsiteY7" fmla="*/ 757238 h 1204913"/>
                  <a:gd name="connsiteX8" fmla="*/ 714375 w 1562100"/>
                  <a:gd name="connsiteY8" fmla="*/ 733426 h 1204913"/>
                  <a:gd name="connsiteX9" fmla="*/ 721519 w 1562100"/>
                  <a:gd name="connsiteY9" fmla="*/ 700088 h 1204913"/>
                  <a:gd name="connsiteX10" fmla="*/ 735806 w 1562100"/>
                  <a:gd name="connsiteY10" fmla="*/ 681038 h 1204913"/>
                  <a:gd name="connsiteX11" fmla="*/ 792956 w 1562100"/>
                  <a:gd name="connsiteY11" fmla="*/ 671513 h 1204913"/>
                  <a:gd name="connsiteX12" fmla="*/ 838200 w 1562100"/>
                  <a:gd name="connsiteY12" fmla="*/ 654844 h 1204913"/>
                  <a:gd name="connsiteX13" fmla="*/ 876300 w 1562100"/>
                  <a:gd name="connsiteY13" fmla="*/ 614363 h 1204913"/>
                  <a:gd name="connsiteX14" fmla="*/ 923925 w 1562100"/>
                  <a:gd name="connsiteY14" fmla="*/ 600076 h 1204913"/>
                  <a:gd name="connsiteX15" fmla="*/ 995363 w 1562100"/>
                  <a:gd name="connsiteY15" fmla="*/ 595313 h 1204913"/>
                  <a:gd name="connsiteX16" fmla="*/ 1040606 w 1562100"/>
                  <a:gd name="connsiteY16" fmla="*/ 585788 h 1204913"/>
                  <a:gd name="connsiteX17" fmla="*/ 1119188 w 1562100"/>
                  <a:gd name="connsiteY17" fmla="*/ 478632 h 1204913"/>
                  <a:gd name="connsiteX18" fmla="*/ 1126331 w 1562100"/>
                  <a:gd name="connsiteY18" fmla="*/ 445294 h 1204913"/>
                  <a:gd name="connsiteX19" fmla="*/ 1152525 w 1562100"/>
                  <a:gd name="connsiteY19" fmla="*/ 416719 h 1204913"/>
                  <a:gd name="connsiteX20" fmla="*/ 1197769 w 1562100"/>
                  <a:gd name="connsiteY20" fmla="*/ 407194 h 1204913"/>
                  <a:gd name="connsiteX21" fmla="*/ 1290638 w 1562100"/>
                  <a:gd name="connsiteY21" fmla="*/ 330994 h 1204913"/>
                  <a:gd name="connsiteX22" fmla="*/ 1314450 w 1562100"/>
                  <a:gd name="connsiteY22" fmla="*/ 328613 h 1204913"/>
                  <a:gd name="connsiteX23" fmla="*/ 1409700 w 1562100"/>
                  <a:gd name="connsiteY23" fmla="*/ 247651 h 1204913"/>
                  <a:gd name="connsiteX24" fmla="*/ 1414463 w 1562100"/>
                  <a:gd name="connsiteY24" fmla="*/ 228601 h 1204913"/>
                  <a:gd name="connsiteX25" fmla="*/ 1507331 w 1562100"/>
                  <a:gd name="connsiteY25" fmla="*/ 173832 h 1204913"/>
                  <a:gd name="connsiteX26" fmla="*/ 1543050 w 1562100"/>
                  <a:gd name="connsiteY26" fmla="*/ 128588 h 1204913"/>
                  <a:gd name="connsiteX27" fmla="*/ 1562100 w 1562100"/>
                  <a:gd name="connsiteY27" fmla="*/ 90488 h 1204913"/>
                  <a:gd name="connsiteX28" fmla="*/ 1512094 w 1562100"/>
                  <a:gd name="connsiteY28" fmla="*/ 109538 h 1204913"/>
                  <a:gd name="connsiteX29" fmla="*/ 1478756 w 1562100"/>
                  <a:gd name="connsiteY29" fmla="*/ 109538 h 1204913"/>
                  <a:gd name="connsiteX30" fmla="*/ 1452563 w 1562100"/>
                  <a:gd name="connsiteY30" fmla="*/ 147638 h 1204913"/>
                  <a:gd name="connsiteX31" fmla="*/ 1421606 w 1562100"/>
                  <a:gd name="connsiteY31" fmla="*/ 145257 h 1204913"/>
                  <a:gd name="connsiteX32" fmla="*/ 1366838 w 1562100"/>
                  <a:gd name="connsiteY32" fmla="*/ 114301 h 1204913"/>
                  <a:gd name="connsiteX33" fmla="*/ 1323975 w 1562100"/>
                  <a:gd name="connsiteY33" fmla="*/ 102394 h 1204913"/>
                  <a:gd name="connsiteX34" fmla="*/ 1238250 w 1562100"/>
                  <a:gd name="connsiteY34" fmla="*/ 138113 h 1204913"/>
                  <a:gd name="connsiteX35" fmla="*/ 1223963 w 1562100"/>
                  <a:gd name="connsiteY35" fmla="*/ 176213 h 1204913"/>
                  <a:gd name="connsiteX36" fmla="*/ 1195388 w 1562100"/>
                  <a:gd name="connsiteY36" fmla="*/ 233363 h 1204913"/>
                  <a:gd name="connsiteX37" fmla="*/ 1109663 w 1562100"/>
                  <a:gd name="connsiteY37" fmla="*/ 195263 h 1204913"/>
                  <a:gd name="connsiteX38" fmla="*/ 1097756 w 1562100"/>
                  <a:gd name="connsiteY38" fmla="*/ 238126 h 1204913"/>
                  <a:gd name="connsiteX39" fmla="*/ 1083469 w 1562100"/>
                  <a:gd name="connsiteY39" fmla="*/ 271463 h 1204913"/>
                  <a:gd name="connsiteX40" fmla="*/ 959644 w 1562100"/>
                  <a:gd name="connsiteY40" fmla="*/ 302419 h 1204913"/>
                  <a:gd name="connsiteX41" fmla="*/ 945356 w 1562100"/>
                  <a:gd name="connsiteY41" fmla="*/ 297657 h 1204913"/>
                  <a:gd name="connsiteX42" fmla="*/ 926306 w 1562100"/>
                  <a:gd name="connsiteY42" fmla="*/ 319088 h 1204913"/>
                  <a:gd name="connsiteX43" fmla="*/ 890588 w 1562100"/>
                  <a:gd name="connsiteY43" fmla="*/ 326232 h 1204913"/>
                  <a:gd name="connsiteX44" fmla="*/ 854869 w 1562100"/>
                  <a:gd name="connsiteY44" fmla="*/ 276226 h 1204913"/>
                  <a:gd name="connsiteX45" fmla="*/ 835819 w 1562100"/>
                  <a:gd name="connsiteY45" fmla="*/ 264319 h 1204913"/>
                  <a:gd name="connsiteX46" fmla="*/ 826294 w 1562100"/>
                  <a:gd name="connsiteY46" fmla="*/ 219076 h 1204913"/>
                  <a:gd name="connsiteX47" fmla="*/ 792956 w 1562100"/>
                  <a:gd name="connsiteY47" fmla="*/ 202407 h 1204913"/>
                  <a:gd name="connsiteX48" fmla="*/ 759619 w 1562100"/>
                  <a:gd name="connsiteY48" fmla="*/ 195263 h 1204913"/>
                  <a:gd name="connsiteX49" fmla="*/ 740569 w 1562100"/>
                  <a:gd name="connsiteY49" fmla="*/ 190501 h 1204913"/>
                  <a:gd name="connsiteX50" fmla="*/ 728663 w 1562100"/>
                  <a:gd name="connsiteY50" fmla="*/ 180976 h 1204913"/>
                  <a:gd name="connsiteX51" fmla="*/ 735806 w 1562100"/>
                  <a:gd name="connsiteY51" fmla="*/ 154782 h 1204913"/>
                  <a:gd name="connsiteX52" fmla="*/ 742950 w 1562100"/>
                  <a:gd name="connsiteY52" fmla="*/ 130969 h 1204913"/>
                  <a:gd name="connsiteX53" fmla="*/ 700088 w 1562100"/>
                  <a:gd name="connsiteY53" fmla="*/ 80963 h 1204913"/>
                  <a:gd name="connsiteX54" fmla="*/ 392906 w 1562100"/>
                  <a:gd name="connsiteY54" fmla="*/ 19051 h 1204913"/>
                  <a:gd name="connsiteX55" fmla="*/ 314326 w 1562100"/>
                  <a:gd name="connsiteY55" fmla="*/ 0 h 1204913"/>
                  <a:gd name="connsiteX56" fmla="*/ 328613 w 1562100"/>
                  <a:gd name="connsiteY56" fmla="*/ 78582 h 1204913"/>
                  <a:gd name="connsiteX57" fmla="*/ 292894 w 1562100"/>
                  <a:gd name="connsiteY57" fmla="*/ 180976 h 1204913"/>
                  <a:gd name="connsiteX58" fmla="*/ 264319 w 1562100"/>
                  <a:gd name="connsiteY58" fmla="*/ 188119 h 1204913"/>
                  <a:gd name="connsiteX59" fmla="*/ 261938 w 1562100"/>
                  <a:gd name="connsiteY59" fmla="*/ 202407 h 1204913"/>
                  <a:gd name="connsiteX60" fmla="*/ 261938 w 1562100"/>
                  <a:gd name="connsiteY60" fmla="*/ 235744 h 1204913"/>
                  <a:gd name="connsiteX61" fmla="*/ 228600 w 1562100"/>
                  <a:gd name="connsiteY61" fmla="*/ 278607 h 1204913"/>
                  <a:gd name="connsiteX62" fmla="*/ 271463 w 1562100"/>
                  <a:gd name="connsiteY62" fmla="*/ 295276 h 1204913"/>
                  <a:gd name="connsiteX63" fmla="*/ 278606 w 1562100"/>
                  <a:gd name="connsiteY63" fmla="*/ 314326 h 1204913"/>
                  <a:gd name="connsiteX64" fmla="*/ 257175 w 1562100"/>
                  <a:gd name="connsiteY64" fmla="*/ 350044 h 1204913"/>
                  <a:gd name="connsiteX65" fmla="*/ 221456 w 1562100"/>
                  <a:gd name="connsiteY65" fmla="*/ 359569 h 1204913"/>
                  <a:gd name="connsiteX66" fmla="*/ 221456 w 1562100"/>
                  <a:gd name="connsiteY66" fmla="*/ 400051 h 1204913"/>
                  <a:gd name="connsiteX67" fmla="*/ 254794 w 1562100"/>
                  <a:gd name="connsiteY67" fmla="*/ 438151 h 1204913"/>
                  <a:gd name="connsiteX68" fmla="*/ 226219 w 1562100"/>
                  <a:gd name="connsiteY68" fmla="*/ 502444 h 1204913"/>
                  <a:gd name="connsiteX69" fmla="*/ 180975 w 1562100"/>
                  <a:gd name="connsiteY69" fmla="*/ 531019 h 1204913"/>
                  <a:gd name="connsiteX70" fmla="*/ 183356 w 1562100"/>
                  <a:gd name="connsiteY70" fmla="*/ 547688 h 1204913"/>
                  <a:gd name="connsiteX71" fmla="*/ 204788 w 1562100"/>
                  <a:gd name="connsiteY71" fmla="*/ 557213 h 1204913"/>
                  <a:gd name="connsiteX72" fmla="*/ 219075 w 1562100"/>
                  <a:gd name="connsiteY72" fmla="*/ 566738 h 1204913"/>
                  <a:gd name="connsiteX73" fmla="*/ 223838 w 1562100"/>
                  <a:gd name="connsiteY73" fmla="*/ 585788 h 1204913"/>
                  <a:gd name="connsiteX74" fmla="*/ 195263 w 1562100"/>
                  <a:gd name="connsiteY74" fmla="*/ 611982 h 1204913"/>
                  <a:gd name="connsiteX75" fmla="*/ 123825 w 1562100"/>
                  <a:gd name="connsiteY75" fmla="*/ 657226 h 1204913"/>
                  <a:gd name="connsiteX76" fmla="*/ 123825 w 1562100"/>
                  <a:gd name="connsiteY76" fmla="*/ 692944 h 1204913"/>
                  <a:gd name="connsiteX77" fmla="*/ 135731 w 1562100"/>
                  <a:gd name="connsiteY77" fmla="*/ 723901 h 1204913"/>
                  <a:gd name="connsiteX78" fmla="*/ 123825 w 1562100"/>
                  <a:gd name="connsiteY78" fmla="*/ 764382 h 1204913"/>
                  <a:gd name="connsiteX79" fmla="*/ 76200 w 1562100"/>
                  <a:gd name="connsiteY79" fmla="*/ 759619 h 1204913"/>
                  <a:gd name="connsiteX80" fmla="*/ 52388 w 1562100"/>
                  <a:gd name="connsiteY80" fmla="*/ 704851 h 1204913"/>
                  <a:gd name="connsiteX81" fmla="*/ 33338 w 1562100"/>
                  <a:gd name="connsiteY81" fmla="*/ 697707 h 1204913"/>
                  <a:gd name="connsiteX82" fmla="*/ 23813 w 1562100"/>
                  <a:gd name="connsiteY82" fmla="*/ 735807 h 1204913"/>
                  <a:gd name="connsiteX83" fmla="*/ 21431 w 1562100"/>
                  <a:gd name="connsiteY83" fmla="*/ 745332 h 1204913"/>
                  <a:gd name="connsiteX84" fmla="*/ 7144 w 1562100"/>
                  <a:gd name="connsiteY84" fmla="*/ 762001 h 1204913"/>
                  <a:gd name="connsiteX85" fmla="*/ 0 w 1562100"/>
                  <a:gd name="connsiteY85" fmla="*/ 819151 h 1204913"/>
                  <a:gd name="connsiteX86" fmla="*/ 23813 w 1562100"/>
                  <a:gd name="connsiteY86" fmla="*/ 847726 h 1204913"/>
                  <a:gd name="connsiteX87" fmla="*/ 16669 w 1562100"/>
                  <a:gd name="connsiteY87" fmla="*/ 888207 h 1204913"/>
                  <a:gd name="connsiteX88" fmla="*/ 35719 w 1562100"/>
                  <a:gd name="connsiteY88" fmla="*/ 892969 h 1204913"/>
                  <a:gd name="connsiteX89" fmla="*/ 69056 w 1562100"/>
                  <a:gd name="connsiteY89" fmla="*/ 892969 h 1204913"/>
                  <a:gd name="connsiteX90" fmla="*/ 85725 w 1562100"/>
                  <a:gd name="connsiteY90" fmla="*/ 883444 h 1204913"/>
                  <a:gd name="connsiteX91" fmla="*/ 135731 w 1562100"/>
                  <a:gd name="connsiteY91" fmla="*/ 940594 h 1204913"/>
                  <a:gd name="connsiteX92" fmla="*/ 123825 w 1562100"/>
                  <a:gd name="connsiteY92" fmla="*/ 959644 h 1204913"/>
                  <a:gd name="connsiteX93" fmla="*/ 133350 w 1562100"/>
                  <a:gd name="connsiteY93" fmla="*/ 988219 h 1204913"/>
                  <a:gd name="connsiteX94" fmla="*/ 164306 w 1562100"/>
                  <a:gd name="connsiteY94" fmla="*/ 1007269 h 1204913"/>
                  <a:gd name="connsiteX95" fmla="*/ 190500 w 1562100"/>
                  <a:gd name="connsiteY95" fmla="*/ 1016794 h 1204913"/>
                  <a:gd name="connsiteX96" fmla="*/ 216694 w 1562100"/>
                  <a:gd name="connsiteY96" fmla="*/ 1023938 h 1204913"/>
                  <a:gd name="connsiteX97" fmla="*/ 228600 w 1562100"/>
                  <a:gd name="connsiteY97" fmla="*/ 1026319 h 1204913"/>
                  <a:gd name="connsiteX98" fmla="*/ 240506 w 1562100"/>
                  <a:gd name="connsiteY98" fmla="*/ 988219 h 1204913"/>
                  <a:gd name="connsiteX99" fmla="*/ 269081 w 1562100"/>
                  <a:gd name="connsiteY99" fmla="*/ 992982 h 1204913"/>
                  <a:gd name="connsiteX100" fmla="*/ 288131 w 1562100"/>
                  <a:gd name="connsiteY100" fmla="*/ 981076 h 1204913"/>
                  <a:gd name="connsiteX101" fmla="*/ 307181 w 1562100"/>
                  <a:gd name="connsiteY101" fmla="*/ 1031082 h 1204913"/>
                  <a:gd name="connsiteX102" fmla="*/ 330994 w 1562100"/>
                  <a:gd name="connsiteY102" fmla="*/ 1045369 h 1204913"/>
                  <a:gd name="connsiteX103" fmla="*/ 340519 w 1562100"/>
                  <a:gd name="connsiteY103" fmla="*/ 1073944 h 1204913"/>
                  <a:gd name="connsiteX104" fmla="*/ 357188 w 1562100"/>
                  <a:gd name="connsiteY104" fmla="*/ 1083469 h 1204913"/>
                  <a:gd name="connsiteX105" fmla="*/ 364331 w 1562100"/>
                  <a:gd name="connsiteY105" fmla="*/ 1114426 h 1204913"/>
                  <a:gd name="connsiteX106" fmla="*/ 335756 w 1562100"/>
                  <a:gd name="connsiteY106" fmla="*/ 1140619 h 1204913"/>
                  <a:gd name="connsiteX107" fmla="*/ 309563 w 1562100"/>
                  <a:gd name="connsiteY107" fmla="*/ 1157288 h 1204913"/>
                  <a:gd name="connsiteX108" fmla="*/ 297656 w 1562100"/>
                  <a:gd name="connsiteY108" fmla="*/ 1181101 h 1204913"/>
                  <a:gd name="connsiteX109" fmla="*/ 302419 w 1562100"/>
                  <a:gd name="connsiteY109" fmla="*/ 1204913 h 1204913"/>
                  <a:gd name="connsiteX110" fmla="*/ 342900 w 1562100"/>
                  <a:gd name="connsiteY110" fmla="*/ 1204913 h 1204913"/>
                  <a:gd name="connsiteX111" fmla="*/ 390525 w 1562100"/>
                  <a:gd name="connsiteY111" fmla="*/ 1200151 h 1204913"/>
                  <a:gd name="connsiteX112" fmla="*/ 428625 w 1562100"/>
                  <a:gd name="connsiteY112" fmla="*/ 1190626 h 1204913"/>
                  <a:gd name="connsiteX113" fmla="*/ 454819 w 1562100"/>
                  <a:gd name="connsiteY113" fmla="*/ 1197769 h 1204913"/>
                  <a:gd name="connsiteX114" fmla="*/ 473869 w 1562100"/>
                  <a:gd name="connsiteY114" fmla="*/ 1176338 h 1204913"/>
                  <a:gd name="connsiteX115" fmla="*/ 492919 w 1562100"/>
                  <a:gd name="connsiteY115" fmla="*/ 1176338 h 1204913"/>
                  <a:gd name="connsiteX116" fmla="*/ 507206 w 1562100"/>
                  <a:gd name="connsiteY116" fmla="*/ 1145382 h 1204913"/>
                  <a:gd name="connsiteX117" fmla="*/ 557213 w 1562100"/>
                  <a:gd name="connsiteY117" fmla="*/ 1131094 h 1204913"/>
                  <a:gd name="connsiteX118" fmla="*/ 583406 w 1562100"/>
                  <a:gd name="connsiteY118" fmla="*/ 1112044 h 1204913"/>
                  <a:gd name="connsiteX119" fmla="*/ 590550 w 1562100"/>
                  <a:gd name="connsiteY119" fmla="*/ 1073944 h 1204913"/>
                  <a:gd name="connsiteX120" fmla="*/ 607219 w 1562100"/>
                  <a:gd name="connsiteY120" fmla="*/ 1047751 h 1204913"/>
                  <a:gd name="connsiteX121" fmla="*/ 688181 w 1562100"/>
                  <a:gd name="connsiteY121" fmla="*/ 1078707 h 1204913"/>
                  <a:gd name="connsiteX0" fmla="*/ 688181 w 1562100"/>
                  <a:gd name="connsiteY0" fmla="*/ 1078707 h 1204913"/>
                  <a:gd name="connsiteX1" fmla="*/ 688181 w 1562100"/>
                  <a:gd name="connsiteY1" fmla="*/ 992982 h 1204913"/>
                  <a:gd name="connsiteX2" fmla="*/ 692944 w 1562100"/>
                  <a:gd name="connsiteY2" fmla="*/ 950119 h 1204913"/>
                  <a:gd name="connsiteX3" fmla="*/ 692944 w 1562100"/>
                  <a:gd name="connsiteY3" fmla="*/ 904876 h 1204913"/>
                  <a:gd name="connsiteX4" fmla="*/ 676275 w 1562100"/>
                  <a:gd name="connsiteY4" fmla="*/ 881063 h 1204913"/>
                  <a:gd name="connsiteX5" fmla="*/ 690563 w 1562100"/>
                  <a:gd name="connsiteY5" fmla="*/ 828676 h 1204913"/>
                  <a:gd name="connsiteX6" fmla="*/ 685800 w 1562100"/>
                  <a:gd name="connsiteY6" fmla="*/ 802482 h 1204913"/>
                  <a:gd name="connsiteX7" fmla="*/ 697706 w 1562100"/>
                  <a:gd name="connsiteY7" fmla="*/ 757238 h 1204913"/>
                  <a:gd name="connsiteX8" fmla="*/ 714375 w 1562100"/>
                  <a:gd name="connsiteY8" fmla="*/ 733426 h 1204913"/>
                  <a:gd name="connsiteX9" fmla="*/ 721519 w 1562100"/>
                  <a:gd name="connsiteY9" fmla="*/ 700088 h 1204913"/>
                  <a:gd name="connsiteX10" fmla="*/ 735806 w 1562100"/>
                  <a:gd name="connsiteY10" fmla="*/ 681038 h 1204913"/>
                  <a:gd name="connsiteX11" fmla="*/ 792956 w 1562100"/>
                  <a:gd name="connsiteY11" fmla="*/ 671513 h 1204913"/>
                  <a:gd name="connsiteX12" fmla="*/ 838200 w 1562100"/>
                  <a:gd name="connsiteY12" fmla="*/ 654844 h 1204913"/>
                  <a:gd name="connsiteX13" fmla="*/ 876300 w 1562100"/>
                  <a:gd name="connsiteY13" fmla="*/ 614363 h 1204913"/>
                  <a:gd name="connsiteX14" fmla="*/ 923925 w 1562100"/>
                  <a:gd name="connsiteY14" fmla="*/ 600076 h 1204913"/>
                  <a:gd name="connsiteX15" fmla="*/ 995363 w 1562100"/>
                  <a:gd name="connsiteY15" fmla="*/ 595313 h 1204913"/>
                  <a:gd name="connsiteX16" fmla="*/ 1040606 w 1562100"/>
                  <a:gd name="connsiteY16" fmla="*/ 585788 h 1204913"/>
                  <a:gd name="connsiteX17" fmla="*/ 1119188 w 1562100"/>
                  <a:gd name="connsiteY17" fmla="*/ 478632 h 1204913"/>
                  <a:gd name="connsiteX18" fmla="*/ 1126331 w 1562100"/>
                  <a:gd name="connsiteY18" fmla="*/ 445294 h 1204913"/>
                  <a:gd name="connsiteX19" fmla="*/ 1152525 w 1562100"/>
                  <a:gd name="connsiteY19" fmla="*/ 416719 h 1204913"/>
                  <a:gd name="connsiteX20" fmla="*/ 1197769 w 1562100"/>
                  <a:gd name="connsiteY20" fmla="*/ 407194 h 1204913"/>
                  <a:gd name="connsiteX21" fmla="*/ 1290638 w 1562100"/>
                  <a:gd name="connsiteY21" fmla="*/ 330994 h 1204913"/>
                  <a:gd name="connsiteX22" fmla="*/ 1314450 w 1562100"/>
                  <a:gd name="connsiteY22" fmla="*/ 328613 h 1204913"/>
                  <a:gd name="connsiteX23" fmla="*/ 1409700 w 1562100"/>
                  <a:gd name="connsiteY23" fmla="*/ 247651 h 1204913"/>
                  <a:gd name="connsiteX24" fmla="*/ 1414463 w 1562100"/>
                  <a:gd name="connsiteY24" fmla="*/ 228601 h 1204913"/>
                  <a:gd name="connsiteX25" fmla="*/ 1507331 w 1562100"/>
                  <a:gd name="connsiteY25" fmla="*/ 173832 h 1204913"/>
                  <a:gd name="connsiteX26" fmla="*/ 1543050 w 1562100"/>
                  <a:gd name="connsiteY26" fmla="*/ 128588 h 1204913"/>
                  <a:gd name="connsiteX27" fmla="*/ 1562100 w 1562100"/>
                  <a:gd name="connsiteY27" fmla="*/ 90488 h 1204913"/>
                  <a:gd name="connsiteX28" fmla="*/ 1512094 w 1562100"/>
                  <a:gd name="connsiteY28" fmla="*/ 109538 h 1204913"/>
                  <a:gd name="connsiteX29" fmla="*/ 1478756 w 1562100"/>
                  <a:gd name="connsiteY29" fmla="*/ 109538 h 1204913"/>
                  <a:gd name="connsiteX30" fmla="*/ 1452563 w 1562100"/>
                  <a:gd name="connsiteY30" fmla="*/ 147638 h 1204913"/>
                  <a:gd name="connsiteX31" fmla="*/ 1421606 w 1562100"/>
                  <a:gd name="connsiteY31" fmla="*/ 145257 h 1204913"/>
                  <a:gd name="connsiteX32" fmla="*/ 1366838 w 1562100"/>
                  <a:gd name="connsiteY32" fmla="*/ 114301 h 1204913"/>
                  <a:gd name="connsiteX33" fmla="*/ 1323975 w 1562100"/>
                  <a:gd name="connsiteY33" fmla="*/ 102394 h 1204913"/>
                  <a:gd name="connsiteX34" fmla="*/ 1238250 w 1562100"/>
                  <a:gd name="connsiteY34" fmla="*/ 138113 h 1204913"/>
                  <a:gd name="connsiteX35" fmla="*/ 1223963 w 1562100"/>
                  <a:gd name="connsiteY35" fmla="*/ 176213 h 1204913"/>
                  <a:gd name="connsiteX36" fmla="*/ 1195388 w 1562100"/>
                  <a:gd name="connsiteY36" fmla="*/ 233363 h 1204913"/>
                  <a:gd name="connsiteX37" fmla="*/ 1109663 w 1562100"/>
                  <a:gd name="connsiteY37" fmla="*/ 195263 h 1204913"/>
                  <a:gd name="connsiteX38" fmla="*/ 1097756 w 1562100"/>
                  <a:gd name="connsiteY38" fmla="*/ 238126 h 1204913"/>
                  <a:gd name="connsiteX39" fmla="*/ 1083469 w 1562100"/>
                  <a:gd name="connsiteY39" fmla="*/ 271463 h 1204913"/>
                  <a:gd name="connsiteX40" fmla="*/ 959644 w 1562100"/>
                  <a:gd name="connsiteY40" fmla="*/ 302419 h 1204913"/>
                  <a:gd name="connsiteX41" fmla="*/ 945356 w 1562100"/>
                  <a:gd name="connsiteY41" fmla="*/ 297657 h 1204913"/>
                  <a:gd name="connsiteX42" fmla="*/ 926306 w 1562100"/>
                  <a:gd name="connsiteY42" fmla="*/ 319088 h 1204913"/>
                  <a:gd name="connsiteX43" fmla="*/ 890588 w 1562100"/>
                  <a:gd name="connsiteY43" fmla="*/ 326232 h 1204913"/>
                  <a:gd name="connsiteX44" fmla="*/ 854869 w 1562100"/>
                  <a:gd name="connsiteY44" fmla="*/ 276226 h 1204913"/>
                  <a:gd name="connsiteX45" fmla="*/ 835819 w 1562100"/>
                  <a:gd name="connsiteY45" fmla="*/ 264319 h 1204913"/>
                  <a:gd name="connsiteX46" fmla="*/ 826294 w 1562100"/>
                  <a:gd name="connsiteY46" fmla="*/ 219076 h 1204913"/>
                  <a:gd name="connsiteX47" fmla="*/ 792956 w 1562100"/>
                  <a:gd name="connsiteY47" fmla="*/ 202407 h 1204913"/>
                  <a:gd name="connsiteX48" fmla="*/ 759619 w 1562100"/>
                  <a:gd name="connsiteY48" fmla="*/ 195263 h 1204913"/>
                  <a:gd name="connsiteX49" fmla="*/ 740569 w 1562100"/>
                  <a:gd name="connsiteY49" fmla="*/ 190501 h 1204913"/>
                  <a:gd name="connsiteX50" fmla="*/ 728663 w 1562100"/>
                  <a:gd name="connsiteY50" fmla="*/ 180976 h 1204913"/>
                  <a:gd name="connsiteX51" fmla="*/ 735806 w 1562100"/>
                  <a:gd name="connsiteY51" fmla="*/ 154782 h 1204913"/>
                  <a:gd name="connsiteX52" fmla="*/ 742950 w 1562100"/>
                  <a:gd name="connsiteY52" fmla="*/ 130969 h 1204913"/>
                  <a:gd name="connsiteX53" fmla="*/ 700088 w 1562100"/>
                  <a:gd name="connsiteY53" fmla="*/ 80963 h 1204913"/>
                  <a:gd name="connsiteX54" fmla="*/ 392906 w 1562100"/>
                  <a:gd name="connsiteY54" fmla="*/ 19051 h 1204913"/>
                  <a:gd name="connsiteX55" fmla="*/ 314326 w 1562100"/>
                  <a:gd name="connsiteY55" fmla="*/ 0 h 1204913"/>
                  <a:gd name="connsiteX56" fmla="*/ 328613 w 1562100"/>
                  <a:gd name="connsiteY56" fmla="*/ 78582 h 1204913"/>
                  <a:gd name="connsiteX57" fmla="*/ 292894 w 1562100"/>
                  <a:gd name="connsiteY57" fmla="*/ 180976 h 1204913"/>
                  <a:gd name="connsiteX58" fmla="*/ 264319 w 1562100"/>
                  <a:gd name="connsiteY58" fmla="*/ 188119 h 1204913"/>
                  <a:gd name="connsiteX59" fmla="*/ 261938 w 1562100"/>
                  <a:gd name="connsiteY59" fmla="*/ 202407 h 1204913"/>
                  <a:gd name="connsiteX60" fmla="*/ 261938 w 1562100"/>
                  <a:gd name="connsiteY60" fmla="*/ 235744 h 1204913"/>
                  <a:gd name="connsiteX61" fmla="*/ 228600 w 1562100"/>
                  <a:gd name="connsiteY61" fmla="*/ 278607 h 1204913"/>
                  <a:gd name="connsiteX62" fmla="*/ 271463 w 1562100"/>
                  <a:gd name="connsiteY62" fmla="*/ 295276 h 1204913"/>
                  <a:gd name="connsiteX63" fmla="*/ 278606 w 1562100"/>
                  <a:gd name="connsiteY63" fmla="*/ 314326 h 1204913"/>
                  <a:gd name="connsiteX64" fmla="*/ 257175 w 1562100"/>
                  <a:gd name="connsiteY64" fmla="*/ 350044 h 1204913"/>
                  <a:gd name="connsiteX65" fmla="*/ 221456 w 1562100"/>
                  <a:gd name="connsiteY65" fmla="*/ 359569 h 1204913"/>
                  <a:gd name="connsiteX66" fmla="*/ 221456 w 1562100"/>
                  <a:gd name="connsiteY66" fmla="*/ 400051 h 1204913"/>
                  <a:gd name="connsiteX67" fmla="*/ 254794 w 1562100"/>
                  <a:gd name="connsiteY67" fmla="*/ 438151 h 1204913"/>
                  <a:gd name="connsiteX68" fmla="*/ 226219 w 1562100"/>
                  <a:gd name="connsiteY68" fmla="*/ 502444 h 1204913"/>
                  <a:gd name="connsiteX69" fmla="*/ 180975 w 1562100"/>
                  <a:gd name="connsiteY69" fmla="*/ 531019 h 1204913"/>
                  <a:gd name="connsiteX70" fmla="*/ 183356 w 1562100"/>
                  <a:gd name="connsiteY70" fmla="*/ 547688 h 1204913"/>
                  <a:gd name="connsiteX71" fmla="*/ 204788 w 1562100"/>
                  <a:gd name="connsiteY71" fmla="*/ 557213 h 1204913"/>
                  <a:gd name="connsiteX72" fmla="*/ 219075 w 1562100"/>
                  <a:gd name="connsiteY72" fmla="*/ 566738 h 1204913"/>
                  <a:gd name="connsiteX73" fmla="*/ 223838 w 1562100"/>
                  <a:gd name="connsiteY73" fmla="*/ 585788 h 1204913"/>
                  <a:gd name="connsiteX74" fmla="*/ 195263 w 1562100"/>
                  <a:gd name="connsiteY74" fmla="*/ 611982 h 1204913"/>
                  <a:gd name="connsiteX75" fmla="*/ 123825 w 1562100"/>
                  <a:gd name="connsiteY75" fmla="*/ 657226 h 1204913"/>
                  <a:gd name="connsiteX76" fmla="*/ 123825 w 1562100"/>
                  <a:gd name="connsiteY76" fmla="*/ 692944 h 1204913"/>
                  <a:gd name="connsiteX77" fmla="*/ 135731 w 1562100"/>
                  <a:gd name="connsiteY77" fmla="*/ 723901 h 1204913"/>
                  <a:gd name="connsiteX78" fmla="*/ 123825 w 1562100"/>
                  <a:gd name="connsiteY78" fmla="*/ 764382 h 1204913"/>
                  <a:gd name="connsiteX79" fmla="*/ 76200 w 1562100"/>
                  <a:gd name="connsiteY79" fmla="*/ 759619 h 1204913"/>
                  <a:gd name="connsiteX80" fmla="*/ 52388 w 1562100"/>
                  <a:gd name="connsiteY80" fmla="*/ 704851 h 1204913"/>
                  <a:gd name="connsiteX81" fmla="*/ 33338 w 1562100"/>
                  <a:gd name="connsiteY81" fmla="*/ 697707 h 1204913"/>
                  <a:gd name="connsiteX82" fmla="*/ 23813 w 1562100"/>
                  <a:gd name="connsiteY82" fmla="*/ 735807 h 1204913"/>
                  <a:gd name="connsiteX83" fmla="*/ 21431 w 1562100"/>
                  <a:gd name="connsiteY83" fmla="*/ 745332 h 1204913"/>
                  <a:gd name="connsiteX84" fmla="*/ 7144 w 1562100"/>
                  <a:gd name="connsiteY84" fmla="*/ 762001 h 1204913"/>
                  <a:gd name="connsiteX85" fmla="*/ 0 w 1562100"/>
                  <a:gd name="connsiteY85" fmla="*/ 819151 h 1204913"/>
                  <a:gd name="connsiteX86" fmla="*/ 23813 w 1562100"/>
                  <a:gd name="connsiteY86" fmla="*/ 847726 h 1204913"/>
                  <a:gd name="connsiteX87" fmla="*/ 16669 w 1562100"/>
                  <a:gd name="connsiteY87" fmla="*/ 888207 h 1204913"/>
                  <a:gd name="connsiteX88" fmla="*/ 35719 w 1562100"/>
                  <a:gd name="connsiteY88" fmla="*/ 892969 h 1204913"/>
                  <a:gd name="connsiteX89" fmla="*/ 69056 w 1562100"/>
                  <a:gd name="connsiteY89" fmla="*/ 892969 h 1204913"/>
                  <a:gd name="connsiteX90" fmla="*/ 85725 w 1562100"/>
                  <a:gd name="connsiteY90" fmla="*/ 883444 h 1204913"/>
                  <a:gd name="connsiteX91" fmla="*/ 135731 w 1562100"/>
                  <a:gd name="connsiteY91" fmla="*/ 940594 h 1204913"/>
                  <a:gd name="connsiteX92" fmla="*/ 123825 w 1562100"/>
                  <a:gd name="connsiteY92" fmla="*/ 959644 h 1204913"/>
                  <a:gd name="connsiteX93" fmla="*/ 133350 w 1562100"/>
                  <a:gd name="connsiteY93" fmla="*/ 988219 h 1204913"/>
                  <a:gd name="connsiteX94" fmla="*/ 164306 w 1562100"/>
                  <a:gd name="connsiteY94" fmla="*/ 1007269 h 1204913"/>
                  <a:gd name="connsiteX95" fmla="*/ 190500 w 1562100"/>
                  <a:gd name="connsiteY95" fmla="*/ 1016794 h 1204913"/>
                  <a:gd name="connsiteX96" fmla="*/ 216694 w 1562100"/>
                  <a:gd name="connsiteY96" fmla="*/ 1023938 h 1204913"/>
                  <a:gd name="connsiteX97" fmla="*/ 228600 w 1562100"/>
                  <a:gd name="connsiteY97" fmla="*/ 1026319 h 1204913"/>
                  <a:gd name="connsiteX98" fmla="*/ 240506 w 1562100"/>
                  <a:gd name="connsiteY98" fmla="*/ 988219 h 1204913"/>
                  <a:gd name="connsiteX99" fmla="*/ 269081 w 1562100"/>
                  <a:gd name="connsiteY99" fmla="*/ 992982 h 1204913"/>
                  <a:gd name="connsiteX100" fmla="*/ 288131 w 1562100"/>
                  <a:gd name="connsiteY100" fmla="*/ 981076 h 1204913"/>
                  <a:gd name="connsiteX101" fmla="*/ 307181 w 1562100"/>
                  <a:gd name="connsiteY101" fmla="*/ 1031082 h 1204913"/>
                  <a:gd name="connsiteX102" fmla="*/ 330994 w 1562100"/>
                  <a:gd name="connsiteY102" fmla="*/ 1045369 h 1204913"/>
                  <a:gd name="connsiteX103" fmla="*/ 340519 w 1562100"/>
                  <a:gd name="connsiteY103" fmla="*/ 1073944 h 1204913"/>
                  <a:gd name="connsiteX104" fmla="*/ 357188 w 1562100"/>
                  <a:gd name="connsiteY104" fmla="*/ 1083469 h 1204913"/>
                  <a:gd name="connsiteX105" fmla="*/ 364331 w 1562100"/>
                  <a:gd name="connsiteY105" fmla="*/ 1114426 h 1204913"/>
                  <a:gd name="connsiteX106" fmla="*/ 335756 w 1562100"/>
                  <a:gd name="connsiteY106" fmla="*/ 1140619 h 1204913"/>
                  <a:gd name="connsiteX107" fmla="*/ 309563 w 1562100"/>
                  <a:gd name="connsiteY107" fmla="*/ 1157288 h 1204913"/>
                  <a:gd name="connsiteX108" fmla="*/ 297656 w 1562100"/>
                  <a:gd name="connsiteY108" fmla="*/ 1181101 h 1204913"/>
                  <a:gd name="connsiteX109" fmla="*/ 302419 w 1562100"/>
                  <a:gd name="connsiteY109" fmla="*/ 1204913 h 1204913"/>
                  <a:gd name="connsiteX110" fmla="*/ 342900 w 1562100"/>
                  <a:gd name="connsiteY110" fmla="*/ 1204913 h 1204913"/>
                  <a:gd name="connsiteX111" fmla="*/ 390525 w 1562100"/>
                  <a:gd name="connsiteY111" fmla="*/ 1200151 h 1204913"/>
                  <a:gd name="connsiteX112" fmla="*/ 428625 w 1562100"/>
                  <a:gd name="connsiteY112" fmla="*/ 1190626 h 1204913"/>
                  <a:gd name="connsiteX113" fmla="*/ 454819 w 1562100"/>
                  <a:gd name="connsiteY113" fmla="*/ 1197769 h 1204913"/>
                  <a:gd name="connsiteX114" fmla="*/ 473869 w 1562100"/>
                  <a:gd name="connsiteY114" fmla="*/ 1176338 h 1204913"/>
                  <a:gd name="connsiteX115" fmla="*/ 492919 w 1562100"/>
                  <a:gd name="connsiteY115" fmla="*/ 1176338 h 1204913"/>
                  <a:gd name="connsiteX116" fmla="*/ 507206 w 1562100"/>
                  <a:gd name="connsiteY116" fmla="*/ 1145382 h 1204913"/>
                  <a:gd name="connsiteX117" fmla="*/ 557213 w 1562100"/>
                  <a:gd name="connsiteY117" fmla="*/ 1131094 h 1204913"/>
                  <a:gd name="connsiteX118" fmla="*/ 583406 w 1562100"/>
                  <a:gd name="connsiteY118" fmla="*/ 1112044 h 1204913"/>
                  <a:gd name="connsiteX119" fmla="*/ 590550 w 1562100"/>
                  <a:gd name="connsiteY119" fmla="*/ 1073944 h 1204913"/>
                  <a:gd name="connsiteX120" fmla="*/ 607219 w 1562100"/>
                  <a:gd name="connsiteY120" fmla="*/ 1047751 h 1204913"/>
                  <a:gd name="connsiteX121" fmla="*/ 688181 w 1562100"/>
                  <a:gd name="connsiteY121" fmla="*/ 1078707 h 1204913"/>
                  <a:gd name="connsiteX0" fmla="*/ 688181 w 1562100"/>
                  <a:gd name="connsiteY0" fmla="*/ 1089758 h 1215964"/>
                  <a:gd name="connsiteX1" fmla="*/ 688181 w 1562100"/>
                  <a:gd name="connsiteY1" fmla="*/ 1004033 h 1215964"/>
                  <a:gd name="connsiteX2" fmla="*/ 692944 w 1562100"/>
                  <a:gd name="connsiteY2" fmla="*/ 961170 h 1215964"/>
                  <a:gd name="connsiteX3" fmla="*/ 692944 w 1562100"/>
                  <a:gd name="connsiteY3" fmla="*/ 915927 h 1215964"/>
                  <a:gd name="connsiteX4" fmla="*/ 676275 w 1562100"/>
                  <a:gd name="connsiteY4" fmla="*/ 892114 h 1215964"/>
                  <a:gd name="connsiteX5" fmla="*/ 690563 w 1562100"/>
                  <a:gd name="connsiteY5" fmla="*/ 839727 h 1215964"/>
                  <a:gd name="connsiteX6" fmla="*/ 685800 w 1562100"/>
                  <a:gd name="connsiteY6" fmla="*/ 813533 h 1215964"/>
                  <a:gd name="connsiteX7" fmla="*/ 697706 w 1562100"/>
                  <a:gd name="connsiteY7" fmla="*/ 768289 h 1215964"/>
                  <a:gd name="connsiteX8" fmla="*/ 714375 w 1562100"/>
                  <a:gd name="connsiteY8" fmla="*/ 744477 h 1215964"/>
                  <a:gd name="connsiteX9" fmla="*/ 721519 w 1562100"/>
                  <a:gd name="connsiteY9" fmla="*/ 711139 h 1215964"/>
                  <a:gd name="connsiteX10" fmla="*/ 735806 w 1562100"/>
                  <a:gd name="connsiteY10" fmla="*/ 692089 h 1215964"/>
                  <a:gd name="connsiteX11" fmla="*/ 792956 w 1562100"/>
                  <a:gd name="connsiteY11" fmla="*/ 682564 h 1215964"/>
                  <a:gd name="connsiteX12" fmla="*/ 838200 w 1562100"/>
                  <a:gd name="connsiteY12" fmla="*/ 665895 h 1215964"/>
                  <a:gd name="connsiteX13" fmla="*/ 876300 w 1562100"/>
                  <a:gd name="connsiteY13" fmla="*/ 625414 h 1215964"/>
                  <a:gd name="connsiteX14" fmla="*/ 923925 w 1562100"/>
                  <a:gd name="connsiteY14" fmla="*/ 611127 h 1215964"/>
                  <a:gd name="connsiteX15" fmla="*/ 995363 w 1562100"/>
                  <a:gd name="connsiteY15" fmla="*/ 606364 h 1215964"/>
                  <a:gd name="connsiteX16" fmla="*/ 1040606 w 1562100"/>
                  <a:gd name="connsiteY16" fmla="*/ 596839 h 1215964"/>
                  <a:gd name="connsiteX17" fmla="*/ 1119188 w 1562100"/>
                  <a:gd name="connsiteY17" fmla="*/ 489683 h 1215964"/>
                  <a:gd name="connsiteX18" fmla="*/ 1126331 w 1562100"/>
                  <a:gd name="connsiteY18" fmla="*/ 456345 h 1215964"/>
                  <a:gd name="connsiteX19" fmla="*/ 1152525 w 1562100"/>
                  <a:gd name="connsiteY19" fmla="*/ 427770 h 1215964"/>
                  <a:gd name="connsiteX20" fmla="*/ 1197769 w 1562100"/>
                  <a:gd name="connsiteY20" fmla="*/ 418245 h 1215964"/>
                  <a:gd name="connsiteX21" fmla="*/ 1290638 w 1562100"/>
                  <a:gd name="connsiteY21" fmla="*/ 342045 h 1215964"/>
                  <a:gd name="connsiteX22" fmla="*/ 1314450 w 1562100"/>
                  <a:gd name="connsiteY22" fmla="*/ 339664 h 1215964"/>
                  <a:gd name="connsiteX23" fmla="*/ 1409700 w 1562100"/>
                  <a:gd name="connsiteY23" fmla="*/ 258702 h 1215964"/>
                  <a:gd name="connsiteX24" fmla="*/ 1414463 w 1562100"/>
                  <a:gd name="connsiteY24" fmla="*/ 239652 h 1215964"/>
                  <a:gd name="connsiteX25" fmla="*/ 1507331 w 1562100"/>
                  <a:gd name="connsiteY25" fmla="*/ 184883 h 1215964"/>
                  <a:gd name="connsiteX26" fmla="*/ 1543050 w 1562100"/>
                  <a:gd name="connsiteY26" fmla="*/ 139639 h 1215964"/>
                  <a:gd name="connsiteX27" fmla="*/ 1562100 w 1562100"/>
                  <a:gd name="connsiteY27" fmla="*/ 101539 h 1215964"/>
                  <a:gd name="connsiteX28" fmla="*/ 1512094 w 1562100"/>
                  <a:gd name="connsiteY28" fmla="*/ 120589 h 1215964"/>
                  <a:gd name="connsiteX29" fmla="*/ 1478756 w 1562100"/>
                  <a:gd name="connsiteY29" fmla="*/ 120589 h 1215964"/>
                  <a:gd name="connsiteX30" fmla="*/ 1452563 w 1562100"/>
                  <a:gd name="connsiteY30" fmla="*/ 158689 h 1215964"/>
                  <a:gd name="connsiteX31" fmla="*/ 1421606 w 1562100"/>
                  <a:gd name="connsiteY31" fmla="*/ 156308 h 1215964"/>
                  <a:gd name="connsiteX32" fmla="*/ 1366838 w 1562100"/>
                  <a:gd name="connsiteY32" fmla="*/ 125352 h 1215964"/>
                  <a:gd name="connsiteX33" fmla="*/ 1323975 w 1562100"/>
                  <a:gd name="connsiteY33" fmla="*/ 113445 h 1215964"/>
                  <a:gd name="connsiteX34" fmla="*/ 1238250 w 1562100"/>
                  <a:gd name="connsiteY34" fmla="*/ 149164 h 1215964"/>
                  <a:gd name="connsiteX35" fmla="*/ 1223963 w 1562100"/>
                  <a:gd name="connsiteY35" fmla="*/ 187264 h 1215964"/>
                  <a:gd name="connsiteX36" fmla="*/ 1195388 w 1562100"/>
                  <a:gd name="connsiteY36" fmla="*/ 244414 h 1215964"/>
                  <a:gd name="connsiteX37" fmla="*/ 1109663 w 1562100"/>
                  <a:gd name="connsiteY37" fmla="*/ 206314 h 1215964"/>
                  <a:gd name="connsiteX38" fmla="*/ 1097756 w 1562100"/>
                  <a:gd name="connsiteY38" fmla="*/ 249177 h 1215964"/>
                  <a:gd name="connsiteX39" fmla="*/ 1083469 w 1562100"/>
                  <a:gd name="connsiteY39" fmla="*/ 282514 h 1215964"/>
                  <a:gd name="connsiteX40" fmla="*/ 959644 w 1562100"/>
                  <a:gd name="connsiteY40" fmla="*/ 313470 h 1215964"/>
                  <a:gd name="connsiteX41" fmla="*/ 945356 w 1562100"/>
                  <a:gd name="connsiteY41" fmla="*/ 308708 h 1215964"/>
                  <a:gd name="connsiteX42" fmla="*/ 926306 w 1562100"/>
                  <a:gd name="connsiteY42" fmla="*/ 330139 h 1215964"/>
                  <a:gd name="connsiteX43" fmla="*/ 890588 w 1562100"/>
                  <a:gd name="connsiteY43" fmla="*/ 337283 h 1215964"/>
                  <a:gd name="connsiteX44" fmla="*/ 854869 w 1562100"/>
                  <a:gd name="connsiteY44" fmla="*/ 287277 h 1215964"/>
                  <a:gd name="connsiteX45" fmla="*/ 835819 w 1562100"/>
                  <a:gd name="connsiteY45" fmla="*/ 275370 h 1215964"/>
                  <a:gd name="connsiteX46" fmla="*/ 826294 w 1562100"/>
                  <a:gd name="connsiteY46" fmla="*/ 230127 h 1215964"/>
                  <a:gd name="connsiteX47" fmla="*/ 792956 w 1562100"/>
                  <a:gd name="connsiteY47" fmla="*/ 213458 h 1215964"/>
                  <a:gd name="connsiteX48" fmla="*/ 759619 w 1562100"/>
                  <a:gd name="connsiteY48" fmla="*/ 206314 h 1215964"/>
                  <a:gd name="connsiteX49" fmla="*/ 740569 w 1562100"/>
                  <a:gd name="connsiteY49" fmla="*/ 201552 h 1215964"/>
                  <a:gd name="connsiteX50" fmla="*/ 728663 w 1562100"/>
                  <a:gd name="connsiteY50" fmla="*/ 192027 h 1215964"/>
                  <a:gd name="connsiteX51" fmla="*/ 735806 w 1562100"/>
                  <a:gd name="connsiteY51" fmla="*/ 165833 h 1215964"/>
                  <a:gd name="connsiteX52" fmla="*/ 742950 w 1562100"/>
                  <a:gd name="connsiteY52" fmla="*/ 142020 h 1215964"/>
                  <a:gd name="connsiteX53" fmla="*/ 700088 w 1562100"/>
                  <a:gd name="connsiteY53" fmla="*/ 92014 h 1215964"/>
                  <a:gd name="connsiteX54" fmla="*/ 376238 w 1562100"/>
                  <a:gd name="connsiteY54" fmla="*/ 11052 h 1215964"/>
                  <a:gd name="connsiteX55" fmla="*/ 314326 w 1562100"/>
                  <a:gd name="connsiteY55" fmla="*/ 11051 h 1215964"/>
                  <a:gd name="connsiteX56" fmla="*/ 328613 w 1562100"/>
                  <a:gd name="connsiteY56" fmla="*/ 89633 h 1215964"/>
                  <a:gd name="connsiteX57" fmla="*/ 292894 w 1562100"/>
                  <a:gd name="connsiteY57" fmla="*/ 192027 h 1215964"/>
                  <a:gd name="connsiteX58" fmla="*/ 264319 w 1562100"/>
                  <a:gd name="connsiteY58" fmla="*/ 199170 h 1215964"/>
                  <a:gd name="connsiteX59" fmla="*/ 261938 w 1562100"/>
                  <a:gd name="connsiteY59" fmla="*/ 213458 h 1215964"/>
                  <a:gd name="connsiteX60" fmla="*/ 261938 w 1562100"/>
                  <a:gd name="connsiteY60" fmla="*/ 246795 h 1215964"/>
                  <a:gd name="connsiteX61" fmla="*/ 228600 w 1562100"/>
                  <a:gd name="connsiteY61" fmla="*/ 289658 h 1215964"/>
                  <a:gd name="connsiteX62" fmla="*/ 271463 w 1562100"/>
                  <a:gd name="connsiteY62" fmla="*/ 306327 h 1215964"/>
                  <a:gd name="connsiteX63" fmla="*/ 278606 w 1562100"/>
                  <a:gd name="connsiteY63" fmla="*/ 325377 h 1215964"/>
                  <a:gd name="connsiteX64" fmla="*/ 257175 w 1562100"/>
                  <a:gd name="connsiteY64" fmla="*/ 361095 h 1215964"/>
                  <a:gd name="connsiteX65" fmla="*/ 221456 w 1562100"/>
                  <a:gd name="connsiteY65" fmla="*/ 370620 h 1215964"/>
                  <a:gd name="connsiteX66" fmla="*/ 221456 w 1562100"/>
                  <a:gd name="connsiteY66" fmla="*/ 411102 h 1215964"/>
                  <a:gd name="connsiteX67" fmla="*/ 254794 w 1562100"/>
                  <a:gd name="connsiteY67" fmla="*/ 449202 h 1215964"/>
                  <a:gd name="connsiteX68" fmla="*/ 226219 w 1562100"/>
                  <a:gd name="connsiteY68" fmla="*/ 513495 h 1215964"/>
                  <a:gd name="connsiteX69" fmla="*/ 180975 w 1562100"/>
                  <a:gd name="connsiteY69" fmla="*/ 542070 h 1215964"/>
                  <a:gd name="connsiteX70" fmla="*/ 183356 w 1562100"/>
                  <a:gd name="connsiteY70" fmla="*/ 558739 h 1215964"/>
                  <a:gd name="connsiteX71" fmla="*/ 204788 w 1562100"/>
                  <a:gd name="connsiteY71" fmla="*/ 568264 h 1215964"/>
                  <a:gd name="connsiteX72" fmla="*/ 219075 w 1562100"/>
                  <a:gd name="connsiteY72" fmla="*/ 577789 h 1215964"/>
                  <a:gd name="connsiteX73" fmla="*/ 223838 w 1562100"/>
                  <a:gd name="connsiteY73" fmla="*/ 596839 h 1215964"/>
                  <a:gd name="connsiteX74" fmla="*/ 195263 w 1562100"/>
                  <a:gd name="connsiteY74" fmla="*/ 623033 h 1215964"/>
                  <a:gd name="connsiteX75" fmla="*/ 123825 w 1562100"/>
                  <a:gd name="connsiteY75" fmla="*/ 668277 h 1215964"/>
                  <a:gd name="connsiteX76" fmla="*/ 123825 w 1562100"/>
                  <a:gd name="connsiteY76" fmla="*/ 703995 h 1215964"/>
                  <a:gd name="connsiteX77" fmla="*/ 135731 w 1562100"/>
                  <a:gd name="connsiteY77" fmla="*/ 734952 h 1215964"/>
                  <a:gd name="connsiteX78" fmla="*/ 123825 w 1562100"/>
                  <a:gd name="connsiteY78" fmla="*/ 775433 h 1215964"/>
                  <a:gd name="connsiteX79" fmla="*/ 76200 w 1562100"/>
                  <a:gd name="connsiteY79" fmla="*/ 770670 h 1215964"/>
                  <a:gd name="connsiteX80" fmla="*/ 52388 w 1562100"/>
                  <a:gd name="connsiteY80" fmla="*/ 715902 h 1215964"/>
                  <a:gd name="connsiteX81" fmla="*/ 33338 w 1562100"/>
                  <a:gd name="connsiteY81" fmla="*/ 708758 h 1215964"/>
                  <a:gd name="connsiteX82" fmla="*/ 23813 w 1562100"/>
                  <a:gd name="connsiteY82" fmla="*/ 746858 h 1215964"/>
                  <a:gd name="connsiteX83" fmla="*/ 21431 w 1562100"/>
                  <a:gd name="connsiteY83" fmla="*/ 756383 h 1215964"/>
                  <a:gd name="connsiteX84" fmla="*/ 7144 w 1562100"/>
                  <a:gd name="connsiteY84" fmla="*/ 773052 h 1215964"/>
                  <a:gd name="connsiteX85" fmla="*/ 0 w 1562100"/>
                  <a:gd name="connsiteY85" fmla="*/ 830202 h 1215964"/>
                  <a:gd name="connsiteX86" fmla="*/ 23813 w 1562100"/>
                  <a:gd name="connsiteY86" fmla="*/ 858777 h 1215964"/>
                  <a:gd name="connsiteX87" fmla="*/ 16669 w 1562100"/>
                  <a:gd name="connsiteY87" fmla="*/ 899258 h 1215964"/>
                  <a:gd name="connsiteX88" fmla="*/ 35719 w 1562100"/>
                  <a:gd name="connsiteY88" fmla="*/ 904020 h 1215964"/>
                  <a:gd name="connsiteX89" fmla="*/ 69056 w 1562100"/>
                  <a:gd name="connsiteY89" fmla="*/ 904020 h 1215964"/>
                  <a:gd name="connsiteX90" fmla="*/ 85725 w 1562100"/>
                  <a:gd name="connsiteY90" fmla="*/ 894495 h 1215964"/>
                  <a:gd name="connsiteX91" fmla="*/ 135731 w 1562100"/>
                  <a:gd name="connsiteY91" fmla="*/ 951645 h 1215964"/>
                  <a:gd name="connsiteX92" fmla="*/ 123825 w 1562100"/>
                  <a:gd name="connsiteY92" fmla="*/ 970695 h 1215964"/>
                  <a:gd name="connsiteX93" fmla="*/ 133350 w 1562100"/>
                  <a:gd name="connsiteY93" fmla="*/ 999270 h 1215964"/>
                  <a:gd name="connsiteX94" fmla="*/ 164306 w 1562100"/>
                  <a:gd name="connsiteY94" fmla="*/ 1018320 h 1215964"/>
                  <a:gd name="connsiteX95" fmla="*/ 190500 w 1562100"/>
                  <a:gd name="connsiteY95" fmla="*/ 1027845 h 1215964"/>
                  <a:gd name="connsiteX96" fmla="*/ 216694 w 1562100"/>
                  <a:gd name="connsiteY96" fmla="*/ 1034989 h 1215964"/>
                  <a:gd name="connsiteX97" fmla="*/ 228600 w 1562100"/>
                  <a:gd name="connsiteY97" fmla="*/ 1037370 h 1215964"/>
                  <a:gd name="connsiteX98" fmla="*/ 240506 w 1562100"/>
                  <a:gd name="connsiteY98" fmla="*/ 999270 h 1215964"/>
                  <a:gd name="connsiteX99" fmla="*/ 269081 w 1562100"/>
                  <a:gd name="connsiteY99" fmla="*/ 1004033 h 1215964"/>
                  <a:gd name="connsiteX100" fmla="*/ 288131 w 1562100"/>
                  <a:gd name="connsiteY100" fmla="*/ 992127 h 1215964"/>
                  <a:gd name="connsiteX101" fmla="*/ 307181 w 1562100"/>
                  <a:gd name="connsiteY101" fmla="*/ 1042133 h 1215964"/>
                  <a:gd name="connsiteX102" fmla="*/ 330994 w 1562100"/>
                  <a:gd name="connsiteY102" fmla="*/ 1056420 h 1215964"/>
                  <a:gd name="connsiteX103" fmla="*/ 340519 w 1562100"/>
                  <a:gd name="connsiteY103" fmla="*/ 1084995 h 1215964"/>
                  <a:gd name="connsiteX104" fmla="*/ 357188 w 1562100"/>
                  <a:gd name="connsiteY104" fmla="*/ 1094520 h 1215964"/>
                  <a:gd name="connsiteX105" fmla="*/ 364331 w 1562100"/>
                  <a:gd name="connsiteY105" fmla="*/ 1125477 h 1215964"/>
                  <a:gd name="connsiteX106" fmla="*/ 335756 w 1562100"/>
                  <a:gd name="connsiteY106" fmla="*/ 1151670 h 1215964"/>
                  <a:gd name="connsiteX107" fmla="*/ 309563 w 1562100"/>
                  <a:gd name="connsiteY107" fmla="*/ 1168339 h 1215964"/>
                  <a:gd name="connsiteX108" fmla="*/ 297656 w 1562100"/>
                  <a:gd name="connsiteY108" fmla="*/ 1192152 h 1215964"/>
                  <a:gd name="connsiteX109" fmla="*/ 302419 w 1562100"/>
                  <a:gd name="connsiteY109" fmla="*/ 1215964 h 1215964"/>
                  <a:gd name="connsiteX110" fmla="*/ 342900 w 1562100"/>
                  <a:gd name="connsiteY110" fmla="*/ 1215964 h 1215964"/>
                  <a:gd name="connsiteX111" fmla="*/ 390525 w 1562100"/>
                  <a:gd name="connsiteY111" fmla="*/ 1211202 h 1215964"/>
                  <a:gd name="connsiteX112" fmla="*/ 428625 w 1562100"/>
                  <a:gd name="connsiteY112" fmla="*/ 1201677 h 1215964"/>
                  <a:gd name="connsiteX113" fmla="*/ 454819 w 1562100"/>
                  <a:gd name="connsiteY113" fmla="*/ 1208820 h 1215964"/>
                  <a:gd name="connsiteX114" fmla="*/ 473869 w 1562100"/>
                  <a:gd name="connsiteY114" fmla="*/ 1187389 h 1215964"/>
                  <a:gd name="connsiteX115" fmla="*/ 492919 w 1562100"/>
                  <a:gd name="connsiteY115" fmla="*/ 1187389 h 1215964"/>
                  <a:gd name="connsiteX116" fmla="*/ 507206 w 1562100"/>
                  <a:gd name="connsiteY116" fmla="*/ 1156433 h 1215964"/>
                  <a:gd name="connsiteX117" fmla="*/ 557213 w 1562100"/>
                  <a:gd name="connsiteY117" fmla="*/ 1142145 h 1215964"/>
                  <a:gd name="connsiteX118" fmla="*/ 583406 w 1562100"/>
                  <a:gd name="connsiteY118" fmla="*/ 1123095 h 1215964"/>
                  <a:gd name="connsiteX119" fmla="*/ 590550 w 1562100"/>
                  <a:gd name="connsiteY119" fmla="*/ 1084995 h 1215964"/>
                  <a:gd name="connsiteX120" fmla="*/ 607219 w 1562100"/>
                  <a:gd name="connsiteY120" fmla="*/ 1058802 h 1215964"/>
                  <a:gd name="connsiteX121" fmla="*/ 688181 w 1562100"/>
                  <a:gd name="connsiteY121" fmla="*/ 1089758 h 1215964"/>
                  <a:gd name="connsiteX0" fmla="*/ 688181 w 1562100"/>
                  <a:gd name="connsiteY0" fmla="*/ 1089758 h 1215964"/>
                  <a:gd name="connsiteX1" fmla="*/ 688181 w 1562100"/>
                  <a:gd name="connsiteY1" fmla="*/ 1004033 h 1215964"/>
                  <a:gd name="connsiteX2" fmla="*/ 692944 w 1562100"/>
                  <a:gd name="connsiteY2" fmla="*/ 961170 h 1215964"/>
                  <a:gd name="connsiteX3" fmla="*/ 692944 w 1562100"/>
                  <a:gd name="connsiteY3" fmla="*/ 915927 h 1215964"/>
                  <a:gd name="connsiteX4" fmla="*/ 676275 w 1562100"/>
                  <a:gd name="connsiteY4" fmla="*/ 892114 h 1215964"/>
                  <a:gd name="connsiteX5" fmla="*/ 690563 w 1562100"/>
                  <a:gd name="connsiteY5" fmla="*/ 839727 h 1215964"/>
                  <a:gd name="connsiteX6" fmla="*/ 685800 w 1562100"/>
                  <a:gd name="connsiteY6" fmla="*/ 813533 h 1215964"/>
                  <a:gd name="connsiteX7" fmla="*/ 697706 w 1562100"/>
                  <a:gd name="connsiteY7" fmla="*/ 768289 h 1215964"/>
                  <a:gd name="connsiteX8" fmla="*/ 714375 w 1562100"/>
                  <a:gd name="connsiteY8" fmla="*/ 744477 h 1215964"/>
                  <a:gd name="connsiteX9" fmla="*/ 721519 w 1562100"/>
                  <a:gd name="connsiteY9" fmla="*/ 711139 h 1215964"/>
                  <a:gd name="connsiteX10" fmla="*/ 735806 w 1562100"/>
                  <a:gd name="connsiteY10" fmla="*/ 692089 h 1215964"/>
                  <a:gd name="connsiteX11" fmla="*/ 792956 w 1562100"/>
                  <a:gd name="connsiteY11" fmla="*/ 682564 h 1215964"/>
                  <a:gd name="connsiteX12" fmla="*/ 838200 w 1562100"/>
                  <a:gd name="connsiteY12" fmla="*/ 665895 h 1215964"/>
                  <a:gd name="connsiteX13" fmla="*/ 876300 w 1562100"/>
                  <a:gd name="connsiteY13" fmla="*/ 625414 h 1215964"/>
                  <a:gd name="connsiteX14" fmla="*/ 923925 w 1562100"/>
                  <a:gd name="connsiteY14" fmla="*/ 611127 h 1215964"/>
                  <a:gd name="connsiteX15" fmla="*/ 995363 w 1562100"/>
                  <a:gd name="connsiteY15" fmla="*/ 606364 h 1215964"/>
                  <a:gd name="connsiteX16" fmla="*/ 1040606 w 1562100"/>
                  <a:gd name="connsiteY16" fmla="*/ 596839 h 1215964"/>
                  <a:gd name="connsiteX17" fmla="*/ 1119188 w 1562100"/>
                  <a:gd name="connsiteY17" fmla="*/ 489683 h 1215964"/>
                  <a:gd name="connsiteX18" fmla="*/ 1126331 w 1562100"/>
                  <a:gd name="connsiteY18" fmla="*/ 456345 h 1215964"/>
                  <a:gd name="connsiteX19" fmla="*/ 1152525 w 1562100"/>
                  <a:gd name="connsiteY19" fmla="*/ 427770 h 1215964"/>
                  <a:gd name="connsiteX20" fmla="*/ 1197769 w 1562100"/>
                  <a:gd name="connsiteY20" fmla="*/ 418245 h 1215964"/>
                  <a:gd name="connsiteX21" fmla="*/ 1290638 w 1562100"/>
                  <a:gd name="connsiteY21" fmla="*/ 342045 h 1215964"/>
                  <a:gd name="connsiteX22" fmla="*/ 1314450 w 1562100"/>
                  <a:gd name="connsiteY22" fmla="*/ 339664 h 1215964"/>
                  <a:gd name="connsiteX23" fmla="*/ 1409700 w 1562100"/>
                  <a:gd name="connsiteY23" fmla="*/ 258702 h 1215964"/>
                  <a:gd name="connsiteX24" fmla="*/ 1414463 w 1562100"/>
                  <a:gd name="connsiteY24" fmla="*/ 239652 h 1215964"/>
                  <a:gd name="connsiteX25" fmla="*/ 1507331 w 1562100"/>
                  <a:gd name="connsiteY25" fmla="*/ 184883 h 1215964"/>
                  <a:gd name="connsiteX26" fmla="*/ 1543050 w 1562100"/>
                  <a:gd name="connsiteY26" fmla="*/ 139639 h 1215964"/>
                  <a:gd name="connsiteX27" fmla="*/ 1562100 w 1562100"/>
                  <a:gd name="connsiteY27" fmla="*/ 101539 h 1215964"/>
                  <a:gd name="connsiteX28" fmla="*/ 1512094 w 1562100"/>
                  <a:gd name="connsiteY28" fmla="*/ 120589 h 1215964"/>
                  <a:gd name="connsiteX29" fmla="*/ 1478756 w 1562100"/>
                  <a:gd name="connsiteY29" fmla="*/ 120589 h 1215964"/>
                  <a:gd name="connsiteX30" fmla="*/ 1452563 w 1562100"/>
                  <a:gd name="connsiteY30" fmla="*/ 158689 h 1215964"/>
                  <a:gd name="connsiteX31" fmla="*/ 1421606 w 1562100"/>
                  <a:gd name="connsiteY31" fmla="*/ 156308 h 1215964"/>
                  <a:gd name="connsiteX32" fmla="*/ 1366838 w 1562100"/>
                  <a:gd name="connsiteY32" fmla="*/ 125352 h 1215964"/>
                  <a:gd name="connsiteX33" fmla="*/ 1323975 w 1562100"/>
                  <a:gd name="connsiteY33" fmla="*/ 113445 h 1215964"/>
                  <a:gd name="connsiteX34" fmla="*/ 1238250 w 1562100"/>
                  <a:gd name="connsiteY34" fmla="*/ 149164 h 1215964"/>
                  <a:gd name="connsiteX35" fmla="*/ 1223963 w 1562100"/>
                  <a:gd name="connsiteY35" fmla="*/ 187264 h 1215964"/>
                  <a:gd name="connsiteX36" fmla="*/ 1195388 w 1562100"/>
                  <a:gd name="connsiteY36" fmla="*/ 244414 h 1215964"/>
                  <a:gd name="connsiteX37" fmla="*/ 1109663 w 1562100"/>
                  <a:gd name="connsiteY37" fmla="*/ 206314 h 1215964"/>
                  <a:gd name="connsiteX38" fmla="*/ 1097756 w 1562100"/>
                  <a:gd name="connsiteY38" fmla="*/ 249177 h 1215964"/>
                  <a:gd name="connsiteX39" fmla="*/ 1083469 w 1562100"/>
                  <a:gd name="connsiteY39" fmla="*/ 282514 h 1215964"/>
                  <a:gd name="connsiteX40" fmla="*/ 959644 w 1562100"/>
                  <a:gd name="connsiteY40" fmla="*/ 313470 h 1215964"/>
                  <a:gd name="connsiteX41" fmla="*/ 945356 w 1562100"/>
                  <a:gd name="connsiteY41" fmla="*/ 308708 h 1215964"/>
                  <a:gd name="connsiteX42" fmla="*/ 926306 w 1562100"/>
                  <a:gd name="connsiteY42" fmla="*/ 330139 h 1215964"/>
                  <a:gd name="connsiteX43" fmla="*/ 890588 w 1562100"/>
                  <a:gd name="connsiteY43" fmla="*/ 337283 h 1215964"/>
                  <a:gd name="connsiteX44" fmla="*/ 854869 w 1562100"/>
                  <a:gd name="connsiteY44" fmla="*/ 287277 h 1215964"/>
                  <a:gd name="connsiteX45" fmla="*/ 835819 w 1562100"/>
                  <a:gd name="connsiteY45" fmla="*/ 275370 h 1215964"/>
                  <a:gd name="connsiteX46" fmla="*/ 826294 w 1562100"/>
                  <a:gd name="connsiteY46" fmla="*/ 230127 h 1215964"/>
                  <a:gd name="connsiteX47" fmla="*/ 792956 w 1562100"/>
                  <a:gd name="connsiteY47" fmla="*/ 213458 h 1215964"/>
                  <a:gd name="connsiteX48" fmla="*/ 759619 w 1562100"/>
                  <a:gd name="connsiteY48" fmla="*/ 206314 h 1215964"/>
                  <a:gd name="connsiteX49" fmla="*/ 740569 w 1562100"/>
                  <a:gd name="connsiteY49" fmla="*/ 201552 h 1215964"/>
                  <a:gd name="connsiteX50" fmla="*/ 728663 w 1562100"/>
                  <a:gd name="connsiteY50" fmla="*/ 192027 h 1215964"/>
                  <a:gd name="connsiteX51" fmla="*/ 735806 w 1562100"/>
                  <a:gd name="connsiteY51" fmla="*/ 165833 h 1215964"/>
                  <a:gd name="connsiteX52" fmla="*/ 742950 w 1562100"/>
                  <a:gd name="connsiteY52" fmla="*/ 142020 h 1215964"/>
                  <a:gd name="connsiteX53" fmla="*/ 700088 w 1562100"/>
                  <a:gd name="connsiteY53" fmla="*/ 92014 h 1215964"/>
                  <a:gd name="connsiteX54" fmla="*/ 447675 w 1562100"/>
                  <a:gd name="connsiteY54" fmla="*/ 22958 h 1215964"/>
                  <a:gd name="connsiteX55" fmla="*/ 376238 w 1562100"/>
                  <a:gd name="connsiteY55" fmla="*/ 11052 h 1215964"/>
                  <a:gd name="connsiteX56" fmla="*/ 314326 w 1562100"/>
                  <a:gd name="connsiteY56" fmla="*/ 11051 h 1215964"/>
                  <a:gd name="connsiteX57" fmla="*/ 328613 w 1562100"/>
                  <a:gd name="connsiteY57" fmla="*/ 89633 h 1215964"/>
                  <a:gd name="connsiteX58" fmla="*/ 292894 w 1562100"/>
                  <a:gd name="connsiteY58" fmla="*/ 192027 h 1215964"/>
                  <a:gd name="connsiteX59" fmla="*/ 264319 w 1562100"/>
                  <a:gd name="connsiteY59" fmla="*/ 199170 h 1215964"/>
                  <a:gd name="connsiteX60" fmla="*/ 261938 w 1562100"/>
                  <a:gd name="connsiteY60" fmla="*/ 213458 h 1215964"/>
                  <a:gd name="connsiteX61" fmla="*/ 261938 w 1562100"/>
                  <a:gd name="connsiteY61" fmla="*/ 246795 h 1215964"/>
                  <a:gd name="connsiteX62" fmla="*/ 228600 w 1562100"/>
                  <a:gd name="connsiteY62" fmla="*/ 289658 h 1215964"/>
                  <a:gd name="connsiteX63" fmla="*/ 271463 w 1562100"/>
                  <a:gd name="connsiteY63" fmla="*/ 306327 h 1215964"/>
                  <a:gd name="connsiteX64" fmla="*/ 278606 w 1562100"/>
                  <a:gd name="connsiteY64" fmla="*/ 325377 h 1215964"/>
                  <a:gd name="connsiteX65" fmla="*/ 257175 w 1562100"/>
                  <a:gd name="connsiteY65" fmla="*/ 361095 h 1215964"/>
                  <a:gd name="connsiteX66" fmla="*/ 221456 w 1562100"/>
                  <a:gd name="connsiteY66" fmla="*/ 370620 h 1215964"/>
                  <a:gd name="connsiteX67" fmla="*/ 221456 w 1562100"/>
                  <a:gd name="connsiteY67" fmla="*/ 411102 h 1215964"/>
                  <a:gd name="connsiteX68" fmla="*/ 254794 w 1562100"/>
                  <a:gd name="connsiteY68" fmla="*/ 449202 h 1215964"/>
                  <a:gd name="connsiteX69" fmla="*/ 226219 w 1562100"/>
                  <a:gd name="connsiteY69" fmla="*/ 513495 h 1215964"/>
                  <a:gd name="connsiteX70" fmla="*/ 180975 w 1562100"/>
                  <a:gd name="connsiteY70" fmla="*/ 542070 h 1215964"/>
                  <a:gd name="connsiteX71" fmla="*/ 183356 w 1562100"/>
                  <a:gd name="connsiteY71" fmla="*/ 558739 h 1215964"/>
                  <a:gd name="connsiteX72" fmla="*/ 204788 w 1562100"/>
                  <a:gd name="connsiteY72" fmla="*/ 568264 h 1215964"/>
                  <a:gd name="connsiteX73" fmla="*/ 219075 w 1562100"/>
                  <a:gd name="connsiteY73" fmla="*/ 577789 h 1215964"/>
                  <a:gd name="connsiteX74" fmla="*/ 223838 w 1562100"/>
                  <a:gd name="connsiteY74" fmla="*/ 596839 h 1215964"/>
                  <a:gd name="connsiteX75" fmla="*/ 195263 w 1562100"/>
                  <a:gd name="connsiteY75" fmla="*/ 623033 h 1215964"/>
                  <a:gd name="connsiteX76" fmla="*/ 123825 w 1562100"/>
                  <a:gd name="connsiteY76" fmla="*/ 668277 h 1215964"/>
                  <a:gd name="connsiteX77" fmla="*/ 123825 w 1562100"/>
                  <a:gd name="connsiteY77" fmla="*/ 703995 h 1215964"/>
                  <a:gd name="connsiteX78" fmla="*/ 135731 w 1562100"/>
                  <a:gd name="connsiteY78" fmla="*/ 734952 h 1215964"/>
                  <a:gd name="connsiteX79" fmla="*/ 123825 w 1562100"/>
                  <a:gd name="connsiteY79" fmla="*/ 775433 h 1215964"/>
                  <a:gd name="connsiteX80" fmla="*/ 76200 w 1562100"/>
                  <a:gd name="connsiteY80" fmla="*/ 770670 h 1215964"/>
                  <a:gd name="connsiteX81" fmla="*/ 52388 w 1562100"/>
                  <a:gd name="connsiteY81" fmla="*/ 715902 h 1215964"/>
                  <a:gd name="connsiteX82" fmla="*/ 33338 w 1562100"/>
                  <a:gd name="connsiteY82" fmla="*/ 708758 h 1215964"/>
                  <a:gd name="connsiteX83" fmla="*/ 23813 w 1562100"/>
                  <a:gd name="connsiteY83" fmla="*/ 746858 h 1215964"/>
                  <a:gd name="connsiteX84" fmla="*/ 21431 w 1562100"/>
                  <a:gd name="connsiteY84" fmla="*/ 756383 h 1215964"/>
                  <a:gd name="connsiteX85" fmla="*/ 7144 w 1562100"/>
                  <a:gd name="connsiteY85" fmla="*/ 773052 h 1215964"/>
                  <a:gd name="connsiteX86" fmla="*/ 0 w 1562100"/>
                  <a:gd name="connsiteY86" fmla="*/ 830202 h 1215964"/>
                  <a:gd name="connsiteX87" fmla="*/ 23813 w 1562100"/>
                  <a:gd name="connsiteY87" fmla="*/ 858777 h 1215964"/>
                  <a:gd name="connsiteX88" fmla="*/ 16669 w 1562100"/>
                  <a:gd name="connsiteY88" fmla="*/ 899258 h 1215964"/>
                  <a:gd name="connsiteX89" fmla="*/ 35719 w 1562100"/>
                  <a:gd name="connsiteY89" fmla="*/ 904020 h 1215964"/>
                  <a:gd name="connsiteX90" fmla="*/ 69056 w 1562100"/>
                  <a:gd name="connsiteY90" fmla="*/ 904020 h 1215964"/>
                  <a:gd name="connsiteX91" fmla="*/ 85725 w 1562100"/>
                  <a:gd name="connsiteY91" fmla="*/ 894495 h 1215964"/>
                  <a:gd name="connsiteX92" fmla="*/ 135731 w 1562100"/>
                  <a:gd name="connsiteY92" fmla="*/ 951645 h 1215964"/>
                  <a:gd name="connsiteX93" fmla="*/ 123825 w 1562100"/>
                  <a:gd name="connsiteY93" fmla="*/ 970695 h 1215964"/>
                  <a:gd name="connsiteX94" fmla="*/ 133350 w 1562100"/>
                  <a:gd name="connsiteY94" fmla="*/ 999270 h 1215964"/>
                  <a:gd name="connsiteX95" fmla="*/ 164306 w 1562100"/>
                  <a:gd name="connsiteY95" fmla="*/ 1018320 h 1215964"/>
                  <a:gd name="connsiteX96" fmla="*/ 190500 w 1562100"/>
                  <a:gd name="connsiteY96" fmla="*/ 1027845 h 1215964"/>
                  <a:gd name="connsiteX97" fmla="*/ 216694 w 1562100"/>
                  <a:gd name="connsiteY97" fmla="*/ 1034989 h 1215964"/>
                  <a:gd name="connsiteX98" fmla="*/ 228600 w 1562100"/>
                  <a:gd name="connsiteY98" fmla="*/ 1037370 h 1215964"/>
                  <a:gd name="connsiteX99" fmla="*/ 240506 w 1562100"/>
                  <a:gd name="connsiteY99" fmla="*/ 999270 h 1215964"/>
                  <a:gd name="connsiteX100" fmla="*/ 269081 w 1562100"/>
                  <a:gd name="connsiteY100" fmla="*/ 1004033 h 1215964"/>
                  <a:gd name="connsiteX101" fmla="*/ 288131 w 1562100"/>
                  <a:gd name="connsiteY101" fmla="*/ 992127 h 1215964"/>
                  <a:gd name="connsiteX102" fmla="*/ 307181 w 1562100"/>
                  <a:gd name="connsiteY102" fmla="*/ 1042133 h 1215964"/>
                  <a:gd name="connsiteX103" fmla="*/ 330994 w 1562100"/>
                  <a:gd name="connsiteY103" fmla="*/ 1056420 h 1215964"/>
                  <a:gd name="connsiteX104" fmla="*/ 340519 w 1562100"/>
                  <a:gd name="connsiteY104" fmla="*/ 1084995 h 1215964"/>
                  <a:gd name="connsiteX105" fmla="*/ 357188 w 1562100"/>
                  <a:gd name="connsiteY105" fmla="*/ 1094520 h 1215964"/>
                  <a:gd name="connsiteX106" fmla="*/ 364331 w 1562100"/>
                  <a:gd name="connsiteY106" fmla="*/ 1125477 h 1215964"/>
                  <a:gd name="connsiteX107" fmla="*/ 335756 w 1562100"/>
                  <a:gd name="connsiteY107" fmla="*/ 1151670 h 1215964"/>
                  <a:gd name="connsiteX108" fmla="*/ 309563 w 1562100"/>
                  <a:gd name="connsiteY108" fmla="*/ 1168339 h 1215964"/>
                  <a:gd name="connsiteX109" fmla="*/ 297656 w 1562100"/>
                  <a:gd name="connsiteY109" fmla="*/ 1192152 h 1215964"/>
                  <a:gd name="connsiteX110" fmla="*/ 302419 w 1562100"/>
                  <a:gd name="connsiteY110" fmla="*/ 1215964 h 1215964"/>
                  <a:gd name="connsiteX111" fmla="*/ 342900 w 1562100"/>
                  <a:gd name="connsiteY111" fmla="*/ 1215964 h 1215964"/>
                  <a:gd name="connsiteX112" fmla="*/ 390525 w 1562100"/>
                  <a:gd name="connsiteY112" fmla="*/ 1211202 h 1215964"/>
                  <a:gd name="connsiteX113" fmla="*/ 428625 w 1562100"/>
                  <a:gd name="connsiteY113" fmla="*/ 1201677 h 1215964"/>
                  <a:gd name="connsiteX114" fmla="*/ 454819 w 1562100"/>
                  <a:gd name="connsiteY114" fmla="*/ 1208820 h 1215964"/>
                  <a:gd name="connsiteX115" fmla="*/ 473869 w 1562100"/>
                  <a:gd name="connsiteY115" fmla="*/ 1187389 h 1215964"/>
                  <a:gd name="connsiteX116" fmla="*/ 492919 w 1562100"/>
                  <a:gd name="connsiteY116" fmla="*/ 1187389 h 1215964"/>
                  <a:gd name="connsiteX117" fmla="*/ 507206 w 1562100"/>
                  <a:gd name="connsiteY117" fmla="*/ 1156433 h 1215964"/>
                  <a:gd name="connsiteX118" fmla="*/ 557213 w 1562100"/>
                  <a:gd name="connsiteY118" fmla="*/ 1142145 h 1215964"/>
                  <a:gd name="connsiteX119" fmla="*/ 583406 w 1562100"/>
                  <a:gd name="connsiteY119" fmla="*/ 1123095 h 1215964"/>
                  <a:gd name="connsiteX120" fmla="*/ 590550 w 1562100"/>
                  <a:gd name="connsiteY120" fmla="*/ 1084995 h 1215964"/>
                  <a:gd name="connsiteX121" fmla="*/ 607219 w 1562100"/>
                  <a:gd name="connsiteY121" fmla="*/ 1058802 h 1215964"/>
                  <a:gd name="connsiteX122" fmla="*/ 688181 w 1562100"/>
                  <a:gd name="connsiteY122" fmla="*/ 1089758 h 1215964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428625 w 1562100"/>
                  <a:gd name="connsiteY54" fmla="*/ 0 h 1309687"/>
                  <a:gd name="connsiteX55" fmla="*/ 376238 w 1562100"/>
                  <a:gd name="connsiteY55" fmla="*/ 104775 h 1309687"/>
                  <a:gd name="connsiteX56" fmla="*/ 314326 w 1562100"/>
                  <a:gd name="connsiteY56" fmla="*/ 104774 h 1309687"/>
                  <a:gd name="connsiteX57" fmla="*/ 328613 w 1562100"/>
                  <a:gd name="connsiteY57" fmla="*/ 183356 h 1309687"/>
                  <a:gd name="connsiteX58" fmla="*/ 292894 w 1562100"/>
                  <a:gd name="connsiteY58" fmla="*/ 285750 h 1309687"/>
                  <a:gd name="connsiteX59" fmla="*/ 264319 w 1562100"/>
                  <a:gd name="connsiteY59" fmla="*/ 292893 h 1309687"/>
                  <a:gd name="connsiteX60" fmla="*/ 261938 w 1562100"/>
                  <a:gd name="connsiteY60" fmla="*/ 307181 h 1309687"/>
                  <a:gd name="connsiteX61" fmla="*/ 261938 w 1562100"/>
                  <a:gd name="connsiteY61" fmla="*/ 340518 h 1309687"/>
                  <a:gd name="connsiteX62" fmla="*/ 228600 w 1562100"/>
                  <a:gd name="connsiteY62" fmla="*/ 383381 h 1309687"/>
                  <a:gd name="connsiteX63" fmla="*/ 271463 w 1562100"/>
                  <a:gd name="connsiteY63" fmla="*/ 400050 h 1309687"/>
                  <a:gd name="connsiteX64" fmla="*/ 278606 w 1562100"/>
                  <a:gd name="connsiteY64" fmla="*/ 419100 h 1309687"/>
                  <a:gd name="connsiteX65" fmla="*/ 257175 w 1562100"/>
                  <a:gd name="connsiteY65" fmla="*/ 454818 h 1309687"/>
                  <a:gd name="connsiteX66" fmla="*/ 221456 w 1562100"/>
                  <a:gd name="connsiteY66" fmla="*/ 464343 h 1309687"/>
                  <a:gd name="connsiteX67" fmla="*/ 221456 w 1562100"/>
                  <a:gd name="connsiteY67" fmla="*/ 504825 h 1309687"/>
                  <a:gd name="connsiteX68" fmla="*/ 254794 w 1562100"/>
                  <a:gd name="connsiteY68" fmla="*/ 542925 h 1309687"/>
                  <a:gd name="connsiteX69" fmla="*/ 226219 w 1562100"/>
                  <a:gd name="connsiteY69" fmla="*/ 607218 h 1309687"/>
                  <a:gd name="connsiteX70" fmla="*/ 180975 w 1562100"/>
                  <a:gd name="connsiteY70" fmla="*/ 635793 h 1309687"/>
                  <a:gd name="connsiteX71" fmla="*/ 183356 w 1562100"/>
                  <a:gd name="connsiteY71" fmla="*/ 652462 h 1309687"/>
                  <a:gd name="connsiteX72" fmla="*/ 204788 w 1562100"/>
                  <a:gd name="connsiteY72" fmla="*/ 661987 h 1309687"/>
                  <a:gd name="connsiteX73" fmla="*/ 219075 w 1562100"/>
                  <a:gd name="connsiteY73" fmla="*/ 671512 h 1309687"/>
                  <a:gd name="connsiteX74" fmla="*/ 223838 w 1562100"/>
                  <a:gd name="connsiteY74" fmla="*/ 690562 h 1309687"/>
                  <a:gd name="connsiteX75" fmla="*/ 195263 w 1562100"/>
                  <a:gd name="connsiteY75" fmla="*/ 716756 h 1309687"/>
                  <a:gd name="connsiteX76" fmla="*/ 123825 w 1562100"/>
                  <a:gd name="connsiteY76" fmla="*/ 762000 h 1309687"/>
                  <a:gd name="connsiteX77" fmla="*/ 123825 w 1562100"/>
                  <a:gd name="connsiteY77" fmla="*/ 797718 h 1309687"/>
                  <a:gd name="connsiteX78" fmla="*/ 135731 w 1562100"/>
                  <a:gd name="connsiteY78" fmla="*/ 828675 h 1309687"/>
                  <a:gd name="connsiteX79" fmla="*/ 123825 w 1562100"/>
                  <a:gd name="connsiteY79" fmla="*/ 869156 h 1309687"/>
                  <a:gd name="connsiteX80" fmla="*/ 76200 w 1562100"/>
                  <a:gd name="connsiteY80" fmla="*/ 864393 h 1309687"/>
                  <a:gd name="connsiteX81" fmla="*/ 52388 w 1562100"/>
                  <a:gd name="connsiteY81" fmla="*/ 809625 h 1309687"/>
                  <a:gd name="connsiteX82" fmla="*/ 33338 w 1562100"/>
                  <a:gd name="connsiteY82" fmla="*/ 802481 h 1309687"/>
                  <a:gd name="connsiteX83" fmla="*/ 23813 w 1562100"/>
                  <a:gd name="connsiteY83" fmla="*/ 840581 h 1309687"/>
                  <a:gd name="connsiteX84" fmla="*/ 21431 w 1562100"/>
                  <a:gd name="connsiteY84" fmla="*/ 850106 h 1309687"/>
                  <a:gd name="connsiteX85" fmla="*/ 7144 w 1562100"/>
                  <a:gd name="connsiteY85" fmla="*/ 866775 h 1309687"/>
                  <a:gd name="connsiteX86" fmla="*/ 0 w 1562100"/>
                  <a:gd name="connsiteY86" fmla="*/ 923925 h 1309687"/>
                  <a:gd name="connsiteX87" fmla="*/ 23813 w 1562100"/>
                  <a:gd name="connsiteY87" fmla="*/ 952500 h 1309687"/>
                  <a:gd name="connsiteX88" fmla="*/ 16669 w 1562100"/>
                  <a:gd name="connsiteY88" fmla="*/ 992981 h 1309687"/>
                  <a:gd name="connsiteX89" fmla="*/ 35719 w 1562100"/>
                  <a:gd name="connsiteY89" fmla="*/ 997743 h 1309687"/>
                  <a:gd name="connsiteX90" fmla="*/ 69056 w 1562100"/>
                  <a:gd name="connsiteY90" fmla="*/ 997743 h 1309687"/>
                  <a:gd name="connsiteX91" fmla="*/ 85725 w 1562100"/>
                  <a:gd name="connsiteY91" fmla="*/ 988218 h 1309687"/>
                  <a:gd name="connsiteX92" fmla="*/ 135731 w 1562100"/>
                  <a:gd name="connsiteY92" fmla="*/ 1045368 h 1309687"/>
                  <a:gd name="connsiteX93" fmla="*/ 123825 w 1562100"/>
                  <a:gd name="connsiteY93" fmla="*/ 1064418 h 1309687"/>
                  <a:gd name="connsiteX94" fmla="*/ 133350 w 1562100"/>
                  <a:gd name="connsiteY94" fmla="*/ 1092993 h 1309687"/>
                  <a:gd name="connsiteX95" fmla="*/ 164306 w 1562100"/>
                  <a:gd name="connsiteY95" fmla="*/ 1112043 h 1309687"/>
                  <a:gd name="connsiteX96" fmla="*/ 190500 w 1562100"/>
                  <a:gd name="connsiteY96" fmla="*/ 1121568 h 1309687"/>
                  <a:gd name="connsiteX97" fmla="*/ 216694 w 1562100"/>
                  <a:gd name="connsiteY97" fmla="*/ 1128712 h 1309687"/>
                  <a:gd name="connsiteX98" fmla="*/ 228600 w 1562100"/>
                  <a:gd name="connsiteY98" fmla="*/ 1131093 h 1309687"/>
                  <a:gd name="connsiteX99" fmla="*/ 240506 w 1562100"/>
                  <a:gd name="connsiteY99" fmla="*/ 1092993 h 1309687"/>
                  <a:gd name="connsiteX100" fmla="*/ 269081 w 1562100"/>
                  <a:gd name="connsiteY100" fmla="*/ 1097756 h 1309687"/>
                  <a:gd name="connsiteX101" fmla="*/ 288131 w 1562100"/>
                  <a:gd name="connsiteY101" fmla="*/ 1085850 h 1309687"/>
                  <a:gd name="connsiteX102" fmla="*/ 307181 w 1562100"/>
                  <a:gd name="connsiteY102" fmla="*/ 1135856 h 1309687"/>
                  <a:gd name="connsiteX103" fmla="*/ 330994 w 1562100"/>
                  <a:gd name="connsiteY103" fmla="*/ 1150143 h 1309687"/>
                  <a:gd name="connsiteX104" fmla="*/ 340519 w 1562100"/>
                  <a:gd name="connsiteY104" fmla="*/ 1178718 h 1309687"/>
                  <a:gd name="connsiteX105" fmla="*/ 357188 w 1562100"/>
                  <a:gd name="connsiteY105" fmla="*/ 1188243 h 1309687"/>
                  <a:gd name="connsiteX106" fmla="*/ 364331 w 1562100"/>
                  <a:gd name="connsiteY106" fmla="*/ 1219200 h 1309687"/>
                  <a:gd name="connsiteX107" fmla="*/ 335756 w 1562100"/>
                  <a:gd name="connsiteY107" fmla="*/ 1245393 h 1309687"/>
                  <a:gd name="connsiteX108" fmla="*/ 309563 w 1562100"/>
                  <a:gd name="connsiteY108" fmla="*/ 1262062 h 1309687"/>
                  <a:gd name="connsiteX109" fmla="*/ 297656 w 1562100"/>
                  <a:gd name="connsiteY109" fmla="*/ 1285875 h 1309687"/>
                  <a:gd name="connsiteX110" fmla="*/ 302419 w 1562100"/>
                  <a:gd name="connsiteY110" fmla="*/ 1309687 h 1309687"/>
                  <a:gd name="connsiteX111" fmla="*/ 342900 w 1562100"/>
                  <a:gd name="connsiteY111" fmla="*/ 1309687 h 1309687"/>
                  <a:gd name="connsiteX112" fmla="*/ 390525 w 1562100"/>
                  <a:gd name="connsiteY112" fmla="*/ 1304925 h 1309687"/>
                  <a:gd name="connsiteX113" fmla="*/ 428625 w 1562100"/>
                  <a:gd name="connsiteY113" fmla="*/ 1295400 h 1309687"/>
                  <a:gd name="connsiteX114" fmla="*/ 454819 w 1562100"/>
                  <a:gd name="connsiteY114" fmla="*/ 1302543 h 1309687"/>
                  <a:gd name="connsiteX115" fmla="*/ 473869 w 1562100"/>
                  <a:gd name="connsiteY115" fmla="*/ 1281112 h 1309687"/>
                  <a:gd name="connsiteX116" fmla="*/ 492919 w 1562100"/>
                  <a:gd name="connsiteY116" fmla="*/ 1281112 h 1309687"/>
                  <a:gd name="connsiteX117" fmla="*/ 507206 w 1562100"/>
                  <a:gd name="connsiteY117" fmla="*/ 1250156 h 1309687"/>
                  <a:gd name="connsiteX118" fmla="*/ 557213 w 1562100"/>
                  <a:gd name="connsiteY118" fmla="*/ 1235868 h 1309687"/>
                  <a:gd name="connsiteX119" fmla="*/ 583406 w 1562100"/>
                  <a:gd name="connsiteY119" fmla="*/ 1216818 h 1309687"/>
                  <a:gd name="connsiteX120" fmla="*/ 590550 w 1562100"/>
                  <a:gd name="connsiteY120" fmla="*/ 1178718 h 1309687"/>
                  <a:gd name="connsiteX121" fmla="*/ 607219 w 1562100"/>
                  <a:gd name="connsiteY121" fmla="*/ 1152525 h 1309687"/>
                  <a:gd name="connsiteX122" fmla="*/ 688181 w 1562100"/>
                  <a:gd name="connsiteY122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461963 w 1562100"/>
                  <a:gd name="connsiteY54" fmla="*/ 23813 h 1309687"/>
                  <a:gd name="connsiteX55" fmla="*/ 428625 w 1562100"/>
                  <a:gd name="connsiteY55" fmla="*/ 0 h 1309687"/>
                  <a:gd name="connsiteX56" fmla="*/ 376238 w 1562100"/>
                  <a:gd name="connsiteY56" fmla="*/ 104775 h 1309687"/>
                  <a:gd name="connsiteX57" fmla="*/ 314326 w 1562100"/>
                  <a:gd name="connsiteY57" fmla="*/ 104774 h 1309687"/>
                  <a:gd name="connsiteX58" fmla="*/ 328613 w 1562100"/>
                  <a:gd name="connsiteY58" fmla="*/ 183356 h 1309687"/>
                  <a:gd name="connsiteX59" fmla="*/ 292894 w 1562100"/>
                  <a:gd name="connsiteY59" fmla="*/ 285750 h 1309687"/>
                  <a:gd name="connsiteX60" fmla="*/ 264319 w 1562100"/>
                  <a:gd name="connsiteY60" fmla="*/ 292893 h 1309687"/>
                  <a:gd name="connsiteX61" fmla="*/ 261938 w 1562100"/>
                  <a:gd name="connsiteY61" fmla="*/ 307181 h 1309687"/>
                  <a:gd name="connsiteX62" fmla="*/ 261938 w 1562100"/>
                  <a:gd name="connsiteY62" fmla="*/ 340518 h 1309687"/>
                  <a:gd name="connsiteX63" fmla="*/ 228600 w 1562100"/>
                  <a:gd name="connsiteY63" fmla="*/ 383381 h 1309687"/>
                  <a:gd name="connsiteX64" fmla="*/ 271463 w 1562100"/>
                  <a:gd name="connsiteY64" fmla="*/ 400050 h 1309687"/>
                  <a:gd name="connsiteX65" fmla="*/ 278606 w 1562100"/>
                  <a:gd name="connsiteY65" fmla="*/ 419100 h 1309687"/>
                  <a:gd name="connsiteX66" fmla="*/ 257175 w 1562100"/>
                  <a:gd name="connsiteY66" fmla="*/ 454818 h 1309687"/>
                  <a:gd name="connsiteX67" fmla="*/ 221456 w 1562100"/>
                  <a:gd name="connsiteY67" fmla="*/ 464343 h 1309687"/>
                  <a:gd name="connsiteX68" fmla="*/ 221456 w 1562100"/>
                  <a:gd name="connsiteY68" fmla="*/ 504825 h 1309687"/>
                  <a:gd name="connsiteX69" fmla="*/ 254794 w 1562100"/>
                  <a:gd name="connsiteY69" fmla="*/ 542925 h 1309687"/>
                  <a:gd name="connsiteX70" fmla="*/ 226219 w 1562100"/>
                  <a:gd name="connsiteY70" fmla="*/ 607218 h 1309687"/>
                  <a:gd name="connsiteX71" fmla="*/ 180975 w 1562100"/>
                  <a:gd name="connsiteY71" fmla="*/ 635793 h 1309687"/>
                  <a:gd name="connsiteX72" fmla="*/ 183356 w 1562100"/>
                  <a:gd name="connsiteY72" fmla="*/ 652462 h 1309687"/>
                  <a:gd name="connsiteX73" fmla="*/ 204788 w 1562100"/>
                  <a:gd name="connsiteY73" fmla="*/ 661987 h 1309687"/>
                  <a:gd name="connsiteX74" fmla="*/ 219075 w 1562100"/>
                  <a:gd name="connsiteY74" fmla="*/ 671512 h 1309687"/>
                  <a:gd name="connsiteX75" fmla="*/ 223838 w 1562100"/>
                  <a:gd name="connsiteY75" fmla="*/ 690562 h 1309687"/>
                  <a:gd name="connsiteX76" fmla="*/ 195263 w 1562100"/>
                  <a:gd name="connsiteY76" fmla="*/ 716756 h 1309687"/>
                  <a:gd name="connsiteX77" fmla="*/ 123825 w 1562100"/>
                  <a:gd name="connsiteY77" fmla="*/ 762000 h 1309687"/>
                  <a:gd name="connsiteX78" fmla="*/ 123825 w 1562100"/>
                  <a:gd name="connsiteY78" fmla="*/ 797718 h 1309687"/>
                  <a:gd name="connsiteX79" fmla="*/ 135731 w 1562100"/>
                  <a:gd name="connsiteY79" fmla="*/ 828675 h 1309687"/>
                  <a:gd name="connsiteX80" fmla="*/ 123825 w 1562100"/>
                  <a:gd name="connsiteY80" fmla="*/ 869156 h 1309687"/>
                  <a:gd name="connsiteX81" fmla="*/ 76200 w 1562100"/>
                  <a:gd name="connsiteY81" fmla="*/ 864393 h 1309687"/>
                  <a:gd name="connsiteX82" fmla="*/ 52388 w 1562100"/>
                  <a:gd name="connsiteY82" fmla="*/ 809625 h 1309687"/>
                  <a:gd name="connsiteX83" fmla="*/ 33338 w 1562100"/>
                  <a:gd name="connsiteY83" fmla="*/ 802481 h 1309687"/>
                  <a:gd name="connsiteX84" fmla="*/ 23813 w 1562100"/>
                  <a:gd name="connsiteY84" fmla="*/ 840581 h 1309687"/>
                  <a:gd name="connsiteX85" fmla="*/ 21431 w 1562100"/>
                  <a:gd name="connsiteY85" fmla="*/ 850106 h 1309687"/>
                  <a:gd name="connsiteX86" fmla="*/ 7144 w 1562100"/>
                  <a:gd name="connsiteY86" fmla="*/ 866775 h 1309687"/>
                  <a:gd name="connsiteX87" fmla="*/ 0 w 1562100"/>
                  <a:gd name="connsiteY87" fmla="*/ 923925 h 1309687"/>
                  <a:gd name="connsiteX88" fmla="*/ 23813 w 1562100"/>
                  <a:gd name="connsiteY88" fmla="*/ 952500 h 1309687"/>
                  <a:gd name="connsiteX89" fmla="*/ 16669 w 1562100"/>
                  <a:gd name="connsiteY89" fmla="*/ 992981 h 1309687"/>
                  <a:gd name="connsiteX90" fmla="*/ 35719 w 1562100"/>
                  <a:gd name="connsiteY90" fmla="*/ 997743 h 1309687"/>
                  <a:gd name="connsiteX91" fmla="*/ 69056 w 1562100"/>
                  <a:gd name="connsiteY91" fmla="*/ 997743 h 1309687"/>
                  <a:gd name="connsiteX92" fmla="*/ 85725 w 1562100"/>
                  <a:gd name="connsiteY92" fmla="*/ 988218 h 1309687"/>
                  <a:gd name="connsiteX93" fmla="*/ 135731 w 1562100"/>
                  <a:gd name="connsiteY93" fmla="*/ 1045368 h 1309687"/>
                  <a:gd name="connsiteX94" fmla="*/ 123825 w 1562100"/>
                  <a:gd name="connsiteY94" fmla="*/ 1064418 h 1309687"/>
                  <a:gd name="connsiteX95" fmla="*/ 133350 w 1562100"/>
                  <a:gd name="connsiteY95" fmla="*/ 1092993 h 1309687"/>
                  <a:gd name="connsiteX96" fmla="*/ 164306 w 1562100"/>
                  <a:gd name="connsiteY96" fmla="*/ 1112043 h 1309687"/>
                  <a:gd name="connsiteX97" fmla="*/ 190500 w 1562100"/>
                  <a:gd name="connsiteY97" fmla="*/ 1121568 h 1309687"/>
                  <a:gd name="connsiteX98" fmla="*/ 216694 w 1562100"/>
                  <a:gd name="connsiteY98" fmla="*/ 1128712 h 1309687"/>
                  <a:gd name="connsiteX99" fmla="*/ 228600 w 1562100"/>
                  <a:gd name="connsiteY99" fmla="*/ 1131093 h 1309687"/>
                  <a:gd name="connsiteX100" fmla="*/ 240506 w 1562100"/>
                  <a:gd name="connsiteY100" fmla="*/ 1092993 h 1309687"/>
                  <a:gd name="connsiteX101" fmla="*/ 269081 w 1562100"/>
                  <a:gd name="connsiteY101" fmla="*/ 1097756 h 1309687"/>
                  <a:gd name="connsiteX102" fmla="*/ 288131 w 1562100"/>
                  <a:gd name="connsiteY102" fmla="*/ 1085850 h 1309687"/>
                  <a:gd name="connsiteX103" fmla="*/ 307181 w 1562100"/>
                  <a:gd name="connsiteY103" fmla="*/ 1135856 h 1309687"/>
                  <a:gd name="connsiteX104" fmla="*/ 330994 w 1562100"/>
                  <a:gd name="connsiteY104" fmla="*/ 1150143 h 1309687"/>
                  <a:gd name="connsiteX105" fmla="*/ 340519 w 1562100"/>
                  <a:gd name="connsiteY105" fmla="*/ 1178718 h 1309687"/>
                  <a:gd name="connsiteX106" fmla="*/ 357188 w 1562100"/>
                  <a:gd name="connsiteY106" fmla="*/ 1188243 h 1309687"/>
                  <a:gd name="connsiteX107" fmla="*/ 364331 w 1562100"/>
                  <a:gd name="connsiteY107" fmla="*/ 1219200 h 1309687"/>
                  <a:gd name="connsiteX108" fmla="*/ 335756 w 1562100"/>
                  <a:gd name="connsiteY108" fmla="*/ 1245393 h 1309687"/>
                  <a:gd name="connsiteX109" fmla="*/ 309563 w 1562100"/>
                  <a:gd name="connsiteY109" fmla="*/ 1262062 h 1309687"/>
                  <a:gd name="connsiteX110" fmla="*/ 297656 w 1562100"/>
                  <a:gd name="connsiteY110" fmla="*/ 1285875 h 1309687"/>
                  <a:gd name="connsiteX111" fmla="*/ 302419 w 1562100"/>
                  <a:gd name="connsiteY111" fmla="*/ 1309687 h 1309687"/>
                  <a:gd name="connsiteX112" fmla="*/ 342900 w 1562100"/>
                  <a:gd name="connsiteY112" fmla="*/ 1309687 h 1309687"/>
                  <a:gd name="connsiteX113" fmla="*/ 390525 w 1562100"/>
                  <a:gd name="connsiteY113" fmla="*/ 1304925 h 1309687"/>
                  <a:gd name="connsiteX114" fmla="*/ 428625 w 1562100"/>
                  <a:gd name="connsiteY114" fmla="*/ 1295400 h 1309687"/>
                  <a:gd name="connsiteX115" fmla="*/ 454819 w 1562100"/>
                  <a:gd name="connsiteY115" fmla="*/ 1302543 h 1309687"/>
                  <a:gd name="connsiteX116" fmla="*/ 473869 w 1562100"/>
                  <a:gd name="connsiteY116" fmla="*/ 1281112 h 1309687"/>
                  <a:gd name="connsiteX117" fmla="*/ 492919 w 1562100"/>
                  <a:gd name="connsiteY117" fmla="*/ 1281112 h 1309687"/>
                  <a:gd name="connsiteX118" fmla="*/ 507206 w 1562100"/>
                  <a:gd name="connsiteY118" fmla="*/ 1250156 h 1309687"/>
                  <a:gd name="connsiteX119" fmla="*/ 557213 w 1562100"/>
                  <a:gd name="connsiteY119" fmla="*/ 1235868 h 1309687"/>
                  <a:gd name="connsiteX120" fmla="*/ 583406 w 1562100"/>
                  <a:gd name="connsiteY120" fmla="*/ 1216818 h 1309687"/>
                  <a:gd name="connsiteX121" fmla="*/ 590550 w 1562100"/>
                  <a:gd name="connsiteY121" fmla="*/ 1178718 h 1309687"/>
                  <a:gd name="connsiteX122" fmla="*/ 607219 w 1562100"/>
                  <a:gd name="connsiteY122" fmla="*/ 1152525 h 1309687"/>
                  <a:gd name="connsiteX123" fmla="*/ 688181 w 1562100"/>
                  <a:gd name="connsiteY123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450056 w 1562100"/>
                  <a:gd name="connsiteY54" fmla="*/ 2382 h 1309687"/>
                  <a:gd name="connsiteX55" fmla="*/ 428625 w 1562100"/>
                  <a:gd name="connsiteY55" fmla="*/ 0 h 1309687"/>
                  <a:gd name="connsiteX56" fmla="*/ 376238 w 1562100"/>
                  <a:gd name="connsiteY56" fmla="*/ 104775 h 1309687"/>
                  <a:gd name="connsiteX57" fmla="*/ 314326 w 1562100"/>
                  <a:gd name="connsiteY57" fmla="*/ 104774 h 1309687"/>
                  <a:gd name="connsiteX58" fmla="*/ 328613 w 1562100"/>
                  <a:gd name="connsiteY58" fmla="*/ 183356 h 1309687"/>
                  <a:gd name="connsiteX59" fmla="*/ 292894 w 1562100"/>
                  <a:gd name="connsiteY59" fmla="*/ 285750 h 1309687"/>
                  <a:gd name="connsiteX60" fmla="*/ 264319 w 1562100"/>
                  <a:gd name="connsiteY60" fmla="*/ 292893 h 1309687"/>
                  <a:gd name="connsiteX61" fmla="*/ 261938 w 1562100"/>
                  <a:gd name="connsiteY61" fmla="*/ 307181 h 1309687"/>
                  <a:gd name="connsiteX62" fmla="*/ 261938 w 1562100"/>
                  <a:gd name="connsiteY62" fmla="*/ 340518 h 1309687"/>
                  <a:gd name="connsiteX63" fmla="*/ 228600 w 1562100"/>
                  <a:gd name="connsiteY63" fmla="*/ 383381 h 1309687"/>
                  <a:gd name="connsiteX64" fmla="*/ 271463 w 1562100"/>
                  <a:gd name="connsiteY64" fmla="*/ 400050 h 1309687"/>
                  <a:gd name="connsiteX65" fmla="*/ 278606 w 1562100"/>
                  <a:gd name="connsiteY65" fmla="*/ 419100 h 1309687"/>
                  <a:gd name="connsiteX66" fmla="*/ 257175 w 1562100"/>
                  <a:gd name="connsiteY66" fmla="*/ 454818 h 1309687"/>
                  <a:gd name="connsiteX67" fmla="*/ 221456 w 1562100"/>
                  <a:gd name="connsiteY67" fmla="*/ 464343 h 1309687"/>
                  <a:gd name="connsiteX68" fmla="*/ 221456 w 1562100"/>
                  <a:gd name="connsiteY68" fmla="*/ 504825 h 1309687"/>
                  <a:gd name="connsiteX69" fmla="*/ 254794 w 1562100"/>
                  <a:gd name="connsiteY69" fmla="*/ 542925 h 1309687"/>
                  <a:gd name="connsiteX70" fmla="*/ 226219 w 1562100"/>
                  <a:gd name="connsiteY70" fmla="*/ 607218 h 1309687"/>
                  <a:gd name="connsiteX71" fmla="*/ 180975 w 1562100"/>
                  <a:gd name="connsiteY71" fmla="*/ 635793 h 1309687"/>
                  <a:gd name="connsiteX72" fmla="*/ 183356 w 1562100"/>
                  <a:gd name="connsiteY72" fmla="*/ 652462 h 1309687"/>
                  <a:gd name="connsiteX73" fmla="*/ 204788 w 1562100"/>
                  <a:gd name="connsiteY73" fmla="*/ 661987 h 1309687"/>
                  <a:gd name="connsiteX74" fmla="*/ 219075 w 1562100"/>
                  <a:gd name="connsiteY74" fmla="*/ 671512 h 1309687"/>
                  <a:gd name="connsiteX75" fmla="*/ 223838 w 1562100"/>
                  <a:gd name="connsiteY75" fmla="*/ 690562 h 1309687"/>
                  <a:gd name="connsiteX76" fmla="*/ 195263 w 1562100"/>
                  <a:gd name="connsiteY76" fmla="*/ 716756 h 1309687"/>
                  <a:gd name="connsiteX77" fmla="*/ 123825 w 1562100"/>
                  <a:gd name="connsiteY77" fmla="*/ 762000 h 1309687"/>
                  <a:gd name="connsiteX78" fmla="*/ 123825 w 1562100"/>
                  <a:gd name="connsiteY78" fmla="*/ 797718 h 1309687"/>
                  <a:gd name="connsiteX79" fmla="*/ 135731 w 1562100"/>
                  <a:gd name="connsiteY79" fmla="*/ 828675 h 1309687"/>
                  <a:gd name="connsiteX80" fmla="*/ 123825 w 1562100"/>
                  <a:gd name="connsiteY80" fmla="*/ 869156 h 1309687"/>
                  <a:gd name="connsiteX81" fmla="*/ 76200 w 1562100"/>
                  <a:gd name="connsiteY81" fmla="*/ 864393 h 1309687"/>
                  <a:gd name="connsiteX82" fmla="*/ 52388 w 1562100"/>
                  <a:gd name="connsiteY82" fmla="*/ 809625 h 1309687"/>
                  <a:gd name="connsiteX83" fmla="*/ 33338 w 1562100"/>
                  <a:gd name="connsiteY83" fmla="*/ 802481 h 1309687"/>
                  <a:gd name="connsiteX84" fmla="*/ 23813 w 1562100"/>
                  <a:gd name="connsiteY84" fmla="*/ 840581 h 1309687"/>
                  <a:gd name="connsiteX85" fmla="*/ 21431 w 1562100"/>
                  <a:gd name="connsiteY85" fmla="*/ 850106 h 1309687"/>
                  <a:gd name="connsiteX86" fmla="*/ 7144 w 1562100"/>
                  <a:gd name="connsiteY86" fmla="*/ 866775 h 1309687"/>
                  <a:gd name="connsiteX87" fmla="*/ 0 w 1562100"/>
                  <a:gd name="connsiteY87" fmla="*/ 923925 h 1309687"/>
                  <a:gd name="connsiteX88" fmla="*/ 23813 w 1562100"/>
                  <a:gd name="connsiteY88" fmla="*/ 952500 h 1309687"/>
                  <a:gd name="connsiteX89" fmla="*/ 16669 w 1562100"/>
                  <a:gd name="connsiteY89" fmla="*/ 992981 h 1309687"/>
                  <a:gd name="connsiteX90" fmla="*/ 35719 w 1562100"/>
                  <a:gd name="connsiteY90" fmla="*/ 997743 h 1309687"/>
                  <a:gd name="connsiteX91" fmla="*/ 69056 w 1562100"/>
                  <a:gd name="connsiteY91" fmla="*/ 997743 h 1309687"/>
                  <a:gd name="connsiteX92" fmla="*/ 85725 w 1562100"/>
                  <a:gd name="connsiteY92" fmla="*/ 988218 h 1309687"/>
                  <a:gd name="connsiteX93" fmla="*/ 135731 w 1562100"/>
                  <a:gd name="connsiteY93" fmla="*/ 1045368 h 1309687"/>
                  <a:gd name="connsiteX94" fmla="*/ 123825 w 1562100"/>
                  <a:gd name="connsiteY94" fmla="*/ 1064418 h 1309687"/>
                  <a:gd name="connsiteX95" fmla="*/ 133350 w 1562100"/>
                  <a:gd name="connsiteY95" fmla="*/ 1092993 h 1309687"/>
                  <a:gd name="connsiteX96" fmla="*/ 164306 w 1562100"/>
                  <a:gd name="connsiteY96" fmla="*/ 1112043 h 1309687"/>
                  <a:gd name="connsiteX97" fmla="*/ 190500 w 1562100"/>
                  <a:gd name="connsiteY97" fmla="*/ 1121568 h 1309687"/>
                  <a:gd name="connsiteX98" fmla="*/ 216694 w 1562100"/>
                  <a:gd name="connsiteY98" fmla="*/ 1128712 h 1309687"/>
                  <a:gd name="connsiteX99" fmla="*/ 228600 w 1562100"/>
                  <a:gd name="connsiteY99" fmla="*/ 1131093 h 1309687"/>
                  <a:gd name="connsiteX100" fmla="*/ 240506 w 1562100"/>
                  <a:gd name="connsiteY100" fmla="*/ 1092993 h 1309687"/>
                  <a:gd name="connsiteX101" fmla="*/ 269081 w 1562100"/>
                  <a:gd name="connsiteY101" fmla="*/ 1097756 h 1309687"/>
                  <a:gd name="connsiteX102" fmla="*/ 288131 w 1562100"/>
                  <a:gd name="connsiteY102" fmla="*/ 1085850 h 1309687"/>
                  <a:gd name="connsiteX103" fmla="*/ 307181 w 1562100"/>
                  <a:gd name="connsiteY103" fmla="*/ 1135856 h 1309687"/>
                  <a:gd name="connsiteX104" fmla="*/ 330994 w 1562100"/>
                  <a:gd name="connsiteY104" fmla="*/ 1150143 h 1309687"/>
                  <a:gd name="connsiteX105" fmla="*/ 340519 w 1562100"/>
                  <a:gd name="connsiteY105" fmla="*/ 1178718 h 1309687"/>
                  <a:gd name="connsiteX106" fmla="*/ 357188 w 1562100"/>
                  <a:gd name="connsiteY106" fmla="*/ 1188243 h 1309687"/>
                  <a:gd name="connsiteX107" fmla="*/ 364331 w 1562100"/>
                  <a:gd name="connsiteY107" fmla="*/ 1219200 h 1309687"/>
                  <a:gd name="connsiteX108" fmla="*/ 335756 w 1562100"/>
                  <a:gd name="connsiteY108" fmla="*/ 1245393 h 1309687"/>
                  <a:gd name="connsiteX109" fmla="*/ 309563 w 1562100"/>
                  <a:gd name="connsiteY109" fmla="*/ 1262062 h 1309687"/>
                  <a:gd name="connsiteX110" fmla="*/ 297656 w 1562100"/>
                  <a:gd name="connsiteY110" fmla="*/ 1285875 h 1309687"/>
                  <a:gd name="connsiteX111" fmla="*/ 302419 w 1562100"/>
                  <a:gd name="connsiteY111" fmla="*/ 1309687 h 1309687"/>
                  <a:gd name="connsiteX112" fmla="*/ 342900 w 1562100"/>
                  <a:gd name="connsiteY112" fmla="*/ 1309687 h 1309687"/>
                  <a:gd name="connsiteX113" fmla="*/ 390525 w 1562100"/>
                  <a:gd name="connsiteY113" fmla="*/ 1304925 h 1309687"/>
                  <a:gd name="connsiteX114" fmla="*/ 428625 w 1562100"/>
                  <a:gd name="connsiteY114" fmla="*/ 1295400 h 1309687"/>
                  <a:gd name="connsiteX115" fmla="*/ 454819 w 1562100"/>
                  <a:gd name="connsiteY115" fmla="*/ 1302543 h 1309687"/>
                  <a:gd name="connsiteX116" fmla="*/ 473869 w 1562100"/>
                  <a:gd name="connsiteY116" fmla="*/ 1281112 h 1309687"/>
                  <a:gd name="connsiteX117" fmla="*/ 492919 w 1562100"/>
                  <a:gd name="connsiteY117" fmla="*/ 1281112 h 1309687"/>
                  <a:gd name="connsiteX118" fmla="*/ 507206 w 1562100"/>
                  <a:gd name="connsiteY118" fmla="*/ 1250156 h 1309687"/>
                  <a:gd name="connsiteX119" fmla="*/ 557213 w 1562100"/>
                  <a:gd name="connsiteY119" fmla="*/ 1235868 h 1309687"/>
                  <a:gd name="connsiteX120" fmla="*/ 583406 w 1562100"/>
                  <a:gd name="connsiteY120" fmla="*/ 1216818 h 1309687"/>
                  <a:gd name="connsiteX121" fmla="*/ 590550 w 1562100"/>
                  <a:gd name="connsiteY121" fmla="*/ 1178718 h 1309687"/>
                  <a:gd name="connsiteX122" fmla="*/ 607219 w 1562100"/>
                  <a:gd name="connsiteY122" fmla="*/ 1152525 h 1309687"/>
                  <a:gd name="connsiteX123" fmla="*/ 688181 w 1562100"/>
                  <a:gd name="connsiteY123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450056 w 1562100"/>
                  <a:gd name="connsiteY54" fmla="*/ 2382 h 1309687"/>
                  <a:gd name="connsiteX55" fmla="*/ 428625 w 1562100"/>
                  <a:gd name="connsiteY55" fmla="*/ 0 h 1309687"/>
                  <a:gd name="connsiteX56" fmla="*/ 376238 w 1562100"/>
                  <a:gd name="connsiteY56" fmla="*/ 104775 h 1309687"/>
                  <a:gd name="connsiteX57" fmla="*/ 314326 w 1562100"/>
                  <a:gd name="connsiteY57" fmla="*/ 104774 h 1309687"/>
                  <a:gd name="connsiteX58" fmla="*/ 328613 w 1562100"/>
                  <a:gd name="connsiteY58" fmla="*/ 183356 h 1309687"/>
                  <a:gd name="connsiteX59" fmla="*/ 292894 w 1562100"/>
                  <a:gd name="connsiteY59" fmla="*/ 285750 h 1309687"/>
                  <a:gd name="connsiteX60" fmla="*/ 264319 w 1562100"/>
                  <a:gd name="connsiteY60" fmla="*/ 292893 h 1309687"/>
                  <a:gd name="connsiteX61" fmla="*/ 261938 w 1562100"/>
                  <a:gd name="connsiteY61" fmla="*/ 307181 h 1309687"/>
                  <a:gd name="connsiteX62" fmla="*/ 261938 w 1562100"/>
                  <a:gd name="connsiteY62" fmla="*/ 340518 h 1309687"/>
                  <a:gd name="connsiteX63" fmla="*/ 228600 w 1562100"/>
                  <a:gd name="connsiteY63" fmla="*/ 383381 h 1309687"/>
                  <a:gd name="connsiteX64" fmla="*/ 271463 w 1562100"/>
                  <a:gd name="connsiteY64" fmla="*/ 400050 h 1309687"/>
                  <a:gd name="connsiteX65" fmla="*/ 278606 w 1562100"/>
                  <a:gd name="connsiteY65" fmla="*/ 419100 h 1309687"/>
                  <a:gd name="connsiteX66" fmla="*/ 257175 w 1562100"/>
                  <a:gd name="connsiteY66" fmla="*/ 454818 h 1309687"/>
                  <a:gd name="connsiteX67" fmla="*/ 221456 w 1562100"/>
                  <a:gd name="connsiteY67" fmla="*/ 464343 h 1309687"/>
                  <a:gd name="connsiteX68" fmla="*/ 221456 w 1562100"/>
                  <a:gd name="connsiteY68" fmla="*/ 504825 h 1309687"/>
                  <a:gd name="connsiteX69" fmla="*/ 254794 w 1562100"/>
                  <a:gd name="connsiteY69" fmla="*/ 542925 h 1309687"/>
                  <a:gd name="connsiteX70" fmla="*/ 226219 w 1562100"/>
                  <a:gd name="connsiteY70" fmla="*/ 607218 h 1309687"/>
                  <a:gd name="connsiteX71" fmla="*/ 180975 w 1562100"/>
                  <a:gd name="connsiteY71" fmla="*/ 635793 h 1309687"/>
                  <a:gd name="connsiteX72" fmla="*/ 183356 w 1562100"/>
                  <a:gd name="connsiteY72" fmla="*/ 652462 h 1309687"/>
                  <a:gd name="connsiteX73" fmla="*/ 204788 w 1562100"/>
                  <a:gd name="connsiteY73" fmla="*/ 661987 h 1309687"/>
                  <a:gd name="connsiteX74" fmla="*/ 219075 w 1562100"/>
                  <a:gd name="connsiteY74" fmla="*/ 671512 h 1309687"/>
                  <a:gd name="connsiteX75" fmla="*/ 223838 w 1562100"/>
                  <a:gd name="connsiteY75" fmla="*/ 690562 h 1309687"/>
                  <a:gd name="connsiteX76" fmla="*/ 195263 w 1562100"/>
                  <a:gd name="connsiteY76" fmla="*/ 716756 h 1309687"/>
                  <a:gd name="connsiteX77" fmla="*/ 123825 w 1562100"/>
                  <a:gd name="connsiteY77" fmla="*/ 762000 h 1309687"/>
                  <a:gd name="connsiteX78" fmla="*/ 123825 w 1562100"/>
                  <a:gd name="connsiteY78" fmla="*/ 797718 h 1309687"/>
                  <a:gd name="connsiteX79" fmla="*/ 135731 w 1562100"/>
                  <a:gd name="connsiteY79" fmla="*/ 828675 h 1309687"/>
                  <a:gd name="connsiteX80" fmla="*/ 123825 w 1562100"/>
                  <a:gd name="connsiteY80" fmla="*/ 869156 h 1309687"/>
                  <a:gd name="connsiteX81" fmla="*/ 76200 w 1562100"/>
                  <a:gd name="connsiteY81" fmla="*/ 864393 h 1309687"/>
                  <a:gd name="connsiteX82" fmla="*/ 52388 w 1562100"/>
                  <a:gd name="connsiteY82" fmla="*/ 809625 h 1309687"/>
                  <a:gd name="connsiteX83" fmla="*/ 33338 w 1562100"/>
                  <a:gd name="connsiteY83" fmla="*/ 802481 h 1309687"/>
                  <a:gd name="connsiteX84" fmla="*/ 23813 w 1562100"/>
                  <a:gd name="connsiteY84" fmla="*/ 840581 h 1309687"/>
                  <a:gd name="connsiteX85" fmla="*/ 21431 w 1562100"/>
                  <a:gd name="connsiteY85" fmla="*/ 850106 h 1309687"/>
                  <a:gd name="connsiteX86" fmla="*/ 7144 w 1562100"/>
                  <a:gd name="connsiteY86" fmla="*/ 866775 h 1309687"/>
                  <a:gd name="connsiteX87" fmla="*/ 0 w 1562100"/>
                  <a:gd name="connsiteY87" fmla="*/ 923925 h 1309687"/>
                  <a:gd name="connsiteX88" fmla="*/ 23813 w 1562100"/>
                  <a:gd name="connsiteY88" fmla="*/ 952500 h 1309687"/>
                  <a:gd name="connsiteX89" fmla="*/ 16669 w 1562100"/>
                  <a:gd name="connsiteY89" fmla="*/ 992981 h 1309687"/>
                  <a:gd name="connsiteX90" fmla="*/ 35719 w 1562100"/>
                  <a:gd name="connsiteY90" fmla="*/ 997743 h 1309687"/>
                  <a:gd name="connsiteX91" fmla="*/ 69056 w 1562100"/>
                  <a:gd name="connsiteY91" fmla="*/ 997743 h 1309687"/>
                  <a:gd name="connsiteX92" fmla="*/ 85725 w 1562100"/>
                  <a:gd name="connsiteY92" fmla="*/ 988218 h 1309687"/>
                  <a:gd name="connsiteX93" fmla="*/ 135731 w 1562100"/>
                  <a:gd name="connsiteY93" fmla="*/ 1045368 h 1309687"/>
                  <a:gd name="connsiteX94" fmla="*/ 123825 w 1562100"/>
                  <a:gd name="connsiteY94" fmla="*/ 1064418 h 1309687"/>
                  <a:gd name="connsiteX95" fmla="*/ 133350 w 1562100"/>
                  <a:gd name="connsiteY95" fmla="*/ 1092993 h 1309687"/>
                  <a:gd name="connsiteX96" fmla="*/ 164306 w 1562100"/>
                  <a:gd name="connsiteY96" fmla="*/ 1112043 h 1309687"/>
                  <a:gd name="connsiteX97" fmla="*/ 190500 w 1562100"/>
                  <a:gd name="connsiteY97" fmla="*/ 1121568 h 1309687"/>
                  <a:gd name="connsiteX98" fmla="*/ 216694 w 1562100"/>
                  <a:gd name="connsiteY98" fmla="*/ 1128712 h 1309687"/>
                  <a:gd name="connsiteX99" fmla="*/ 228600 w 1562100"/>
                  <a:gd name="connsiteY99" fmla="*/ 1131093 h 1309687"/>
                  <a:gd name="connsiteX100" fmla="*/ 240506 w 1562100"/>
                  <a:gd name="connsiteY100" fmla="*/ 1092993 h 1309687"/>
                  <a:gd name="connsiteX101" fmla="*/ 269081 w 1562100"/>
                  <a:gd name="connsiteY101" fmla="*/ 1097756 h 1309687"/>
                  <a:gd name="connsiteX102" fmla="*/ 288131 w 1562100"/>
                  <a:gd name="connsiteY102" fmla="*/ 1085850 h 1309687"/>
                  <a:gd name="connsiteX103" fmla="*/ 307181 w 1562100"/>
                  <a:gd name="connsiteY103" fmla="*/ 1135856 h 1309687"/>
                  <a:gd name="connsiteX104" fmla="*/ 330994 w 1562100"/>
                  <a:gd name="connsiteY104" fmla="*/ 1150143 h 1309687"/>
                  <a:gd name="connsiteX105" fmla="*/ 340519 w 1562100"/>
                  <a:gd name="connsiteY105" fmla="*/ 1178718 h 1309687"/>
                  <a:gd name="connsiteX106" fmla="*/ 357188 w 1562100"/>
                  <a:gd name="connsiteY106" fmla="*/ 1188243 h 1309687"/>
                  <a:gd name="connsiteX107" fmla="*/ 364331 w 1562100"/>
                  <a:gd name="connsiteY107" fmla="*/ 1219200 h 1309687"/>
                  <a:gd name="connsiteX108" fmla="*/ 335756 w 1562100"/>
                  <a:gd name="connsiteY108" fmla="*/ 1245393 h 1309687"/>
                  <a:gd name="connsiteX109" fmla="*/ 309563 w 1562100"/>
                  <a:gd name="connsiteY109" fmla="*/ 1262062 h 1309687"/>
                  <a:gd name="connsiteX110" fmla="*/ 297656 w 1562100"/>
                  <a:gd name="connsiteY110" fmla="*/ 1285875 h 1309687"/>
                  <a:gd name="connsiteX111" fmla="*/ 302419 w 1562100"/>
                  <a:gd name="connsiteY111" fmla="*/ 1309687 h 1309687"/>
                  <a:gd name="connsiteX112" fmla="*/ 342900 w 1562100"/>
                  <a:gd name="connsiteY112" fmla="*/ 1309687 h 1309687"/>
                  <a:gd name="connsiteX113" fmla="*/ 390525 w 1562100"/>
                  <a:gd name="connsiteY113" fmla="*/ 1304925 h 1309687"/>
                  <a:gd name="connsiteX114" fmla="*/ 428625 w 1562100"/>
                  <a:gd name="connsiteY114" fmla="*/ 1295400 h 1309687"/>
                  <a:gd name="connsiteX115" fmla="*/ 454819 w 1562100"/>
                  <a:gd name="connsiteY115" fmla="*/ 1302543 h 1309687"/>
                  <a:gd name="connsiteX116" fmla="*/ 473869 w 1562100"/>
                  <a:gd name="connsiteY116" fmla="*/ 1281112 h 1309687"/>
                  <a:gd name="connsiteX117" fmla="*/ 492919 w 1562100"/>
                  <a:gd name="connsiteY117" fmla="*/ 1281112 h 1309687"/>
                  <a:gd name="connsiteX118" fmla="*/ 507206 w 1562100"/>
                  <a:gd name="connsiteY118" fmla="*/ 1250156 h 1309687"/>
                  <a:gd name="connsiteX119" fmla="*/ 557213 w 1562100"/>
                  <a:gd name="connsiteY119" fmla="*/ 1235868 h 1309687"/>
                  <a:gd name="connsiteX120" fmla="*/ 583406 w 1562100"/>
                  <a:gd name="connsiteY120" fmla="*/ 1216818 h 1309687"/>
                  <a:gd name="connsiteX121" fmla="*/ 590550 w 1562100"/>
                  <a:gd name="connsiteY121" fmla="*/ 1178718 h 1309687"/>
                  <a:gd name="connsiteX122" fmla="*/ 607219 w 1562100"/>
                  <a:gd name="connsiteY122" fmla="*/ 1152525 h 1309687"/>
                  <a:gd name="connsiteX123" fmla="*/ 688181 w 1562100"/>
                  <a:gd name="connsiteY123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552450 w 1562100"/>
                  <a:gd name="connsiteY54" fmla="*/ 78582 h 1309687"/>
                  <a:gd name="connsiteX55" fmla="*/ 450056 w 1562100"/>
                  <a:gd name="connsiteY55" fmla="*/ 2382 h 1309687"/>
                  <a:gd name="connsiteX56" fmla="*/ 428625 w 1562100"/>
                  <a:gd name="connsiteY56" fmla="*/ 0 h 1309687"/>
                  <a:gd name="connsiteX57" fmla="*/ 376238 w 1562100"/>
                  <a:gd name="connsiteY57" fmla="*/ 104775 h 1309687"/>
                  <a:gd name="connsiteX58" fmla="*/ 314326 w 1562100"/>
                  <a:gd name="connsiteY58" fmla="*/ 104774 h 1309687"/>
                  <a:gd name="connsiteX59" fmla="*/ 328613 w 1562100"/>
                  <a:gd name="connsiteY59" fmla="*/ 183356 h 1309687"/>
                  <a:gd name="connsiteX60" fmla="*/ 292894 w 1562100"/>
                  <a:gd name="connsiteY60" fmla="*/ 285750 h 1309687"/>
                  <a:gd name="connsiteX61" fmla="*/ 264319 w 1562100"/>
                  <a:gd name="connsiteY61" fmla="*/ 292893 h 1309687"/>
                  <a:gd name="connsiteX62" fmla="*/ 261938 w 1562100"/>
                  <a:gd name="connsiteY62" fmla="*/ 307181 h 1309687"/>
                  <a:gd name="connsiteX63" fmla="*/ 261938 w 1562100"/>
                  <a:gd name="connsiteY63" fmla="*/ 340518 h 1309687"/>
                  <a:gd name="connsiteX64" fmla="*/ 228600 w 1562100"/>
                  <a:gd name="connsiteY64" fmla="*/ 383381 h 1309687"/>
                  <a:gd name="connsiteX65" fmla="*/ 271463 w 1562100"/>
                  <a:gd name="connsiteY65" fmla="*/ 400050 h 1309687"/>
                  <a:gd name="connsiteX66" fmla="*/ 278606 w 1562100"/>
                  <a:gd name="connsiteY66" fmla="*/ 419100 h 1309687"/>
                  <a:gd name="connsiteX67" fmla="*/ 257175 w 1562100"/>
                  <a:gd name="connsiteY67" fmla="*/ 454818 h 1309687"/>
                  <a:gd name="connsiteX68" fmla="*/ 221456 w 1562100"/>
                  <a:gd name="connsiteY68" fmla="*/ 464343 h 1309687"/>
                  <a:gd name="connsiteX69" fmla="*/ 221456 w 1562100"/>
                  <a:gd name="connsiteY69" fmla="*/ 504825 h 1309687"/>
                  <a:gd name="connsiteX70" fmla="*/ 254794 w 1562100"/>
                  <a:gd name="connsiteY70" fmla="*/ 542925 h 1309687"/>
                  <a:gd name="connsiteX71" fmla="*/ 226219 w 1562100"/>
                  <a:gd name="connsiteY71" fmla="*/ 607218 h 1309687"/>
                  <a:gd name="connsiteX72" fmla="*/ 180975 w 1562100"/>
                  <a:gd name="connsiteY72" fmla="*/ 635793 h 1309687"/>
                  <a:gd name="connsiteX73" fmla="*/ 183356 w 1562100"/>
                  <a:gd name="connsiteY73" fmla="*/ 652462 h 1309687"/>
                  <a:gd name="connsiteX74" fmla="*/ 204788 w 1562100"/>
                  <a:gd name="connsiteY74" fmla="*/ 661987 h 1309687"/>
                  <a:gd name="connsiteX75" fmla="*/ 219075 w 1562100"/>
                  <a:gd name="connsiteY75" fmla="*/ 671512 h 1309687"/>
                  <a:gd name="connsiteX76" fmla="*/ 223838 w 1562100"/>
                  <a:gd name="connsiteY76" fmla="*/ 690562 h 1309687"/>
                  <a:gd name="connsiteX77" fmla="*/ 195263 w 1562100"/>
                  <a:gd name="connsiteY77" fmla="*/ 716756 h 1309687"/>
                  <a:gd name="connsiteX78" fmla="*/ 123825 w 1562100"/>
                  <a:gd name="connsiteY78" fmla="*/ 762000 h 1309687"/>
                  <a:gd name="connsiteX79" fmla="*/ 123825 w 1562100"/>
                  <a:gd name="connsiteY79" fmla="*/ 797718 h 1309687"/>
                  <a:gd name="connsiteX80" fmla="*/ 135731 w 1562100"/>
                  <a:gd name="connsiteY80" fmla="*/ 828675 h 1309687"/>
                  <a:gd name="connsiteX81" fmla="*/ 123825 w 1562100"/>
                  <a:gd name="connsiteY81" fmla="*/ 869156 h 1309687"/>
                  <a:gd name="connsiteX82" fmla="*/ 76200 w 1562100"/>
                  <a:gd name="connsiteY82" fmla="*/ 864393 h 1309687"/>
                  <a:gd name="connsiteX83" fmla="*/ 52388 w 1562100"/>
                  <a:gd name="connsiteY83" fmla="*/ 809625 h 1309687"/>
                  <a:gd name="connsiteX84" fmla="*/ 33338 w 1562100"/>
                  <a:gd name="connsiteY84" fmla="*/ 802481 h 1309687"/>
                  <a:gd name="connsiteX85" fmla="*/ 23813 w 1562100"/>
                  <a:gd name="connsiteY85" fmla="*/ 840581 h 1309687"/>
                  <a:gd name="connsiteX86" fmla="*/ 21431 w 1562100"/>
                  <a:gd name="connsiteY86" fmla="*/ 850106 h 1309687"/>
                  <a:gd name="connsiteX87" fmla="*/ 7144 w 1562100"/>
                  <a:gd name="connsiteY87" fmla="*/ 866775 h 1309687"/>
                  <a:gd name="connsiteX88" fmla="*/ 0 w 1562100"/>
                  <a:gd name="connsiteY88" fmla="*/ 923925 h 1309687"/>
                  <a:gd name="connsiteX89" fmla="*/ 23813 w 1562100"/>
                  <a:gd name="connsiteY89" fmla="*/ 952500 h 1309687"/>
                  <a:gd name="connsiteX90" fmla="*/ 16669 w 1562100"/>
                  <a:gd name="connsiteY90" fmla="*/ 992981 h 1309687"/>
                  <a:gd name="connsiteX91" fmla="*/ 35719 w 1562100"/>
                  <a:gd name="connsiteY91" fmla="*/ 997743 h 1309687"/>
                  <a:gd name="connsiteX92" fmla="*/ 69056 w 1562100"/>
                  <a:gd name="connsiteY92" fmla="*/ 997743 h 1309687"/>
                  <a:gd name="connsiteX93" fmla="*/ 85725 w 1562100"/>
                  <a:gd name="connsiteY93" fmla="*/ 988218 h 1309687"/>
                  <a:gd name="connsiteX94" fmla="*/ 135731 w 1562100"/>
                  <a:gd name="connsiteY94" fmla="*/ 1045368 h 1309687"/>
                  <a:gd name="connsiteX95" fmla="*/ 123825 w 1562100"/>
                  <a:gd name="connsiteY95" fmla="*/ 1064418 h 1309687"/>
                  <a:gd name="connsiteX96" fmla="*/ 133350 w 1562100"/>
                  <a:gd name="connsiteY96" fmla="*/ 1092993 h 1309687"/>
                  <a:gd name="connsiteX97" fmla="*/ 164306 w 1562100"/>
                  <a:gd name="connsiteY97" fmla="*/ 1112043 h 1309687"/>
                  <a:gd name="connsiteX98" fmla="*/ 190500 w 1562100"/>
                  <a:gd name="connsiteY98" fmla="*/ 1121568 h 1309687"/>
                  <a:gd name="connsiteX99" fmla="*/ 216694 w 1562100"/>
                  <a:gd name="connsiteY99" fmla="*/ 1128712 h 1309687"/>
                  <a:gd name="connsiteX100" fmla="*/ 228600 w 1562100"/>
                  <a:gd name="connsiteY100" fmla="*/ 1131093 h 1309687"/>
                  <a:gd name="connsiteX101" fmla="*/ 240506 w 1562100"/>
                  <a:gd name="connsiteY101" fmla="*/ 1092993 h 1309687"/>
                  <a:gd name="connsiteX102" fmla="*/ 269081 w 1562100"/>
                  <a:gd name="connsiteY102" fmla="*/ 1097756 h 1309687"/>
                  <a:gd name="connsiteX103" fmla="*/ 288131 w 1562100"/>
                  <a:gd name="connsiteY103" fmla="*/ 1085850 h 1309687"/>
                  <a:gd name="connsiteX104" fmla="*/ 307181 w 1562100"/>
                  <a:gd name="connsiteY104" fmla="*/ 1135856 h 1309687"/>
                  <a:gd name="connsiteX105" fmla="*/ 330994 w 1562100"/>
                  <a:gd name="connsiteY105" fmla="*/ 1150143 h 1309687"/>
                  <a:gd name="connsiteX106" fmla="*/ 340519 w 1562100"/>
                  <a:gd name="connsiteY106" fmla="*/ 1178718 h 1309687"/>
                  <a:gd name="connsiteX107" fmla="*/ 357188 w 1562100"/>
                  <a:gd name="connsiteY107" fmla="*/ 1188243 h 1309687"/>
                  <a:gd name="connsiteX108" fmla="*/ 364331 w 1562100"/>
                  <a:gd name="connsiteY108" fmla="*/ 1219200 h 1309687"/>
                  <a:gd name="connsiteX109" fmla="*/ 335756 w 1562100"/>
                  <a:gd name="connsiteY109" fmla="*/ 1245393 h 1309687"/>
                  <a:gd name="connsiteX110" fmla="*/ 309563 w 1562100"/>
                  <a:gd name="connsiteY110" fmla="*/ 1262062 h 1309687"/>
                  <a:gd name="connsiteX111" fmla="*/ 297656 w 1562100"/>
                  <a:gd name="connsiteY111" fmla="*/ 1285875 h 1309687"/>
                  <a:gd name="connsiteX112" fmla="*/ 302419 w 1562100"/>
                  <a:gd name="connsiteY112" fmla="*/ 1309687 h 1309687"/>
                  <a:gd name="connsiteX113" fmla="*/ 342900 w 1562100"/>
                  <a:gd name="connsiteY113" fmla="*/ 1309687 h 1309687"/>
                  <a:gd name="connsiteX114" fmla="*/ 390525 w 1562100"/>
                  <a:gd name="connsiteY114" fmla="*/ 1304925 h 1309687"/>
                  <a:gd name="connsiteX115" fmla="*/ 428625 w 1562100"/>
                  <a:gd name="connsiteY115" fmla="*/ 1295400 h 1309687"/>
                  <a:gd name="connsiteX116" fmla="*/ 454819 w 1562100"/>
                  <a:gd name="connsiteY116" fmla="*/ 1302543 h 1309687"/>
                  <a:gd name="connsiteX117" fmla="*/ 473869 w 1562100"/>
                  <a:gd name="connsiteY117" fmla="*/ 1281112 h 1309687"/>
                  <a:gd name="connsiteX118" fmla="*/ 492919 w 1562100"/>
                  <a:gd name="connsiteY118" fmla="*/ 1281112 h 1309687"/>
                  <a:gd name="connsiteX119" fmla="*/ 507206 w 1562100"/>
                  <a:gd name="connsiteY119" fmla="*/ 1250156 h 1309687"/>
                  <a:gd name="connsiteX120" fmla="*/ 557213 w 1562100"/>
                  <a:gd name="connsiteY120" fmla="*/ 1235868 h 1309687"/>
                  <a:gd name="connsiteX121" fmla="*/ 583406 w 1562100"/>
                  <a:gd name="connsiteY121" fmla="*/ 1216818 h 1309687"/>
                  <a:gd name="connsiteX122" fmla="*/ 590550 w 1562100"/>
                  <a:gd name="connsiteY122" fmla="*/ 1178718 h 1309687"/>
                  <a:gd name="connsiteX123" fmla="*/ 607219 w 1562100"/>
                  <a:gd name="connsiteY123" fmla="*/ 1152525 h 1309687"/>
                  <a:gd name="connsiteX124" fmla="*/ 688181 w 1562100"/>
                  <a:gd name="connsiteY124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497681 w 1562100"/>
                  <a:gd name="connsiteY54" fmla="*/ 119063 h 1309687"/>
                  <a:gd name="connsiteX55" fmla="*/ 450056 w 1562100"/>
                  <a:gd name="connsiteY55" fmla="*/ 2382 h 1309687"/>
                  <a:gd name="connsiteX56" fmla="*/ 428625 w 1562100"/>
                  <a:gd name="connsiteY56" fmla="*/ 0 h 1309687"/>
                  <a:gd name="connsiteX57" fmla="*/ 376238 w 1562100"/>
                  <a:gd name="connsiteY57" fmla="*/ 104775 h 1309687"/>
                  <a:gd name="connsiteX58" fmla="*/ 314326 w 1562100"/>
                  <a:gd name="connsiteY58" fmla="*/ 104774 h 1309687"/>
                  <a:gd name="connsiteX59" fmla="*/ 328613 w 1562100"/>
                  <a:gd name="connsiteY59" fmla="*/ 183356 h 1309687"/>
                  <a:gd name="connsiteX60" fmla="*/ 292894 w 1562100"/>
                  <a:gd name="connsiteY60" fmla="*/ 285750 h 1309687"/>
                  <a:gd name="connsiteX61" fmla="*/ 264319 w 1562100"/>
                  <a:gd name="connsiteY61" fmla="*/ 292893 h 1309687"/>
                  <a:gd name="connsiteX62" fmla="*/ 261938 w 1562100"/>
                  <a:gd name="connsiteY62" fmla="*/ 307181 h 1309687"/>
                  <a:gd name="connsiteX63" fmla="*/ 261938 w 1562100"/>
                  <a:gd name="connsiteY63" fmla="*/ 340518 h 1309687"/>
                  <a:gd name="connsiteX64" fmla="*/ 228600 w 1562100"/>
                  <a:gd name="connsiteY64" fmla="*/ 383381 h 1309687"/>
                  <a:gd name="connsiteX65" fmla="*/ 271463 w 1562100"/>
                  <a:gd name="connsiteY65" fmla="*/ 400050 h 1309687"/>
                  <a:gd name="connsiteX66" fmla="*/ 278606 w 1562100"/>
                  <a:gd name="connsiteY66" fmla="*/ 419100 h 1309687"/>
                  <a:gd name="connsiteX67" fmla="*/ 257175 w 1562100"/>
                  <a:gd name="connsiteY67" fmla="*/ 454818 h 1309687"/>
                  <a:gd name="connsiteX68" fmla="*/ 221456 w 1562100"/>
                  <a:gd name="connsiteY68" fmla="*/ 464343 h 1309687"/>
                  <a:gd name="connsiteX69" fmla="*/ 221456 w 1562100"/>
                  <a:gd name="connsiteY69" fmla="*/ 504825 h 1309687"/>
                  <a:gd name="connsiteX70" fmla="*/ 254794 w 1562100"/>
                  <a:gd name="connsiteY70" fmla="*/ 542925 h 1309687"/>
                  <a:gd name="connsiteX71" fmla="*/ 226219 w 1562100"/>
                  <a:gd name="connsiteY71" fmla="*/ 607218 h 1309687"/>
                  <a:gd name="connsiteX72" fmla="*/ 180975 w 1562100"/>
                  <a:gd name="connsiteY72" fmla="*/ 635793 h 1309687"/>
                  <a:gd name="connsiteX73" fmla="*/ 183356 w 1562100"/>
                  <a:gd name="connsiteY73" fmla="*/ 652462 h 1309687"/>
                  <a:gd name="connsiteX74" fmla="*/ 204788 w 1562100"/>
                  <a:gd name="connsiteY74" fmla="*/ 661987 h 1309687"/>
                  <a:gd name="connsiteX75" fmla="*/ 219075 w 1562100"/>
                  <a:gd name="connsiteY75" fmla="*/ 671512 h 1309687"/>
                  <a:gd name="connsiteX76" fmla="*/ 223838 w 1562100"/>
                  <a:gd name="connsiteY76" fmla="*/ 690562 h 1309687"/>
                  <a:gd name="connsiteX77" fmla="*/ 195263 w 1562100"/>
                  <a:gd name="connsiteY77" fmla="*/ 716756 h 1309687"/>
                  <a:gd name="connsiteX78" fmla="*/ 123825 w 1562100"/>
                  <a:gd name="connsiteY78" fmla="*/ 762000 h 1309687"/>
                  <a:gd name="connsiteX79" fmla="*/ 123825 w 1562100"/>
                  <a:gd name="connsiteY79" fmla="*/ 797718 h 1309687"/>
                  <a:gd name="connsiteX80" fmla="*/ 135731 w 1562100"/>
                  <a:gd name="connsiteY80" fmla="*/ 828675 h 1309687"/>
                  <a:gd name="connsiteX81" fmla="*/ 123825 w 1562100"/>
                  <a:gd name="connsiteY81" fmla="*/ 869156 h 1309687"/>
                  <a:gd name="connsiteX82" fmla="*/ 76200 w 1562100"/>
                  <a:gd name="connsiteY82" fmla="*/ 864393 h 1309687"/>
                  <a:gd name="connsiteX83" fmla="*/ 52388 w 1562100"/>
                  <a:gd name="connsiteY83" fmla="*/ 809625 h 1309687"/>
                  <a:gd name="connsiteX84" fmla="*/ 33338 w 1562100"/>
                  <a:gd name="connsiteY84" fmla="*/ 802481 h 1309687"/>
                  <a:gd name="connsiteX85" fmla="*/ 23813 w 1562100"/>
                  <a:gd name="connsiteY85" fmla="*/ 840581 h 1309687"/>
                  <a:gd name="connsiteX86" fmla="*/ 21431 w 1562100"/>
                  <a:gd name="connsiteY86" fmla="*/ 850106 h 1309687"/>
                  <a:gd name="connsiteX87" fmla="*/ 7144 w 1562100"/>
                  <a:gd name="connsiteY87" fmla="*/ 866775 h 1309687"/>
                  <a:gd name="connsiteX88" fmla="*/ 0 w 1562100"/>
                  <a:gd name="connsiteY88" fmla="*/ 923925 h 1309687"/>
                  <a:gd name="connsiteX89" fmla="*/ 23813 w 1562100"/>
                  <a:gd name="connsiteY89" fmla="*/ 952500 h 1309687"/>
                  <a:gd name="connsiteX90" fmla="*/ 16669 w 1562100"/>
                  <a:gd name="connsiteY90" fmla="*/ 992981 h 1309687"/>
                  <a:gd name="connsiteX91" fmla="*/ 35719 w 1562100"/>
                  <a:gd name="connsiteY91" fmla="*/ 997743 h 1309687"/>
                  <a:gd name="connsiteX92" fmla="*/ 69056 w 1562100"/>
                  <a:gd name="connsiteY92" fmla="*/ 997743 h 1309687"/>
                  <a:gd name="connsiteX93" fmla="*/ 85725 w 1562100"/>
                  <a:gd name="connsiteY93" fmla="*/ 988218 h 1309687"/>
                  <a:gd name="connsiteX94" fmla="*/ 135731 w 1562100"/>
                  <a:gd name="connsiteY94" fmla="*/ 1045368 h 1309687"/>
                  <a:gd name="connsiteX95" fmla="*/ 123825 w 1562100"/>
                  <a:gd name="connsiteY95" fmla="*/ 1064418 h 1309687"/>
                  <a:gd name="connsiteX96" fmla="*/ 133350 w 1562100"/>
                  <a:gd name="connsiteY96" fmla="*/ 1092993 h 1309687"/>
                  <a:gd name="connsiteX97" fmla="*/ 164306 w 1562100"/>
                  <a:gd name="connsiteY97" fmla="*/ 1112043 h 1309687"/>
                  <a:gd name="connsiteX98" fmla="*/ 190500 w 1562100"/>
                  <a:gd name="connsiteY98" fmla="*/ 1121568 h 1309687"/>
                  <a:gd name="connsiteX99" fmla="*/ 216694 w 1562100"/>
                  <a:gd name="connsiteY99" fmla="*/ 1128712 h 1309687"/>
                  <a:gd name="connsiteX100" fmla="*/ 228600 w 1562100"/>
                  <a:gd name="connsiteY100" fmla="*/ 1131093 h 1309687"/>
                  <a:gd name="connsiteX101" fmla="*/ 240506 w 1562100"/>
                  <a:gd name="connsiteY101" fmla="*/ 1092993 h 1309687"/>
                  <a:gd name="connsiteX102" fmla="*/ 269081 w 1562100"/>
                  <a:gd name="connsiteY102" fmla="*/ 1097756 h 1309687"/>
                  <a:gd name="connsiteX103" fmla="*/ 288131 w 1562100"/>
                  <a:gd name="connsiteY103" fmla="*/ 1085850 h 1309687"/>
                  <a:gd name="connsiteX104" fmla="*/ 307181 w 1562100"/>
                  <a:gd name="connsiteY104" fmla="*/ 1135856 h 1309687"/>
                  <a:gd name="connsiteX105" fmla="*/ 330994 w 1562100"/>
                  <a:gd name="connsiteY105" fmla="*/ 1150143 h 1309687"/>
                  <a:gd name="connsiteX106" fmla="*/ 340519 w 1562100"/>
                  <a:gd name="connsiteY106" fmla="*/ 1178718 h 1309687"/>
                  <a:gd name="connsiteX107" fmla="*/ 357188 w 1562100"/>
                  <a:gd name="connsiteY107" fmla="*/ 1188243 h 1309687"/>
                  <a:gd name="connsiteX108" fmla="*/ 364331 w 1562100"/>
                  <a:gd name="connsiteY108" fmla="*/ 1219200 h 1309687"/>
                  <a:gd name="connsiteX109" fmla="*/ 335756 w 1562100"/>
                  <a:gd name="connsiteY109" fmla="*/ 1245393 h 1309687"/>
                  <a:gd name="connsiteX110" fmla="*/ 309563 w 1562100"/>
                  <a:gd name="connsiteY110" fmla="*/ 1262062 h 1309687"/>
                  <a:gd name="connsiteX111" fmla="*/ 297656 w 1562100"/>
                  <a:gd name="connsiteY111" fmla="*/ 1285875 h 1309687"/>
                  <a:gd name="connsiteX112" fmla="*/ 302419 w 1562100"/>
                  <a:gd name="connsiteY112" fmla="*/ 1309687 h 1309687"/>
                  <a:gd name="connsiteX113" fmla="*/ 342900 w 1562100"/>
                  <a:gd name="connsiteY113" fmla="*/ 1309687 h 1309687"/>
                  <a:gd name="connsiteX114" fmla="*/ 390525 w 1562100"/>
                  <a:gd name="connsiteY114" fmla="*/ 1304925 h 1309687"/>
                  <a:gd name="connsiteX115" fmla="*/ 428625 w 1562100"/>
                  <a:gd name="connsiteY115" fmla="*/ 1295400 h 1309687"/>
                  <a:gd name="connsiteX116" fmla="*/ 454819 w 1562100"/>
                  <a:gd name="connsiteY116" fmla="*/ 1302543 h 1309687"/>
                  <a:gd name="connsiteX117" fmla="*/ 473869 w 1562100"/>
                  <a:gd name="connsiteY117" fmla="*/ 1281112 h 1309687"/>
                  <a:gd name="connsiteX118" fmla="*/ 492919 w 1562100"/>
                  <a:gd name="connsiteY118" fmla="*/ 1281112 h 1309687"/>
                  <a:gd name="connsiteX119" fmla="*/ 507206 w 1562100"/>
                  <a:gd name="connsiteY119" fmla="*/ 1250156 h 1309687"/>
                  <a:gd name="connsiteX120" fmla="*/ 557213 w 1562100"/>
                  <a:gd name="connsiteY120" fmla="*/ 1235868 h 1309687"/>
                  <a:gd name="connsiteX121" fmla="*/ 583406 w 1562100"/>
                  <a:gd name="connsiteY121" fmla="*/ 1216818 h 1309687"/>
                  <a:gd name="connsiteX122" fmla="*/ 590550 w 1562100"/>
                  <a:gd name="connsiteY122" fmla="*/ 1178718 h 1309687"/>
                  <a:gd name="connsiteX123" fmla="*/ 607219 w 1562100"/>
                  <a:gd name="connsiteY123" fmla="*/ 1152525 h 1309687"/>
                  <a:gd name="connsiteX124" fmla="*/ 688181 w 1562100"/>
                  <a:gd name="connsiteY124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500062 w 1562100"/>
                  <a:gd name="connsiteY54" fmla="*/ 66676 h 1309687"/>
                  <a:gd name="connsiteX55" fmla="*/ 450056 w 1562100"/>
                  <a:gd name="connsiteY55" fmla="*/ 2382 h 1309687"/>
                  <a:gd name="connsiteX56" fmla="*/ 428625 w 1562100"/>
                  <a:gd name="connsiteY56" fmla="*/ 0 h 1309687"/>
                  <a:gd name="connsiteX57" fmla="*/ 376238 w 1562100"/>
                  <a:gd name="connsiteY57" fmla="*/ 104775 h 1309687"/>
                  <a:gd name="connsiteX58" fmla="*/ 314326 w 1562100"/>
                  <a:gd name="connsiteY58" fmla="*/ 104774 h 1309687"/>
                  <a:gd name="connsiteX59" fmla="*/ 328613 w 1562100"/>
                  <a:gd name="connsiteY59" fmla="*/ 183356 h 1309687"/>
                  <a:gd name="connsiteX60" fmla="*/ 292894 w 1562100"/>
                  <a:gd name="connsiteY60" fmla="*/ 285750 h 1309687"/>
                  <a:gd name="connsiteX61" fmla="*/ 264319 w 1562100"/>
                  <a:gd name="connsiteY61" fmla="*/ 292893 h 1309687"/>
                  <a:gd name="connsiteX62" fmla="*/ 261938 w 1562100"/>
                  <a:gd name="connsiteY62" fmla="*/ 307181 h 1309687"/>
                  <a:gd name="connsiteX63" fmla="*/ 261938 w 1562100"/>
                  <a:gd name="connsiteY63" fmla="*/ 340518 h 1309687"/>
                  <a:gd name="connsiteX64" fmla="*/ 228600 w 1562100"/>
                  <a:gd name="connsiteY64" fmla="*/ 383381 h 1309687"/>
                  <a:gd name="connsiteX65" fmla="*/ 271463 w 1562100"/>
                  <a:gd name="connsiteY65" fmla="*/ 400050 h 1309687"/>
                  <a:gd name="connsiteX66" fmla="*/ 278606 w 1562100"/>
                  <a:gd name="connsiteY66" fmla="*/ 419100 h 1309687"/>
                  <a:gd name="connsiteX67" fmla="*/ 257175 w 1562100"/>
                  <a:gd name="connsiteY67" fmla="*/ 454818 h 1309687"/>
                  <a:gd name="connsiteX68" fmla="*/ 221456 w 1562100"/>
                  <a:gd name="connsiteY68" fmla="*/ 464343 h 1309687"/>
                  <a:gd name="connsiteX69" fmla="*/ 221456 w 1562100"/>
                  <a:gd name="connsiteY69" fmla="*/ 504825 h 1309687"/>
                  <a:gd name="connsiteX70" fmla="*/ 254794 w 1562100"/>
                  <a:gd name="connsiteY70" fmla="*/ 542925 h 1309687"/>
                  <a:gd name="connsiteX71" fmla="*/ 226219 w 1562100"/>
                  <a:gd name="connsiteY71" fmla="*/ 607218 h 1309687"/>
                  <a:gd name="connsiteX72" fmla="*/ 180975 w 1562100"/>
                  <a:gd name="connsiteY72" fmla="*/ 635793 h 1309687"/>
                  <a:gd name="connsiteX73" fmla="*/ 183356 w 1562100"/>
                  <a:gd name="connsiteY73" fmla="*/ 652462 h 1309687"/>
                  <a:gd name="connsiteX74" fmla="*/ 204788 w 1562100"/>
                  <a:gd name="connsiteY74" fmla="*/ 661987 h 1309687"/>
                  <a:gd name="connsiteX75" fmla="*/ 219075 w 1562100"/>
                  <a:gd name="connsiteY75" fmla="*/ 671512 h 1309687"/>
                  <a:gd name="connsiteX76" fmla="*/ 223838 w 1562100"/>
                  <a:gd name="connsiteY76" fmla="*/ 690562 h 1309687"/>
                  <a:gd name="connsiteX77" fmla="*/ 195263 w 1562100"/>
                  <a:gd name="connsiteY77" fmla="*/ 716756 h 1309687"/>
                  <a:gd name="connsiteX78" fmla="*/ 123825 w 1562100"/>
                  <a:gd name="connsiteY78" fmla="*/ 762000 h 1309687"/>
                  <a:gd name="connsiteX79" fmla="*/ 123825 w 1562100"/>
                  <a:gd name="connsiteY79" fmla="*/ 797718 h 1309687"/>
                  <a:gd name="connsiteX80" fmla="*/ 135731 w 1562100"/>
                  <a:gd name="connsiteY80" fmla="*/ 828675 h 1309687"/>
                  <a:gd name="connsiteX81" fmla="*/ 123825 w 1562100"/>
                  <a:gd name="connsiteY81" fmla="*/ 869156 h 1309687"/>
                  <a:gd name="connsiteX82" fmla="*/ 76200 w 1562100"/>
                  <a:gd name="connsiteY82" fmla="*/ 864393 h 1309687"/>
                  <a:gd name="connsiteX83" fmla="*/ 52388 w 1562100"/>
                  <a:gd name="connsiteY83" fmla="*/ 809625 h 1309687"/>
                  <a:gd name="connsiteX84" fmla="*/ 33338 w 1562100"/>
                  <a:gd name="connsiteY84" fmla="*/ 802481 h 1309687"/>
                  <a:gd name="connsiteX85" fmla="*/ 23813 w 1562100"/>
                  <a:gd name="connsiteY85" fmla="*/ 840581 h 1309687"/>
                  <a:gd name="connsiteX86" fmla="*/ 21431 w 1562100"/>
                  <a:gd name="connsiteY86" fmla="*/ 850106 h 1309687"/>
                  <a:gd name="connsiteX87" fmla="*/ 7144 w 1562100"/>
                  <a:gd name="connsiteY87" fmla="*/ 866775 h 1309687"/>
                  <a:gd name="connsiteX88" fmla="*/ 0 w 1562100"/>
                  <a:gd name="connsiteY88" fmla="*/ 923925 h 1309687"/>
                  <a:gd name="connsiteX89" fmla="*/ 23813 w 1562100"/>
                  <a:gd name="connsiteY89" fmla="*/ 952500 h 1309687"/>
                  <a:gd name="connsiteX90" fmla="*/ 16669 w 1562100"/>
                  <a:gd name="connsiteY90" fmla="*/ 992981 h 1309687"/>
                  <a:gd name="connsiteX91" fmla="*/ 35719 w 1562100"/>
                  <a:gd name="connsiteY91" fmla="*/ 997743 h 1309687"/>
                  <a:gd name="connsiteX92" fmla="*/ 69056 w 1562100"/>
                  <a:gd name="connsiteY92" fmla="*/ 997743 h 1309687"/>
                  <a:gd name="connsiteX93" fmla="*/ 85725 w 1562100"/>
                  <a:gd name="connsiteY93" fmla="*/ 988218 h 1309687"/>
                  <a:gd name="connsiteX94" fmla="*/ 135731 w 1562100"/>
                  <a:gd name="connsiteY94" fmla="*/ 1045368 h 1309687"/>
                  <a:gd name="connsiteX95" fmla="*/ 123825 w 1562100"/>
                  <a:gd name="connsiteY95" fmla="*/ 1064418 h 1309687"/>
                  <a:gd name="connsiteX96" fmla="*/ 133350 w 1562100"/>
                  <a:gd name="connsiteY96" fmla="*/ 1092993 h 1309687"/>
                  <a:gd name="connsiteX97" fmla="*/ 164306 w 1562100"/>
                  <a:gd name="connsiteY97" fmla="*/ 1112043 h 1309687"/>
                  <a:gd name="connsiteX98" fmla="*/ 190500 w 1562100"/>
                  <a:gd name="connsiteY98" fmla="*/ 1121568 h 1309687"/>
                  <a:gd name="connsiteX99" fmla="*/ 216694 w 1562100"/>
                  <a:gd name="connsiteY99" fmla="*/ 1128712 h 1309687"/>
                  <a:gd name="connsiteX100" fmla="*/ 228600 w 1562100"/>
                  <a:gd name="connsiteY100" fmla="*/ 1131093 h 1309687"/>
                  <a:gd name="connsiteX101" fmla="*/ 240506 w 1562100"/>
                  <a:gd name="connsiteY101" fmla="*/ 1092993 h 1309687"/>
                  <a:gd name="connsiteX102" fmla="*/ 269081 w 1562100"/>
                  <a:gd name="connsiteY102" fmla="*/ 1097756 h 1309687"/>
                  <a:gd name="connsiteX103" fmla="*/ 288131 w 1562100"/>
                  <a:gd name="connsiteY103" fmla="*/ 1085850 h 1309687"/>
                  <a:gd name="connsiteX104" fmla="*/ 307181 w 1562100"/>
                  <a:gd name="connsiteY104" fmla="*/ 1135856 h 1309687"/>
                  <a:gd name="connsiteX105" fmla="*/ 330994 w 1562100"/>
                  <a:gd name="connsiteY105" fmla="*/ 1150143 h 1309687"/>
                  <a:gd name="connsiteX106" fmla="*/ 340519 w 1562100"/>
                  <a:gd name="connsiteY106" fmla="*/ 1178718 h 1309687"/>
                  <a:gd name="connsiteX107" fmla="*/ 357188 w 1562100"/>
                  <a:gd name="connsiteY107" fmla="*/ 1188243 h 1309687"/>
                  <a:gd name="connsiteX108" fmla="*/ 364331 w 1562100"/>
                  <a:gd name="connsiteY108" fmla="*/ 1219200 h 1309687"/>
                  <a:gd name="connsiteX109" fmla="*/ 335756 w 1562100"/>
                  <a:gd name="connsiteY109" fmla="*/ 1245393 h 1309687"/>
                  <a:gd name="connsiteX110" fmla="*/ 309563 w 1562100"/>
                  <a:gd name="connsiteY110" fmla="*/ 1262062 h 1309687"/>
                  <a:gd name="connsiteX111" fmla="*/ 297656 w 1562100"/>
                  <a:gd name="connsiteY111" fmla="*/ 1285875 h 1309687"/>
                  <a:gd name="connsiteX112" fmla="*/ 302419 w 1562100"/>
                  <a:gd name="connsiteY112" fmla="*/ 1309687 h 1309687"/>
                  <a:gd name="connsiteX113" fmla="*/ 342900 w 1562100"/>
                  <a:gd name="connsiteY113" fmla="*/ 1309687 h 1309687"/>
                  <a:gd name="connsiteX114" fmla="*/ 390525 w 1562100"/>
                  <a:gd name="connsiteY114" fmla="*/ 1304925 h 1309687"/>
                  <a:gd name="connsiteX115" fmla="*/ 428625 w 1562100"/>
                  <a:gd name="connsiteY115" fmla="*/ 1295400 h 1309687"/>
                  <a:gd name="connsiteX116" fmla="*/ 454819 w 1562100"/>
                  <a:gd name="connsiteY116" fmla="*/ 1302543 h 1309687"/>
                  <a:gd name="connsiteX117" fmla="*/ 473869 w 1562100"/>
                  <a:gd name="connsiteY117" fmla="*/ 1281112 h 1309687"/>
                  <a:gd name="connsiteX118" fmla="*/ 492919 w 1562100"/>
                  <a:gd name="connsiteY118" fmla="*/ 1281112 h 1309687"/>
                  <a:gd name="connsiteX119" fmla="*/ 507206 w 1562100"/>
                  <a:gd name="connsiteY119" fmla="*/ 1250156 h 1309687"/>
                  <a:gd name="connsiteX120" fmla="*/ 557213 w 1562100"/>
                  <a:gd name="connsiteY120" fmla="*/ 1235868 h 1309687"/>
                  <a:gd name="connsiteX121" fmla="*/ 583406 w 1562100"/>
                  <a:gd name="connsiteY121" fmla="*/ 1216818 h 1309687"/>
                  <a:gd name="connsiteX122" fmla="*/ 590550 w 1562100"/>
                  <a:gd name="connsiteY122" fmla="*/ 1178718 h 1309687"/>
                  <a:gd name="connsiteX123" fmla="*/ 607219 w 1562100"/>
                  <a:gd name="connsiteY123" fmla="*/ 1152525 h 1309687"/>
                  <a:gd name="connsiteX124" fmla="*/ 688181 w 1562100"/>
                  <a:gd name="connsiteY124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602456 w 1562100"/>
                  <a:gd name="connsiteY54" fmla="*/ 133351 h 1309687"/>
                  <a:gd name="connsiteX55" fmla="*/ 500062 w 1562100"/>
                  <a:gd name="connsiteY55" fmla="*/ 66676 h 1309687"/>
                  <a:gd name="connsiteX56" fmla="*/ 450056 w 1562100"/>
                  <a:gd name="connsiteY56" fmla="*/ 2382 h 1309687"/>
                  <a:gd name="connsiteX57" fmla="*/ 428625 w 1562100"/>
                  <a:gd name="connsiteY57" fmla="*/ 0 h 1309687"/>
                  <a:gd name="connsiteX58" fmla="*/ 376238 w 1562100"/>
                  <a:gd name="connsiteY58" fmla="*/ 104775 h 1309687"/>
                  <a:gd name="connsiteX59" fmla="*/ 314326 w 1562100"/>
                  <a:gd name="connsiteY59" fmla="*/ 104774 h 1309687"/>
                  <a:gd name="connsiteX60" fmla="*/ 328613 w 1562100"/>
                  <a:gd name="connsiteY60" fmla="*/ 183356 h 1309687"/>
                  <a:gd name="connsiteX61" fmla="*/ 292894 w 1562100"/>
                  <a:gd name="connsiteY61" fmla="*/ 285750 h 1309687"/>
                  <a:gd name="connsiteX62" fmla="*/ 264319 w 1562100"/>
                  <a:gd name="connsiteY62" fmla="*/ 292893 h 1309687"/>
                  <a:gd name="connsiteX63" fmla="*/ 261938 w 1562100"/>
                  <a:gd name="connsiteY63" fmla="*/ 307181 h 1309687"/>
                  <a:gd name="connsiteX64" fmla="*/ 261938 w 1562100"/>
                  <a:gd name="connsiteY64" fmla="*/ 340518 h 1309687"/>
                  <a:gd name="connsiteX65" fmla="*/ 228600 w 1562100"/>
                  <a:gd name="connsiteY65" fmla="*/ 383381 h 1309687"/>
                  <a:gd name="connsiteX66" fmla="*/ 271463 w 1562100"/>
                  <a:gd name="connsiteY66" fmla="*/ 400050 h 1309687"/>
                  <a:gd name="connsiteX67" fmla="*/ 278606 w 1562100"/>
                  <a:gd name="connsiteY67" fmla="*/ 419100 h 1309687"/>
                  <a:gd name="connsiteX68" fmla="*/ 257175 w 1562100"/>
                  <a:gd name="connsiteY68" fmla="*/ 454818 h 1309687"/>
                  <a:gd name="connsiteX69" fmla="*/ 221456 w 1562100"/>
                  <a:gd name="connsiteY69" fmla="*/ 464343 h 1309687"/>
                  <a:gd name="connsiteX70" fmla="*/ 221456 w 1562100"/>
                  <a:gd name="connsiteY70" fmla="*/ 504825 h 1309687"/>
                  <a:gd name="connsiteX71" fmla="*/ 254794 w 1562100"/>
                  <a:gd name="connsiteY71" fmla="*/ 542925 h 1309687"/>
                  <a:gd name="connsiteX72" fmla="*/ 226219 w 1562100"/>
                  <a:gd name="connsiteY72" fmla="*/ 607218 h 1309687"/>
                  <a:gd name="connsiteX73" fmla="*/ 180975 w 1562100"/>
                  <a:gd name="connsiteY73" fmla="*/ 635793 h 1309687"/>
                  <a:gd name="connsiteX74" fmla="*/ 183356 w 1562100"/>
                  <a:gd name="connsiteY74" fmla="*/ 652462 h 1309687"/>
                  <a:gd name="connsiteX75" fmla="*/ 204788 w 1562100"/>
                  <a:gd name="connsiteY75" fmla="*/ 661987 h 1309687"/>
                  <a:gd name="connsiteX76" fmla="*/ 219075 w 1562100"/>
                  <a:gd name="connsiteY76" fmla="*/ 671512 h 1309687"/>
                  <a:gd name="connsiteX77" fmla="*/ 223838 w 1562100"/>
                  <a:gd name="connsiteY77" fmla="*/ 690562 h 1309687"/>
                  <a:gd name="connsiteX78" fmla="*/ 195263 w 1562100"/>
                  <a:gd name="connsiteY78" fmla="*/ 716756 h 1309687"/>
                  <a:gd name="connsiteX79" fmla="*/ 123825 w 1562100"/>
                  <a:gd name="connsiteY79" fmla="*/ 762000 h 1309687"/>
                  <a:gd name="connsiteX80" fmla="*/ 123825 w 1562100"/>
                  <a:gd name="connsiteY80" fmla="*/ 797718 h 1309687"/>
                  <a:gd name="connsiteX81" fmla="*/ 135731 w 1562100"/>
                  <a:gd name="connsiteY81" fmla="*/ 828675 h 1309687"/>
                  <a:gd name="connsiteX82" fmla="*/ 123825 w 1562100"/>
                  <a:gd name="connsiteY82" fmla="*/ 869156 h 1309687"/>
                  <a:gd name="connsiteX83" fmla="*/ 76200 w 1562100"/>
                  <a:gd name="connsiteY83" fmla="*/ 864393 h 1309687"/>
                  <a:gd name="connsiteX84" fmla="*/ 52388 w 1562100"/>
                  <a:gd name="connsiteY84" fmla="*/ 809625 h 1309687"/>
                  <a:gd name="connsiteX85" fmla="*/ 33338 w 1562100"/>
                  <a:gd name="connsiteY85" fmla="*/ 802481 h 1309687"/>
                  <a:gd name="connsiteX86" fmla="*/ 23813 w 1562100"/>
                  <a:gd name="connsiteY86" fmla="*/ 840581 h 1309687"/>
                  <a:gd name="connsiteX87" fmla="*/ 21431 w 1562100"/>
                  <a:gd name="connsiteY87" fmla="*/ 850106 h 1309687"/>
                  <a:gd name="connsiteX88" fmla="*/ 7144 w 1562100"/>
                  <a:gd name="connsiteY88" fmla="*/ 866775 h 1309687"/>
                  <a:gd name="connsiteX89" fmla="*/ 0 w 1562100"/>
                  <a:gd name="connsiteY89" fmla="*/ 923925 h 1309687"/>
                  <a:gd name="connsiteX90" fmla="*/ 23813 w 1562100"/>
                  <a:gd name="connsiteY90" fmla="*/ 952500 h 1309687"/>
                  <a:gd name="connsiteX91" fmla="*/ 16669 w 1562100"/>
                  <a:gd name="connsiteY91" fmla="*/ 992981 h 1309687"/>
                  <a:gd name="connsiteX92" fmla="*/ 35719 w 1562100"/>
                  <a:gd name="connsiteY92" fmla="*/ 997743 h 1309687"/>
                  <a:gd name="connsiteX93" fmla="*/ 69056 w 1562100"/>
                  <a:gd name="connsiteY93" fmla="*/ 997743 h 1309687"/>
                  <a:gd name="connsiteX94" fmla="*/ 85725 w 1562100"/>
                  <a:gd name="connsiteY94" fmla="*/ 988218 h 1309687"/>
                  <a:gd name="connsiteX95" fmla="*/ 135731 w 1562100"/>
                  <a:gd name="connsiteY95" fmla="*/ 1045368 h 1309687"/>
                  <a:gd name="connsiteX96" fmla="*/ 123825 w 1562100"/>
                  <a:gd name="connsiteY96" fmla="*/ 1064418 h 1309687"/>
                  <a:gd name="connsiteX97" fmla="*/ 133350 w 1562100"/>
                  <a:gd name="connsiteY97" fmla="*/ 1092993 h 1309687"/>
                  <a:gd name="connsiteX98" fmla="*/ 164306 w 1562100"/>
                  <a:gd name="connsiteY98" fmla="*/ 1112043 h 1309687"/>
                  <a:gd name="connsiteX99" fmla="*/ 190500 w 1562100"/>
                  <a:gd name="connsiteY99" fmla="*/ 1121568 h 1309687"/>
                  <a:gd name="connsiteX100" fmla="*/ 216694 w 1562100"/>
                  <a:gd name="connsiteY100" fmla="*/ 1128712 h 1309687"/>
                  <a:gd name="connsiteX101" fmla="*/ 228600 w 1562100"/>
                  <a:gd name="connsiteY101" fmla="*/ 1131093 h 1309687"/>
                  <a:gd name="connsiteX102" fmla="*/ 240506 w 1562100"/>
                  <a:gd name="connsiteY102" fmla="*/ 1092993 h 1309687"/>
                  <a:gd name="connsiteX103" fmla="*/ 269081 w 1562100"/>
                  <a:gd name="connsiteY103" fmla="*/ 1097756 h 1309687"/>
                  <a:gd name="connsiteX104" fmla="*/ 288131 w 1562100"/>
                  <a:gd name="connsiteY104" fmla="*/ 1085850 h 1309687"/>
                  <a:gd name="connsiteX105" fmla="*/ 307181 w 1562100"/>
                  <a:gd name="connsiteY105" fmla="*/ 1135856 h 1309687"/>
                  <a:gd name="connsiteX106" fmla="*/ 330994 w 1562100"/>
                  <a:gd name="connsiteY106" fmla="*/ 1150143 h 1309687"/>
                  <a:gd name="connsiteX107" fmla="*/ 340519 w 1562100"/>
                  <a:gd name="connsiteY107" fmla="*/ 1178718 h 1309687"/>
                  <a:gd name="connsiteX108" fmla="*/ 357188 w 1562100"/>
                  <a:gd name="connsiteY108" fmla="*/ 1188243 h 1309687"/>
                  <a:gd name="connsiteX109" fmla="*/ 364331 w 1562100"/>
                  <a:gd name="connsiteY109" fmla="*/ 1219200 h 1309687"/>
                  <a:gd name="connsiteX110" fmla="*/ 335756 w 1562100"/>
                  <a:gd name="connsiteY110" fmla="*/ 1245393 h 1309687"/>
                  <a:gd name="connsiteX111" fmla="*/ 309563 w 1562100"/>
                  <a:gd name="connsiteY111" fmla="*/ 1262062 h 1309687"/>
                  <a:gd name="connsiteX112" fmla="*/ 297656 w 1562100"/>
                  <a:gd name="connsiteY112" fmla="*/ 1285875 h 1309687"/>
                  <a:gd name="connsiteX113" fmla="*/ 302419 w 1562100"/>
                  <a:gd name="connsiteY113" fmla="*/ 1309687 h 1309687"/>
                  <a:gd name="connsiteX114" fmla="*/ 342900 w 1562100"/>
                  <a:gd name="connsiteY114" fmla="*/ 1309687 h 1309687"/>
                  <a:gd name="connsiteX115" fmla="*/ 390525 w 1562100"/>
                  <a:gd name="connsiteY115" fmla="*/ 1304925 h 1309687"/>
                  <a:gd name="connsiteX116" fmla="*/ 428625 w 1562100"/>
                  <a:gd name="connsiteY116" fmla="*/ 1295400 h 1309687"/>
                  <a:gd name="connsiteX117" fmla="*/ 454819 w 1562100"/>
                  <a:gd name="connsiteY117" fmla="*/ 1302543 h 1309687"/>
                  <a:gd name="connsiteX118" fmla="*/ 473869 w 1562100"/>
                  <a:gd name="connsiteY118" fmla="*/ 1281112 h 1309687"/>
                  <a:gd name="connsiteX119" fmla="*/ 492919 w 1562100"/>
                  <a:gd name="connsiteY119" fmla="*/ 1281112 h 1309687"/>
                  <a:gd name="connsiteX120" fmla="*/ 507206 w 1562100"/>
                  <a:gd name="connsiteY120" fmla="*/ 1250156 h 1309687"/>
                  <a:gd name="connsiteX121" fmla="*/ 557213 w 1562100"/>
                  <a:gd name="connsiteY121" fmla="*/ 1235868 h 1309687"/>
                  <a:gd name="connsiteX122" fmla="*/ 583406 w 1562100"/>
                  <a:gd name="connsiteY122" fmla="*/ 1216818 h 1309687"/>
                  <a:gd name="connsiteX123" fmla="*/ 590550 w 1562100"/>
                  <a:gd name="connsiteY123" fmla="*/ 1178718 h 1309687"/>
                  <a:gd name="connsiteX124" fmla="*/ 607219 w 1562100"/>
                  <a:gd name="connsiteY124" fmla="*/ 1152525 h 1309687"/>
                  <a:gd name="connsiteX125" fmla="*/ 688181 w 1562100"/>
                  <a:gd name="connsiteY125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602456 w 1562100"/>
                  <a:gd name="connsiteY54" fmla="*/ 133351 h 1309687"/>
                  <a:gd name="connsiteX55" fmla="*/ 628650 w 1562100"/>
                  <a:gd name="connsiteY55" fmla="*/ 88107 h 1309687"/>
                  <a:gd name="connsiteX56" fmla="*/ 500062 w 1562100"/>
                  <a:gd name="connsiteY56" fmla="*/ 66676 h 1309687"/>
                  <a:gd name="connsiteX57" fmla="*/ 450056 w 1562100"/>
                  <a:gd name="connsiteY57" fmla="*/ 2382 h 1309687"/>
                  <a:gd name="connsiteX58" fmla="*/ 428625 w 1562100"/>
                  <a:gd name="connsiteY58" fmla="*/ 0 h 1309687"/>
                  <a:gd name="connsiteX59" fmla="*/ 376238 w 1562100"/>
                  <a:gd name="connsiteY59" fmla="*/ 104775 h 1309687"/>
                  <a:gd name="connsiteX60" fmla="*/ 314326 w 1562100"/>
                  <a:gd name="connsiteY60" fmla="*/ 104774 h 1309687"/>
                  <a:gd name="connsiteX61" fmla="*/ 328613 w 1562100"/>
                  <a:gd name="connsiteY61" fmla="*/ 183356 h 1309687"/>
                  <a:gd name="connsiteX62" fmla="*/ 292894 w 1562100"/>
                  <a:gd name="connsiteY62" fmla="*/ 285750 h 1309687"/>
                  <a:gd name="connsiteX63" fmla="*/ 264319 w 1562100"/>
                  <a:gd name="connsiteY63" fmla="*/ 292893 h 1309687"/>
                  <a:gd name="connsiteX64" fmla="*/ 261938 w 1562100"/>
                  <a:gd name="connsiteY64" fmla="*/ 307181 h 1309687"/>
                  <a:gd name="connsiteX65" fmla="*/ 261938 w 1562100"/>
                  <a:gd name="connsiteY65" fmla="*/ 340518 h 1309687"/>
                  <a:gd name="connsiteX66" fmla="*/ 228600 w 1562100"/>
                  <a:gd name="connsiteY66" fmla="*/ 383381 h 1309687"/>
                  <a:gd name="connsiteX67" fmla="*/ 271463 w 1562100"/>
                  <a:gd name="connsiteY67" fmla="*/ 400050 h 1309687"/>
                  <a:gd name="connsiteX68" fmla="*/ 278606 w 1562100"/>
                  <a:gd name="connsiteY68" fmla="*/ 419100 h 1309687"/>
                  <a:gd name="connsiteX69" fmla="*/ 257175 w 1562100"/>
                  <a:gd name="connsiteY69" fmla="*/ 454818 h 1309687"/>
                  <a:gd name="connsiteX70" fmla="*/ 221456 w 1562100"/>
                  <a:gd name="connsiteY70" fmla="*/ 464343 h 1309687"/>
                  <a:gd name="connsiteX71" fmla="*/ 221456 w 1562100"/>
                  <a:gd name="connsiteY71" fmla="*/ 504825 h 1309687"/>
                  <a:gd name="connsiteX72" fmla="*/ 254794 w 1562100"/>
                  <a:gd name="connsiteY72" fmla="*/ 542925 h 1309687"/>
                  <a:gd name="connsiteX73" fmla="*/ 226219 w 1562100"/>
                  <a:gd name="connsiteY73" fmla="*/ 607218 h 1309687"/>
                  <a:gd name="connsiteX74" fmla="*/ 180975 w 1562100"/>
                  <a:gd name="connsiteY74" fmla="*/ 635793 h 1309687"/>
                  <a:gd name="connsiteX75" fmla="*/ 183356 w 1562100"/>
                  <a:gd name="connsiteY75" fmla="*/ 652462 h 1309687"/>
                  <a:gd name="connsiteX76" fmla="*/ 204788 w 1562100"/>
                  <a:gd name="connsiteY76" fmla="*/ 661987 h 1309687"/>
                  <a:gd name="connsiteX77" fmla="*/ 219075 w 1562100"/>
                  <a:gd name="connsiteY77" fmla="*/ 671512 h 1309687"/>
                  <a:gd name="connsiteX78" fmla="*/ 223838 w 1562100"/>
                  <a:gd name="connsiteY78" fmla="*/ 690562 h 1309687"/>
                  <a:gd name="connsiteX79" fmla="*/ 195263 w 1562100"/>
                  <a:gd name="connsiteY79" fmla="*/ 716756 h 1309687"/>
                  <a:gd name="connsiteX80" fmla="*/ 123825 w 1562100"/>
                  <a:gd name="connsiteY80" fmla="*/ 762000 h 1309687"/>
                  <a:gd name="connsiteX81" fmla="*/ 123825 w 1562100"/>
                  <a:gd name="connsiteY81" fmla="*/ 797718 h 1309687"/>
                  <a:gd name="connsiteX82" fmla="*/ 135731 w 1562100"/>
                  <a:gd name="connsiteY82" fmla="*/ 828675 h 1309687"/>
                  <a:gd name="connsiteX83" fmla="*/ 123825 w 1562100"/>
                  <a:gd name="connsiteY83" fmla="*/ 869156 h 1309687"/>
                  <a:gd name="connsiteX84" fmla="*/ 76200 w 1562100"/>
                  <a:gd name="connsiteY84" fmla="*/ 864393 h 1309687"/>
                  <a:gd name="connsiteX85" fmla="*/ 52388 w 1562100"/>
                  <a:gd name="connsiteY85" fmla="*/ 809625 h 1309687"/>
                  <a:gd name="connsiteX86" fmla="*/ 33338 w 1562100"/>
                  <a:gd name="connsiteY86" fmla="*/ 802481 h 1309687"/>
                  <a:gd name="connsiteX87" fmla="*/ 23813 w 1562100"/>
                  <a:gd name="connsiteY87" fmla="*/ 840581 h 1309687"/>
                  <a:gd name="connsiteX88" fmla="*/ 21431 w 1562100"/>
                  <a:gd name="connsiteY88" fmla="*/ 850106 h 1309687"/>
                  <a:gd name="connsiteX89" fmla="*/ 7144 w 1562100"/>
                  <a:gd name="connsiteY89" fmla="*/ 866775 h 1309687"/>
                  <a:gd name="connsiteX90" fmla="*/ 0 w 1562100"/>
                  <a:gd name="connsiteY90" fmla="*/ 923925 h 1309687"/>
                  <a:gd name="connsiteX91" fmla="*/ 23813 w 1562100"/>
                  <a:gd name="connsiteY91" fmla="*/ 952500 h 1309687"/>
                  <a:gd name="connsiteX92" fmla="*/ 16669 w 1562100"/>
                  <a:gd name="connsiteY92" fmla="*/ 992981 h 1309687"/>
                  <a:gd name="connsiteX93" fmla="*/ 35719 w 1562100"/>
                  <a:gd name="connsiteY93" fmla="*/ 997743 h 1309687"/>
                  <a:gd name="connsiteX94" fmla="*/ 69056 w 1562100"/>
                  <a:gd name="connsiteY94" fmla="*/ 997743 h 1309687"/>
                  <a:gd name="connsiteX95" fmla="*/ 85725 w 1562100"/>
                  <a:gd name="connsiteY95" fmla="*/ 988218 h 1309687"/>
                  <a:gd name="connsiteX96" fmla="*/ 135731 w 1562100"/>
                  <a:gd name="connsiteY96" fmla="*/ 1045368 h 1309687"/>
                  <a:gd name="connsiteX97" fmla="*/ 123825 w 1562100"/>
                  <a:gd name="connsiteY97" fmla="*/ 1064418 h 1309687"/>
                  <a:gd name="connsiteX98" fmla="*/ 133350 w 1562100"/>
                  <a:gd name="connsiteY98" fmla="*/ 1092993 h 1309687"/>
                  <a:gd name="connsiteX99" fmla="*/ 164306 w 1562100"/>
                  <a:gd name="connsiteY99" fmla="*/ 1112043 h 1309687"/>
                  <a:gd name="connsiteX100" fmla="*/ 190500 w 1562100"/>
                  <a:gd name="connsiteY100" fmla="*/ 1121568 h 1309687"/>
                  <a:gd name="connsiteX101" fmla="*/ 216694 w 1562100"/>
                  <a:gd name="connsiteY101" fmla="*/ 1128712 h 1309687"/>
                  <a:gd name="connsiteX102" fmla="*/ 228600 w 1562100"/>
                  <a:gd name="connsiteY102" fmla="*/ 1131093 h 1309687"/>
                  <a:gd name="connsiteX103" fmla="*/ 240506 w 1562100"/>
                  <a:gd name="connsiteY103" fmla="*/ 1092993 h 1309687"/>
                  <a:gd name="connsiteX104" fmla="*/ 269081 w 1562100"/>
                  <a:gd name="connsiteY104" fmla="*/ 1097756 h 1309687"/>
                  <a:gd name="connsiteX105" fmla="*/ 288131 w 1562100"/>
                  <a:gd name="connsiteY105" fmla="*/ 1085850 h 1309687"/>
                  <a:gd name="connsiteX106" fmla="*/ 307181 w 1562100"/>
                  <a:gd name="connsiteY106" fmla="*/ 1135856 h 1309687"/>
                  <a:gd name="connsiteX107" fmla="*/ 330994 w 1562100"/>
                  <a:gd name="connsiteY107" fmla="*/ 1150143 h 1309687"/>
                  <a:gd name="connsiteX108" fmla="*/ 340519 w 1562100"/>
                  <a:gd name="connsiteY108" fmla="*/ 1178718 h 1309687"/>
                  <a:gd name="connsiteX109" fmla="*/ 357188 w 1562100"/>
                  <a:gd name="connsiteY109" fmla="*/ 1188243 h 1309687"/>
                  <a:gd name="connsiteX110" fmla="*/ 364331 w 1562100"/>
                  <a:gd name="connsiteY110" fmla="*/ 1219200 h 1309687"/>
                  <a:gd name="connsiteX111" fmla="*/ 335756 w 1562100"/>
                  <a:gd name="connsiteY111" fmla="*/ 1245393 h 1309687"/>
                  <a:gd name="connsiteX112" fmla="*/ 309563 w 1562100"/>
                  <a:gd name="connsiteY112" fmla="*/ 1262062 h 1309687"/>
                  <a:gd name="connsiteX113" fmla="*/ 297656 w 1562100"/>
                  <a:gd name="connsiteY113" fmla="*/ 1285875 h 1309687"/>
                  <a:gd name="connsiteX114" fmla="*/ 302419 w 1562100"/>
                  <a:gd name="connsiteY114" fmla="*/ 1309687 h 1309687"/>
                  <a:gd name="connsiteX115" fmla="*/ 342900 w 1562100"/>
                  <a:gd name="connsiteY115" fmla="*/ 1309687 h 1309687"/>
                  <a:gd name="connsiteX116" fmla="*/ 390525 w 1562100"/>
                  <a:gd name="connsiteY116" fmla="*/ 1304925 h 1309687"/>
                  <a:gd name="connsiteX117" fmla="*/ 428625 w 1562100"/>
                  <a:gd name="connsiteY117" fmla="*/ 1295400 h 1309687"/>
                  <a:gd name="connsiteX118" fmla="*/ 454819 w 1562100"/>
                  <a:gd name="connsiteY118" fmla="*/ 1302543 h 1309687"/>
                  <a:gd name="connsiteX119" fmla="*/ 473869 w 1562100"/>
                  <a:gd name="connsiteY119" fmla="*/ 1281112 h 1309687"/>
                  <a:gd name="connsiteX120" fmla="*/ 492919 w 1562100"/>
                  <a:gd name="connsiteY120" fmla="*/ 1281112 h 1309687"/>
                  <a:gd name="connsiteX121" fmla="*/ 507206 w 1562100"/>
                  <a:gd name="connsiteY121" fmla="*/ 1250156 h 1309687"/>
                  <a:gd name="connsiteX122" fmla="*/ 557213 w 1562100"/>
                  <a:gd name="connsiteY122" fmla="*/ 1235868 h 1309687"/>
                  <a:gd name="connsiteX123" fmla="*/ 583406 w 1562100"/>
                  <a:gd name="connsiteY123" fmla="*/ 1216818 h 1309687"/>
                  <a:gd name="connsiteX124" fmla="*/ 590550 w 1562100"/>
                  <a:gd name="connsiteY124" fmla="*/ 1178718 h 1309687"/>
                  <a:gd name="connsiteX125" fmla="*/ 607219 w 1562100"/>
                  <a:gd name="connsiteY125" fmla="*/ 1152525 h 1309687"/>
                  <a:gd name="connsiteX126" fmla="*/ 688181 w 1562100"/>
                  <a:gd name="connsiteY126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657225 w 1562100"/>
                  <a:gd name="connsiteY54" fmla="*/ 64294 h 1309687"/>
                  <a:gd name="connsiteX55" fmla="*/ 628650 w 1562100"/>
                  <a:gd name="connsiteY55" fmla="*/ 88107 h 1309687"/>
                  <a:gd name="connsiteX56" fmla="*/ 500062 w 1562100"/>
                  <a:gd name="connsiteY56" fmla="*/ 66676 h 1309687"/>
                  <a:gd name="connsiteX57" fmla="*/ 450056 w 1562100"/>
                  <a:gd name="connsiteY57" fmla="*/ 2382 h 1309687"/>
                  <a:gd name="connsiteX58" fmla="*/ 428625 w 1562100"/>
                  <a:gd name="connsiteY58" fmla="*/ 0 h 1309687"/>
                  <a:gd name="connsiteX59" fmla="*/ 376238 w 1562100"/>
                  <a:gd name="connsiteY59" fmla="*/ 104775 h 1309687"/>
                  <a:gd name="connsiteX60" fmla="*/ 314326 w 1562100"/>
                  <a:gd name="connsiteY60" fmla="*/ 104774 h 1309687"/>
                  <a:gd name="connsiteX61" fmla="*/ 328613 w 1562100"/>
                  <a:gd name="connsiteY61" fmla="*/ 183356 h 1309687"/>
                  <a:gd name="connsiteX62" fmla="*/ 292894 w 1562100"/>
                  <a:gd name="connsiteY62" fmla="*/ 285750 h 1309687"/>
                  <a:gd name="connsiteX63" fmla="*/ 264319 w 1562100"/>
                  <a:gd name="connsiteY63" fmla="*/ 292893 h 1309687"/>
                  <a:gd name="connsiteX64" fmla="*/ 261938 w 1562100"/>
                  <a:gd name="connsiteY64" fmla="*/ 307181 h 1309687"/>
                  <a:gd name="connsiteX65" fmla="*/ 261938 w 1562100"/>
                  <a:gd name="connsiteY65" fmla="*/ 340518 h 1309687"/>
                  <a:gd name="connsiteX66" fmla="*/ 228600 w 1562100"/>
                  <a:gd name="connsiteY66" fmla="*/ 383381 h 1309687"/>
                  <a:gd name="connsiteX67" fmla="*/ 271463 w 1562100"/>
                  <a:gd name="connsiteY67" fmla="*/ 400050 h 1309687"/>
                  <a:gd name="connsiteX68" fmla="*/ 278606 w 1562100"/>
                  <a:gd name="connsiteY68" fmla="*/ 419100 h 1309687"/>
                  <a:gd name="connsiteX69" fmla="*/ 257175 w 1562100"/>
                  <a:gd name="connsiteY69" fmla="*/ 454818 h 1309687"/>
                  <a:gd name="connsiteX70" fmla="*/ 221456 w 1562100"/>
                  <a:gd name="connsiteY70" fmla="*/ 464343 h 1309687"/>
                  <a:gd name="connsiteX71" fmla="*/ 221456 w 1562100"/>
                  <a:gd name="connsiteY71" fmla="*/ 504825 h 1309687"/>
                  <a:gd name="connsiteX72" fmla="*/ 254794 w 1562100"/>
                  <a:gd name="connsiteY72" fmla="*/ 542925 h 1309687"/>
                  <a:gd name="connsiteX73" fmla="*/ 226219 w 1562100"/>
                  <a:gd name="connsiteY73" fmla="*/ 607218 h 1309687"/>
                  <a:gd name="connsiteX74" fmla="*/ 180975 w 1562100"/>
                  <a:gd name="connsiteY74" fmla="*/ 635793 h 1309687"/>
                  <a:gd name="connsiteX75" fmla="*/ 183356 w 1562100"/>
                  <a:gd name="connsiteY75" fmla="*/ 652462 h 1309687"/>
                  <a:gd name="connsiteX76" fmla="*/ 204788 w 1562100"/>
                  <a:gd name="connsiteY76" fmla="*/ 661987 h 1309687"/>
                  <a:gd name="connsiteX77" fmla="*/ 219075 w 1562100"/>
                  <a:gd name="connsiteY77" fmla="*/ 671512 h 1309687"/>
                  <a:gd name="connsiteX78" fmla="*/ 223838 w 1562100"/>
                  <a:gd name="connsiteY78" fmla="*/ 690562 h 1309687"/>
                  <a:gd name="connsiteX79" fmla="*/ 195263 w 1562100"/>
                  <a:gd name="connsiteY79" fmla="*/ 716756 h 1309687"/>
                  <a:gd name="connsiteX80" fmla="*/ 123825 w 1562100"/>
                  <a:gd name="connsiteY80" fmla="*/ 762000 h 1309687"/>
                  <a:gd name="connsiteX81" fmla="*/ 123825 w 1562100"/>
                  <a:gd name="connsiteY81" fmla="*/ 797718 h 1309687"/>
                  <a:gd name="connsiteX82" fmla="*/ 135731 w 1562100"/>
                  <a:gd name="connsiteY82" fmla="*/ 828675 h 1309687"/>
                  <a:gd name="connsiteX83" fmla="*/ 123825 w 1562100"/>
                  <a:gd name="connsiteY83" fmla="*/ 869156 h 1309687"/>
                  <a:gd name="connsiteX84" fmla="*/ 76200 w 1562100"/>
                  <a:gd name="connsiteY84" fmla="*/ 864393 h 1309687"/>
                  <a:gd name="connsiteX85" fmla="*/ 52388 w 1562100"/>
                  <a:gd name="connsiteY85" fmla="*/ 809625 h 1309687"/>
                  <a:gd name="connsiteX86" fmla="*/ 33338 w 1562100"/>
                  <a:gd name="connsiteY86" fmla="*/ 802481 h 1309687"/>
                  <a:gd name="connsiteX87" fmla="*/ 23813 w 1562100"/>
                  <a:gd name="connsiteY87" fmla="*/ 840581 h 1309687"/>
                  <a:gd name="connsiteX88" fmla="*/ 21431 w 1562100"/>
                  <a:gd name="connsiteY88" fmla="*/ 850106 h 1309687"/>
                  <a:gd name="connsiteX89" fmla="*/ 7144 w 1562100"/>
                  <a:gd name="connsiteY89" fmla="*/ 866775 h 1309687"/>
                  <a:gd name="connsiteX90" fmla="*/ 0 w 1562100"/>
                  <a:gd name="connsiteY90" fmla="*/ 923925 h 1309687"/>
                  <a:gd name="connsiteX91" fmla="*/ 23813 w 1562100"/>
                  <a:gd name="connsiteY91" fmla="*/ 952500 h 1309687"/>
                  <a:gd name="connsiteX92" fmla="*/ 16669 w 1562100"/>
                  <a:gd name="connsiteY92" fmla="*/ 992981 h 1309687"/>
                  <a:gd name="connsiteX93" fmla="*/ 35719 w 1562100"/>
                  <a:gd name="connsiteY93" fmla="*/ 997743 h 1309687"/>
                  <a:gd name="connsiteX94" fmla="*/ 69056 w 1562100"/>
                  <a:gd name="connsiteY94" fmla="*/ 997743 h 1309687"/>
                  <a:gd name="connsiteX95" fmla="*/ 85725 w 1562100"/>
                  <a:gd name="connsiteY95" fmla="*/ 988218 h 1309687"/>
                  <a:gd name="connsiteX96" fmla="*/ 135731 w 1562100"/>
                  <a:gd name="connsiteY96" fmla="*/ 1045368 h 1309687"/>
                  <a:gd name="connsiteX97" fmla="*/ 123825 w 1562100"/>
                  <a:gd name="connsiteY97" fmla="*/ 1064418 h 1309687"/>
                  <a:gd name="connsiteX98" fmla="*/ 133350 w 1562100"/>
                  <a:gd name="connsiteY98" fmla="*/ 1092993 h 1309687"/>
                  <a:gd name="connsiteX99" fmla="*/ 164306 w 1562100"/>
                  <a:gd name="connsiteY99" fmla="*/ 1112043 h 1309687"/>
                  <a:gd name="connsiteX100" fmla="*/ 190500 w 1562100"/>
                  <a:gd name="connsiteY100" fmla="*/ 1121568 h 1309687"/>
                  <a:gd name="connsiteX101" fmla="*/ 216694 w 1562100"/>
                  <a:gd name="connsiteY101" fmla="*/ 1128712 h 1309687"/>
                  <a:gd name="connsiteX102" fmla="*/ 228600 w 1562100"/>
                  <a:gd name="connsiteY102" fmla="*/ 1131093 h 1309687"/>
                  <a:gd name="connsiteX103" fmla="*/ 240506 w 1562100"/>
                  <a:gd name="connsiteY103" fmla="*/ 1092993 h 1309687"/>
                  <a:gd name="connsiteX104" fmla="*/ 269081 w 1562100"/>
                  <a:gd name="connsiteY104" fmla="*/ 1097756 h 1309687"/>
                  <a:gd name="connsiteX105" fmla="*/ 288131 w 1562100"/>
                  <a:gd name="connsiteY105" fmla="*/ 1085850 h 1309687"/>
                  <a:gd name="connsiteX106" fmla="*/ 307181 w 1562100"/>
                  <a:gd name="connsiteY106" fmla="*/ 1135856 h 1309687"/>
                  <a:gd name="connsiteX107" fmla="*/ 330994 w 1562100"/>
                  <a:gd name="connsiteY107" fmla="*/ 1150143 h 1309687"/>
                  <a:gd name="connsiteX108" fmla="*/ 340519 w 1562100"/>
                  <a:gd name="connsiteY108" fmla="*/ 1178718 h 1309687"/>
                  <a:gd name="connsiteX109" fmla="*/ 357188 w 1562100"/>
                  <a:gd name="connsiteY109" fmla="*/ 1188243 h 1309687"/>
                  <a:gd name="connsiteX110" fmla="*/ 364331 w 1562100"/>
                  <a:gd name="connsiteY110" fmla="*/ 1219200 h 1309687"/>
                  <a:gd name="connsiteX111" fmla="*/ 335756 w 1562100"/>
                  <a:gd name="connsiteY111" fmla="*/ 1245393 h 1309687"/>
                  <a:gd name="connsiteX112" fmla="*/ 309563 w 1562100"/>
                  <a:gd name="connsiteY112" fmla="*/ 1262062 h 1309687"/>
                  <a:gd name="connsiteX113" fmla="*/ 297656 w 1562100"/>
                  <a:gd name="connsiteY113" fmla="*/ 1285875 h 1309687"/>
                  <a:gd name="connsiteX114" fmla="*/ 302419 w 1562100"/>
                  <a:gd name="connsiteY114" fmla="*/ 1309687 h 1309687"/>
                  <a:gd name="connsiteX115" fmla="*/ 342900 w 1562100"/>
                  <a:gd name="connsiteY115" fmla="*/ 1309687 h 1309687"/>
                  <a:gd name="connsiteX116" fmla="*/ 390525 w 1562100"/>
                  <a:gd name="connsiteY116" fmla="*/ 1304925 h 1309687"/>
                  <a:gd name="connsiteX117" fmla="*/ 428625 w 1562100"/>
                  <a:gd name="connsiteY117" fmla="*/ 1295400 h 1309687"/>
                  <a:gd name="connsiteX118" fmla="*/ 454819 w 1562100"/>
                  <a:gd name="connsiteY118" fmla="*/ 1302543 h 1309687"/>
                  <a:gd name="connsiteX119" fmla="*/ 473869 w 1562100"/>
                  <a:gd name="connsiteY119" fmla="*/ 1281112 h 1309687"/>
                  <a:gd name="connsiteX120" fmla="*/ 492919 w 1562100"/>
                  <a:gd name="connsiteY120" fmla="*/ 1281112 h 1309687"/>
                  <a:gd name="connsiteX121" fmla="*/ 507206 w 1562100"/>
                  <a:gd name="connsiteY121" fmla="*/ 1250156 h 1309687"/>
                  <a:gd name="connsiteX122" fmla="*/ 557213 w 1562100"/>
                  <a:gd name="connsiteY122" fmla="*/ 1235868 h 1309687"/>
                  <a:gd name="connsiteX123" fmla="*/ 583406 w 1562100"/>
                  <a:gd name="connsiteY123" fmla="*/ 1216818 h 1309687"/>
                  <a:gd name="connsiteX124" fmla="*/ 590550 w 1562100"/>
                  <a:gd name="connsiteY124" fmla="*/ 1178718 h 1309687"/>
                  <a:gd name="connsiteX125" fmla="*/ 607219 w 1562100"/>
                  <a:gd name="connsiteY125" fmla="*/ 1152525 h 1309687"/>
                  <a:gd name="connsiteX126" fmla="*/ 688181 w 1562100"/>
                  <a:gd name="connsiteY126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671513 w 1562100"/>
                  <a:gd name="connsiteY54" fmla="*/ 92869 h 1309687"/>
                  <a:gd name="connsiteX55" fmla="*/ 657225 w 1562100"/>
                  <a:gd name="connsiteY55" fmla="*/ 64294 h 1309687"/>
                  <a:gd name="connsiteX56" fmla="*/ 628650 w 1562100"/>
                  <a:gd name="connsiteY56" fmla="*/ 88107 h 1309687"/>
                  <a:gd name="connsiteX57" fmla="*/ 500062 w 1562100"/>
                  <a:gd name="connsiteY57" fmla="*/ 66676 h 1309687"/>
                  <a:gd name="connsiteX58" fmla="*/ 450056 w 1562100"/>
                  <a:gd name="connsiteY58" fmla="*/ 2382 h 1309687"/>
                  <a:gd name="connsiteX59" fmla="*/ 428625 w 1562100"/>
                  <a:gd name="connsiteY59" fmla="*/ 0 h 1309687"/>
                  <a:gd name="connsiteX60" fmla="*/ 376238 w 1562100"/>
                  <a:gd name="connsiteY60" fmla="*/ 104775 h 1309687"/>
                  <a:gd name="connsiteX61" fmla="*/ 314326 w 1562100"/>
                  <a:gd name="connsiteY61" fmla="*/ 104774 h 1309687"/>
                  <a:gd name="connsiteX62" fmla="*/ 328613 w 1562100"/>
                  <a:gd name="connsiteY62" fmla="*/ 183356 h 1309687"/>
                  <a:gd name="connsiteX63" fmla="*/ 292894 w 1562100"/>
                  <a:gd name="connsiteY63" fmla="*/ 285750 h 1309687"/>
                  <a:gd name="connsiteX64" fmla="*/ 264319 w 1562100"/>
                  <a:gd name="connsiteY64" fmla="*/ 292893 h 1309687"/>
                  <a:gd name="connsiteX65" fmla="*/ 261938 w 1562100"/>
                  <a:gd name="connsiteY65" fmla="*/ 307181 h 1309687"/>
                  <a:gd name="connsiteX66" fmla="*/ 261938 w 1562100"/>
                  <a:gd name="connsiteY66" fmla="*/ 340518 h 1309687"/>
                  <a:gd name="connsiteX67" fmla="*/ 228600 w 1562100"/>
                  <a:gd name="connsiteY67" fmla="*/ 383381 h 1309687"/>
                  <a:gd name="connsiteX68" fmla="*/ 271463 w 1562100"/>
                  <a:gd name="connsiteY68" fmla="*/ 400050 h 1309687"/>
                  <a:gd name="connsiteX69" fmla="*/ 278606 w 1562100"/>
                  <a:gd name="connsiteY69" fmla="*/ 419100 h 1309687"/>
                  <a:gd name="connsiteX70" fmla="*/ 257175 w 1562100"/>
                  <a:gd name="connsiteY70" fmla="*/ 454818 h 1309687"/>
                  <a:gd name="connsiteX71" fmla="*/ 221456 w 1562100"/>
                  <a:gd name="connsiteY71" fmla="*/ 464343 h 1309687"/>
                  <a:gd name="connsiteX72" fmla="*/ 221456 w 1562100"/>
                  <a:gd name="connsiteY72" fmla="*/ 504825 h 1309687"/>
                  <a:gd name="connsiteX73" fmla="*/ 254794 w 1562100"/>
                  <a:gd name="connsiteY73" fmla="*/ 542925 h 1309687"/>
                  <a:gd name="connsiteX74" fmla="*/ 226219 w 1562100"/>
                  <a:gd name="connsiteY74" fmla="*/ 607218 h 1309687"/>
                  <a:gd name="connsiteX75" fmla="*/ 180975 w 1562100"/>
                  <a:gd name="connsiteY75" fmla="*/ 635793 h 1309687"/>
                  <a:gd name="connsiteX76" fmla="*/ 183356 w 1562100"/>
                  <a:gd name="connsiteY76" fmla="*/ 652462 h 1309687"/>
                  <a:gd name="connsiteX77" fmla="*/ 204788 w 1562100"/>
                  <a:gd name="connsiteY77" fmla="*/ 661987 h 1309687"/>
                  <a:gd name="connsiteX78" fmla="*/ 219075 w 1562100"/>
                  <a:gd name="connsiteY78" fmla="*/ 671512 h 1309687"/>
                  <a:gd name="connsiteX79" fmla="*/ 223838 w 1562100"/>
                  <a:gd name="connsiteY79" fmla="*/ 690562 h 1309687"/>
                  <a:gd name="connsiteX80" fmla="*/ 195263 w 1562100"/>
                  <a:gd name="connsiteY80" fmla="*/ 716756 h 1309687"/>
                  <a:gd name="connsiteX81" fmla="*/ 123825 w 1562100"/>
                  <a:gd name="connsiteY81" fmla="*/ 762000 h 1309687"/>
                  <a:gd name="connsiteX82" fmla="*/ 123825 w 1562100"/>
                  <a:gd name="connsiteY82" fmla="*/ 797718 h 1309687"/>
                  <a:gd name="connsiteX83" fmla="*/ 135731 w 1562100"/>
                  <a:gd name="connsiteY83" fmla="*/ 828675 h 1309687"/>
                  <a:gd name="connsiteX84" fmla="*/ 123825 w 1562100"/>
                  <a:gd name="connsiteY84" fmla="*/ 869156 h 1309687"/>
                  <a:gd name="connsiteX85" fmla="*/ 76200 w 1562100"/>
                  <a:gd name="connsiteY85" fmla="*/ 864393 h 1309687"/>
                  <a:gd name="connsiteX86" fmla="*/ 52388 w 1562100"/>
                  <a:gd name="connsiteY86" fmla="*/ 809625 h 1309687"/>
                  <a:gd name="connsiteX87" fmla="*/ 33338 w 1562100"/>
                  <a:gd name="connsiteY87" fmla="*/ 802481 h 1309687"/>
                  <a:gd name="connsiteX88" fmla="*/ 23813 w 1562100"/>
                  <a:gd name="connsiteY88" fmla="*/ 840581 h 1309687"/>
                  <a:gd name="connsiteX89" fmla="*/ 21431 w 1562100"/>
                  <a:gd name="connsiteY89" fmla="*/ 850106 h 1309687"/>
                  <a:gd name="connsiteX90" fmla="*/ 7144 w 1562100"/>
                  <a:gd name="connsiteY90" fmla="*/ 866775 h 1309687"/>
                  <a:gd name="connsiteX91" fmla="*/ 0 w 1562100"/>
                  <a:gd name="connsiteY91" fmla="*/ 923925 h 1309687"/>
                  <a:gd name="connsiteX92" fmla="*/ 23813 w 1562100"/>
                  <a:gd name="connsiteY92" fmla="*/ 952500 h 1309687"/>
                  <a:gd name="connsiteX93" fmla="*/ 16669 w 1562100"/>
                  <a:gd name="connsiteY93" fmla="*/ 992981 h 1309687"/>
                  <a:gd name="connsiteX94" fmla="*/ 35719 w 1562100"/>
                  <a:gd name="connsiteY94" fmla="*/ 997743 h 1309687"/>
                  <a:gd name="connsiteX95" fmla="*/ 69056 w 1562100"/>
                  <a:gd name="connsiteY95" fmla="*/ 997743 h 1309687"/>
                  <a:gd name="connsiteX96" fmla="*/ 85725 w 1562100"/>
                  <a:gd name="connsiteY96" fmla="*/ 988218 h 1309687"/>
                  <a:gd name="connsiteX97" fmla="*/ 135731 w 1562100"/>
                  <a:gd name="connsiteY97" fmla="*/ 1045368 h 1309687"/>
                  <a:gd name="connsiteX98" fmla="*/ 123825 w 1562100"/>
                  <a:gd name="connsiteY98" fmla="*/ 1064418 h 1309687"/>
                  <a:gd name="connsiteX99" fmla="*/ 133350 w 1562100"/>
                  <a:gd name="connsiteY99" fmla="*/ 1092993 h 1309687"/>
                  <a:gd name="connsiteX100" fmla="*/ 164306 w 1562100"/>
                  <a:gd name="connsiteY100" fmla="*/ 1112043 h 1309687"/>
                  <a:gd name="connsiteX101" fmla="*/ 190500 w 1562100"/>
                  <a:gd name="connsiteY101" fmla="*/ 1121568 h 1309687"/>
                  <a:gd name="connsiteX102" fmla="*/ 216694 w 1562100"/>
                  <a:gd name="connsiteY102" fmla="*/ 1128712 h 1309687"/>
                  <a:gd name="connsiteX103" fmla="*/ 228600 w 1562100"/>
                  <a:gd name="connsiteY103" fmla="*/ 1131093 h 1309687"/>
                  <a:gd name="connsiteX104" fmla="*/ 240506 w 1562100"/>
                  <a:gd name="connsiteY104" fmla="*/ 1092993 h 1309687"/>
                  <a:gd name="connsiteX105" fmla="*/ 269081 w 1562100"/>
                  <a:gd name="connsiteY105" fmla="*/ 1097756 h 1309687"/>
                  <a:gd name="connsiteX106" fmla="*/ 288131 w 1562100"/>
                  <a:gd name="connsiteY106" fmla="*/ 1085850 h 1309687"/>
                  <a:gd name="connsiteX107" fmla="*/ 307181 w 1562100"/>
                  <a:gd name="connsiteY107" fmla="*/ 1135856 h 1309687"/>
                  <a:gd name="connsiteX108" fmla="*/ 330994 w 1562100"/>
                  <a:gd name="connsiteY108" fmla="*/ 1150143 h 1309687"/>
                  <a:gd name="connsiteX109" fmla="*/ 340519 w 1562100"/>
                  <a:gd name="connsiteY109" fmla="*/ 1178718 h 1309687"/>
                  <a:gd name="connsiteX110" fmla="*/ 357188 w 1562100"/>
                  <a:gd name="connsiteY110" fmla="*/ 1188243 h 1309687"/>
                  <a:gd name="connsiteX111" fmla="*/ 364331 w 1562100"/>
                  <a:gd name="connsiteY111" fmla="*/ 1219200 h 1309687"/>
                  <a:gd name="connsiteX112" fmla="*/ 335756 w 1562100"/>
                  <a:gd name="connsiteY112" fmla="*/ 1245393 h 1309687"/>
                  <a:gd name="connsiteX113" fmla="*/ 309563 w 1562100"/>
                  <a:gd name="connsiteY113" fmla="*/ 1262062 h 1309687"/>
                  <a:gd name="connsiteX114" fmla="*/ 297656 w 1562100"/>
                  <a:gd name="connsiteY114" fmla="*/ 1285875 h 1309687"/>
                  <a:gd name="connsiteX115" fmla="*/ 302419 w 1562100"/>
                  <a:gd name="connsiteY115" fmla="*/ 1309687 h 1309687"/>
                  <a:gd name="connsiteX116" fmla="*/ 342900 w 1562100"/>
                  <a:gd name="connsiteY116" fmla="*/ 1309687 h 1309687"/>
                  <a:gd name="connsiteX117" fmla="*/ 390525 w 1562100"/>
                  <a:gd name="connsiteY117" fmla="*/ 1304925 h 1309687"/>
                  <a:gd name="connsiteX118" fmla="*/ 428625 w 1562100"/>
                  <a:gd name="connsiteY118" fmla="*/ 1295400 h 1309687"/>
                  <a:gd name="connsiteX119" fmla="*/ 454819 w 1562100"/>
                  <a:gd name="connsiteY119" fmla="*/ 1302543 h 1309687"/>
                  <a:gd name="connsiteX120" fmla="*/ 473869 w 1562100"/>
                  <a:gd name="connsiteY120" fmla="*/ 1281112 h 1309687"/>
                  <a:gd name="connsiteX121" fmla="*/ 492919 w 1562100"/>
                  <a:gd name="connsiteY121" fmla="*/ 1281112 h 1309687"/>
                  <a:gd name="connsiteX122" fmla="*/ 507206 w 1562100"/>
                  <a:gd name="connsiteY122" fmla="*/ 1250156 h 1309687"/>
                  <a:gd name="connsiteX123" fmla="*/ 557213 w 1562100"/>
                  <a:gd name="connsiteY123" fmla="*/ 1235868 h 1309687"/>
                  <a:gd name="connsiteX124" fmla="*/ 583406 w 1562100"/>
                  <a:gd name="connsiteY124" fmla="*/ 1216818 h 1309687"/>
                  <a:gd name="connsiteX125" fmla="*/ 590550 w 1562100"/>
                  <a:gd name="connsiteY125" fmla="*/ 1178718 h 1309687"/>
                  <a:gd name="connsiteX126" fmla="*/ 607219 w 1562100"/>
                  <a:gd name="connsiteY126" fmla="*/ 1152525 h 1309687"/>
                  <a:gd name="connsiteX127" fmla="*/ 688181 w 1562100"/>
                  <a:gd name="connsiteY127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704851 w 1562100"/>
                  <a:gd name="connsiteY54" fmla="*/ 92869 h 1309687"/>
                  <a:gd name="connsiteX55" fmla="*/ 657225 w 1562100"/>
                  <a:gd name="connsiteY55" fmla="*/ 64294 h 1309687"/>
                  <a:gd name="connsiteX56" fmla="*/ 628650 w 1562100"/>
                  <a:gd name="connsiteY56" fmla="*/ 88107 h 1309687"/>
                  <a:gd name="connsiteX57" fmla="*/ 500062 w 1562100"/>
                  <a:gd name="connsiteY57" fmla="*/ 66676 h 1309687"/>
                  <a:gd name="connsiteX58" fmla="*/ 450056 w 1562100"/>
                  <a:gd name="connsiteY58" fmla="*/ 2382 h 1309687"/>
                  <a:gd name="connsiteX59" fmla="*/ 428625 w 1562100"/>
                  <a:gd name="connsiteY59" fmla="*/ 0 h 1309687"/>
                  <a:gd name="connsiteX60" fmla="*/ 376238 w 1562100"/>
                  <a:gd name="connsiteY60" fmla="*/ 104775 h 1309687"/>
                  <a:gd name="connsiteX61" fmla="*/ 314326 w 1562100"/>
                  <a:gd name="connsiteY61" fmla="*/ 104774 h 1309687"/>
                  <a:gd name="connsiteX62" fmla="*/ 328613 w 1562100"/>
                  <a:gd name="connsiteY62" fmla="*/ 183356 h 1309687"/>
                  <a:gd name="connsiteX63" fmla="*/ 292894 w 1562100"/>
                  <a:gd name="connsiteY63" fmla="*/ 285750 h 1309687"/>
                  <a:gd name="connsiteX64" fmla="*/ 264319 w 1562100"/>
                  <a:gd name="connsiteY64" fmla="*/ 292893 h 1309687"/>
                  <a:gd name="connsiteX65" fmla="*/ 261938 w 1562100"/>
                  <a:gd name="connsiteY65" fmla="*/ 307181 h 1309687"/>
                  <a:gd name="connsiteX66" fmla="*/ 261938 w 1562100"/>
                  <a:gd name="connsiteY66" fmla="*/ 340518 h 1309687"/>
                  <a:gd name="connsiteX67" fmla="*/ 228600 w 1562100"/>
                  <a:gd name="connsiteY67" fmla="*/ 383381 h 1309687"/>
                  <a:gd name="connsiteX68" fmla="*/ 271463 w 1562100"/>
                  <a:gd name="connsiteY68" fmla="*/ 400050 h 1309687"/>
                  <a:gd name="connsiteX69" fmla="*/ 278606 w 1562100"/>
                  <a:gd name="connsiteY69" fmla="*/ 419100 h 1309687"/>
                  <a:gd name="connsiteX70" fmla="*/ 257175 w 1562100"/>
                  <a:gd name="connsiteY70" fmla="*/ 454818 h 1309687"/>
                  <a:gd name="connsiteX71" fmla="*/ 221456 w 1562100"/>
                  <a:gd name="connsiteY71" fmla="*/ 464343 h 1309687"/>
                  <a:gd name="connsiteX72" fmla="*/ 221456 w 1562100"/>
                  <a:gd name="connsiteY72" fmla="*/ 504825 h 1309687"/>
                  <a:gd name="connsiteX73" fmla="*/ 254794 w 1562100"/>
                  <a:gd name="connsiteY73" fmla="*/ 542925 h 1309687"/>
                  <a:gd name="connsiteX74" fmla="*/ 226219 w 1562100"/>
                  <a:gd name="connsiteY74" fmla="*/ 607218 h 1309687"/>
                  <a:gd name="connsiteX75" fmla="*/ 180975 w 1562100"/>
                  <a:gd name="connsiteY75" fmla="*/ 635793 h 1309687"/>
                  <a:gd name="connsiteX76" fmla="*/ 183356 w 1562100"/>
                  <a:gd name="connsiteY76" fmla="*/ 652462 h 1309687"/>
                  <a:gd name="connsiteX77" fmla="*/ 204788 w 1562100"/>
                  <a:gd name="connsiteY77" fmla="*/ 661987 h 1309687"/>
                  <a:gd name="connsiteX78" fmla="*/ 219075 w 1562100"/>
                  <a:gd name="connsiteY78" fmla="*/ 671512 h 1309687"/>
                  <a:gd name="connsiteX79" fmla="*/ 223838 w 1562100"/>
                  <a:gd name="connsiteY79" fmla="*/ 690562 h 1309687"/>
                  <a:gd name="connsiteX80" fmla="*/ 195263 w 1562100"/>
                  <a:gd name="connsiteY80" fmla="*/ 716756 h 1309687"/>
                  <a:gd name="connsiteX81" fmla="*/ 123825 w 1562100"/>
                  <a:gd name="connsiteY81" fmla="*/ 762000 h 1309687"/>
                  <a:gd name="connsiteX82" fmla="*/ 123825 w 1562100"/>
                  <a:gd name="connsiteY82" fmla="*/ 797718 h 1309687"/>
                  <a:gd name="connsiteX83" fmla="*/ 135731 w 1562100"/>
                  <a:gd name="connsiteY83" fmla="*/ 828675 h 1309687"/>
                  <a:gd name="connsiteX84" fmla="*/ 123825 w 1562100"/>
                  <a:gd name="connsiteY84" fmla="*/ 869156 h 1309687"/>
                  <a:gd name="connsiteX85" fmla="*/ 76200 w 1562100"/>
                  <a:gd name="connsiteY85" fmla="*/ 864393 h 1309687"/>
                  <a:gd name="connsiteX86" fmla="*/ 52388 w 1562100"/>
                  <a:gd name="connsiteY86" fmla="*/ 809625 h 1309687"/>
                  <a:gd name="connsiteX87" fmla="*/ 33338 w 1562100"/>
                  <a:gd name="connsiteY87" fmla="*/ 802481 h 1309687"/>
                  <a:gd name="connsiteX88" fmla="*/ 23813 w 1562100"/>
                  <a:gd name="connsiteY88" fmla="*/ 840581 h 1309687"/>
                  <a:gd name="connsiteX89" fmla="*/ 21431 w 1562100"/>
                  <a:gd name="connsiteY89" fmla="*/ 850106 h 1309687"/>
                  <a:gd name="connsiteX90" fmla="*/ 7144 w 1562100"/>
                  <a:gd name="connsiteY90" fmla="*/ 866775 h 1309687"/>
                  <a:gd name="connsiteX91" fmla="*/ 0 w 1562100"/>
                  <a:gd name="connsiteY91" fmla="*/ 923925 h 1309687"/>
                  <a:gd name="connsiteX92" fmla="*/ 23813 w 1562100"/>
                  <a:gd name="connsiteY92" fmla="*/ 952500 h 1309687"/>
                  <a:gd name="connsiteX93" fmla="*/ 16669 w 1562100"/>
                  <a:gd name="connsiteY93" fmla="*/ 992981 h 1309687"/>
                  <a:gd name="connsiteX94" fmla="*/ 35719 w 1562100"/>
                  <a:gd name="connsiteY94" fmla="*/ 997743 h 1309687"/>
                  <a:gd name="connsiteX95" fmla="*/ 69056 w 1562100"/>
                  <a:gd name="connsiteY95" fmla="*/ 997743 h 1309687"/>
                  <a:gd name="connsiteX96" fmla="*/ 85725 w 1562100"/>
                  <a:gd name="connsiteY96" fmla="*/ 988218 h 1309687"/>
                  <a:gd name="connsiteX97" fmla="*/ 135731 w 1562100"/>
                  <a:gd name="connsiteY97" fmla="*/ 1045368 h 1309687"/>
                  <a:gd name="connsiteX98" fmla="*/ 123825 w 1562100"/>
                  <a:gd name="connsiteY98" fmla="*/ 1064418 h 1309687"/>
                  <a:gd name="connsiteX99" fmla="*/ 133350 w 1562100"/>
                  <a:gd name="connsiteY99" fmla="*/ 1092993 h 1309687"/>
                  <a:gd name="connsiteX100" fmla="*/ 164306 w 1562100"/>
                  <a:gd name="connsiteY100" fmla="*/ 1112043 h 1309687"/>
                  <a:gd name="connsiteX101" fmla="*/ 190500 w 1562100"/>
                  <a:gd name="connsiteY101" fmla="*/ 1121568 h 1309687"/>
                  <a:gd name="connsiteX102" fmla="*/ 216694 w 1562100"/>
                  <a:gd name="connsiteY102" fmla="*/ 1128712 h 1309687"/>
                  <a:gd name="connsiteX103" fmla="*/ 228600 w 1562100"/>
                  <a:gd name="connsiteY103" fmla="*/ 1131093 h 1309687"/>
                  <a:gd name="connsiteX104" fmla="*/ 240506 w 1562100"/>
                  <a:gd name="connsiteY104" fmla="*/ 1092993 h 1309687"/>
                  <a:gd name="connsiteX105" fmla="*/ 269081 w 1562100"/>
                  <a:gd name="connsiteY105" fmla="*/ 1097756 h 1309687"/>
                  <a:gd name="connsiteX106" fmla="*/ 288131 w 1562100"/>
                  <a:gd name="connsiteY106" fmla="*/ 1085850 h 1309687"/>
                  <a:gd name="connsiteX107" fmla="*/ 307181 w 1562100"/>
                  <a:gd name="connsiteY107" fmla="*/ 1135856 h 1309687"/>
                  <a:gd name="connsiteX108" fmla="*/ 330994 w 1562100"/>
                  <a:gd name="connsiteY108" fmla="*/ 1150143 h 1309687"/>
                  <a:gd name="connsiteX109" fmla="*/ 340519 w 1562100"/>
                  <a:gd name="connsiteY109" fmla="*/ 1178718 h 1309687"/>
                  <a:gd name="connsiteX110" fmla="*/ 357188 w 1562100"/>
                  <a:gd name="connsiteY110" fmla="*/ 1188243 h 1309687"/>
                  <a:gd name="connsiteX111" fmla="*/ 364331 w 1562100"/>
                  <a:gd name="connsiteY111" fmla="*/ 1219200 h 1309687"/>
                  <a:gd name="connsiteX112" fmla="*/ 335756 w 1562100"/>
                  <a:gd name="connsiteY112" fmla="*/ 1245393 h 1309687"/>
                  <a:gd name="connsiteX113" fmla="*/ 309563 w 1562100"/>
                  <a:gd name="connsiteY113" fmla="*/ 1262062 h 1309687"/>
                  <a:gd name="connsiteX114" fmla="*/ 297656 w 1562100"/>
                  <a:gd name="connsiteY114" fmla="*/ 1285875 h 1309687"/>
                  <a:gd name="connsiteX115" fmla="*/ 302419 w 1562100"/>
                  <a:gd name="connsiteY115" fmla="*/ 1309687 h 1309687"/>
                  <a:gd name="connsiteX116" fmla="*/ 342900 w 1562100"/>
                  <a:gd name="connsiteY116" fmla="*/ 1309687 h 1309687"/>
                  <a:gd name="connsiteX117" fmla="*/ 390525 w 1562100"/>
                  <a:gd name="connsiteY117" fmla="*/ 1304925 h 1309687"/>
                  <a:gd name="connsiteX118" fmla="*/ 428625 w 1562100"/>
                  <a:gd name="connsiteY118" fmla="*/ 1295400 h 1309687"/>
                  <a:gd name="connsiteX119" fmla="*/ 454819 w 1562100"/>
                  <a:gd name="connsiteY119" fmla="*/ 1302543 h 1309687"/>
                  <a:gd name="connsiteX120" fmla="*/ 473869 w 1562100"/>
                  <a:gd name="connsiteY120" fmla="*/ 1281112 h 1309687"/>
                  <a:gd name="connsiteX121" fmla="*/ 492919 w 1562100"/>
                  <a:gd name="connsiteY121" fmla="*/ 1281112 h 1309687"/>
                  <a:gd name="connsiteX122" fmla="*/ 507206 w 1562100"/>
                  <a:gd name="connsiteY122" fmla="*/ 1250156 h 1309687"/>
                  <a:gd name="connsiteX123" fmla="*/ 557213 w 1562100"/>
                  <a:gd name="connsiteY123" fmla="*/ 1235868 h 1309687"/>
                  <a:gd name="connsiteX124" fmla="*/ 583406 w 1562100"/>
                  <a:gd name="connsiteY124" fmla="*/ 1216818 h 1309687"/>
                  <a:gd name="connsiteX125" fmla="*/ 590550 w 1562100"/>
                  <a:gd name="connsiteY125" fmla="*/ 1178718 h 1309687"/>
                  <a:gd name="connsiteX126" fmla="*/ 607219 w 1562100"/>
                  <a:gd name="connsiteY126" fmla="*/ 1152525 h 1309687"/>
                  <a:gd name="connsiteX127" fmla="*/ 688181 w 1562100"/>
                  <a:gd name="connsiteY127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702469 w 1562100"/>
                  <a:gd name="connsiteY54" fmla="*/ 152401 h 1309687"/>
                  <a:gd name="connsiteX55" fmla="*/ 704851 w 1562100"/>
                  <a:gd name="connsiteY55" fmla="*/ 92869 h 1309687"/>
                  <a:gd name="connsiteX56" fmla="*/ 657225 w 1562100"/>
                  <a:gd name="connsiteY56" fmla="*/ 64294 h 1309687"/>
                  <a:gd name="connsiteX57" fmla="*/ 628650 w 1562100"/>
                  <a:gd name="connsiteY57" fmla="*/ 88107 h 1309687"/>
                  <a:gd name="connsiteX58" fmla="*/ 500062 w 1562100"/>
                  <a:gd name="connsiteY58" fmla="*/ 66676 h 1309687"/>
                  <a:gd name="connsiteX59" fmla="*/ 450056 w 1562100"/>
                  <a:gd name="connsiteY59" fmla="*/ 2382 h 1309687"/>
                  <a:gd name="connsiteX60" fmla="*/ 428625 w 1562100"/>
                  <a:gd name="connsiteY60" fmla="*/ 0 h 1309687"/>
                  <a:gd name="connsiteX61" fmla="*/ 376238 w 1562100"/>
                  <a:gd name="connsiteY61" fmla="*/ 104775 h 1309687"/>
                  <a:gd name="connsiteX62" fmla="*/ 314326 w 1562100"/>
                  <a:gd name="connsiteY62" fmla="*/ 104774 h 1309687"/>
                  <a:gd name="connsiteX63" fmla="*/ 328613 w 1562100"/>
                  <a:gd name="connsiteY63" fmla="*/ 183356 h 1309687"/>
                  <a:gd name="connsiteX64" fmla="*/ 292894 w 1562100"/>
                  <a:gd name="connsiteY64" fmla="*/ 285750 h 1309687"/>
                  <a:gd name="connsiteX65" fmla="*/ 264319 w 1562100"/>
                  <a:gd name="connsiteY65" fmla="*/ 292893 h 1309687"/>
                  <a:gd name="connsiteX66" fmla="*/ 261938 w 1562100"/>
                  <a:gd name="connsiteY66" fmla="*/ 307181 h 1309687"/>
                  <a:gd name="connsiteX67" fmla="*/ 261938 w 1562100"/>
                  <a:gd name="connsiteY67" fmla="*/ 340518 h 1309687"/>
                  <a:gd name="connsiteX68" fmla="*/ 228600 w 1562100"/>
                  <a:gd name="connsiteY68" fmla="*/ 383381 h 1309687"/>
                  <a:gd name="connsiteX69" fmla="*/ 271463 w 1562100"/>
                  <a:gd name="connsiteY69" fmla="*/ 400050 h 1309687"/>
                  <a:gd name="connsiteX70" fmla="*/ 278606 w 1562100"/>
                  <a:gd name="connsiteY70" fmla="*/ 419100 h 1309687"/>
                  <a:gd name="connsiteX71" fmla="*/ 257175 w 1562100"/>
                  <a:gd name="connsiteY71" fmla="*/ 454818 h 1309687"/>
                  <a:gd name="connsiteX72" fmla="*/ 221456 w 1562100"/>
                  <a:gd name="connsiteY72" fmla="*/ 464343 h 1309687"/>
                  <a:gd name="connsiteX73" fmla="*/ 221456 w 1562100"/>
                  <a:gd name="connsiteY73" fmla="*/ 504825 h 1309687"/>
                  <a:gd name="connsiteX74" fmla="*/ 254794 w 1562100"/>
                  <a:gd name="connsiteY74" fmla="*/ 542925 h 1309687"/>
                  <a:gd name="connsiteX75" fmla="*/ 226219 w 1562100"/>
                  <a:gd name="connsiteY75" fmla="*/ 607218 h 1309687"/>
                  <a:gd name="connsiteX76" fmla="*/ 180975 w 1562100"/>
                  <a:gd name="connsiteY76" fmla="*/ 635793 h 1309687"/>
                  <a:gd name="connsiteX77" fmla="*/ 183356 w 1562100"/>
                  <a:gd name="connsiteY77" fmla="*/ 652462 h 1309687"/>
                  <a:gd name="connsiteX78" fmla="*/ 204788 w 1562100"/>
                  <a:gd name="connsiteY78" fmla="*/ 661987 h 1309687"/>
                  <a:gd name="connsiteX79" fmla="*/ 219075 w 1562100"/>
                  <a:gd name="connsiteY79" fmla="*/ 671512 h 1309687"/>
                  <a:gd name="connsiteX80" fmla="*/ 223838 w 1562100"/>
                  <a:gd name="connsiteY80" fmla="*/ 690562 h 1309687"/>
                  <a:gd name="connsiteX81" fmla="*/ 195263 w 1562100"/>
                  <a:gd name="connsiteY81" fmla="*/ 716756 h 1309687"/>
                  <a:gd name="connsiteX82" fmla="*/ 123825 w 1562100"/>
                  <a:gd name="connsiteY82" fmla="*/ 762000 h 1309687"/>
                  <a:gd name="connsiteX83" fmla="*/ 123825 w 1562100"/>
                  <a:gd name="connsiteY83" fmla="*/ 797718 h 1309687"/>
                  <a:gd name="connsiteX84" fmla="*/ 135731 w 1562100"/>
                  <a:gd name="connsiteY84" fmla="*/ 828675 h 1309687"/>
                  <a:gd name="connsiteX85" fmla="*/ 123825 w 1562100"/>
                  <a:gd name="connsiteY85" fmla="*/ 869156 h 1309687"/>
                  <a:gd name="connsiteX86" fmla="*/ 76200 w 1562100"/>
                  <a:gd name="connsiteY86" fmla="*/ 864393 h 1309687"/>
                  <a:gd name="connsiteX87" fmla="*/ 52388 w 1562100"/>
                  <a:gd name="connsiteY87" fmla="*/ 809625 h 1309687"/>
                  <a:gd name="connsiteX88" fmla="*/ 33338 w 1562100"/>
                  <a:gd name="connsiteY88" fmla="*/ 802481 h 1309687"/>
                  <a:gd name="connsiteX89" fmla="*/ 23813 w 1562100"/>
                  <a:gd name="connsiteY89" fmla="*/ 840581 h 1309687"/>
                  <a:gd name="connsiteX90" fmla="*/ 21431 w 1562100"/>
                  <a:gd name="connsiteY90" fmla="*/ 850106 h 1309687"/>
                  <a:gd name="connsiteX91" fmla="*/ 7144 w 1562100"/>
                  <a:gd name="connsiteY91" fmla="*/ 866775 h 1309687"/>
                  <a:gd name="connsiteX92" fmla="*/ 0 w 1562100"/>
                  <a:gd name="connsiteY92" fmla="*/ 923925 h 1309687"/>
                  <a:gd name="connsiteX93" fmla="*/ 23813 w 1562100"/>
                  <a:gd name="connsiteY93" fmla="*/ 952500 h 1309687"/>
                  <a:gd name="connsiteX94" fmla="*/ 16669 w 1562100"/>
                  <a:gd name="connsiteY94" fmla="*/ 992981 h 1309687"/>
                  <a:gd name="connsiteX95" fmla="*/ 35719 w 1562100"/>
                  <a:gd name="connsiteY95" fmla="*/ 997743 h 1309687"/>
                  <a:gd name="connsiteX96" fmla="*/ 69056 w 1562100"/>
                  <a:gd name="connsiteY96" fmla="*/ 997743 h 1309687"/>
                  <a:gd name="connsiteX97" fmla="*/ 85725 w 1562100"/>
                  <a:gd name="connsiteY97" fmla="*/ 988218 h 1309687"/>
                  <a:gd name="connsiteX98" fmla="*/ 135731 w 1562100"/>
                  <a:gd name="connsiteY98" fmla="*/ 1045368 h 1309687"/>
                  <a:gd name="connsiteX99" fmla="*/ 123825 w 1562100"/>
                  <a:gd name="connsiteY99" fmla="*/ 1064418 h 1309687"/>
                  <a:gd name="connsiteX100" fmla="*/ 133350 w 1562100"/>
                  <a:gd name="connsiteY100" fmla="*/ 1092993 h 1309687"/>
                  <a:gd name="connsiteX101" fmla="*/ 164306 w 1562100"/>
                  <a:gd name="connsiteY101" fmla="*/ 1112043 h 1309687"/>
                  <a:gd name="connsiteX102" fmla="*/ 190500 w 1562100"/>
                  <a:gd name="connsiteY102" fmla="*/ 1121568 h 1309687"/>
                  <a:gd name="connsiteX103" fmla="*/ 216694 w 1562100"/>
                  <a:gd name="connsiteY103" fmla="*/ 1128712 h 1309687"/>
                  <a:gd name="connsiteX104" fmla="*/ 228600 w 1562100"/>
                  <a:gd name="connsiteY104" fmla="*/ 1131093 h 1309687"/>
                  <a:gd name="connsiteX105" fmla="*/ 240506 w 1562100"/>
                  <a:gd name="connsiteY105" fmla="*/ 1092993 h 1309687"/>
                  <a:gd name="connsiteX106" fmla="*/ 269081 w 1562100"/>
                  <a:gd name="connsiteY106" fmla="*/ 1097756 h 1309687"/>
                  <a:gd name="connsiteX107" fmla="*/ 288131 w 1562100"/>
                  <a:gd name="connsiteY107" fmla="*/ 1085850 h 1309687"/>
                  <a:gd name="connsiteX108" fmla="*/ 307181 w 1562100"/>
                  <a:gd name="connsiteY108" fmla="*/ 1135856 h 1309687"/>
                  <a:gd name="connsiteX109" fmla="*/ 330994 w 1562100"/>
                  <a:gd name="connsiteY109" fmla="*/ 1150143 h 1309687"/>
                  <a:gd name="connsiteX110" fmla="*/ 340519 w 1562100"/>
                  <a:gd name="connsiteY110" fmla="*/ 1178718 h 1309687"/>
                  <a:gd name="connsiteX111" fmla="*/ 357188 w 1562100"/>
                  <a:gd name="connsiteY111" fmla="*/ 1188243 h 1309687"/>
                  <a:gd name="connsiteX112" fmla="*/ 364331 w 1562100"/>
                  <a:gd name="connsiteY112" fmla="*/ 1219200 h 1309687"/>
                  <a:gd name="connsiteX113" fmla="*/ 335756 w 1562100"/>
                  <a:gd name="connsiteY113" fmla="*/ 1245393 h 1309687"/>
                  <a:gd name="connsiteX114" fmla="*/ 309563 w 1562100"/>
                  <a:gd name="connsiteY114" fmla="*/ 1262062 h 1309687"/>
                  <a:gd name="connsiteX115" fmla="*/ 297656 w 1562100"/>
                  <a:gd name="connsiteY115" fmla="*/ 1285875 h 1309687"/>
                  <a:gd name="connsiteX116" fmla="*/ 302419 w 1562100"/>
                  <a:gd name="connsiteY116" fmla="*/ 1309687 h 1309687"/>
                  <a:gd name="connsiteX117" fmla="*/ 342900 w 1562100"/>
                  <a:gd name="connsiteY117" fmla="*/ 1309687 h 1309687"/>
                  <a:gd name="connsiteX118" fmla="*/ 390525 w 1562100"/>
                  <a:gd name="connsiteY118" fmla="*/ 1304925 h 1309687"/>
                  <a:gd name="connsiteX119" fmla="*/ 428625 w 1562100"/>
                  <a:gd name="connsiteY119" fmla="*/ 1295400 h 1309687"/>
                  <a:gd name="connsiteX120" fmla="*/ 454819 w 1562100"/>
                  <a:gd name="connsiteY120" fmla="*/ 1302543 h 1309687"/>
                  <a:gd name="connsiteX121" fmla="*/ 473869 w 1562100"/>
                  <a:gd name="connsiteY121" fmla="*/ 1281112 h 1309687"/>
                  <a:gd name="connsiteX122" fmla="*/ 492919 w 1562100"/>
                  <a:gd name="connsiteY122" fmla="*/ 1281112 h 1309687"/>
                  <a:gd name="connsiteX123" fmla="*/ 507206 w 1562100"/>
                  <a:gd name="connsiteY123" fmla="*/ 1250156 h 1309687"/>
                  <a:gd name="connsiteX124" fmla="*/ 557213 w 1562100"/>
                  <a:gd name="connsiteY124" fmla="*/ 1235868 h 1309687"/>
                  <a:gd name="connsiteX125" fmla="*/ 583406 w 1562100"/>
                  <a:gd name="connsiteY125" fmla="*/ 1216818 h 1309687"/>
                  <a:gd name="connsiteX126" fmla="*/ 590550 w 1562100"/>
                  <a:gd name="connsiteY126" fmla="*/ 1178718 h 1309687"/>
                  <a:gd name="connsiteX127" fmla="*/ 607219 w 1562100"/>
                  <a:gd name="connsiteY127" fmla="*/ 1152525 h 1309687"/>
                  <a:gd name="connsiteX128" fmla="*/ 688181 w 1562100"/>
                  <a:gd name="connsiteY128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702469 w 1562100"/>
                  <a:gd name="connsiteY54" fmla="*/ 152401 h 1309687"/>
                  <a:gd name="connsiteX55" fmla="*/ 704851 w 1562100"/>
                  <a:gd name="connsiteY55" fmla="*/ 92869 h 1309687"/>
                  <a:gd name="connsiteX56" fmla="*/ 657225 w 1562100"/>
                  <a:gd name="connsiteY56" fmla="*/ 64294 h 1309687"/>
                  <a:gd name="connsiteX57" fmla="*/ 628650 w 1562100"/>
                  <a:gd name="connsiteY57" fmla="*/ 88107 h 1309687"/>
                  <a:gd name="connsiteX58" fmla="*/ 500062 w 1562100"/>
                  <a:gd name="connsiteY58" fmla="*/ 66676 h 1309687"/>
                  <a:gd name="connsiteX59" fmla="*/ 450056 w 1562100"/>
                  <a:gd name="connsiteY59" fmla="*/ 2382 h 1309687"/>
                  <a:gd name="connsiteX60" fmla="*/ 428625 w 1562100"/>
                  <a:gd name="connsiteY60" fmla="*/ 0 h 1309687"/>
                  <a:gd name="connsiteX61" fmla="*/ 376238 w 1562100"/>
                  <a:gd name="connsiteY61" fmla="*/ 104775 h 1309687"/>
                  <a:gd name="connsiteX62" fmla="*/ 314326 w 1562100"/>
                  <a:gd name="connsiteY62" fmla="*/ 104774 h 1309687"/>
                  <a:gd name="connsiteX63" fmla="*/ 328613 w 1562100"/>
                  <a:gd name="connsiteY63" fmla="*/ 183356 h 1309687"/>
                  <a:gd name="connsiteX64" fmla="*/ 292894 w 1562100"/>
                  <a:gd name="connsiteY64" fmla="*/ 285750 h 1309687"/>
                  <a:gd name="connsiteX65" fmla="*/ 264319 w 1562100"/>
                  <a:gd name="connsiteY65" fmla="*/ 292893 h 1309687"/>
                  <a:gd name="connsiteX66" fmla="*/ 261938 w 1562100"/>
                  <a:gd name="connsiteY66" fmla="*/ 307181 h 1309687"/>
                  <a:gd name="connsiteX67" fmla="*/ 261938 w 1562100"/>
                  <a:gd name="connsiteY67" fmla="*/ 340518 h 1309687"/>
                  <a:gd name="connsiteX68" fmla="*/ 228600 w 1562100"/>
                  <a:gd name="connsiteY68" fmla="*/ 383381 h 1309687"/>
                  <a:gd name="connsiteX69" fmla="*/ 271463 w 1562100"/>
                  <a:gd name="connsiteY69" fmla="*/ 400050 h 1309687"/>
                  <a:gd name="connsiteX70" fmla="*/ 278606 w 1562100"/>
                  <a:gd name="connsiteY70" fmla="*/ 419100 h 1309687"/>
                  <a:gd name="connsiteX71" fmla="*/ 257175 w 1562100"/>
                  <a:gd name="connsiteY71" fmla="*/ 454818 h 1309687"/>
                  <a:gd name="connsiteX72" fmla="*/ 221456 w 1562100"/>
                  <a:gd name="connsiteY72" fmla="*/ 464343 h 1309687"/>
                  <a:gd name="connsiteX73" fmla="*/ 221456 w 1562100"/>
                  <a:gd name="connsiteY73" fmla="*/ 504825 h 1309687"/>
                  <a:gd name="connsiteX74" fmla="*/ 254794 w 1562100"/>
                  <a:gd name="connsiteY74" fmla="*/ 542925 h 1309687"/>
                  <a:gd name="connsiteX75" fmla="*/ 226219 w 1562100"/>
                  <a:gd name="connsiteY75" fmla="*/ 607218 h 1309687"/>
                  <a:gd name="connsiteX76" fmla="*/ 180975 w 1562100"/>
                  <a:gd name="connsiteY76" fmla="*/ 635793 h 1309687"/>
                  <a:gd name="connsiteX77" fmla="*/ 183356 w 1562100"/>
                  <a:gd name="connsiteY77" fmla="*/ 652462 h 1309687"/>
                  <a:gd name="connsiteX78" fmla="*/ 204788 w 1562100"/>
                  <a:gd name="connsiteY78" fmla="*/ 661987 h 1309687"/>
                  <a:gd name="connsiteX79" fmla="*/ 219075 w 1562100"/>
                  <a:gd name="connsiteY79" fmla="*/ 671512 h 1309687"/>
                  <a:gd name="connsiteX80" fmla="*/ 223838 w 1562100"/>
                  <a:gd name="connsiteY80" fmla="*/ 690562 h 1309687"/>
                  <a:gd name="connsiteX81" fmla="*/ 195263 w 1562100"/>
                  <a:gd name="connsiteY81" fmla="*/ 716756 h 1309687"/>
                  <a:gd name="connsiteX82" fmla="*/ 123825 w 1562100"/>
                  <a:gd name="connsiteY82" fmla="*/ 762000 h 1309687"/>
                  <a:gd name="connsiteX83" fmla="*/ 123825 w 1562100"/>
                  <a:gd name="connsiteY83" fmla="*/ 797718 h 1309687"/>
                  <a:gd name="connsiteX84" fmla="*/ 135731 w 1562100"/>
                  <a:gd name="connsiteY84" fmla="*/ 828675 h 1309687"/>
                  <a:gd name="connsiteX85" fmla="*/ 123825 w 1562100"/>
                  <a:gd name="connsiteY85" fmla="*/ 869156 h 1309687"/>
                  <a:gd name="connsiteX86" fmla="*/ 76200 w 1562100"/>
                  <a:gd name="connsiteY86" fmla="*/ 864393 h 1309687"/>
                  <a:gd name="connsiteX87" fmla="*/ 52388 w 1562100"/>
                  <a:gd name="connsiteY87" fmla="*/ 809625 h 1309687"/>
                  <a:gd name="connsiteX88" fmla="*/ 33338 w 1562100"/>
                  <a:gd name="connsiteY88" fmla="*/ 802481 h 1309687"/>
                  <a:gd name="connsiteX89" fmla="*/ 23813 w 1562100"/>
                  <a:gd name="connsiteY89" fmla="*/ 840581 h 1309687"/>
                  <a:gd name="connsiteX90" fmla="*/ 21431 w 1562100"/>
                  <a:gd name="connsiteY90" fmla="*/ 850106 h 1309687"/>
                  <a:gd name="connsiteX91" fmla="*/ 7144 w 1562100"/>
                  <a:gd name="connsiteY91" fmla="*/ 866775 h 1309687"/>
                  <a:gd name="connsiteX92" fmla="*/ 0 w 1562100"/>
                  <a:gd name="connsiteY92" fmla="*/ 923925 h 1309687"/>
                  <a:gd name="connsiteX93" fmla="*/ 23813 w 1562100"/>
                  <a:gd name="connsiteY93" fmla="*/ 952500 h 1309687"/>
                  <a:gd name="connsiteX94" fmla="*/ 16669 w 1562100"/>
                  <a:gd name="connsiteY94" fmla="*/ 992981 h 1309687"/>
                  <a:gd name="connsiteX95" fmla="*/ 35719 w 1562100"/>
                  <a:gd name="connsiteY95" fmla="*/ 997743 h 1309687"/>
                  <a:gd name="connsiteX96" fmla="*/ 69056 w 1562100"/>
                  <a:gd name="connsiteY96" fmla="*/ 997743 h 1309687"/>
                  <a:gd name="connsiteX97" fmla="*/ 85725 w 1562100"/>
                  <a:gd name="connsiteY97" fmla="*/ 988218 h 1309687"/>
                  <a:gd name="connsiteX98" fmla="*/ 135731 w 1562100"/>
                  <a:gd name="connsiteY98" fmla="*/ 1045368 h 1309687"/>
                  <a:gd name="connsiteX99" fmla="*/ 123825 w 1562100"/>
                  <a:gd name="connsiteY99" fmla="*/ 1064418 h 1309687"/>
                  <a:gd name="connsiteX100" fmla="*/ 133350 w 1562100"/>
                  <a:gd name="connsiteY100" fmla="*/ 1092993 h 1309687"/>
                  <a:gd name="connsiteX101" fmla="*/ 164306 w 1562100"/>
                  <a:gd name="connsiteY101" fmla="*/ 1112043 h 1309687"/>
                  <a:gd name="connsiteX102" fmla="*/ 190500 w 1562100"/>
                  <a:gd name="connsiteY102" fmla="*/ 1121568 h 1309687"/>
                  <a:gd name="connsiteX103" fmla="*/ 216694 w 1562100"/>
                  <a:gd name="connsiteY103" fmla="*/ 1128712 h 1309687"/>
                  <a:gd name="connsiteX104" fmla="*/ 228600 w 1562100"/>
                  <a:gd name="connsiteY104" fmla="*/ 1131093 h 1309687"/>
                  <a:gd name="connsiteX105" fmla="*/ 240506 w 1562100"/>
                  <a:gd name="connsiteY105" fmla="*/ 1092993 h 1309687"/>
                  <a:gd name="connsiteX106" fmla="*/ 269081 w 1562100"/>
                  <a:gd name="connsiteY106" fmla="*/ 1097756 h 1309687"/>
                  <a:gd name="connsiteX107" fmla="*/ 288131 w 1562100"/>
                  <a:gd name="connsiteY107" fmla="*/ 1085850 h 1309687"/>
                  <a:gd name="connsiteX108" fmla="*/ 307181 w 1562100"/>
                  <a:gd name="connsiteY108" fmla="*/ 1135856 h 1309687"/>
                  <a:gd name="connsiteX109" fmla="*/ 330994 w 1562100"/>
                  <a:gd name="connsiteY109" fmla="*/ 1150143 h 1309687"/>
                  <a:gd name="connsiteX110" fmla="*/ 340519 w 1562100"/>
                  <a:gd name="connsiteY110" fmla="*/ 1178718 h 1309687"/>
                  <a:gd name="connsiteX111" fmla="*/ 357188 w 1562100"/>
                  <a:gd name="connsiteY111" fmla="*/ 1188243 h 1309687"/>
                  <a:gd name="connsiteX112" fmla="*/ 364331 w 1562100"/>
                  <a:gd name="connsiteY112" fmla="*/ 1219200 h 1309687"/>
                  <a:gd name="connsiteX113" fmla="*/ 335756 w 1562100"/>
                  <a:gd name="connsiteY113" fmla="*/ 1245393 h 1309687"/>
                  <a:gd name="connsiteX114" fmla="*/ 309563 w 1562100"/>
                  <a:gd name="connsiteY114" fmla="*/ 1262062 h 1309687"/>
                  <a:gd name="connsiteX115" fmla="*/ 297656 w 1562100"/>
                  <a:gd name="connsiteY115" fmla="*/ 1285875 h 1309687"/>
                  <a:gd name="connsiteX116" fmla="*/ 302419 w 1562100"/>
                  <a:gd name="connsiteY116" fmla="*/ 1309687 h 1309687"/>
                  <a:gd name="connsiteX117" fmla="*/ 342900 w 1562100"/>
                  <a:gd name="connsiteY117" fmla="*/ 1309687 h 1309687"/>
                  <a:gd name="connsiteX118" fmla="*/ 390525 w 1562100"/>
                  <a:gd name="connsiteY118" fmla="*/ 1304925 h 1309687"/>
                  <a:gd name="connsiteX119" fmla="*/ 428625 w 1562100"/>
                  <a:gd name="connsiteY119" fmla="*/ 1295400 h 1309687"/>
                  <a:gd name="connsiteX120" fmla="*/ 454819 w 1562100"/>
                  <a:gd name="connsiteY120" fmla="*/ 1302543 h 1309687"/>
                  <a:gd name="connsiteX121" fmla="*/ 473869 w 1562100"/>
                  <a:gd name="connsiteY121" fmla="*/ 1281112 h 1309687"/>
                  <a:gd name="connsiteX122" fmla="*/ 492919 w 1562100"/>
                  <a:gd name="connsiteY122" fmla="*/ 1281112 h 1309687"/>
                  <a:gd name="connsiteX123" fmla="*/ 507206 w 1562100"/>
                  <a:gd name="connsiteY123" fmla="*/ 1250156 h 1309687"/>
                  <a:gd name="connsiteX124" fmla="*/ 557213 w 1562100"/>
                  <a:gd name="connsiteY124" fmla="*/ 1235868 h 1309687"/>
                  <a:gd name="connsiteX125" fmla="*/ 583406 w 1562100"/>
                  <a:gd name="connsiteY125" fmla="*/ 1216818 h 1309687"/>
                  <a:gd name="connsiteX126" fmla="*/ 590550 w 1562100"/>
                  <a:gd name="connsiteY126" fmla="*/ 1178718 h 1309687"/>
                  <a:gd name="connsiteX127" fmla="*/ 607219 w 1562100"/>
                  <a:gd name="connsiteY127" fmla="*/ 1152525 h 1309687"/>
                  <a:gd name="connsiteX128" fmla="*/ 688181 w 1562100"/>
                  <a:gd name="connsiteY128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681038 w 1562100"/>
                  <a:gd name="connsiteY54" fmla="*/ 157164 h 1309687"/>
                  <a:gd name="connsiteX55" fmla="*/ 704851 w 1562100"/>
                  <a:gd name="connsiteY55" fmla="*/ 92869 h 1309687"/>
                  <a:gd name="connsiteX56" fmla="*/ 657225 w 1562100"/>
                  <a:gd name="connsiteY56" fmla="*/ 64294 h 1309687"/>
                  <a:gd name="connsiteX57" fmla="*/ 628650 w 1562100"/>
                  <a:gd name="connsiteY57" fmla="*/ 88107 h 1309687"/>
                  <a:gd name="connsiteX58" fmla="*/ 500062 w 1562100"/>
                  <a:gd name="connsiteY58" fmla="*/ 66676 h 1309687"/>
                  <a:gd name="connsiteX59" fmla="*/ 450056 w 1562100"/>
                  <a:gd name="connsiteY59" fmla="*/ 2382 h 1309687"/>
                  <a:gd name="connsiteX60" fmla="*/ 428625 w 1562100"/>
                  <a:gd name="connsiteY60" fmla="*/ 0 h 1309687"/>
                  <a:gd name="connsiteX61" fmla="*/ 376238 w 1562100"/>
                  <a:gd name="connsiteY61" fmla="*/ 104775 h 1309687"/>
                  <a:gd name="connsiteX62" fmla="*/ 314326 w 1562100"/>
                  <a:gd name="connsiteY62" fmla="*/ 104774 h 1309687"/>
                  <a:gd name="connsiteX63" fmla="*/ 328613 w 1562100"/>
                  <a:gd name="connsiteY63" fmla="*/ 183356 h 1309687"/>
                  <a:gd name="connsiteX64" fmla="*/ 292894 w 1562100"/>
                  <a:gd name="connsiteY64" fmla="*/ 285750 h 1309687"/>
                  <a:gd name="connsiteX65" fmla="*/ 264319 w 1562100"/>
                  <a:gd name="connsiteY65" fmla="*/ 292893 h 1309687"/>
                  <a:gd name="connsiteX66" fmla="*/ 261938 w 1562100"/>
                  <a:gd name="connsiteY66" fmla="*/ 307181 h 1309687"/>
                  <a:gd name="connsiteX67" fmla="*/ 261938 w 1562100"/>
                  <a:gd name="connsiteY67" fmla="*/ 340518 h 1309687"/>
                  <a:gd name="connsiteX68" fmla="*/ 228600 w 1562100"/>
                  <a:gd name="connsiteY68" fmla="*/ 383381 h 1309687"/>
                  <a:gd name="connsiteX69" fmla="*/ 271463 w 1562100"/>
                  <a:gd name="connsiteY69" fmla="*/ 400050 h 1309687"/>
                  <a:gd name="connsiteX70" fmla="*/ 278606 w 1562100"/>
                  <a:gd name="connsiteY70" fmla="*/ 419100 h 1309687"/>
                  <a:gd name="connsiteX71" fmla="*/ 257175 w 1562100"/>
                  <a:gd name="connsiteY71" fmla="*/ 454818 h 1309687"/>
                  <a:gd name="connsiteX72" fmla="*/ 221456 w 1562100"/>
                  <a:gd name="connsiteY72" fmla="*/ 464343 h 1309687"/>
                  <a:gd name="connsiteX73" fmla="*/ 221456 w 1562100"/>
                  <a:gd name="connsiteY73" fmla="*/ 504825 h 1309687"/>
                  <a:gd name="connsiteX74" fmla="*/ 254794 w 1562100"/>
                  <a:gd name="connsiteY74" fmla="*/ 542925 h 1309687"/>
                  <a:gd name="connsiteX75" fmla="*/ 226219 w 1562100"/>
                  <a:gd name="connsiteY75" fmla="*/ 607218 h 1309687"/>
                  <a:gd name="connsiteX76" fmla="*/ 180975 w 1562100"/>
                  <a:gd name="connsiteY76" fmla="*/ 635793 h 1309687"/>
                  <a:gd name="connsiteX77" fmla="*/ 183356 w 1562100"/>
                  <a:gd name="connsiteY77" fmla="*/ 652462 h 1309687"/>
                  <a:gd name="connsiteX78" fmla="*/ 204788 w 1562100"/>
                  <a:gd name="connsiteY78" fmla="*/ 661987 h 1309687"/>
                  <a:gd name="connsiteX79" fmla="*/ 219075 w 1562100"/>
                  <a:gd name="connsiteY79" fmla="*/ 671512 h 1309687"/>
                  <a:gd name="connsiteX80" fmla="*/ 223838 w 1562100"/>
                  <a:gd name="connsiteY80" fmla="*/ 690562 h 1309687"/>
                  <a:gd name="connsiteX81" fmla="*/ 195263 w 1562100"/>
                  <a:gd name="connsiteY81" fmla="*/ 716756 h 1309687"/>
                  <a:gd name="connsiteX82" fmla="*/ 123825 w 1562100"/>
                  <a:gd name="connsiteY82" fmla="*/ 762000 h 1309687"/>
                  <a:gd name="connsiteX83" fmla="*/ 123825 w 1562100"/>
                  <a:gd name="connsiteY83" fmla="*/ 797718 h 1309687"/>
                  <a:gd name="connsiteX84" fmla="*/ 135731 w 1562100"/>
                  <a:gd name="connsiteY84" fmla="*/ 828675 h 1309687"/>
                  <a:gd name="connsiteX85" fmla="*/ 123825 w 1562100"/>
                  <a:gd name="connsiteY85" fmla="*/ 869156 h 1309687"/>
                  <a:gd name="connsiteX86" fmla="*/ 76200 w 1562100"/>
                  <a:gd name="connsiteY86" fmla="*/ 864393 h 1309687"/>
                  <a:gd name="connsiteX87" fmla="*/ 52388 w 1562100"/>
                  <a:gd name="connsiteY87" fmla="*/ 809625 h 1309687"/>
                  <a:gd name="connsiteX88" fmla="*/ 33338 w 1562100"/>
                  <a:gd name="connsiteY88" fmla="*/ 802481 h 1309687"/>
                  <a:gd name="connsiteX89" fmla="*/ 23813 w 1562100"/>
                  <a:gd name="connsiteY89" fmla="*/ 840581 h 1309687"/>
                  <a:gd name="connsiteX90" fmla="*/ 21431 w 1562100"/>
                  <a:gd name="connsiteY90" fmla="*/ 850106 h 1309687"/>
                  <a:gd name="connsiteX91" fmla="*/ 7144 w 1562100"/>
                  <a:gd name="connsiteY91" fmla="*/ 866775 h 1309687"/>
                  <a:gd name="connsiteX92" fmla="*/ 0 w 1562100"/>
                  <a:gd name="connsiteY92" fmla="*/ 923925 h 1309687"/>
                  <a:gd name="connsiteX93" fmla="*/ 23813 w 1562100"/>
                  <a:gd name="connsiteY93" fmla="*/ 952500 h 1309687"/>
                  <a:gd name="connsiteX94" fmla="*/ 16669 w 1562100"/>
                  <a:gd name="connsiteY94" fmla="*/ 992981 h 1309687"/>
                  <a:gd name="connsiteX95" fmla="*/ 35719 w 1562100"/>
                  <a:gd name="connsiteY95" fmla="*/ 997743 h 1309687"/>
                  <a:gd name="connsiteX96" fmla="*/ 69056 w 1562100"/>
                  <a:gd name="connsiteY96" fmla="*/ 997743 h 1309687"/>
                  <a:gd name="connsiteX97" fmla="*/ 85725 w 1562100"/>
                  <a:gd name="connsiteY97" fmla="*/ 988218 h 1309687"/>
                  <a:gd name="connsiteX98" fmla="*/ 135731 w 1562100"/>
                  <a:gd name="connsiteY98" fmla="*/ 1045368 h 1309687"/>
                  <a:gd name="connsiteX99" fmla="*/ 123825 w 1562100"/>
                  <a:gd name="connsiteY99" fmla="*/ 1064418 h 1309687"/>
                  <a:gd name="connsiteX100" fmla="*/ 133350 w 1562100"/>
                  <a:gd name="connsiteY100" fmla="*/ 1092993 h 1309687"/>
                  <a:gd name="connsiteX101" fmla="*/ 164306 w 1562100"/>
                  <a:gd name="connsiteY101" fmla="*/ 1112043 h 1309687"/>
                  <a:gd name="connsiteX102" fmla="*/ 190500 w 1562100"/>
                  <a:gd name="connsiteY102" fmla="*/ 1121568 h 1309687"/>
                  <a:gd name="connsiteX103" fmla="*/ 216694 w 1562100"/>
                  <a:gd name="connsiteY103" fmla="*/ 1128712 h 1309687"/>
                  <a:gd name="connsiteX104" fmla="*/ 228600 w 1562100"/>
                  <a:gd name="connsiteY104" fmla="*/ 1131093 h 1309687"/>
                  <a:gd name="connsiteX105" fmla="*/ 240506 w 1562100"/>
                  <a:gd name="connsiteY105" fmla="*/ 1092993 h 1309687"/>
                  <a:gd name="connsiteX106" fmla="*/ 269081 w 1562100"/>
                  <a:gd name="connsiteY106" fmla="*/ 1097756 h 1309687"/>
                  <a:gd name="connsiteX107" fmla="*/ 288131 w 1562100"/>
                  <a:gd name="connsiteY107" fmla="*/ 1085850 h 1309687"/>
                  <a:gd name="connsiteX108" fmla="*/ 307181 w 1562100"/>
                  <a:gd name="connsiteY108" fmla="*/ 1135856 h 1309687"/>
                  <a:gd name="connsiteX109" fmla="*/ 330994 w 1562100"/>
                  <a:gd name="connsiteY109" fmla="*/ 1150143 h 1309687"/>
                  <a:gd name="connsiteX110" fmla="*/ 340519 w 1562100"/>
                  <a:gd name="connsiteY110" fmla="*/ 1178718 h 1309687"/>
                  <a:gd name="connsiteX111" fmla="*/ 357188 w 1562100"/>
                  <a:gd name="connsiteY111" fmla="*/ 1188243 h 1309687"/>
                  <a:gd name="connsiteX112" fmla="*/ 364331 w 1562100"/>
                  <a:gd name="connsiteY112" fmla="*/ 1219200 h 1309687"/>
                  <a:gd name="connsiteX113" fmla="*/ 335756 w 1562100"/>
                  <a:gd name="connsiteY113" fmla="*/ 1245393 h 1309687"/>
                  <a:gd name="connsiteX114" fmla="*/ 309563 w 1562100"/>
                  <a:gd name="connsiteY114" fmla="*/ 1262062 h 1309687"/>
                  <a:gd name="connsiteX115" fmla="*/ 297656 w 1562100"/>
                  <a:gd name="connsiteY115" fmla="*/ 1285875 h 1309687"/>
                  <a:gd name="connsiteX116" fmla="*/ 302419 w 1562100"/>
                  <a:gd name="connsiteY116" fmla="*/ 1309687 h 1309687"/>
                  <a:gd name="connsiteX117" fmla="*/ 342900 w 1562100"/>
                  <a:gd name="connsiteY117" fmla="*/ 1309687 h 1309687"/>
                  <a:gd name="connsiteX118" fmla="*/ 390525 w 1562100"/>
                  <a:gd name="connsiteY118" fmla="*/ 1304925 h 1309687"/>
                  <a:gd name="connsiteX119" fmla="*/ 428625 w 1562100"/>
                  <a:gd name="connsiteY119" fmla="*/ 1295400 h 1309687"/>
                  <a:gd name="connsiteX120" fmla="*/ 454819 w 1562100"/>
                  <a:gd name="connsiteY120" fmla="*/ 1302543 h 1309687"/>
                  <a:gd name="connsiteX121" fmla="*/ 473869 w 1562100"/>
                  <a:gd name="connsiteY121" fmla="*/ 1281112 h 1309687"/>
                  <a:gd name="connsiteX122" fmla="*/ 492919 w 1562100"/>
                  <a:gd name="connsiteY122" fmla="*/ 1281112 h 1309687"/>
                  <a:gd name="connsiteX123" fmla="*/ 507206 w 1562100"/>
                  <a:gd name="connsiteY123" fmla="*/ 1250156 h 1309687"/>
                  <a:gd name="connsiteX124" fmla="*/ 557213 w 1562100"/>
                  <a:gd name="connsiteY124" fmla="*/ 1235868 h 1309687"/>
                  <a:gd name="connsiteX125" fmla="*/ 583406 w 1562100"/>
                  <a:gd name="connsiteY125" fmla="*/ 1216818 h 1309687"/>
                  <a:gd name="connsiteX126" fmla="*/ 590550 w 1562100"/>
                  <a:gd name="connsiteY126" fmla="*/ 1178718 h 1309687"/>
                  <a:gd name="connsiteX127" fmla="*/ 607219 w 1562100"/>
                  <a:gd name="connsiteY127" fmla="*/ 1152525 h 1309687"/>
                  <a:gd name="connsiteX128" fmla="*/ 688181 w 1562100"/>
                  <a:gd name="connsiteY128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681038 w 1562100"/>
                  <a:gd name="connsiteY54" fmla="*/ 157164 h 1309687"/>
                  <a:gd name="connsiteX55" fmla="*/ 704851 w 1562100"/>
                  <a:gd name="connsiteY55" fmla="*/ 92869 h 1309687"/>
                  <a:gd name="connsiteX56" fmla="*/ 657225 w 1562100"/>
                  <a:gd name="connsiteY56" fmla="*/ 64294 h 1309687"/>
                  <a:gd name="connsiteX57" fmla="*/ 628650 w 1562100"/>
                  <a:gd name="connsiteY57" fmla="*/ 88107 h 1309687"/>
                  <a:gd name="connsiteX58" fmla="*/ 500062 w 1562100"/>
                  <a:gd name="connsiteY58" fmla="*/ 66676 h 1309687"/>
                  <a:gd name="connsiteX59" fmla="*/ 450056 w 1562100"/>
                  <a:gd name="connsiteY59" fmla="*/ 2382 h 1309687"/>
                  <a:gd name="connsiteX60" fmla="*/ 428625 w 1562100"/>
                  <a:gd name="connsiteY60" fmla="*/ 0 h 1309687"/>
                  <a:gd name="connsiteX61" fmla="*/ 376238 w 1562100"/>
                  <a:gd name="connsiteY61" fmla="*/ 104775 h 1309687"/>
                  <a:gd name="connsiteX62" fmla="*/ 314326 w 1562100"/>
                  <a:gd name="connsiteY62" fmla="*/ 104774 h 1309687"/>
                  <a:gd name="connsiteX63" fmla="*/ 328613 w 1562100"/>
                  <a:gd name="connsiteY63" fmla="*/ 183356 h 1309687"/>
                  <a:gd name="connsiteX64" fmla="*/ 292894 w 1562100"/>
                  <a:gd name="connsiteY64" fmla="*/ 285750 h 1309687"/>
                  <a:gd name="connsiteX65" fmla="*/ 264319 w 1562100"/>
                  <a:gd name="connsiteY65" fmla="*/ 292893 h 1309687"/>
                  <a:gd name="connsiteX66" fmla="*/ 261938 w 1562100"/>
                  <a:gd name="connsiteY66" fmla="*/ 307181 h 1309687"/>
                  <a:gd name="connsiteX67" fmla="*/ 261938 w 1562100"/>
                  <a:gd name="connsiteY67" fmla="*/ 340518 h 1309687"/>
                  <a:gd name="connsiteX68" fmla="*/ 228600 w 1562100"/>
                  <a:gd name="connsiteY68" fmla="*/ 383381 h 1309687"/>
                  <a:gd name="connsiteX69" fmla="*/ 271463 w 1562100"/>
                  <a:gd name="connsiteY69" fmla="*/ 400050 h 1309687"/>
                  <a:gd name="connsiteX70" fmla="*/ 278606 w 1562100"/>
                  <a:gd name="connsiteY70" fmla="*/ 419100 h 1309687"/>
                  <a:gd name="connsiteX71" fmla="*/ 257175 w 1562100"/>
                  <a:gd name="connsiteY71" fmla="*/ 454818 h 1309687"/>
                  <a:gd name="connsiteX72" fmla="*/ 221456 w 1562100"/>
                  <a:gd name="connsiteY72" fmla="*/ 464343 h 1309687"/>
                  <a:gd name="connsiteX73" fmla="*/ 221456 w 1562100"/>
                  <a:gd name="connsiteY73" fmla="*/ 504825 h 1309687"/>
                  <a:gd name="connsiteX74" fmla="*/ 254794 w 1562100"/>
                  <a:gd name="connsiteY74" fmla="*/ 542925 h 1309687"/>
                  <a:gd name="connsiteX75" fmla="*/ 226219 w 1562100"/>
                  <a:gd name="connsiteY75" fmla="*/ 607218 h 1309687"/>
                  <a:gd name="connsiteX76" fmla="*/ 180975 w 1562100"/>
                  <a:gd name="connsiteY76" fmla="*/ 635793 h 1309687"/>
                  <a:gd name="connsiteX77" fmla="*/ 183356 w 1562100"/>
                  <a:gd name="connsiteY77" fmla="*/ 652462 h 1309687"/>
                  <a:gd name="connsiteX78" fmla="*/ 204788 w 1562100"/>
                  <a:gd name="connsiteY78" fmla="*/ 661987 h 1309687"/>
                  <a:gd name="connsiteX79" fmla="*/ 219075 w 1562100"/>
                  <a:gd name="connsiteY79" fmla="*/ 671512 h 1309687"/>
                  <a:gd name="connsiteX80" fmla="*/ 223838 w 1562100"/>
                  <a:gd name="connsiteY80" fmla="*/ 690562 h 1309687"/>
                  <a:gd name="connsiteX81" fmla="*/ 195263 w 1562100"/>
                  <a:gd name="connsiteY81" fmla="*/ 716756 h 1309687"/>
                  <a:gd name="connsiteX82" fmla="*/ 123825 w 1562100"/>
                  <a:gd name="connsiteY82" fmla="*/ 762000 h 1309687"/>
                  <a:gd name="connsiteX83" fmla="*/ 123825 w 1562100"/>
                  <a:gd name="connsiteY83" fmla="*/ 797718 h 1309687"/>
                  <a:gd name="connsiteX84" fmla="*/ 135731 w 1562100"/>
                  <a:gd name="connsiteY84" fmla="*/ 828675 h 1309687"/>
                  <a:gd name="connsiteX85" fmla="*/ 123825 w 1562100"/>
                  <a:gd name="connsiteY85" fmla="*/ 869156 h 1309687"/>
                  <a:gd name="connsiteX86" fmla="*/ 76200 w 1562100"/>
                  <a:gd name="connsiteY86" fmla="*/ 864393 h 1309687"/>
                  <a:gd name="connsiteX87" fmla="*/ 52388 w 1562100"/>
                  <a:gd name="connsiteY87" fmla="*/ 809625 h 1309687"/>
                  <a:gd name="connsiteX88" fmla="*/ 33338 w 1562100"/>
                  <a:gd name="connsiteY88" fmla="*/ 802481 h 1309687"/>
                  <a:gd name="connsiteX89" fmla="*/ 23813 w 1562100"/>
                  <a:gd name="connsiteY89" fmla="*/ 840581 h 1309687"/>
                  <a:gd name="connsiteX90" fmla="*/ 21431 w 1562100"/>
                  <a:gd name="connsiteY90" fmla="*/ 850106 h 1309687"/>
                  <a:gd name="connsiteX91" fmla="*/ 7144 w 1562100"/>
                  <a:gd name="connsiteY91" fmla="*/ 866775 h 1309687"/>
                  <a:gd name="connsiteX92" fmla="*/ 0 w 1562100"/>
                  <a:gd name="connsiteY92" fmla="*/ 923925 h 1309687"/>
                  <a:gd name="connsiteX93" fmla="*/ 23813 w 1562100"/>
                  <a:gd name="connsiteY93" fmla="*/ 952500 h 1309687"/>
                  <a:gd name="connsiteX94" fmla="*/ 16669 w 1562100"/>
                  <a:gd name="connsiteY94" fmla="*/ 992981 h 1309687"/>
                  <a:gd name="connsiteX95" fmla="*/ 35719 w 1562100"/>
                  <a:gd name="connsiteY95" fmla="*/ 997743 h 1309687"/>
                  <a:gd name="connsiteX96" fmla="*/ 69056 w 1562100"/>
                  <a:gd name="connsiteY96" fmla="*/ 997743 h 1309687"/>
                  <a:gd name="connsiteX97" fmla="*/ 85725 w 1562100"/>
                  <a:gd name="connsiteY97" fmla="*/ 988218 h 1309687"/>
                  <a:gd name="connsiteX98" fmla="*/ 135731 w 1562100"/>
                  <a:gd name="connsiteY98" fmla="*/ 1045368 h 1309687"/>
                  <a:gd name="connsiteX99" fmla="*/ 123825 w 1562100"/>
                  <a:gd name="connsiteY99" fmla="*/ 1064418 h 1309687"/>
                  <a:gd name="connsiteX100" fmla="*/ 133350 w 1562100"/>
                  <a:gd name="connsiteY100" fmla="*/ 1092993 h 1309687"/>
                  <a:gd name="connsiteX101" fmla="*/ 164306 w 1562100"/>
                  <a:gd name="connsiteY101" fmla="*/ 1112043 h 1309687"/>
                  <a:gd name="connsiteX102" fmla="*/ 190500 w 1562100"/>
                  <a:gd name="connsiteY102" fmla="*/ 1121568 h 1309687"/>
                  <a:gd name="connsiteX103" fmla="*/ 216694 w 1562100"/>
                  <a:gd name="connsiteY103" fmla="*/ 1128712 h 1309687"/>
                  <a:gd name="connsiteX104" fmla="*/ 228600 w 1562100"/>
                  <a:gd name="connsiteY104" fmla="*/ 1131093 h 1309687"/>
                  <a:gd name="connsiteX105" fmla="*/ 240506 w 1562100"/>
                  <a:gd name="connsiteY105" fmla="*/ 1092993 h 1309687"/>
                  <a:gd name="connsiteX106" fmla="*/ 269081 w 1562100"/>
                  <a:gd name="connsiteY106" fmla="*/ 1097756 h 1309687"/>
                  <a:gd name="connsiteX107" fmla="*/ 288131 w 1562100"/>
                  <a:gd name="connsiteY107" fmla="*/ 1085850 h 1309687"/>
                  <a:gd name="connsiteX108" fmla="*/ 307181 w 1562100"/>
                  <a:gd name="connsiteY108" fmla="*/ 1135856 h 1309687"/>
                  <a:gd name="connsiteX109" fmla="*/ 330994 w 1562100"/>
                  <a:gd name="connsiteY109" fmla="*/ 1150143 h 1309687"/>
                  <a:gd name="connsiteX110" fmla="*/ 340519 w 1562100"/>
                  <a:gd name="connsiteY110" fmla="*/ 1178718 h 1309687"/>
                  <a:gd name="connsiteX111" fmla="*/ 357188 w 1562100"/>
                  <a:gd name="connsiteY111" fmla="*/ 1188243 h 1309687"/>
                  <a:gd name="connsiteX112" fmla="*/ 364331 w 1562100"/>
                  <a:gd name="connsiteY112" fmla="*/ 1219200 h 1309687"/>
                  <a:gd name="connsiteX113" fmla="*/ 335756 w 1562100"/>
                  <a:gd name="connsiteY113" fmla="*/ 1245393 h 1309687"/>
                  <a:gd name="connsiteX114" fmla="*/ 309563 w 1562100"/>
                  <a:gd name="connsiteY114" fmla="*/ 1262062 h 1309687"/>
                  <a:gd name="connsiteX115" fmla="*/ 297656 w 1562100"/>
                  <a:gd name="connsiteY115" fmla="*/ 1285875 h 1309687"/>
                  <a:gd name="connsiteX116" fmla="*/ 302419 w 1562100"/>
                  <a:gd name="connsiteY116" fmla="*/ 1309687 h 1309687"/>
                  <a:gd name="connsiteX117" fmla="*/ 342900 w 1562100"/>
                  <a:gd name="connsiteY117" fmla="*/ 1309687 h 1309687"/>
                  <a:gd name="connsiteX118" fmla="*/ 390525 w 1562100"/>
                  <a:gd name="connsiteY118" fmla="*/ 1304925 h 1309687"/>
                  <a:gd name="connsiteX119" fmla="*/ 428625 w 1562100"/>
                  <a:gd name="connsiteY119" fmla="*/ 1295400 h 1309687"/>
                  <a:gd name="connsiteX120" fmla="*/ 454819 w 1562100"/>
                  <a:gd name="connsiteY120" fmla="*/ 1302543 h 1309687"/>
                  <a:gd name="connsiteX121" fmla="*/ 473869 w 1562100"/>
                  <a:gd name="connsiteY121" fmla="*/ 1281112 h 1309687"/>
                  <a:gd name="connsiteX122" fmla="*/ 492919 w 1562100"/>
                  <a:gd name="connsiteY122" fmla="*/ 1281112 h 1309687"/>
                  <a:gd name="connsiteX123" fmla="*/ 507206 w 1562100"/>
                  <a:gd name="connsiteY123" fmla="*/ 1250156 h 1309687"/>
                  <a:gd name="connsiteX124" fmla="*/ 557213 w 1562100"/>
                  <a:gd name="connsiteY124" fmla="*/ 1235868 h 1309687"/>
                  <a:gd name="connsiteX125" fmla="*/ 583406 w 1562100"/>
                  <a:gd name="connsiteY125" fmla="*/ 1216818 h 1309687"/>
                  <a:gd name="connsiteX126" fmla="*/ 590550 w 1562100"/>
                  <a:gd name="connsiteY126" fmla="*/ 1178718 h 1309687"/>
                  <a:gd name="connsiteX127" fmla="*/ 607219 w 1562100"/>
                  <a:gd name="connsiteY127" fmla="*/ 1152525 h 1309687"/>
                  <a:gd name="connsiteX128" fmla="*/ 688181 w 1562100"/>
                  <a:gd name="connsiteY128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692944 w 1562100"/>
                  <a:gd name="connsiteY54" fmla="*/ 157164 h 1309687"/>
                  <a:gd name="connsiteX55" fmla="*/ 704851 w 1562100"/>
                  <a:gd name="connsiteY55" fmla="*/ 92869 h 1309687"/>
                  <a:gd name="connsiteX56" fmla="*/ 657225 w 1562100"/>
                  <a:gd name="connsiteY56" fmla="*/ 64294 h 1309687"/>
                  <a:gd name="connsiteX57" fmla="*/ 628650 w 1562100"/>
                  <a:gd name="connsiteY57" fmla="*/ 88107 h 1309687"/>
                  <a:gd name="connsiteX58" fmla="*/ 500062 w 1562100"/>
                  <a:gd name="connsiteY58" fmla="*/ 66676 h 1309687"/>
                  <a:gd name="connsiteX59" fmla="*/ 450056 w 1562100"/>
                  <a:gd name="connsiteY59" fmla="*/ 2382 h 1309687"/>
                  <a:gd name="connsiteX60" fmla="*/ 428625 w 1562100"/>
                  <a:gd name="connsiteY60" fmla="*/ 0 h 1309687"/>
                  <a:gd name="connsiteX61" fmla="*/ 376238 w 1562100"/>
                  <a:gd name="connsiteY61" fmla="*/ 104775 h 1309687"/>
                  <a:gd name="connsiteX62" fmla="*/ 314326 w 1562100"/>
                  <a:gd name="connsiteY62" fmla="*/ 104774 h 1309687"/>
                  <a:gd name="connsiteX63" fmla="*/ 328613 w 1562100"/>
                  <a:gd name="connsiteY63" fmla="*/ 183356 h 1309687"/>
                  <a:gd name="connsiteX64" fmla="*/ 292894 w 1562100"/>
                  <a:gd name="connsiteY64" fmla="*/ 285750 h 1309687"/>
                  <a:gd name="connsiteX65" fmla="*/ 264319 w 1562100"/>
                  <a:gd name="connsiteY65" fmla="*/ 292893 h 1309687"/>
                  <a:gd name="connsiteX66" fmla="*/ 261938 w 1562100"/>
                  <a:gd name="connsiteY66" fmla="*/ 307181 h 1309687"/>
                  <a:gd name="connsiteX67" fmla="*/ 261938 w 1562100"/>
                  <a:gd name="connsiteY67" fmla="*/ 340518 h 1309687"/>
                  <a:gd name="connsiteX68" fmla="*/ 228600 w 1562100"/>
                  <a:gd name="connsiteY68" fmla="*/ 383381 h 1309687"/>
                  <a:gd name="connsiteX69" fmla="*/ 271463 w 1562100"/>
                  <a:gd name="connsiteY69" fmla="*/ 400050 h 1309687"/>
                  <a:gd name="connsiteX70" fmla="*/ 278606 w 1562100"/>
                  <a:gd name="connsiteY70" fmla="*/ 419100 h 1309687"/>
                  <a:gd name="connsiteX71" fmla="*/ 257175 w 1562100"/>
                  <a:gd name="connsiteY71" fmla="*/ 454818 h 1309687"/>
                  <a:gd name="connsiteX72" fmla="*/ 221456 w 1562100"/>
                  <a:gd name="connsiteY72" fmla="*/ 464343 h 1309687"/>
                  <a:gd name="connsiteX73" fmla="*/ 221456 w 1562100"/>
                  <a:gd name="connsiteY73" fmla="*/ 504825 h 1309687"/>
                  <a:gd name="connsiteX74" fmla="*/ 254794 w 1562100"/>
                  <a:gd name="connsiteY74" fmla="*/ 542925 h 1309687"/>
                  <a:gd name="connsiteX75" fmla="*/ 226219 w 1562100"/>
                  <a:gd name="connsiteY75" fmla="*/ 607218 h 1309687"/>
                  <a:gd name="connsiteX76" fmla="*/ 180975 w 1562100"/>
                  <a:gd name="connsiteY76" fmla="*/ 635793 h 1309687"/>
                  <a:gd name="connsiteX77" fmla="*/ 183356 w 1562100"/>
                  <a:gd name="connsiteY77" fmla="*/ 652462 h 1309687"/>
                  <a:gd name="connsiteX78" fmla="*/ 204788 w 1562100"/>
                  <a:gd name="connsiteY78" fmla="*/ 661987 h 1309687"/>
                  <a:gd name="connsiteX79" fmla="*/ 219075 w 1562100"/>
                  <a:gd name="connsiteY79" fmla="*/ 671512 h 1309687"/>
                  <a:gd name="connsiteX80" fmla="*/ 223838 w 1562100"/>
                  <a:gd name="connsiteY80" fmla="*/ 690562 h 1309687"/>
                  <a:gd name="connsiteX81" fmla="*/ 195263 w 1562100"/>
                  <a:gd name="connsiteY81" fmla="*/ 716756 h 1309687"/>
                  <a:gd name="connsiteX82" fmla="*/ 123825 w 1562100"/>
                  <a:gd name="connsiteY82" fmla="*/ 762000 h 1309687"/>
                  <a:gd name="connsiteX83" fmla="*/ 123825 w 1562100"/>
                  <a:gd name="connsiteY83" fmla="*/ 797718 h 1309687"/>
                  <a:gd name="connsiteX84" fmla="*/ 135731 w 1562100"/>
                  <a:gd name="connsiteY84" fmla="*/ 828675 h 1309687"/>
                  <a:gd name="connsiteX85" fmla="*/ 123825 w 1562100"/>
                  <a:gd name="connsiteY85" fmla="*/ 869156 h 1309687"/>
                  <a:gd name="connsiteX86" fmla="*/ 76200 w 1562100"/>
                  <a:gd name="connsiteY86" fmla="*/ 864393 h 1309687"/>
                  <a:gd name="connsiteX87" fmla="*/ 52388 w 1562100"/>
                  <a:gd name="connsiteY87" fmla="*/ 809625 h 1309687"/>
                  <a:gd name="connsiteX88" fmla="*/ 33338 w 1562100"/>
                  <a:gd name="connsiteY88" fmla="*/ 802481 h 1309687"/>
                  <a:gd name="connsiteX89" fmla="*/ 23813 w 1562100"/>
                  <a:gd name="connsiteY89" fmla="*/ 840581 h 1309687"/>
                  <a:gd name="connsiteX90" fmla="*/ 21431 w 1562100"/>
                  <a:gd name="connsiteY90" fmla="*/ 850106 h 1309687"/>
                  <a:gd name="connsiteX91" fmla="*/ 7144 w 1562100"/>
                  <a:gd name="connsiteY91" fmla="*/ 866775 h 1309687"/>
                  <a:gd name="connsiteX92" fmla="*/ 0 w 1562100"/>
                  <a:gd name="connsiteY92" fmla="*/ 923925 h 1309687"/>
                  <a:gd name="connsiteX93" fmla="*/ 23813 w 1562100"/>
                  <a:gd name="connsiteY93" fmla="*/ 952500 h 1309687"/>
                  <a:gd name="connsiteX94" fmla="*/ 16669 w 1562100"/>
                  <a:gd name="connsiteY94" fmla="*/ 992981 h 1309687"/>
                  <a:gd name="connsiteX95" fmla="*/ 35719 w 1562100"/>
                  <a:gd name="connsiteY95" fmla="*/ 997743 h 1309687"/>
                  <a:gd name="connsiteX96" fmla="*/ 69056 w 1562100"/>
                  <a:gd name="connsiteY96" fmla="*/ 997743 h 1309687"/>
                  <a:gd name="connsiteX97" fmla="*/ 85725 w 1562100"/>
                  <a:gd name="connsiteY97" fmla="*/ 988218 h 1309687"/>
                  <a:gd name="connsiteX98" fmla="*/ 135731 w 1562100"/>
                  <a:gd name="connsiteY98" fmla="*/ 1045368 h 1309687"/>
                  <a:gd name="connsiteX99" fmla="*/ 123825 w 1562100"/>
                  <a:gd name="connsiteY99" fmla="*/ 1064418 h 1309687"/>
                  <a:gd name="connsiteX100" fmla="*/ 133350 w 1562100"/>
                  <a:gd name="connsiteY100" fmla="*/ 1092993 h 1309687"/>
                  <a:gd name="connsiteX101" fmla="*/ 164306 w 1562100"/>
                  <a:gd name="connsiteY101" fmla="*/ 1112043 h 1309687"/>
                  <a:gd name="connsiteX102" fmla="*/ 190500 w 1562100"/>
                  <a:gd name="connsiteY102" fmla="*/ 1121568 h 1309687"/>
                  <a:gd name="connsiteX103" fmla="*/ 216694 w 1562100"/>
                  <a:gd name="connsiteY103" fmla="*/ 1128712 h 1309687"/>
                  <a:gd name="connsiteX104" fmla="*/ 228600 w 1562100"/>
                  <a:gd name="connsiteY104" fmla="*/ 1131093 h 1309687"/>
                  <a:gd name="connsiteX105" fmla="*/ 240506 w 1562100"/>
                  <a:gd name="connsiteY105" fmla="*/ 1092993 h 1309687"/>
                  <a:gd name="connsiteX106" fmla="*/ 269081 w 1562100"/>
                  <a:gd name="connsiteY106" fmla="*/ 1097756 h 1309687"/>
                  <a:gd name="connsiteX107" fmla="*/ 288131 w 1562100"/>
                  <a:gd name="connsiteY107" fmla="*/ 1085850 h 1309687"/>
                  <a:gd name="connsiteX108" fmla="*/ 307181 w 1562100"/>
                  <a:gd name="connsiteY108" fmla="*/ 1135856 h 1309687"/>
                  <a:gd name="connsiteX109" fmla="*/ 330994 w 1562100"/>
                  <a:gd name="connsiteY109" fmla="*/ 1150143 h 1309687"/>
                  <a:gd name="connsiteX110" fmla="*/ 340519 w 1562100"/>
                  <a:gd name="connsiteY110" fmla="*/ 1178718 h 1309687"/>
                  <a:gd name="connsiteX111" fmla="*/ 357188 w 1562100"/>
                  <a:gd name="connsiteY111" fmla="*/ 1188243 h 1309687"/>
                  <a:gd name="connsiteX112" fmla="*/ 364331 w 1562100"/>
                  <a:gd name="connsiteY112" fmla="*/ 1219200 h 1309687"/>
                  <a:gd name="connsiteX113" fmla="*/ 335756 w 1562100"/>
                  <a:gd name="connsiteY113" fmla="*/ 1245393 h 1309687"/>
                  <a:gd name="connsiteX114" fmla="*/ 309563 w 1562100"/>
                  <a:gd name="connsiteY114" fmla="*/ 1262062 h 1309687"/>
                  <a:gd name="connsiteX115" fmla="*/ 297656 w 1562100"/>
                  <a:gd name="connsiteY115" fmla="*/ 1285875 h 1309687"/>
                  <a:gd name="connsiteX116" fmla="*/ 302419 w 1562100"/>
                  <a:gd name="connsiteY116" fmla="*/ 1309687 h 1309687"/>
                  <a:gd name="connsiteX117" fmla="*/ 342900 w 1562100"/>
                  <a:gd name="connsiteY117" fmla="*/ 1309687 h 1309687"/>
                  <a:gd name="connsiteX118" fmla="*/ 390525 w 1562100"/>
                  <a:gd name="connsiteY118" fmla="*/ 1304925 h 1309687"/>
                  <a:gd name="connsiteX119" fmla="*/ 428625 w 1562100"/>
                  <a:gd name="connsiteY119" fmla="*/ 1295400 h 1309687"/>
                  <a:gd name="connsiteX120" fmla="*/ 454819 w 1562100"/>
                  <a:gd name="connsiteY120" fmla="*/ 1302543 h 1309687"/>
                  <a:gd name="connsiteX121" fmla="*/ 473869 w 1562100"/>
                  <a:gd name="connsiteY121" fmla="*/ 1281112 h 1309687"/>
                  <a:gd name="connsiteX122" fmla="*/ 492919 w 1562100"/>
                  <a:gd name="connsiteY122" fmla="*/ 1281112 h 1309687"/>
                  <a:gd name="connsiteX123" fmla="*/ 507206 w 1562100"/>
                  <a:gd name="connsiteY123" fmla="*/ 1250156 h 1309687"/>
                  <a:gd name="connsiteX124" fmla="*/ 557213 w 1562100"/>
                  <a:gd name="connsiteY124" fmla="*/ 1235868 h 1309687"/>
                  <a:gd name="connsiteX125" fmla="*/ 583406 w 1562100"/>
                  <a:gd name="connsiteY125" fmla="*/ 1216818 h 1309687"/>
                  <a:gd name="connsiteX126" fmla="*/ 590550 w 1562100"/>
                  <a:gd name="connsiteY126" fmla="*/ 1178718 h 1309687"/>
                  <a:gd name="connsiteX127" fmla="*/ 607219 w 1562100"/>
                  <a:gd name="connsiteY127" fmla="*/ 1152525 h 1309687"/>
                  <a:gd name="connsiteX128" fmla="*/ 688181 w 1562100"/>
                  <a:gd name="connsiteY128" fmla="*/ 1183481 h 1309687"/>
                  <a:gd name="connsiteX0" fmla="*/ 688181 w 1562100"/>
                  <a:gd name="connsiteY0" fmla="*/ 1183481 h 1309687"/>
                  <a:gd name="connsiteX1" fmla="*/ 688181 w 1562100"/>
                  <a:gd name="connsiteY1" fmla="*/ 1097756 h 1309687"/>
                  <a:gd name="connsiteX2" fmla="*/ 692944 w 1562100"/>
                  <a:gd name="connsiteY2" fmla="*/ 1054893 h 1309687"/>
                  <a:gd name="connsiteX3" fmla="*/ 692944 w 1562100"/>
                  <a:gd name="connsiteY3" fmla="*/ 1009650 h 1309687"/>
                  <a:gd name="connsiteX4" fmla="*/ 676275 w 1562100"/>
                  <a:gd name="connsiteY4" fmla="*/ 985837 h 1309687"/>
                  <a:gd name="connsiteX5" fmla="*/ 690563 w 1562100"/>
                  <a:gd name="connsiteY5" fmla="*/ 933450 h 1309687"/>
                  <a:gd name="connsiteX6" fmla="*/ 685800 w 1562100"/>
                  <a:gd name="connsiteY6" fmla="*/ 907256 h 1309687"/>
                  <a:gd name="connsiteX7" fmla="*/ 697706 w 1562100"/>
                  <a:gd name="connsiteY7" fmla="*/ 862012 h 1309687"/>
                  <a:gd name="connsiteX8" fmla="*/ 714375 w 1562100"/>
                  <a:gd name="connsiteY8" fmla="*/ 838200 h 1309687"/>
                  <a:gd name="connsiteX9" fmla="*/ 721519 w 1562100"/>
                  <a:gd name="connsiteY9" fmla="*/ 804862 h 1309687"/>
                  <a:gd name="connsiteX10" fmla="*/ 735806 w 1562100"/>
                  <a:gd name="connsiteY10" fmla="*/ 785812 h 1309687"/>
                  <a:gd name="connsiteX11" fmla="*/ 792956 w 1562100"/>
                  <a:gd name="connsiteY11" fmla="*/ 776287 h 1309687"/>
                  <a:gd name="connsiteX12" fmla="*/ 838200 w 1562100"/>
                  <a:gd name="connsiteY12" fmla="*/ 759618 h 1309687"/>
                  <a:gd name="connsiteX13" fmla="*/ 876300 w 1562100"/>
                  <a:gd name="connsiteY13" fmla="*/ 719137 h 1309687"/>
                  <a:gd name="connsiteX14" fmla="*/ 923925 w 1562100"/>
                  <a:gd name="connsiteY14" fmla="*/ 704850 h 1309687"/>
                  <a:gd name="connsiteX15" fmla="*/ 995363 w 1562100"/>
                  <a:gd name="connsiteY15" fmla="*/ 700087 h 1309687"/>
                  <a:gd name="connsiteX16" fmla="*/ 1040606 w 1562100"/>
                  <a:gd name="connsiteY16" fmla="*/ 690562 h 1309687"/>
                  <a:gd name="connsiteX17" fmla="*/ 1119188 w 1562100"/>
                  <a:gd name="connsiteY17" fmla="*/ 583406 h 1309687"/>
                  <a:gd name="connsiteX18" fmla="*/ 1126331 w 1562100"/>
                  <a:gd name="connsiteY18" fmla="*/ 550068 h 1309687"/>
                  <a:gd name="connsiteX19" fmla="*/ 1152525 w 1562100"/>
                  <a:gd name="connsiteY19" fmla="*/ 521493 h 1309687"/>
                  <a:gd name="connsiteX20" fmla="*/ 1197769 w 1562100"/>
                  <a:gd name="connsiteY20" fmla="*/ 511968 h 1309687"/>
                  <a:gd name="connsiteX21" fmla="*/ 1290638 w 1562100"/>
                  <a:gd name="connsiteY21" fmla="*/ 435768 h 1309687"/>
                  <a:gd name="connsiteX22" fmla="*/ 1314450 w 1562100"/>
                  <a:gd name="connsiteY22" fmla="*/ 433387 h 1309687"/>
                  <a:gd name="connsiteX23" fmla="*/ 1409700 w 1562100"/>
                  <a:gd name="connsiteY23" fmla="*/ 352425 h 1309687"/>
                  <a:gd name="connsiteX24" fmla="*/ 1414463 w 1562100"/>
                  <a:gd name="connsiteY24" fmla="*/ 333375 h 1309687"/>
                  <a:gd name="connsiteX25" fmla="*/ 1507331 w 1562100"/>
                  <a:gd name="connsiteY25" fmla="*/ 278606 h 1309687"/>
                  <a:gd name="connsiteX26" fmla="*/ 1543050 w 1562100"/>
                  <a:gd name="connsiteY26" fmla="*/ 233362 h 1309687"/>
                  <a:gd name="connsiteX27" fmla="*/ 1562100 w 1562100"/>
                  <a:gd name="connsiteY27" fmla="*/ 195262 h 1309687"/>
                  <a:gd name="connsiteX28" fmla="*/ 1512094 w 1562100"/>
                  <a:gd name="connsiteY28" fmla="*/ 214312 h 1309687"/>
                  <a:gd name="connsiteX29" fmla="*/ 1478756 w 1562100"/>
                  <a:gd name="connsiteY29" fmla="*/ 214312 h 1309687"/>
                  <a:gd name="connsiteX30" fmla="*/ 1452563 w 1562100"/>
                  <a:gd name="connsiteY30" fmla="*/ 252412 h 1309687"/>
                  <a:gd name="connsiteX31" fmla="*/ 1421606 w 1562100"/>
                  <a:gd name="connsiteY31" fmla="*/ 250031 h 1309687"/>
                  <a:gd name="connsiteX32" fmla="*/ 1366838 w 1562100"/>
                  <a:gd name="connsiteY32" fmla="*/ 219075 h 1309687"/>
                  <a:gd name="connsiteX33" fmla="*/ 1323975 w 1562100"/>
                  <a:gd name="connsiteY33" fmla="*/ 207168 h 1309687"/>
                  <a:gd name="connsiteX34" fmla="*/ 1238250 w 1562100"/>
                  <a:gd name="connsiteY34" fmla="*/ 242887 h 1309687"/>
                  <a:gd name="connsiteX35" fmla="*/ 1223963 w 1562100"/>
                  <a:gd name="connsiteY35" fmla="*/ 280987 h 1309687"/>
                  <a:gd name="connsiteX36" fmla="*/ 1195388 w 1562100"/>
                  <a:gd name="connsiteY36" fmla="*/ 338137 h 1309687"/>
                  <a:gd name="connsiteX37" fmla="*/ 1109663 w 1562100"/>
                  <a:gd name="connsiteY37" fmla="*/ 300037 h 1309687"/>
                  <a:gd name="connsiteX38" fmla="*/ 1097756 w 1562100"/>
                  <a:gd name="connsiteY38" fmla="*/ 342900 h 1309687"/>
                  <a:gd name="connsiteX39" fmla="*/ 1083469 w 1562100"/>
                  <a:gd name="connsiteY39" fmla="*/ 376237 h 1309687"/>
                  <a:gd name="connsiteX40" fmla="*/ 959644 w 1562100"/>
                  <a:gd name="connsiteY40" fmla="*/ 407193 h 1309687"/>
                  <a:gd name="connsiteX41" fmla="*/ 945356 w 1562100"/>
                  <a:gd name="connsiteY41" fmla="*/ 402431 h 1309687"/>
                  <a:gd name="connsiteX42" fmla="*/ 926306 w 1562100"/>
                  <a:gd name="connsiteY42" fmla="*/ 423862 h 1309687"/>
                  <a:gd name="connsiteX43" fmla="*/ 890588 w 1562100"/>
                  <a:gd name="connsiteY43" fmla="*/ 431006 h 1309687"/>
                  <a:gd name="connsiteX44" fmla="*/ 854869 w 1562100"/>
                  <a:gd name="connsiteY44" fmla="*/ 381000 h 1309687"/>
                  <a:gd name="connsiteX45" fmla="*/ 835819 w 1562100"/>
                  <a:gd name="connsiteY45" fmla="*/ 369093 h 1309687"/>
                  <a:gd name="connsiteX46" fmla="*/ 826294 w 1562100"/>
                  <a:gd name="connsiteY46" fmla="*/ 323850 h 1309687"/>
                  <a:gd name="connsiteX47" fmla="*/ 792956 w 1562100"/>
                  <a:gd name="connsiteY47" fmla="*/ 307181 h 1309687"/>
                  <a:gd name="connsiteX48" fmla="*/ 759619 w 1562100"/>
                  <a:gd name="connsiteY48" fmla="*/ 300037 h 1309687"/>
                  <a:gd name="connsiteX49" fmla="*/ 740569 w 1562100"/>
                  <a:gd name="connsiteY49" fmla="*/ 295275 h 1309687"/>
                  <a:gd name="connsiteX50" fmla="*/ 728663 w 1562100"/>
                  <a:gd name="connsiteY50" fmla="*/ 285750 h 1309687"/>
                  <a:gd name="connsiteX51" fmla="*/ 735806 w 1562100"/>
                  <a:gd name="connsiteY51" fmla="*/ 259556 h 1309687"/>
                  <a:gd name="connsiteX52" fmla="*/ 742950 w 1562100"/>
                  <a:gd name="connsiteY52" fmla="*/ 235743 h 1309687"/>
                  <a:gd name="connsiteX53" fmla="*/ 700088 w 1562100"/>
                  <a:gd name="connsiteY53" fmla="*/ 185737 h 1309687"/>
                  <a:gd name="connsiteX54" fmla="*/ 704851 w 1562100"/>
                  <a:gd name="connsiteY54" fmla="*/ 92869 h 1309687"/>
                  <a:gd name="connsiteX55" fmla="*/ 657225 w 1562100"/>
                  <a:gd name="connsiteY55" fmla="*/ 64294 h 1309687"/>
                  <a:gd name="connsiteX56" fmla="*/ 628650 w 1562100"/>
                  <a:gd name="connsiteY56" fmla="*/ 88107 h 1309687"/>
                  <a:gd name="connsiteX57" fmla="*/ 500062 w 1562100"/>
                  <a:gd name="connsiteY57" fmla="*/ 66676 h 1309687"/>
                  <a:gd name="connsiteX58" fmla="*/ 450056 w 1562100"/>
                  <a:gd name="connsiteY58" fmla="*/ 2382 h 1309687"/>
                  <a:gd name="connsiteX59" fmla="*/ 428625 w 1562100"/>
                  <a:gd name="connsiteY59" fmla="*/ 0 h 1309687"/>
                  <a:gd name="connsiteX60" fmla="*/ 376238 w 1562100"/>
                  <a:gd name="connsiteY60" fmla="*/ 104775 h 1309687"/>
                  <a:gd name="connsiteX61" fmla="*/ 314326 w 1562100"/>
                  <a:gd name="connsiteY61" fmla="*/ 104774 h 1309687"/>
                  <a:gd name="connsiteX62" fmla="*/ 328613 w 1562100"/>
                  <a:gd name="connsiteY62" fmla="*/ 183356 h 1309687"/>
                  <a:gd name="connsiteX63" fmla="*/ 292894 w 1562100"/>
                  <a:gd name="connsiteY63" fmla="*/ 285750 h 1309687"/>
                  <a:gd name="connsiteX64" fmla="*/ 264319 w 1562100"/>
                  <a:gd name="connsiteY64" fmla="*/ 292893 h 1309687"/>
                  <a:gd name="connsiteX65" fmla="*/ 261938 w 1562100"/>
                  <a:gd name="connsiteY65" fmla="*/ 307181 h 1309687"/>
                  <a:gd name="connsiteX66" fmla="*/ 261938 w 1562100"/>
                  <a:gd name="connsiteY66" fmla="*/ 340518 h 1309687"/>
                  <a:gd name="connsiteX67" fmla="*/ 228600 w 1562100"/>
                  <a:gd name="connsiteY67" fmla="*/ 383381 h 1309687"/>
                  <a:gd name="connsiteX68" fmla="*/ 271463 w 1562100"/>
                  <a:gd name="connsiteY68" fmla="*/ 400050 h 1309687"/>
                  <a:gd name="connsiteX69" fmla="*/ 278606 w 1562100"/>
                  <a:gd name="connsiteY69" fmla="*/ 419100 h 1309687"/>
                  <a:gd name="connsiteX70" fmla="*/ 257175 w 1562100"/>
                  <a:gd name="connsiteY70" fmla="*/ 454818 h 1309687"/>
                  <a:gd name="connsiteX71" fmla="*/ 221456 w 1562100"/>
                  <a:gd name="connsiteY71" fmla="*/ 464343 h 1309687"/>
                  <a:gd name="connsiteX72" fmla="*/ 221456 w 1562100"/>
                  <a:gd name="connsiteY72" fmla="*/ 504825 h 1309687"/>
                  <a:gd name="connsiteX73" fmla="*/ 254794 w 1562100"/>
                  <a:gd name="connsiteY73" fmla="*/ 542925 h 1309687"/>
                  <a:gd name="connsiteX74" fmla="*/ 226219 w 1562100"/>
                  <a:gd name="connsiteY74" fmla="*/ 607218 h 1309687"/>
                  <a:gd name="connsiteX75" fmla="*/ 180975 w 1562100"/>
                  <a:gd name="connsiteY75" fmla="*/ 635793 h 1309687"/>
                  <a:gd name="connsiteX76" fmla="*/ 183356 w 1562100"/>
                  <a:gd name="connsiteY76" fmla="*/ 652462 h 1309687"/>
                  <a:gd name="connsiteX77" fmla="*/ 204788 w 1562100"/>
                  <a:gd name="connsiteY77" fmla="*/ 661987 h 1309687"/>
                  <a:gd name="connsiteX78" fmla="*/ 219075 w 1562100"/>
                  <a:gd name="connsiteY78" fmla="*/ 671512 h 1309687"/>
                  <a:gd name="connsiteX79" fmla="*/ 223838 w 1562100"/>
                  <a:gd name="connsiteY79" fmla="*/ 690562 h 1309687"/>
                  <a:gd name="connsiteX80" fmla="*/ 195263 w 1562100"/>
                  <a:gd name="connsiteY80" fmla="*/ 716756 h 1309687"/>
                  <a:gd name="connsiteX81" fmla="*/ 123825 w 1562100"/>
                  <a:gd name="connsiteY81" fmla="*/ 762000 h 1309687"/>
                  <a:gd name="connsiteX82" fmla="*/ 123825 w 1562100"/>
                  <a:gd name="connsiteY82" fmla="*/ 797718 h 1309687"/>
                  <a:gd name="connsiteX83" fmla="*/ 135731 w 1562100"/>
                  <a:gd name="connsiteY83" fmla="*/ 828675 h 1309687"/>
                  <a:gd name="connsiteX84" fmla="*/ 123825 w 1562100"/>
                  <a:gd name="connsiteY84" fmla="*/ 869156 h 1309687"/>
                  <a:gd name="connsiteX85" fmla="*/ 76200 w 1562100"/>
                  <a:gd name="connsiteY85" fmla="*/ 864393 h 1309687"/>
                  <a:gd name="connsiteX86" fmla="*/ 52388 w 1562100"/>
                  <a:gd name="connsiteY86" fmla="*/ 809625 h 1309687"/>
                  <a:gd name="connsiteX87" fmla="*/ 33338 w 1562100"/>
                  <a:gd name="connsiteY87" fmla="*/ 802481 h 1309687"/>
                  <a:gd name="connsiteX88" fmla="*/ 23813 w 1562100"/>
                  <a:gd name="connsiteY88" fmla="*/ 840581 h 1309687"/>
                  <a:gd name="connsiteX89" fmla="*/ 21431 w 1562100"/>
                  <a:gd name="connsiteY89" fmla="*/ 850106 h 1309687"/>
                  <a:gd name="connsiteX90" fmla="*/ 7144 w 1562100"/>
                  <a:gd name="connsiteY90" fmla="*/ 866775 h 1309687"/>
                  <a:gd name="connsiteX91" fmla="*/ 0 w 1562100"/>
                  <a:gd name="connsiteY91" fmla="*/ 923925 h 1309687"/>
                  <a:gd name="connsiteX92" fmla="*/ 23813 w 1562100"/>
                  <a:gd name="connsiteY92" fmla="*/ 952500 h 1309687"/>
                  <a:gd name="connsiteX93" fmla="*/ 16669 w 1562100"/>
                  <a:gd name="connsiteY93" fmla="*/ 992981 h 1309687"/>
                  <a:gd name="connsiteX94" fmla="*/ 35719 w 1562100"/>
                  <a:gd name="connsiteY94" fmla="*/ 997743 h 1309687"/>
                  <a:gd name="connsiteX95" fmla="*/ 69056 w 1562100"/>
                  <a:gd name="connsiteY95" fmla="*/ 997743 h 1309687"/>
                  <a:gd name="connsiteX96" fmla="*/ 85725 w 1562100"/>
                  <a:gd name="connsiteY96" fmla="*/ 988218 h 1309687"/>
                  <a:gd name="connsiteX97" fmla="*/ 135731 w 1562100"/>
                  <a:gd name="connsiteY97" fmla="*/ 1045368 h 1309687"/>
                  <a:gd name="connsiteX98" fmla="*/ 123825 w 1562100"/>
                  <a:gd name="connsiteY98" fmla="*/ 1064418 h 1309687"/>
                  <a:gd name="connsiteX99" fmla="*/ 133350 w 1562100"/>
                  <a:gd name="connsiteY99" fmla="*/ 1092993 h 1309687"/>
                  <a:gd name="connsiteX100" fmla="*/ 164306 w 1562100"/>
                  <a:gd name="connsiteY100" fmla="*/ 1112043 h 1309687"/>
                  <a:gd name="connsiteX101" fmla="*/ 190500 w 1562100"/>
                  <a:gd name="connsiteY101" fmla="*/ 1121568 h 1309687"/>
                  <a:gd name="connsiteX102" fmla="*/ 216694 w 1562100"/>
                  <a:gd name="connsiteY102" fmla="*/ 1128712 h 1309687"/>
                  <a:gd name="connsiteX103" fmla="*/ 228600 w 1562100"/>
                  <a:gd name="connsiteY103" fmla="*/ 1131093 h 1309687"/>
                  <a:gd name="connsiteX104" fmla="*/ 240506 w 1562100"/>
                  <a:gd name="connsiteY104" fmla="*/ 1092993 h 1309687"/>
                  <a:gd name="connsiteX105" fmla="*/ 269081 w 1562100"/>
                  <a:gd name="connsiteY105" fmla="*/ 1097756 h 1309687"/>
                  <a:gd name="connsiteX106" fmla="*/ 288131 w 1562100"/>
                  <a:gd name="connsiteY106" fmla="*/ 1085850 h 1309687"/>
                  <a:gd name="connsiteX107" fmla="*/ 307181 w 1562100"/>
                  <a:gd name="connsiteY107" fmla="*/ 1135856 h 1309687"/>
                  <a:gd name="connsiteX108" fmla="*/ 330994 w 1562100"/>
                  <a:gd name="connsiteY108" fmla="*/ 1150143 h 1309687"/>
                  <a:gd name="connsiteX109" fmla="*/ 340519 w 1562100"/>
                  <a:gd name="connsiteY109" fmla="*/ 1178718 h 1309687"/>
                  <a:gd name="connsiteX110" fmla="*/ 357188 w 1562100"/>
                  <a:gd name="connsiteY110" fmla="*/ 1188243 h 1309687"/>
                  <a:gd name="connsiteX111" fmla="*/ 364331 w 1562100"/>
                  <a:gd name="connsiteY111" fmla="*/ 1219200 h 1309687"/>
                  <a:gd name="connsiteX112" fmla="*/ 335756 w 1562100"/>
                  <a:gd name="connsiteY112" fmla="*/ 1245393 h 1309687"/>
                  <a:gd name="connsiteX113" fmla="*/ 309563 w 1562100"/>
                  <a:gd name="connsiteY113" fmla="*/ 1262062 h 1309687"/>
                  <a:gd name="connsiteX114" fmla="*/ 297656 w 1562100"/>
                  <a:gd name="connsiteY114" fmla="*/ 1285875 h 1309687"/>
                  <a:gd name="connsiteX115" fmla="*/ 302419 w 1562100"/>
                  <a:gd name="connsiteY115" fmla="*/ 1309687 h 1309687"/>
                  <a:gd name="connsiteX116" fmla="*/ 342900 w 1562100"/>
                  <a:gd name="connsiteY116" fmla="*/ 1309687 h 1309687"/>
                  <a:gd name="connsiteX117" fmla="*/ 390525 w 1562100"/>
                  <a:gd name="connsiteY117" fmla="*/ 1304925 h 1309687"/>
                  <a:gd name="connsiteX118" fmla="*/ 428625 w 1562100"/>
                  <a:gd name="connsiteY118" fmla="*/ 1295400 h 1309687"/>
                  <a:gd name="connsiteX119" fmla="*/ 454819 w 1562100"/>
                  <a:gd name="connsiteY119" fmla="*/ 1302543 h 1309687"/>
                  <a:gd name="connsiteX120" fmla="*/ 473869 w 1562100"/>
                  <a:gd name="connsiteY120" fmla="*/ 1281112 h 1309687"/>
                  <a:gd name="connsiteX121" fmla="*/ 492919 w 1562100"/>
                  <a:gd name="connsiteY121" fmla="*/ 1281112 h 1309687"/>
                  <a:gd name="connsiteX122" fmla="*/ 507206 w 1562100"/>
                  <a:gd name="connsiteY122" fmla="*/ 1250156 h 1309687"/>
                  <a:gd name="connsiteX123" fmla="*/ 557213 w 1562100"/>
                  <a:gd name="connsiteY123" fmla="*/ 1235868 h 1309687"/>
                  <a:gd name="connsiteX124" fmla="*/ 583406 w 1562100"/>
                  <a:gd name="connsiteY124" fmla="*/ 1216818 h 1309687"/>
                  <a:gd name="connsiteX125" fmla="*/ 590550 w 1562100"/>
                  <a:gd name="connsiteY125" fmla="*/ 1178718 h 1309687"/>
                  <a:gd name="connsiteX126" fmla="*/ 607219 w 1562100"/>
                  <a:gd name="connsiteY126" fmla="*/ 1152525 h 1309687"/>
                  <a:gd name="connsiteX127" fmla="*/ 688181 w 1562100"/>
                  <a:gd name="connsiteY127" fmla="*/ 1183481 h 1309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</a:cxnLst>
                <a:rect l="l" t="t" r="r" b="b"/>
                <a:pathLst>
                  <a:path w="1562100" h="1309687">
                    <a:moveTo>
                      <a:pt x="688181" y="1183481"/>
                    </a:moveTo>
                    <a:lnTo>
                      <a:pt x="688181" y="1097756"/>
                    </a:lnTo>
                    <a:lnTo>
                      <a:pt x="692944" y="1054893"/>
                    </a:lnTo>
                    <a:lnTo>
                      <a:pt x="692944" y="1009650"/>
                    </a:lnTo>
                    <a:lnTo>
                      <a:pt x="676275" y="985837"/>
                    </a:lnTo>
                    <a:lnTo>
                      <a:pt x="690563" y="933450"/>
                    </a:lnTo>
                    <a:lnTo>
                      <a:pt x="685800" y="907256"/>
                    </a:lnTo>
                    <a:lnTo>
                      <a:pt x="697706" y="862012"/>
                    </a:lnTo>
                    <a:lnTo>
                      <a:pt x="714375" y="838200"/>
                    </a:lnTo>
                    <a:lnTo>
                      <a:pt x="721519" y="804862"/>
                    </a:lnTo>
                    <a:lnTo>
                      <a:pt x="735806" y="785812"/>
                    </a:lnTo>
                    <a:lnTo>
                      <a:pt x="792956" y="776287"/>
                    </a:lnTo>
                    <a:lnTo>
                      <a:pt x="838200" y="759618"/>
                    </a:lnTo>
                    <a:lnTo>
                      <a:pt x="876300" y="719137"/>
                    </a:lnTo>
                    <a:lnTo>
                      <a:pt x="923925" y="704850"/>
                    </a:lnTo>
                    <a:lnTo>
                      <a:pt x="995363" y="700087"/>
                    </a:lnTo>
                    <a:lnTo>
                      <a:pt x="1040606" y="690562"/>
                    </a:lnTo>
                    <a:lnTo>
                      <a:pt x="1119188" y="583406"/>
                    </a:lnTo>
                    <a:lnTo>
                      <a:pt x="1126331" y="550068"/>
                    </a:lnTo>
                    <a:lnTo>
                      <a:pt x="1152525" y="521493"/>
                    </a:lnTo>
                    <a:lnTo>
                      <a:pt x="1197769" y="511968"/>
                    </a:lnTo>
                    <a:lnTo>
                      <a:pt x="1290638" y="435768"/>
                    </a:lnTo>
                    <a:lnTo>
                      <a:pt x="1314450" y="433387"/>
                    </a:lnTo>
                    <a:lnTo>
                      <a:pt x="1409700" y="352425"/>
                    </a:lnTo>
                    <a:lnTo>
                      <a:pt x="1414463" y="333375"/>
                    </a:lnTo>
                    <a:lnTo>
                      <a:pt x="1507331" y="278606"/>
                    </a:lnTo>
                    <a:lnTo>
                      <a:pt x="1543050" y="233362"/>
                    </a:lnTo>
                    <a:lnTo>
                      <a:pt x="1562100" y="195262"/>
                    </a:lnTo>
                    <a:lnTo>
                      <a:pt x="1512094" y="214312"/>
                    </a:lnTo>
                    <a:lnTo>
                      <a:pt x="1478756" y="214312"/>
                    </a:lnTo>
                    <a:lnTo>
                      <a:pt x="1452563" y="252412"/>
                    </a:lnTo>
                    <a:lnTo>
                      <a:pt x="1421606" y="250031"/>
                    </a:lnTo>
                    <a:lnTo>
                      <a:pt x="1366838" y="219075"/>
                    </a:lnTo>
                    <a:lnTo>
                      <a:pt x="1323975" y="207168"/>
                    </a:lnTo>
                    <a:lnTo>
                      <a:pt x="1238250" y="242887"/>
                    </a:lnTo>
                    <a:lnTo>
                      <a:pt x="1223963" y="280987"/>
                    </a:lnTo>
                    <a:lnTo>
                      <a:pt x="1195388" y="338137"/>
                    </a:lnTo>
                    <a:lnTo>
                      <a:pt x="1109663" y="300037"/>
                    </a:lnTo>
                    <a:lnTo>
                      <a:pt x="1097756" y="342900"/>
                    </a:lnTo>
                    <a:lnTo>
                      <a:pt x="1083469" y="376237"/>
                    </a:lnTo>
                    <a:lnTo>
                      <a:pt x="959644" y="407193"/>
                    </a:lnTo>
                    <a:lnTo>
                      <a:pt x="945356" y="402431"/>
                    </a:lnTo>
                    <a:lnTo>
                      <a:pt x="926306" y="423862"/>
                    </a:lnTo>
                    <a:lnTo>
                      <a:pt x="890588" y="431006"/>
                    </a:lnTo>
                    <a:lnTo>
                      <a:pt x="854869" y="381000"/>
                    </a:lnTo>
                    <a:lnTo>
                      <a:pt x="835819" y="369093"/>
                    </a:lnTo>
                    <a:lnTo>
                      <a:pt x="826294" y="323850"/>
                    </a:lnTo>
                    <a:lnTo>
                      <a:pt x="792956" y="307181"/>
                    </a:lnTo>
                    <a:lnTo>
                      <a:pt x="759619" y="300037"/>
                    </a:lnTo>
                    <a:lnTo>
                      <a:pt x="740569" y="295275"/>
                    </a:lnTo>
                    <a:lnTo>
                      <a:pt x="728663" y="285750"/>
                    </a:lnTo>
                    <a:lnTo>
                      <a:pt x="735806" y="259556"/>
                    </a:lnTo>
                    <a:lnTo>
                      <a:pt x="742950" y="235743"/>
                    </a:lnTo>
                    <a:lnTo>
                      <a:pt x="700088" y="185737"/>
                    </a:lnTo>
                    <a:cubicBezTo>
                      <a:pt x="693738" y="161925"/>
                      <a:pt x="711995" y="113109"/>
                      <a:pt x="704851" y="92869"/>
                    </a:cubicBezTo>
                    <a:lnTo>
                      <a:pt x="657225" y="64294"/>
                    </a:lnTo>
                    <a:cubicBezTo>
                      <a:pt x="653256" y="63500"/>
                      <a:pt x="632619" y="88901"/>
                      <a:pt x="628650" y="88107"/>
                    </a:cubicBezTo>
                    <a:lnTo>
                      <a:pt x="500062" y="66676"/>
                    </a:lnTo>
                    <a:lnTo>
                      <a:pt x="450056" y="2382"/>
                    </a:lnTo>
                    <a:lnTo>
                      <a:pt x="428625" y="0"/>
                    </a:lnTo>
                    <a:lnTo>
                      <a:pt x="376238" y="104775"/>
                    </a:lnTo>
                    <a:cubicBezTo>
                      <a:pt x="361951" y="76994"/>
                      <a:pt x="340519" y="111124"/>
                      <a:pt x="314326" y="104774"/>
                    </a:cubicBezTo>
                    <a:lnTo>
                      <a:pt x="328613" y="183356"/>
                    </a:lnTo>
                    <a:lnTo>
                      <a:pt x="292894" y="285750"/>
                    </a:lnTo>
                    <a:lnTo>
                      <a:pt x="264319" y="292893"/>
                    </a:lnTo>
                    <a:lnTo>
                      <a:pt x="261938" y="307181"/>
                    </a:lnTo>
                    <a:lnTo>
                      <a:pt x="261938" y="340518"/>
                    </a:lnTo>
                    <a:lnTo>
                      <a:pt x="228600" y="383381"/>
                    </a:lnTo>
                    <a:lnTo>
                      <a:pt x="271463" y="400050"/>
                    </a:lnTo>
                    <a:lnTo>
                      <a:pt x="278606" y="419100"/>
                    </a:lnTo>
                    <a:lnTo>
                      <a:pt x="257175" y="454818"/>
                    </a:lnTo>
                    <a:lnTo>
                      <a:pt x="221456" y="464343"/>
                    </a:lnTo>
                    <a:lnTo>
                      <a:pt x="221456" y="504825"/>
                    </a:lnTo>
                    <a:lnTo>
                      <a:pt x="254794" y="542925"/>
                    </a:lnTo>
                    <a:lnTo>
                      <a:pt x="226219" y="607218"/>
                    </a:lnTo>
                    <a:lnTo>
                      <a:pt x="180975" y="635793"/>
                    </a:lnTo>
                    <a:lnTo>
                      <a:pt x="183356" y="652462"/>
                    </a:lnTo>
                    <a:lnTo>
                      <a:pt x="204788" y="661987"/>
                    </a:lnTo>
                    <a:lnTo>
                      <a:pt x="219075" y="671512"/>
                    </a:lnTo>
                    <a:lnTo>
                      <a:pt x="223838" y="690562"/>
                    </a:lnTo>
                    <a:lnTo>
                      <a:pt x="195263" y="716756"/>
                    </a:lnTo>
                    <a:lnTo>
                      <a:pt x="123825" y="762000"/>
                    </a:lnTo>
                    <a:lnTo>
                      <a:pt x="123825" y="797718"/>
                    </a:lnTo>
                    <a:lnTo>
                      <a:pt x="135731" y="828675"/>
                    </a:lnTo>
                    <a:lnTo>
                      <a:pt x="123825" y="869156"/>
                    </a:lnTo>
                    <a:lnTo>
                      <a:pt x="76200" y="864393"/>
                    </a:lnTo>
                    <a:lnTo>
                      <a:pt x="52388" y="809625"/>
                    </a:lnTo>
                    <a:lnTo>
                      <a:pt x="33338" y="802481"/>
                    </a:lnTo>
                    <a:lnTo>
                      <a:pt x="23813" y="840581"/>
                    </a:lnTo>
                    <a:lnTo>
                      <a:pt x="21431" y="850106"/>
                    </a:lnTo>
                    <a:lnTo>
                      <a:pt x="7144" y="866775"/>
                    </a:lnTo>
                    <a:lnTo>
                      <a:pt x="0" y="923925"/>
                    </a:lnTo>
                    <a:lnTo>
                      <a:pt x="23813" y="952500"/>
                    </a:lnTo>
                    <a:lnTo>
                      <a:pt x="16669" y="992981"/>
                    </a:lnTo>
                    <a:lnTo>
                      <a:pt x="35719" y="997743"/>
                    </a:lnTo>
                    <a:lnTo>
                      <a:pt x="69056" y="997743"/>
                    </a:lnTo>
                    <a:lnTo>
                      <a:pt x="85725" y="988218"/>
                    </a:lnTo>
                    <a:lnTo>
                      <a:pt x="135731" y="1045368"/>
                    </a:lnTo>
                    <a:lnTo>
                      <a:pt x="123825" y="1064418"/>
                    </a:lnTo>
                    <a:lnTo>
                      <a:pt x="133350" y="1092993"/>
                    </a:lnTo>
                    <a:lnTo>
                      <a:pt x="164306" y="1112043"/>
                    </a:lnTo>
                    <a:lnTo>
                      <a:pt x="190500" y="1121568"/>
                    </a:lnTo>
                    <a:lnTo>
                      <a:pt x="216694" y="1128712"/>
                    </a:lnTo>
                    <a:lnTo>
                      <a:pt x="228600" y="1131093"/>
                    </a:lnTo>
                    <a:lnTo>
                      <a:pt x="240506" y="1092993"/>
                    </a:lnTo>
                    <a:lnTo>
                      <a:pt x="269081" y="1097756"/>
                    </a:lnTo>
                    <a:lnTo>
                      <a:pt x="288131" y="1085850"/>
                    </a:lnTo>
                    <a:lnTo>
                      <a:pt x="307181" y="1135856"/>
                    </a:lnTo>
                    <a:lnTo>
                      <a:pt x="330994" y="1150143"/>
                    </a:lnTo>
                    <a:lnTo>
                      <a:pt x="340519" y="1178718"/>
                    </a:lnTo>
                    <a:lnTo>
                      <a:pt x="357188" y="1188243"/>
                    </a:lnTo>
                    <a:lnTo>
                      <a:pt x="364331" y="1219200"/>
                    </a:lnTo>
                    <a:lnTo>
                      <a:pt x="335756" y="1245393"/>
                    </a:lnTo>
                    <a:lnTo>
                      <a:pt x="309563" y="1262062"/>
                    </a:lnTo>
                    <a:lnTo>
                      <a:pt x="297656" y="1285875"/>
                    </a:lnTo>
                    <a:lnTo>
                      <a:pt x="302419" y="1309687"/>
                    </a:lnTo>
                    <a:lnTo>
                      <a:pt x="342900" y="1309687"/>
                    </a:lnTo>
                    <a:lnTo>
                      <a:pt x="390525" y="1304925"/>
                    </a:lnTo>
                    <a:lnTo>
                      <a:pt x="428625" y="1295400"/>
                    </a:lnTo>
                    <a:lnTo>
                      <a:pt x="454819" y="1302543"/>
                    </a:lnTo>
                    <a:lnTo>
                      <a:pt x="473869" y="1281112"/>
                    </a:lnTo>
                    <a:lnTo>
                      <a:pt x="492919" y="1281112"/>
                    </a:lnTo>
                    <a:lnTo>
                      <a:pt x="507206" y="1250156"/>
                    </a:lnTo>
                    <a:lnTo>
                      <a:pt x="557213" y="1235868"/>
                    </a:lnTo>
                    <a:lnTo>
                      <a:pt x="583406" y="1216818"/>
                    </a:lnTo>
                    <a:lnTo>
                      <a:pt x="590550" y="1178718"/>
                    </a:lnTo>
                    <a:lnTo>
                      <a:pt x="607219" y="1152525"/>
                    </a:lnTo>
                    <a:lnTo>
                      <a:pt x="688181" y="1183481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56" name="Freeform 21">
                <a:extLst>
                  <a:ext uri="{FF2B5EF4-FFF2-40B4-BE49-F238E27FC236}">
                    <a16:creationId xmlns:a16="http://schemas.microsoft.com/office/drawing/2014/main" id="{26730043-1793-475C-A93A-207B7021144A}"/>
                  </a:ext>
                </a:extLst>
              </p:cNvPr>
              <p:cNvSpPr/>
              <p:nvPr/>
            </p:nvSpPr>
            <p:spPr>
              <a:xfrm>
                <a:off x="4821238" y="3705225"/>
                <a:ext cx="771525" cy="1196975"/>
              </a:xfrm>
              <a:custGeom>
                <a:avLst/>
                <a:gdLst>
                  <a:gd name="connsiteX0" fmla="*/ 202407 w 771525"/>
                  <a:gd name="connsiteY0" fmla="*/ 1131094 h 1135856"/>
                  <a:gd name="connsiteX1" fmla="*/ 221457 w 771525"/>
                  <a:gd name="connsiteY1" fmla="*/ 1064419 h 1135856"/>
                  <a:gd name="connsiteX2" fmla="*/ 238125 w 771525"/>
                  <a:gd name="connsiteY2" fmla="*/ 1042987 h 1135856"/>
                  <a:gd name="connsiteX3" fmla="*/ 247650 w 771525"/>
                  <a:gd name="connsiteY3" fmla="*/ 1012031 h 1135856"/>
                  <a:gd name="connsiteX4" fmla="*/ 283369 w 771525"/>
                  <a:gd name="connsiteY4" fmla="*/ 985837 h 1135856"/>
                  <a:gd name="connsiteX5" fmla="*/ 319088 w 771525"/>
                  <a:gd name="connsiteY5" fmla="*/ 962025 h 1135856"/>
                  <a:gd name="connsiteX6" fmla="*/ 350044 w 771525"/>
                  <a:gd name="connsiteY6" fmla="*/ 928687 h 1135856"/>
                  <a:gd name="connsiteX7" fmla="*/ 354807 w 771525"/>
                  <a:gd name="connsiteY7" fmla="*/ 900112 h 1135856"/>
                  <a:gd name="connsiteX8" fmla="*/ 321469 w 771525"/>
                  <a:gd name="connsiteY8" fmla="*/ 854869 h 1135856"/>
                  <a:gd name="connsiteX9" fmla="*/ 323850 w 771525"/>
                  <a:gd name="connsiteY9" fmla="*/ 785812 h 1135856"/>
                  <a:gd name="connsiteX10" fmla="*/ 280988 w 771525"/>
                  <a:gd name="connsiteY10" fmla="*/ 735806 h 1135856"/>
                  <a:gd name="connsiteX11" fmla="*/ 288132 w 771525"/>
                  <a:gd name="connsiteY11" fmla="*/ 697706 h 1135856"/>
                  <a:gd name="connsiteX12" fmla="*/ 316707 w 771525"/>
                  <a:gd name="connsiteY12" fmla="*/ 681037 h 1135856"/>
                  <a:gd name="connsiteX13" fmla="*/ 330994 w 771525"/>
                  <a:gd name="connsiteY13" fmla="*/ 707231 h 1135856"/>
                  <a:gd name="connsiteX14" fmla="*/ 354807 w 771525"/>
                  <a:gd name="connsiteY14" fmla="*/ 726281 h 1135856"/>
                  <a:gd name="connsiteX15" fmla="*/ 369094 w 771525"/>
                  <a:gd name="connsiteY15" fmla="*/ 745331 h 1135856"/>
                  <a:gd name="connsiteX16" fmla="*/ 378619 w 771525"/>
                  <a:gd name="connsiteY16" fmla="*/ 781050 h 1135856"/>
                  <a:gd name="connsiteX17" fmla="*/ 395288 w 771525"/>
                  <a:gd name="connsiteY17" fmla="*/ 797719 h 1135856"/>
                  <a:gd name="connsiteX18" fmla="*/ 409575 w 771525"/>
                  <a:gd name="connsiteY18" fmla="*/ 792956 h 1135856"/>
                  <a:gd name="connsiteX19" fmla="*/ 426244 w 771525"/>
                  <a:gd name="connsiteY19" fmla="*/ 785812 h 1135856"/>
                  <a:gd name="connsiteX20" fmla="*/ 423863 w 771525"/>
                  <a:gd name="connsiteY20" fmla="*/ 676275 h 1135856"/>
                  <a:gd name="connsiteX21" fmla="*/ 409575 w 771525"/>
                  <a:gd name="connsiteY21" fmla="*/ 640556 h 1135856"/>
                  <a:gd name="connsiteX22" fmla="*/ 411957 w 771525"/>
                  <a:gd name="connsiteY22" fmla="*/ 614362 h 1135856"/>
                  <a:gd name="connsiteX23" fmla="*/ 426244 w 771525"/>
                  <a:gd name="connsiteY23" fmla="*/ 566737 h 1135856"/>
                  <a:gd name="connsiteX24" fmla="*/ 473869 w 771525"/>
                  <a:gd name="connsiteY24" fmla="*/ 566737 h 1135856"/>
                  <a:gd name="connsiteX25" fmla="*/ 488157 w 771525"/>
                  <a:gd name="connsiteY25" fmla="*/ 552450 h 1135856"/>
                  <a:gd name="connsiteX26" fmla="*/ 509588 w 771525"/>
                  <a:gd name="connsiteY26" fmla="*/ 502444 h 1135856"/>
                  <a:gd name="connsiteX27" fmla="*/ 604838 w 771525"/>
                  <a:gd name="connsiteY27" fmla="*/ 457200 h 1135856"/>
                  <a:gd name="connsiteX28" fmla="*/ 628650 w 771525"/>
                  <a:gd name="connsiteY28" fmla="*/ 447675 h 1135856"/>
                  <a:gd name="connsiteX29" fmla="*/ 638175 w 771525"/>
                  <a:gd name="connsiteY29" fmla="*/ 402431 h 1135856"/>
                  <a:gd name="connsiteX30" fmla="*/ 638175 w 771525"/>
                  <a:gd name="connsiteY30" fmla="*/ 361950 h 1135856"/>
                  <a:gd name="connsiteX31" fmla="*/ 640557 w 771525"/>
                  <a:gd name="connsiteY31" fmla="*/ 340519 h 1135856"/>
                  <a:gd name="connsiteX32" fmla="*/ 652463 w 771525"/>
                  <a:gd name="connsiteY32" fmla="*/ 333375 h 1135856"/>
                  <a:gd name="connsiteX33" fmla="*/ 742950 w 771525"/>
                  <a:gd name="connsiteY33" fmla="*/ 297656 h 1135856"/>
                  <a:gd name="connsiteX34" fmla="*/ 766763 w 771525"/>
                  <a:gd name="connsiteY34" fmla="*/ 280987 h 1135856"/>
                  <a:gd name="connsiteX35" fmla="*/ 754857 w 771525"/>
                  <a:gd name="connsiteY35" fmla="*/ 252412 h 1135856"/>
                  <a:gd name="connsiteX36" fmla="*/ 742950 w 771525"/>
                  <a:gd name="connsiteY36" fmla="*/ 221456 h 1135856"/>
                  <a:gd name="connsiteX37" fmla="*/ 771525 w 771525"/>
                  <a:gd name="connsiteY37" fmla="*/ 192881 h 1135856"/>
                  <a:gd name="connsiteX38" fmla="*/ 752475 w 771525"/>
                  <a:gd name="connsiteY38" fmla="*/ 161925 h 1135856"/>
                  <a:gd name="connsiteX39" fmla="*/ 752475 w 771525"/>
                  <a:gd name="connsiteY39" fmla="*/ 119062 h 1135856"/>
                  <a:gd name="connsiteX40" fmla="*/ 719138 w 771525"/>
                  <a:gd name="connsiteY40" fmla="*/ 85725 h 1135856"/>
                  <a:gd name="connsiteX41" fmla="*/ 671513 w 771525"/>
                  <a:gd name="connsiteY41" fmla="*/ 52387 h 1135856"/>
                  <a:gd name="connsiteX42" fmla="*/ 645319 w 771525"/>
                  <a:gd name="connsiteY42" fmla="*/ 35719 h 1135856"/>
                  <a:gd name="connsiteX43" fmla="*/ 642938 w 771525"/>
                  <a:gd name="connsiteY43" fmla="*/ 4762 h 1135856"/>
                  <a:gd name="connsiteX44" fmla="*/ 609600 w 771525"/>
                  <a:gd name="connsiteY44" fmla="*/ 0 h 1135856"/>
                  <a:gd name="connsiteX45" fmla="*/ 583407 w 771525"/>
                  <a:gd name="connsiteY45" fmla="*/ 23812 h 1135856"/>
                  <a:gd name="connsiteX46" fmla="*/ 564357 w 771525"/>
                  <a:gd name="connsiteY46" fmla="*/ 19050 h 1135856"/>
                  <a:gd name="connsiteX47" fmla="*/ 554832 w 771525"/>
                  <a:gd name="connsiteY47" fmla="*/ 42862 h 1135856"/>
                  <a:gd name="connsiteX48" fmla="*/ 509588 w 771525"/>
                  <a:gd name="connsiteY48" fmla="*/ 76200 h 1135856"/>
                  <a:gd name="connsiteX49" fmla="*/ 407194 w 771525"/>
                  <a:gd name="connsiteY49" fmla="*/ 114300 h 1135856"/>
                  <a:gd name="connsiteX50" fmla="*/ 381000 w 771525"/>
                  <a:gd name="connsiteY50" fmla="*/ 152400 h 1135856"/>
                  <a:gd name="connsiteX51" fmla="*/ 340519 w 771525"/>
                  <a:gd name="connsiteY51" fmla="*/ 140494 h 1135856"/>
                  <a:gd name="connsiteX52" fmla="*/ 245269 w 771525"/>
                  <a:gd name="connsiteY52" fmla="*/ 145256 h 1135856"/>
                  <a:gd name="connsiteX53" fmla="*/ 250032 w 771525"/>
                  <a:gd name="connsiteY53" fmla="*/ 154781 h 1135856"/>
                  <a:gd name="connsiteX54" fmla="*/ 309563 w 771525"/>
                  <a:gd name="connsiteY54" fmla="*/ 204787 h 1135856"/>
                  <a:gd name="connsiteX55" fmla="*/ 211932 w 771525"/>
                  <a:gd name="connsiteY55" fmla="*/ 328612 h 1135856"/>
                  <a:gd name="connsiteX56" fmla="*/ 173832 w 771525"/>
                  <a:gd name="connsiteY56" fmla="*/ 319087 h 1135856"/>
                  <a:gd name="connsiteX57" fmla="*/ 80963 w 771525"/>
                  <a:gd name="connsiteY57" fmla="*/ 452437 h 1135856"/>
                  <a:gd name="connsiteX58" fmla="*/ 97632 w 771525"/>
                  <a:gd name="connsiteY58" fmla="*/ 464344 h 1135856"/>
                  <a:gd name="connsiteX59" fmla="*/ 114300 w 771525"/>
                  <a:gd name="connsiteY59" fmla="*/ 504825 h 1135856"/>
                  <a:gd name="connsiteX60" fmla="*/ 92869 w 771525"/>
                  <a:gd name="connsiteY60" fmla="*/ 566737 h 1135856"/>
                  <a:gd name="connsiteX61" fmla="*/ 102394 w 771525"/>
                  <a:gd name="connsiteY61" fmla="*/ 640556 h 1135856"/>
                  <a:gd name="connsiteX62" fmla="*/ 73819 w 771525"/>
                  <a:gd name="connsiteY62" fmla="*/ 678656 h 1135856"/>
                  <a:gd name="connsiteX63" fmla="*/ 73819 w 771525"/>
                  <a:gd name="connsiteY63" fmla="*/ 704850 h 1135856"/>
                  <a:gd name="connsiteX64" fmla="*/ 61913 w 771525"/>
                  <a:gd name="connsiteY64" fmla="*/ 733425 h 1135856"/>
                  <a:gd name="connsiteX65" fmla="*/ 88107 w 771525"/>
                  <a:gd name="connsiteY65" fmla="*/ 762000 h 1135856"/>
                  <a:gd name="connsiteX66" fmla="*/ 135732 w 771525"/>
                  <a:gd name="connsiteY66" fmla="*/ 850106 h 1135856"/>
                  <a:gd name="connsiteX67" fmla="*/ 69057 w 771525"/>
                  <a:gd name="connsiteY67" fmla="*/ 876300 h 1135856"/>
                  <a:gd name="connsiteX68" fmla="*/ 45244 w 771525"/>
                  <a:gd name="connsiteY68" fmla="*/ 928687 h 1135856"/>
                  <a:gd name="connsiteX69" fmla="*/ 33338 w 771525"/>
                  <a:gd name="connsiteY69" fmla="*/ 983456 h 1135856"/>
                  <a:gd name="connsiteX70" fmla="*/ 2382 w 771525"/>
                  <a:gd name="connsiteY70" fmla="*/ 973931 h 1135856"/>
                  <a:gd name="connsiteX71" fmla="*/ 0 w 771525"/>
                  <a:gd name="connsiteY71" fmla="*/ 1021556 h 1135856"/>
                  <a:gd name="connsiteX72" fmla="*/ 16669 w 771525"/>
                  <a:gd name="connsiteY72" fmla="*/ 1031081 h 1135856"/>
                  <a:gd name="connsiteX73" fmla="*/ 57150 w 771525"/>
                  <a:gd name="connsiteY73" fmla="*/ 1040606 h 1135856"/>
                  <a:gd name="connsiteX74" fmla="*/ 85725 w 771525"/>
                  <a:gd name="connsiteY74" fmla="*/ 1054894 h 1135856"/>
                  <a:gd name="connsiteX75" fmla="*/ 102394 w 771525"/>
                  <a:gd name="connsiteY75" fmla="*/ 1109662 h 1135856"/>
                  <a:gd name="connsiteX76" fmla="*/ 130969 w 771525"/>
                  <a:gd name="connsiteY76" fmla="*/ 1135856 h 1135856"/>
                  <a:gd name="connsiteX77" fmla="*/ 202407 w 771525"/>
                  <a:gd name="connsiteY77" fmla="*/ 1131094 h 1135856"/>
                  <a:gd name="connsiteX0" fmla="*/ 202407 w 771525"/>
                  <a:gd name="connsiteY0" fmla="*/ 1131094 h 1135856"/>
                  <a:gd name="connsiteX1" fmla="*/ 221457 w 771525"/>
                  <a:gd name="connsiteY1" fmla="*/ 1064419 h 1135856"/>
                  <a:gd name="connsiteX2" fmla="*/ 238125 w 771525"/>
                  <a:gd name="connsiteY2" fmla="*/ 1042987 h 1135856"/>
                  <a:gd name="connsiteX3" fmla="*/ 247650 w 771525"/>
                  <a:gd name="connsiteY3" fmla="*/ 1012031 h 1135856"/>
                  <a:gd name="connsiteX4" fmla="*/ 283369 w 771525"/>
                  <a:gd name="connsiteY4" fmla="*/ 985837 h 1135856"/>
                  <a:gd name="connsiteX5" fmla="*/ 319088 w 771525"/>
                  <a:gd name="connsiteY5" fmla="*/ 962025 h 1135856"/>
                  <a:gd name="connsiteX6" fmla="*/ 350044 w 771525"/>
                  <a:gd name="connsiteY6" fmla="*/ 928687 h 1135856"/>
                  <a:gd name="connsiteX7" fmla="*/ 354807 w 771525"/>
                  <a:gd name="connsiteY7" fmla="*/ 900112 h 1135856"/>
                  <a:gd name="connsiteX8" fmla="*/ 321469 w 771525"/>
                  <a:gd name="connsiteY8" fmla="*/ 854869 h 1135856"/>
                  <a:gd name="connsiteX9" fmla="*/ 323850 w 771525"/>
                  <a:gd name="connsiteY9" fmla="*/ 785812 h 1135856"/>
                  <a:gd name="connsiteX10" fmla="*/ 280988 w 771525"/>
                  <a:gd name="connsiteY10" fmla="*/ 735806 h 1135856"/>
                  <a:gd name="connsiteX11" fmla="*/ 288132 w 771525"/>
                  <a:gd name="connsiteY11" fmla="*/ 697706 h 1135856"/>
                  <a:gd name="connsiteX12" fmla="*/ 316707 w 771525"/>
                  <a:gd name="connsiteY12" fmla="*/ 681037 h 1135856"/>
                  <a:gd name="connsiteX13" fmla="*/ 330994 w 771525"/>
                  <a:gd name="connsiteY13" fmla="*/ 707231 h 1135856"/>
                  <a:gd name="connsiteX14" fmla="*/ 354807 w 771525"/>
                  <a:gd name="connsiteY14" fmla="*/ 726281 h 1135856"/>
                  <a:gd name="connsiteX15" fmla="*/ 369094 w 771525"/>
                  <a:gd name="connsiteY15" fmla="*/ 745331 h 1135856"/>
                  <a:gd name="connsiteX16" fmla="*/ 378619 w 771525"/>
                  <a:gd name="connsiteY16" fmla="*/ 781050 h 1135856"/>
                  <a:gd name="connsiteX17" fmla="*/ 395288 w 771525"/>
                  <a:gd name="connsiteY17" fmla="*/ 797719 h 1135856"/>
                  <a:gd name="connsiteX18" fmla="*/ 409575 w 771525"/>
                  <a:gd name="connsiteY18" fmla="*/ 792956 h 1135856"/>
                  <a:gd name="connsiteX19" fmla="*/ 426244 w 771525"/>
                  <a:gd name="connsiteY19" fmla="*/ 785812 h 1135856"/>
                  <a:gd name="connsiteX20" fmla="*/ 423863 w 771525"/>
                  <a:gd name="connsiteY20" fmla="*/ 676275 h 1135856"/>
                  <a:gd name="connsiteX21" fmla="*/ 409575 w 771525"/>
                  <a:gd name="connsiteY21" fmla="*/ 640556 h 1135856"/>
                  <a:gd name="connsiteX22" fmla="*/ 411957 w 771525"/>
                  <a:gd name="connsiteY22" fmla="*/ 614362 h 1135856"/>
                  <a:gd name="connsiteX23" fmla="*/ 426244 w 771525"/>
                  <a:gd name="connsiteY23" fmla="*/ 566737 h 1135856"/>
                  <a:gd name="connsiteX24" fmla="*/ 473869 w 771525"/>
                  <a:gd name="connsiteY24" fmla="*/ 566737 h 1135856"/>
                  <a:gd name="connsiteX25" fmla="*/ 488157 w 771525"/>
                  <a:gd name="connsiteY25" fmla="*/ 552450 h 1135856"/>
                  <a:gd name="connsiteX26" fmla="*/ 509588 w 771525"/>
                  <a:gd name="connsiteY26" fmla="*/ 502444 h 1135856"/>
                  <a:gd name="connsiteX27" fmla="*/ 604838 w 771525"/>
                  <a:gd name="connsiteY27" fmla="*/ 457200 h 1135856"/>
                  <a:gd name="connsiteX28" fmla="*/ 628650 w 771525"/>
                  <a:gd name="connsiteY28" fmla="*/ 447675 h 1135856"/>
                  <a:gd name="connsiteX29" fmla="*/ 638175 w 771525"/>
                  <a:gd name="connsiteY29" fmla="*/ 402431 h 1135856"/>
                  <a:gd name="connsiteX30" fmla="*/ 638175 w 771525"/>
                  <a:gd name="connsiteY30" fmla="*/ 361950 h 1135856"/>
                  <a:gd name="connsiteX31" fmla="*/ 640557 w 771525"/>
                  <a:gd name="connsiteY31" fmla="*/ 340519 h 1135856"/>
                  <a:gd name="connsiteX32" fmla="*/ 652463 w 771525"/>
                  <a:gd name="connsiteY32" fmla="*/ 333375 h 1135856"/>
                  <a:gd name="connsiteX33" fmla="*/ 742950 w 771525"/>
                  <a:gd name="connsiteY33" fmla="*/ 297656 h 1135856"/>
                  <a:gd name="connsiteX34" fmla="*/ 766763 w 771525"/>
                  <a:gd name="connsiteY34" fmla="*/ 280987 h 1135856"/>
                  <a:gd name="connsiteX35" fmla="*/ 754857 w 771525"/>
                  <a:gd name="connsiteY35" fmla="*/ 252412 h 1135856"/>
                  <a:gd name="connsiteX36" fmla="*/ 742950 w 771525"/>
                  <a:gd name="connsiteY36" fmla="*/ 221456 h 1135856"/>
                  <a:gd name="connsiteX37" fmla="*/ 771525 w 771525"/>
                  <a:gd name="connsiteY37" fmla="*/ 192881 h 1135856"/>
                  <a:gd name="connsiteX38" fmla="*/ 752475 w 771525"/>
                  <a:gd name="connsiteY38" fmla="*/ 161925 h 1135856"/>
                  <a:gd name="connsiteX39" fmla="*/ 752475 w 771525"/>
                  <a:gd name="connsiteY39" fmla="*/ 119062 h 1135856"/>
                  <a:gd name="connsiteX40" fmla="*/ 719138 w 771525"/>
                  <a:gd name="connsiteY40" fmla="*/ 85725 h 1135856"/>
                  <a:gd name="connsiteX41" fmla="*/ 671513 w 771525"/>
                  <a:gd name="connsiteY41" fmla="*/ 52387 h 1135856"/>
                  <a:gd name="connsiteX42" fmla="*/ 645319 w 771525"/>
                  <a:gd name="connsiteY42" fmla="*/ 35719 h 1135856"/>
                  <a:gd name="connsiteX43" fmla="*/ 642938 w 771525"/>
                  <a:gd name="connsiteY43" fmla="*/ 4762 h 1135856"/>
                  <a:gd name="connsiteX44" fmla="*/ 609600 w 771525"/>
                  <a:gd name="connsiteY44" fmla="*/ 0 h 1135856"/>
                  <a:gd name="connsiteX45" fmla="*/ 583407 w 771525"/>
                  <a:gd name="connsiteY45" fmla="*/ 23812 h 1135856"/>
                  <a:gd name="connsiteX46" fmla="*/ 564357 w 771525"/>
                  <a:gd name="connsiteY46" fmla="*/ 19050 h 1135856"/>
                  <a:gd name="connsiteX47" fmla="*/ 554832 w 771525"/>
                  <a:gd name="connsiteY47" fmla="*/ 42862 h 1135856"/>
                  <a:gd name="connsiteX48" fmla="*/ 509588 w 771525"/>
                  <a:gd name="connsiteY48" fmla="*/ 76200 h 1135856"/>
                  <a:gd name="connsiteX49" fmla="*/ 407194 w 771525"/>
                  <a:gd name="connsiteY49" fmla="*/ 114300 h 1135856"/>
                  <a:gd name="connsiteX50" fmla="*/ 381000 w 771525"/>
                  <a:gd name="connsiteY50" fmla="*/ 152400 h 1135856"/>
                  <a:gd name="connsiteX51" fmla="*/ 340519 w 771525"/>
                  <a:gd name="connsiteY51" fmla="*/ 140494 h 1135856"/>
                  <a:gd name="connsiteX52" fmla="*/ 245269 w 771525"/>
                  <a:gd name="connsiteY52" fmla="*/ 145256 h 1135856"/>
                  <a:gd name="connsiteX53" fmla="*/ 250032 w 771525"/>
                  <a:gd name="connsiteY53" fmla="*/ 154781 h 1135856"/>
                  <a:gd name="connsiteX54" fmla="*/ 309563 w 771525"/>
                  <a:gd name="connsiteY54" fmla="*/ 204787 h 1135856"/>
                  <a:gd name="connsiteX55" fmla="*/ 211932 w 771525"/>
                  <a:gd name="connsiteY55" fmla="*/ 328612 h 1135856"/>
                  <a:gd name="connsiteX56" fmla="*/ 173832 w 771525"/>
                  <a:gd name="connsiteY56" fmla="*/ 319087 h 1135856"/>
                  <a:gd name="connsiteX57" fmla="*/ 80963 w 771525"/>
                  <a:gd name="connsiteY57" fmla="*/ 452437 h 1135856"/>
                  <a:gd name="connsiteX58" fmla="*/ 97632 w 771525"/>
                  <a:gd name="connsiteY58" fmla="*/ 464344 h 1135856"/>
                  <a:gd name="connsiteX59" fmla="*/ 114300 w 771525"/>
                  <a:gd name="connsiteY59" fmla="*/ 504825 h 1135856"/>
                  <a:gd name="connsiteX60" fmla="*/ 92869 w 771525"/>
                  <a:gd name="connsiteY60" fmla="*/ 566737 h 1135856"/>
                  <a:gd name="connsiteX61" fmla="*/ 102394 w 771525"/>
                  <a:gd name="connsiteY61" fmla="*/ 640556 h 1135856"/>
                  <a:gd name="connsiteX62" fmla="*/ 73819 w 771525"/>
                  <a:gd name="connsiteY62" fmla="*/ 678656 h 1135856"/>
                  <a:gd name="connsiteX63" fmla="*/ 73819 w 771525"/>
                  <a:gd name="connsiteY63" fmla="*/ 704850 h 1135856"/>
                  <a:gd name="connsiteX64" fmla="*/ 61913 w 771525"/>
                  <a:gd name="connsiteY64" fmla="*/ 733425 h 1135856"/>
                  <a:gd name="connsiteX65" fmla="*/ 88107 w 771525"/>
                  <a:gd name="connsiteY65" fmla="*/ 762000 h 1135856"/>
                  <a:gd name="connsiteX66" fmla="*/ 135732 w 771525"/>
                  <a:gd name="connsiteY66" fmla="*/ 850106 h 1135856"/>
                  <a:gd name="connsiteX67" fmla="*/ 69057 w 771525"/>
                  <a:gd name="connsiteY67" fmla="*/ 876300 h 1135856"/>
                  <a:gd name="connsiteX68" fmla="*/ 45244 w 771525"/>
                  <a:gd name="connsiteY68" fmla="*/ 928687 h 1135856"/>
                  <a:gd name="connsiteX69" fmla="*/ 33338 w 771525"/>
                  <a:gd name="connsiteY69" fmla="*/ 983456 h 1135856"/>
                  <a:gd name="connsiteX70" fmla="*/ 2382 w 771525"/>
                  <a:gd name="connsiteY70" fmla="*/ 973931 h 1135856"/>
                  <a:gd name="connsiteX71" fmla="*/ 0 w 771525"/>
                  <a:gd name="connsiteY71" fmla="*/ 1021556 h 1135856"/>
                  <a:gd name="connsiteX72" fmla="*/ 16669 w 771525"/>
                  <a:gd name="connsiteY72" fmla="*/ 1031081 h 1135856"/>
                  <a:gd name="connsiteX73" fmla="*/ 57150 w 771525"/>
                  <a:gd name="connsiteY73" fmla="*/ 1040606 h 1135856"/>
                  <a:gd name="connsiteX74" fmla="*/ 85725 w 771525"/>
                  <a:gd name="connsiteY74" fmla="*/ 1054894 h 1135856"/>
                  <a:gd name="connsiteX75" fmla="*/ 102394 w 771525"/>
                  <a:gd name="connsiteY75" fmla="*/ 1109662 h 1135856"/>
                  <a:gd name="connsiteX76" fmla="*/ 130969 w 771525"/>
                  <a:gd name="connsiteY76" fmla="*/ 1135856 h 1135856"/>
                  <a:gd name="connsiteX77" fmla="*/ 157163 w 771525"/>
                  <a:gd name="connsiteY77" fmla="*/ 1135856 h 1135856"/>
                  <a:gd name="connsiteX78" fmla="*/ 202407 w 771525"/>
                  <a:gd name="connsiteY78" fmla="*/ 1131094 h 1135856"/>
                  <a:gd name="connsiteX0" fmla="*/ 202407 w 771525"/>
                  <a:gd name="connsiteY0" fmla="*/ 1131094 h 1164431"/>
                  <a:gd name="connsiteX1" fmla="*/ 221457 w 771525"/>
                  <a:gd name="connsiteY1" fmla="*/ 1064419 h 1164431"/>
                  <a:gd name="connsiteX2" fmla="*/ 238125 w 771525"/>
                  <a:gd name="connsiteY2" fmla="*/ 1042987 h 1164431"/>
                  <a:gd name="connsiteX3" fmla="*/ 247650 w 771525"/>
                  <a:gd name="connsiteY3" fmla="*/ 1012031 h 1164431"/>
                  <a:gd name="connsiteX4" fmla="*/ 283369 w 771525"/>
                  <a:gd name="connsiteY4" fmla="*/ 985837 h 1164431"/>
                  <a:gd name="connsiteX5" fmla="*/ 319088 w 771525"/>
                  <a:gd name="connsiteY5" fmla="*/ 962025 h 1164431"/>
                  <a:gd name="connsiteX6" fmla="*/ 350044 w 771525"/>
                  <a:gd name="connsiteY6" fmla="*/ 928687 h 1164431"/>
                  <a:gd name="connsiteX7" fmla="*/ 354807 w 771525"/>
                  <a:gd name="connsiteY7" fmla="*/ 900112 h 1164431"/>
                  <a:gd name="connsiteX8" fmla="*/ 321469 w 771525"/>
                  <a:gd name="connsiteY8" fmla="*/ 854869 h 1164431"/>
                  <a:gd name="connsiteX9" fmla="*/ 323850 w 771525"/>
                  <a:gd name="connsiteY9" fmla="*/ 785812 h 1164431"/>
                  <a:gd name="connsiteX10" fmla="*/ 280988 w 771525"/>
                  <a:gd name="connsiteY10" fmla="*/ 735806 h 1164431"/>
                  <a:gd name="connsiteX11" fmla="*/ 288132 w 771525"/>
                  <a:gd name="connsiteY11" fmla="*/ 697706 h 1164431"/>
                  <a:gd name="connsiteX12" fmla="*/ 316707 w 771525"/>
                  <a:gd name="connsiteY12" fmla="*/ 681037 h 1164431"/>
                  <a:gd name="connsiteX13" fmla="*/ 330994 w 771525"/>
                  <a:gd name="connsiteY13" fmla="*/ 707231 h 1164431"/>
                  <a:gd name="connsiteX14" fmla="*/ 354807 w 771525"/>
                  <a:gd name="connsiteY14" fmla="*/ 726281 h 1164431"/>
                  <a:gd name="connsiteX15" fmla="*/ 369094 w 771525"/>
                  <a:gd name="connsiteY15" fmla="*/ 745331 h 1164431"/>
                  <a:gd name="connsiteX16" fmla="*/ 378619 w 771525"/>
                  <a:gd name="connsiteY16" fmla="*/ 781050 h 1164431"/>
                  <a:gd name="connsiteX17" fmla="*/ 395288 w 771525"/>
                  <a:gd name="connsiteY17" fmla="*/ 797719 h 1164431"/>
                  <a:gd name="connsiteX18" fmla="*/ 409575 w 771525"/>
                  <a:gd name="connsiteY18" fmla="*/ 792956 h 1164431"/>
                  <a:gd name="connsiteX19" fmla="*/ 426244 w 771525"/>
                  <a:gd name="connsiteY19" fmla="*/ 785812 h 1164431"/>
                  <a:gd name="connsiteX20" fmla="*/ 423863 w 771525"/>
                  <a:gd name="connsiteY20" fmla="*/ 676275 h 1164431"/>
                  <a:gd name="connsiteX21" fmla="*/ 409575 w 771525"/>
                  <a:gd name="connsiteY21" fmla="*/ 640556 h 1164431"/>
                  <a:gd name="connsiteX22" fmla="*/ 411957 w 771525"/>
                  <a:gd name="connsiteY22" fmla="*/ 614362 h 1164431"/>
                  <a:gd name="connsiteX23" fmla="*/ 426244 w 771525"/>
                  <a:gd name="connsiteY23" fmla="*/ 566737 h 1164431"/>
                  <a:gd name="connsiteX24" fmla="*/ 473869 w 771525"/>
                  <a:gd name="connsiteY24" fmla="*/ 566737 h 1164431"/>
                  <a:gd name="connsiteX25" fmla="*/ 488157 w 771525"/>
                  <a:gd name="connsiteY25" fmla="*/ 552450 h 1164431"/>
                  <a:gd name="connsiteX26" fmla="*/ 509588 w 771525"/>
                  <a:gd name="connsiteY26" fmla="*/ 502444 h 1164431"/>
                  <a:gd name="connsiteX27" fmla="*/ 604838 w 771525"/>
                  <a:gd name="connsiteY27" fmla="*/ 457200 h 1164431"/>
                  <a:gd name="connsiteX28" fmla="*/ 628650 w 771525"/>
                  <a:gd name="connsiteY28" fmla="*/ 447675 h 1164431"/>
                  <a:gd name="connsiteX29" fmla="*/ 638175 w 771525"/>
                  <a:gd name="connsiteY29" fmla="*/ 402431 h 1164431"/>
                  <a:gd name="connsiteX30" fmla="*/ 638175 w 771525"/>
                  <a:gd name="connsiteY30" fmla="*/ 361950 h 1164431"/>
                  <a:gd name="connsiteX31" fmla="*/ 640557 w 771525"/>
                  <a:gd name="connsiteY31" fmla="*/ 340519 h 1164431"/>
                  <a:gd name="connsiteX32" fmla="*/ 652463 w 771525"/>
                  <a:gd name="connsiteY32" fmla="*/ 333375 h 1164431"/>
                  <a:gd name="connsiteX33" fmla="*/ 742950 w 771525"/>
                  <a:gd name="connsiteY33" fmla="*/ 297656 h 1164431"/>
                  <a:gd name="connsiteX34" fmla="*/ 766763 w 771525"/>
                  <a:gd name="connsiteY34" fmla="*/ 280987 h 1164431"/>
                  <a:gd name="connsiteX35" fmla="*/ 754857 w 771525"/>
                  <a:gd name="connsiteY35" fmla="*/ 252412 h 1164431"/>
                  <a:gd name="connsiteX36" fmla="*/ 742950 w 771525"/>
                  <a:gd name="connsiteY36" fmla="*/ 221456 h 1164431"/>
                  <a:gd name="connsiteX37" fmla="*/ 771525 w 771525"/>
                  <a:gd name="connsiteY37" fmla="*/ 192881 h 1164431"/>
                  <a:gd name="connsiteX38" fmla="*/ 752475 w 771525"/>
                  <a:gd name="connsiteY38" fmla="*/ 161925 h 1164431"/>
                  <a:gd name="connsiteX39" fmla="*/ 752475 w 771525"/>
                  <a:gd name="connsiteY39" fmla="*/ 119062 h 1164431"/>
                  <a:gd name="connsiteX40" fmla="*/ 719138 w 771525"/>
                  <a:gd name="connsiteY40" fmla="*/ 85725 h 1164431"/>
                  <a:gd name="connsiteX41" fmla="*/ 671513 w 771525"/>
                  <a:gd name="connsiteY41" fmla="*/ 52387 h 1164431"/>
                  <a:gd name="connsiteX42" fmla="*/ 645319 w 771525"/>
                  <a:gd name="connsiteY42" fmla="*/ 35719 h 1164431"/>
                  <a:gd name="connsiteX43" fmla="*/ 642938 w 771525"/>
                  <a:gd name="connsiteY43" fmla="*/ 4762 h 1164431"/>
                  <a:gd name="connsiteX44" fmla="*/ 609600 w 771525"/>
                  <a:gd name="connsiteY44" fmla="*/ 0 h 1164431"/>
                  <a:gd name="connsiteX45" fmla="*/ 583407 w 771525"/>
                  <a:gd name="connsiteY45" fmla="*/ 23812 h 1164431"/>
                  <a:gd name="connsiteX46" fmla="*/ 564357 w 771525"/>
                  <a:gd name="connsiteY46" fmla="*/ 19050 h 1164431"/>
                  <a:gd name="connsiteX47" fmla="*/ 554832 w 771525"/>
                  <a:gd name="connsiteY47" fmla="*/ 42862 h 1164431"/>
                  <a:gd name="connsiteX48" fmla="*/ 509588 w 771525"/>
                  <a:gd name="connsiteY48" fmla="*/ 76200 h 1164431"/>
                  <a:gd name="connsiteX49" fmla="*/ 407194 w 771525"/>
                  <a:gd name="connsiteY49" fmla="*/ 114300 h 1164431"/>
                  <a:gd name="connsiteX50" fmla="*/ 381000 w 771525"/>
                  <a:gd name="connsiteY50" fmla="*/ 152400 h 1164431"/>
                  <a:gd name="connsiteX51" fmla="*/ 340519 w 771525"/>
                  <a:gd name="connsiteY51" fmla="*/ 140494 h 1164431"/>
                  <a:gd name="connsiteX52" fmla="*/ 245269 w 771525"/>
                  <a:gd name="connsiteY52" fmla="*/ 145256 h 1164431"/>
                  <a:gd name="connsiteX53" fmla="*/ 250032 w 771525"/>
                  <a:gd name="connsiteY53" fmla="*/ 154781 h 1164431"/>
                  <a:gd name="connsiteX54" fmla="*/ 309563 w 771525"/>
                  <a:gd name="connsiteY54" fmla="*/ 204787 h 1164431"/>
                  <a:gd name="connsiteX55" fmla="*/ 211932 w 771525"/>
                  <a:gd name="connsiteY55" fmla="*/ 328612 h 1164431"/>
                  <a:gd name="connsiteX56" fmla="*/ 173832 w 771525"/>
                  <a:gd name="connsiteY56" fmla="*/ 319087 h 1164431"/>
                  <a:gd name="connsiteX57" fmla="*/ 80963 w 771525"/>
                  <a:gd name="connsiteY57" fmla="*/ 452437 h 1164431"/>
                  <a:gd name="connsiteX58" fmla="*/ 97632 w 771525"/>
                  <a:gd name="connsiteY58" fmla="*/ 464344 h 1164431"/>
                  <a:gd name="connsiteX59" fmla="*/ 114300 w 771525"/>
                  <a:gd name="connsiteY59" fmla="*/ 504825 h 1164431"/>
                  <a:gd name="connsiteX60" fmla="*/ 92869 w 771525"/>
                  <a:gd name="connsiteY60" fmla="*/ 566737 h 1164431"/>
                  <a:gd name="connsiteX61" fmla="*/ 102394 w 771525"/>
                  <a:gd name="connsiteY61" fmla="*/ 640556 h 1164431"/>
                  <a:gd name="connsiteX62" fmla="*/ 73819 w 771525"/>
                  <a:gd name="connsiteY62" fmla="*/ 678656 h 1164431"/>
                  <a:gd name="connsiteX63" fmla="*/ 73819 w 771525"/>
                  <a:gd name="connsiteY63" fmla="*/ 704850 h 1164431"/>
                  <a:gd name="connsiteX64" fmla="*/ 61913 w 771525"/>
                  <a:gd name="connsiteY64" fmla="*/ 733425 h 1164431"/>
                  <a:gd name="connsiteX65" fmla="*/ 88107 w 771525"/>
                  <a:gd name="connsiteY65" fmla="*/ 762000 h 1164431"/>
                  <a:gd name="connsiteX66" fmla="*/ 135732 w 771525"/>
                  <a:gd name="connsiteY66" fmla="*/ 850106 h 1164431"/>
                  <a:gd name="connsiteX67" fmla="*/ 69057 w 771525"/>
                  <a:gd name="connsiteY67" fmla="*/ 876300 h 1164431"/>
                  <a:gd name="connsiteX68" fmla="*/ 45244 w 771525"/>
                  <a:gd name="connsiteY68" fmla="*/ 928687 h 1164431"/>
                  <a:gd name="connsiteX69" fmla="*/ 33338 w 771525"/>
                  <a:gd name="connsiteY69" fmla="*/ 983456 h 1164431"/>
                  <a:gd name="connsiteX70" fmla="*/ 2382 w 771525"/>
                  <a:gd name="connsiteY70" fmla="*/ 973931 h 1164431"/>
                  <a:gd name="connsiteX71" fmla="*/ 0 w 771525"/>
                  <a:gd name="connsiteY71" fmla="*/ 1021556 h 1164431"/>
                  <a:gd name="connsiteX72" fmla="*/ 16669 w 771525"/>
                  <a:gd name="connsiteY72" fmla="*/ 1031081 h 1164431"/>
                  <a:gd name="connsiteX73" fmla="*/ 57150 w 771525"/>
                  <a:gd name="connsiteY73" fmla="*/ 1040606 h 1164431"/>
                  <a:gd name="connsiteX74" fmla="*/ 85725 w 771525"/>
                  <a:gd name="connsiteY74" fmla="*/ 1054894 h 1164431"/>
                  <a:gd name="connsiteX75" fmla="*/ 102394 w 771525"/>
                  <a:gd name="connsiteY75" fmla="*/ 1109662 h 1164431"/>
                  <a:gd name="connsiteX76" fmla="*/ 130969 w 771525"/>
                  <a:gd name="connsiteY76" fmla="*/ 1135856 h 1164431"/>
                  <a:gd name="connsiteX77" fmla="*/ 157163 w 771525"/>
                  <a:gd name="connsiteY77" fmla="*/ 1164431 h 1164431"/>
                  <a:gd name="connsiteX78" fmla="*/ 202407 w 771525"/>
                  <a:gd name="connsiteY78" fmla="*/ 1131094 h 1164431"/>
                  <a:gd name="connsiteX0" fmla="*/ 202407 w 771525"/>
                  <a:gd name="connsiteY0" fmla="*/ 1131094 h 1164431"/>
                  <a:gd name="connsiteX1" fmla="*/ 221457 w 771525"/>
                  <a:gd name="connsiteY1" fmla="*/ 1064419 h 1164431"/>
                  <a:gd name="connsiteX2" fmla="*/ 238125 w 771525"/>
                  <a:gd name="connsiteY2" fmla="*/ 1042987 h 1164431"/>
                  <a:gd name="connsiteX3" fmla="*/ 247650 w 771525"/>
                  <a:gd name="connsiteY3" fmla="*/ 1012031 h 1164431"/>
                  <a:gd name="connsiteX4" fmla="*/ 283369 w 771525"/>
                  <a:gd name="connsiteY4" fmla="*/ 985837 h 1164431"/>
                  <a:gd name="connsiteX5" fmla="*/ 319088 w 771525"/>
                  <a:gd name="connsiteY5" fmla="*/ 962025 h 1164431"/>
                  <a:gd name="connsiteX6" fmla="*/ 350044 w 771525"/>
                  <a:gd name="connsiteY6" fmla="*/ 928687 h 1164431"/>
                  <a:gd name="connsiteX7" fmla="*/ 354807 w 771525"/>
                  <a:gd name="connsiteY7" fmla="*/ 900112 h 1164431"/>
                  <a:gd name="connsiteX8" fmla="*/ 321469 w 771525"/>
                  <a:gd name="connsiteY8" fmla="*/ 854869 h 1164431"/>
                  <a:gd name="connsiteX9" fmla="*/ 323850 w 771525"/>
                  <a:gd name="connsiteY9" fmla="*/ 785812 h 1164431"/>
                  <a:gd name="connsiteX10" fmla="*/ 280988 w 771525"/>
                  <a:gd name="connsiteY10" fmla="*/ 735806 h 1164431"/>
                  <a:gd name="connsiteX11" fmla="*/ 288132 w 771525"/>
                  <a:gd name="connsiteY11" fmla="*/ 697706 h 1164431"/>
                  <a:gd name="connsiteX12" fmla="*/ 316707 w 771525"/>
                  <a:gd name="connsiteY12" fmla="*/ 681037 h 1164431"/>
                  <a:gd name="connsiteX13" fmla="*/ 330994 w 771525"/>
                  <a:gd name="connsiteY13" fmla="*/ 707231 h 1164431"/>
                  <a:gd name="connsiteX14" fmla="*/ 354807 w 771525"/>
                  <a:gd name="connsiteY14" fmla="*/ 726281 h 1164431"/>
                  <a:gd name="connsiteX15" fmla="*/ 369094 w 771525"/>
                  <a:gd name="connsiteY15" fmla="*/ 745331 h 1164431"/>
                  <a:gd name="connsiteX16" fmla="*/ 378619 w 771525"/>
                  <a:gd name="connsiteY16" fmla="*/ 781050 h 1164431"/>
                  <a:gd name="connsiteX17" fmla="*/ 395288 w 771525"/>
                  <a:gd name="connsiteY17" fmla="*/ 797719 h 1164431"/>
                  <a:gd name="connsiteX18" fmla="*/ 409575 w 771525"/>
                  <a:gd name="connsiteY18" fmla="*/ 792956 h 1164431"/>
                  <a:gd name="connsiteX19" fmla="*/ 426244 w 771525"/>
                  <a:gd name="connsiteY19" fmla="*/ 785812 h 1164431"/>
                  <a:gd name="connsiteX20" fmla="*/ 423863 w 771525"/>
                  <a:gd name="connsiteY20" fmla="*/ 676275 h 1164431"/>
                  <a:gd name="connsiteX21" fmla="*/ 409575 w 771525"/>
                  <a:gd name="connsiteY21" fmla="*/ 640556 h 1164431"/>
                  <a:gd name="connsiteX22" fmla="*/ 411957 w 771525"/>
                  <a:gd name="connsiteY22" fmla="*/ 614362 h 1164431"/>
                  <a:gd name="connsiteX23" fmla="*/ 426244 w 771525"/>
                  <a:gd name="connsiteY23" fmla="*/ 566737 h 1164431"/>
                  <a:gd name="connsiteX24" fmla="*/ 473869 w 771525"/>
                  <a:gd name="connsiteY24" fmla="*/ 566737 h 1164431"/>
                  <a:gd name="connsiteX25" fmla="*/ 488157 w 771525"/>
                  <a:gd name="connsiteY25" fmla="*/ 552450 h 1164431"/>
                  <a:gd name="connsiteX26" fmla="*/ 509588 w 771525"/>
                  <a:gd name="connsiteY26" fmla="*/ 502444 h 1164431"/>
                  <a:gd name="connsiteX27" fmla="*/ 604838 w 771525"/>
                  <a:gd name="connsiteY27" fmla="*/ 457200 h 1164431"/>
                  <a:gd name="connsiteX28" fmla="*/ 628650 w 771525"/>
                  <a:gd name="connsiteY28" fmla="*/ 447675 h 1164431"/>
                  <a:gd name="connsiteX29" fmla="*/ 638175 w 771525"/>
                  <a:gd name="connsiteY29" fmla="*/ 402431 h 1164431"/>
                  <a:gd name="connsiteX30" fmla="*/ 638175 w 771525"/>
                  <a:gd name="connsiteY30" fmla="*/ 361950 h 1164431"/>
                  <a:gd name="connsiteX31" fmla="*/ 640557 w 771525"/>
                  <a:gd name="connsiteY31" fmla="*/ 340519 h 1164431"/>
                  <a:gd name="connsiteX32" fmla="*/ 652463 w 771525"/>
                  <a:gd name="connsiteY32" fmla="*/ 333375 h 1164431"/>
                  <a:gd name="connsiteX33" fmla="*/ 742950 w 771525"/>
                  <a:gd name="connsiteY33" fmla="*/ 297656 h 1164431"/>
                  <a:gd name="connsiteX34" fmla="*/ 766763 w 771525"/>
                  <a:gd name="connsiteY34" fmla="*/ 280987 h 1164431"/>
                  <a:gd name="connsiteX35" fmla="*/ 754857 w 771525"/>
                  <a:gd name="connsiteY35" fmla="*/ 252412 h 1164431"/>
                  <a:gd name="connsiteX36" fmla="*/ 742950 w 771525"/>
                  <a:gd name="connsiteY36" fmla="*/ 221456 h 1164431"/>
                  <a:gd name="connsiteX37" fmla="*/ 771525 w 771525"/>
                  <a:gd name="connsiteY37" fmla="*/ 192881 h 1164431"/>
                  <a:gd name="connsiteX38" fmla="*/ 752475 w 771525"/>
                  <a:gd name="connsiteY38" fmla="*/ 161925 h 1164431"/>
                  <a:gd name="connsiteX39" fmla="*/ 752475 w 771525"/>
                  <a:gd name="connsiteY39" fmla="*/ 119062 h 1164431"/>
                  <a:gd name="connsiteX40" fmla="*/ 719138 w 771525"/>
                  <a:gd name="connsiteY40" fmla="*/ 85725 h 1164431"/>
                  <a:gd name="connsiteX41" fmla="*/ 671513 w 771525"/>
                  <a:gd name="connsiteY41" fmla="*/ 52387 h 1164431"/>
                  <a:gd name="connsiteX42" fmla="*/ 645319 w 771525"/>
                  <a:gd name="connsiteY42" fmla="*/ 35719 h 1164431"/>
                  <a:gd name="connsiteX43" fmla="*/ 642938 w 771525"/>
                  <a:gd name="connsiteY43" fmla="*/ 4762 h 1164431"/>
                  <a:gd name="connsiteX44" fmla="*/ 609600 w 771525"/>
                  <a:gd name="connsiteY44" fmla="*/ 0 h 1164431"/>
                  <a:gd name="connsiteX45" fmla="*/ 583407 w 771525"/>
                  <a:gd name="connsiteY45" fmla="*/ 23812 h 1164431"/>
                  <a:gd name="connsiteX46" fmla="*/ 564357 w 771525"/>
                  <a:gd name="connsiteY46" fmla="*/ 19050 h 1164431"/>
                  <a:gd name="connsiteX47" fmla="*/ 554832 w 771525"/>
                  <a:gd name="connsiteY47" fmla="*/ 42862 h 1164431"/>
                  <a:gd name="connsiteX48" fmla="*/ 509588 w 771525"/>
                  <a:gd name="connsiteY48" fmla="*/ 76200 h 1164431"/>
                  <a:gd name="connsiteX49" fmla="*/ 407194 w 771525"/>
                  <a:gd name="connsiteY49" fmla="*/ 114300 h 1164431"/>
                  <a:gd name="connsiteX50" fmla="*/ 381000 w 771525"/>
                  <a:gd name="connsiteY50" fmla="*/ 152400 h 1164431"/>
                  <a:gd name="connsiteX51" fmla="*/ 340519 w 771525"/>
                  <a:gd name="connsiteY51" fmla="*/ 140494 h 1164431"/>
                  <a:gd name="connsiteX52" fmla="*/ 245269 w 771525"/>
                  <a:gd name="connsiteY52" fmla="*/ 145256 h 1164431"/>
                  <a:gd name="connsiteX53" fmla="*/ 250032 w 771525"/>
                  <a:gd name="connsiteY53" fmla="*/ 154781 h 1164431"/>
                  <a:gd name="connsiteX54" fmla="*/ 309563 w 771525"/>
                  <a:gd name="connsiteY54" fmla="*/ 204787 h 1164431"/>
                  <a:gd name="connsiteX55" fmla="*/ 211932 w 771525"/>
                  <a:gd name="connsiteY55" fmla="*/ 328612 h 1164431"/>
                  <a:gd name="connsiteX56" fmla="*/ 173832 w 771525"/>
                  <a:gd name="connsiteY56" fmla="*/ 319087 h 1164431"/>
                  <a:gd name="connsiteX57" fmla="*/ 80963 w 771525"/>
                  <a:gd name="connsiteY57" fmla="*/ 452437 h 1164431"/>
                  <a:gd name="connsiteX58" fmla="*/ 97632 w 771525"/>
                  <a:gd name="connsiteY58" fmla="*/ 464344 h 1164431"/>
                  <a:gd name="connsiteX59" fmla="*/ 114300 w 771525"/>
                  <a:gd name="connsiteY59" fmla="*/ 504825 h 1164431"/>
                  <a:gd name="connsiteX60" fmla="*/ 92869 w 771525"/>
                  <a:gd name="connsiteY60" fmla="*/ 566737 h 1164431"/>
                  <a:gd name="connsiteX61" fmla="*/ 102394 w 771525"/>
                  <a:gd name="connsiteY61" fmla="*/ 640556 h 1164431"/>
                  <a:gd name="connsiteX62" fmla="*/ 73819 w 771525"/>
                  <a:gd name="connsiteY62" fmla="*/ 678656 h 1164431"/>
                  <a:gd name="connsiteX63" fmla="*/ 73819 w 771525"/>
                  <a:gd name="connsiteY63" fmla="*/ 704850 h 1164431"/>
                  <a:gd name="connsiteX64" fmla="*/ 61913 w 771525"/>
                  <a:gd name="connsiteY64" fmla="*/ 733425 h 1164431"/>
                  <a:gd name="connsiteX65" fmla="*/ 88107 w 771525"/>
                  <a:gd name="connsiteY65" fmla="*/ 762000 h 1164431"/>
                  <a:gd name="connsiteX66" fmla="*/ 135732 w 771525"/>
                  <a:gd name="connsiteY66" fmla="*/ 850106 h 1164431"/>
                  <a:gd name="connsiteX67" fmla="*/ 69057 w 771525"/>
                  <a:gd name="connsiteY67" fmla="*/ 876300 h 1164431"/>
                  <a:gd name="connsiteX68" fmla="*/ 45244 w 771525"/>
                  <a:gd name="connsiteY68" fmla="*/ 928687 h 1164431"/>
                  <a:gd name="connsiteX69" fmla="*/ 33338 w 771525"/>
                  <a:gd name="connsiteY69" fmla="*/ 983456 h 1164431"/>
                  <a:gd name="connsiteX70" fmla="*/ 2382 w 771525"/>
                  <a:gd name="connsiteY70" fmla="*/ 973931 h 1164431"/>
                  <a:gd name="connsiteX71" fmla="*/ 0 w 771525"/>
                  <a:gd name="connsiteY71" fmla="*/ 1021556 h 1164431"/>
                  <a:gd name="connsiteX72" fmla="*/ 16669 w 771525"/>
                  <a:gd name="connsiteY72" fmla="*/ 1031081 h 1164431"/>
                  <a:gd name="connsiteX73" fmla="*/ 57150 w 771525"/>
                  <a:gd name="connsiteY73" fmla="*/ 1040606 h 1164431"/>
                  <a:gd name="connsiteX74" fmla="*/ 85725 w 771525"/>
                  <a:gd name="connsiteY74" fmla="*/ 1054894 h 1164431"/>
                  <a:gd name="connsiteX75" fmla="*/ 102394 w 771525"/>
                  <a:gd name="connsiteY75" fmla="*/ 1109662 h 1164431"/>
                  <a:gd name="connsiteX76" fmla="*/ 130969 w 771525"/>
                  <a:gd name="connsiteY76" fmla="*/ 1135856 h 1164431"/>
                  <a:gd name="connsiteX77" fmla="*/ 157163 w 771525"/>
                  <a:gd name="connsiteY77" fmla="*/ 1164431 h 1164431"/>
                  <a:gd name="connsiteX78" fmla="*/ 185738 w 771525"/>
                  <a:gd name="connsiteY78" fmla="*/ 1140619 h 1164431"/>
                  <a:gd name="connsiteX79" fmla="*/ 202407 w 771525"/>
                  <a:gd name="connsiteY79" fmla="*/ 1131094 h 1164431"/>
                  <a:gd name="connsiteX0" fmla="*/ 202407 w 771525"/>
                  <a:gd name="connsiteY0" fmla="*/ 1131094 h 1164431"/>
                  <a:gd name="connsiteX1" fmla="*/ 221457 w 771525"/>
                  <a:gd name="connsiteY1" fmla="*/ 1064419 h 1164431"/>
                  <a:gd name="connsiteX2" fmla="*/ 238125 w 771525"/>
                  <a:gd name="connsiteY2" fmla="*/ 1042987 h 1164431"/>
                  <a:gd name="connsiteX3" fmla="*/ 247650 w 771525"/>
                  <a:gd name="connsiteY3" fmla="*/ 1012031 h 1164431"/>
                  <a:gd name="connsiteX4" fmla="*/ 283369 w 771525"/>
                  <a:gd name="connsiteY4" fmla="*/ 985837 h 1164431"/>
                  <a:gd name="connsiteX5" fmla="*/ 319088 w 771525"/>
                  <a:gd name="connsiteY5" fmla="*/ 962025 h 1164431"/>
                  <a:gd name="connsiteX6" fmla="*/ 350044 w 771525"/>
                  <a:gd name="connsiteY6" fmla="*/ 928687 h 1164431"/>
                  <a:gd name="connsiteX7" fmla="*/ 354807 w 771525"/>
                  <a:gd name="connsiteY7" fmla="*/ 900112 h 1164431"/>
                  <a:gd name="connsiteX8" fmla="*/ 321469 w 771525"/>
                  <a:gd name="connsiteY8" fmla="*/ 854869 h 1164431"/>
                  <a:gd name="connsiteX9" fmla="*/ 323850 w 771525"/>
                  <a:gd name="connsiteY9" fmla="*/ 785812 h 1164431"/>
                  <a:gd name="connsiteX10" fmla="*/ 280988 w 771525"/>
                  <a:gd name="connsiteY10" fmla="*/ 735806 h 1164431"/>
                  <a:gd name="connsiteX11" fmla="*/ 288132 w 771525"/>
                  <a:gd name="connsiteY11" fmla="*/ 697706 h 1164431"/>
                  <a:gd name="connsiteX12" fmla="*/ 316707 w 771525"/>
                  <a:gd name="connsiteY12" fmla="*/ 681037 h 1164431"/>
                  <a:gd name="connsiteX13" fmla="*/ 330994 w 771525"/>
                  <a:gd name="connsiteY13" fmla="*/ 707231 h 1164431"/>
                  <a:gd name="connsiteX14" fmla="*/ 354807 w 771525"/>
                  <a:gd name="connsiteY14" fmla="*/ 726281 h 1164431"/>
                  <a:gd name="connsiteX15" fmla="*/ 369094 w 771525"/>
                  <a:gd name="connsiteY15" fmla="*/ 745331 h 1164431"/>
                  <a:gd name="connsiteX16" fmla="*/ 378619 w 771525"/>
                  <a:gd name="connsiteY16" fmla="*/ 781050 h 1164431"/>
                  <a:gd name="connsiteX17" fmla="*/ 395288 w 771525"/>
                  <a:gd name="connsiteY17" fmla="*/ 797719 h 1164431"/>
                  <a:gd name="connsiteX18" fmla="*/ 409575 w 771525"/>
                  <a:gd name="connsiteY18" fmla="*/ 792956 h 1164431"/>
                  <a:gd name="connsiteX19" fmla="*/ 426244 w 771525"/>
                  <a:gd name="connsiteY19" fmla="*/ 785812 h 1164431"/>
                  <a:gd name="connsiteX20" fmla="*/ 423863 w 771525"/>
                  <a:gd name="connsiteY20" fmla="*/ 676275 h 1164431"/>
                  <a:gd name="connsiteX21" fmla="*/ 409575 w 771525"/>
                  <a:gd name="connsiteY21" fmla="*/ 640556 h 1164431"/>
                  <a:gd name="connsiteX22" fmla="*/ 411957 w 771525"/>
                  <a:gd name="connsiteY22" fmla="*/ 614362 h 1164431"/>
                  <a:gd name="connsiteX23" fmla="*/ 426244 w 771525"/>
                  <a:gd name="connsiteY23" fmla="*/ 566737 h 1164431"/>
                  <a:gd name="connsiteX24" fmla="*/ 473869 w 771525"/>
                  <a:gd name="connsiteY24" fmla="*/ 566737 h 1164431"/>
                  <a:gd name="connsiteX25" fmla="*/ 488157 w 771525"/>
                  <a:gd name="connsiteY25" fmla="*/ 552450 h 1164431"/>
                  <a:gd name="connsiteX26" fmla="*/ 509588 w 771525"/>
                  <a:gd name="connsiteY26" fmla="*/ 502444 h 1164431"/>
                  <a:gd name="connsiteX27" fmla="*/ 604838 w 771525"/>
                  <a:gd name="connsiteY27" fmla="*/ 457200 h 1164431"/>
                  <a:gd name="connsiteX28" fmla="*/ 628650 w 771525"/>
                  <a:gd name="connsiteY28" fmla="*/ 447675 h 1164431"/>
                  <a:gd name="connsiteX29" fmla="*/ 638175 w 771525"/>
                  <a:gd name="connsiteY29" fmla="*/ 402431 h 1164431"/>
                  <a:gd name="connsiteX30" fmla="*/ 638175 w 771525"/>
                  <a:gd name="connsiteY30" fmla="*/ 361950 h 1164431"/>
                  <a:gd name="connsiteX31" fmla="*/ 640557 w 771525"/>
                  <a:gd name="connsiteY31" fmla="*/ 340519 h 1164431"/>
                  <a:gd name="connsiteX32" fmla="*/ 652463 w 771525"/>
                  <a:gd name="connsiteY32" fmla="*/ 333375 h 1164431"/>
                  <a:gd name="connsiteX33" fmla="*/ 742950 w 771525"/>
                  <a:gd name="connsiteY33" fmla="*/ 297656 h 1164431"/>
                  <a:gd name="connsiteX34" fmla="*/ 766763 w 771525"/>
                  <a:gd name="connsiteY34" fmla="*/ 280987 h 1164431"/>
                  <a:gd name="connsiteX35" fmla="*/ 754857 w 771525"/>
                  <a:gd name="connsiteY35" fmla="*/ 252412 h 1164431"/>
                  <a:gd name="connsiteX36" fmla="*/ 742950 w 771525"/>
                  <a:gd name="connsiteY36" fmla="*/ 221456 h 1164431"/>
                  <a:gd name="connsiteX37" fmla="*/ 771525 w 771525"/>
                  <a:gd name="connsiteY37" fmla="*/ 192881 h 1164431"/>
                  <a:gd name="connsiteX38" fmla="*/ 752475 w 771525"/>
                  <a:gd name="connsiteY38" fmla="*/ 161925 h 1164431"/>
                  <a:gd name="connsiteX39" fmla="*/ 752475 w 771525"/>
                  <a:gd name="connsiteY39" fmla="*/ 119062 h 1164431"/>
                  <a:gd name="connsiteX40" fmla="*/ 719138 w 771525"/>
                  <a:gd name="connsiteY40" fmla="*/ 85725 h 1164431"/>
                  <a:gd name="connsiteX41" fmla="*/ 671513 w 771525"/>
                  <a:gd name="connsiteY41" fmla="*/ 52387 h 1164431"/>
                  <a:gd name="connsiteX42" fmla="*/ 645319 w 771525"/>
                  <a:gd name="connsiteY42" fmla="*/ 35719 h 1164431"/>
                  <a:gd name="connsiteX43" fmla="*/ 642938 w 771525"/>
                  <a:gd name="connsiteY43" fmla="*/ 4762 h 1164431"/>
                  <a:gd name="connsiteX44" fmla="*/ 609600 w 771525"/>
                  <a:gd name="connsiteY44" fmla="*/ 0 h 1164431"/>
                  <a:gd name="connsiteX45" fmla="*/ 583407 w 771525"/>
                  <a:gd name="connsiteY45" fmla="*/ 23812 h 1164431"/>
                  <a:gd name="connsiteX46" fmla="*/ 564357 w 771525"/>
                  <a:gd name="connsiteY46" fmla="*/ 19050 h 1164431"/>
                  <a:gd name="connsiteX47" fmla="*/ 554832 w 771525"/>
                  <a:gd name="connsiteY47" fmla="*/ 42862 h 1164431"/>
                  <a:gd name="connsiteX48" fmla="*/ 509588 w 771525"/>
                  <a:gd name="connsiteY48" fmla="*/ 76200 h 1164431"/>
                  <a:gd name="connsiteX49" fmla="*/ 407194 w 771525"/>
                  <a:gd name="connsiteY49" fmla="*/ 114300 h 1164431"/>
                  <a:gd name="connsiteX50" fmla="*/ 381000 w 771525"/>
                  <a:gd name="connsiteY50" fmla="*/ 152400 h 1164431"/>
                  <a:gd name="connsiteX51" fmla="*/ 340519 w 771525"/>
                  <a:gd name="connsiteY51" fmla="*/ 140494 h 1164431"/>
                  <a:gd name="connsiteX52" fmla="*/ 245269 w 771525"/>
                  <a:gd name="connsiteY52" fmla="*/ 145256 h 1164431"/>
                  <a:gd name="connsiteX53" fmla="*/ 250032 w 771525"/>
                  <a:gd name="connsiteY53" fmla="*/ 154781 h 1164431"/>
                  <a:gd name="connsiteX54" fmla="*/ 309563 w 771525"/>
                  <a:gd name="connsiteY54" fmla="*/ 204787 h 1164431"/>
                  <a:gd name="connsiteX55" fmla="*/ 211932 w 771525"/>
                  <a:gd name="connsiteY55" fmla="*/ 328612 h 1164431"/>
                  <a:gd name="connsiteX56" fmla="*/ 173832 w 771525"/>
                  <a:gd name="connsiteY56" fmla="*/ 319087 h 1164431"/>
                  <a:gd name="connsiteX57" fmla="*/ 80963 w 771525"/>
                  <a:gd name="connsiteY57" fmla="*/ 452437 h 1164431"/>
                  <a:gd name="connsiteX58" fmla="*/ 97632 w 771525"/>
                  <a:gd name="connsiteY58" fmla="*/ 464344 h 1164431"/>
                  <a:gd name="connsiteX59" fmla="*/ 114300 w 771525"/>
                  <a:gd name="connsiteY59" fmla="*/ 504825 h 1164431"/>
                  <a:gd name="connsiteX60" fmla="*/ 92869 w 771525"/>
                  <a:gd name="connsiteY60" fmla="*/ 566737 h 1164431"/>
                  <a:gd name="connsiteX61" fmla="*/ 102394 w 771525"/>
                  <a:gd name="connsiteY61" fmla="*/ 640556 h 1164431"/>
                  <a:gd name="connsiteX62" fmla="*/ 73819 w 771525"/>
                  <a:gd name="connsiteY62" fmla="*/ 678656 h 1164431"/>
                  <a:gd name="connsiteX63" fmla="*/ 73819 w 771525"/>
                  <a:gd name="connsiteY63" fmla="*/ 704850 h 1164431"/>
                  <a:gd name="connsiteX64" fmla="*/ 61913 w 771525"/>
                  <a:gd name="connsiteY64" fmla="*/ 733425 h 1164431"/>
                  <a:gd name="connsiteX65" fmla="*/ 88107 w 771525"/>
                  <a:gd name="connsiteY65" fmla="*/ 762000 h 1164431"/>
                  <a:gd name="connsiteX66" fmla="*/ 135732 w 771525"/>
                  <a:gd name="connsiteY66" fmla="*/ 850106 h 1164431"/>
                  <a:gd name="connsiteX67" fmla="*/ 69057 w 771525"/>
                  <a:gd name="connsiteY67" fmla="*/ 876300 h 1164431"/>
                  <a:gd name="connsiteX68" fmla="*/ 45244 w 771525"/>
                  <a:gd name="connsiteY68" fmla="*/ 928687 h 1164431"/>
                  <a:gd name="connsiteX69" fmla="*/ 33338 w 771525"/>
                  <a:gd name="connsiteY69" fmla="*/ 983456 h 1164431"/>
                  <a:gd name="connsiteX70" fmla="*/ 2382 w 771525"/>
                  <a:gd name="connsiteY70" fmla="*/ 973931 h 1164431"/>
                  <a:gd name="connsiteX71" fmla="*/ 0 w 771525"/>
                  <a:gd name="connsiteY71" fmla="*/ 1021556 h 1164431"/>
                  <a:gd name="connsiteX72" fmla="*/ 16669 w 771525"/>
                  <a:gd name="connsiteY72" fmla="*/ 1031081 h 1164431"/>
                  <a:gd name="connsiteX73" fmla="*/ 57150 w 771525"/>
                  <a:gd name="connsiteY73" fmla="*/ 1040606 h 1164431"/>
                  <a:gd name="connsiteX74" fmla="*/ 85725 w 771525"/>
                  <a:gd name="connsiteY74" fmla="*/ 1054894 h 1164431"/>
                  <a:gd name="connsiteX75" fmla="*/ 102394 w 771525"/>
                  <a:gd name="connsiteY75" fmla="*/ 1109662 h 1164431"/>
                  <a:gd name="connsiteX76" fmla="*/ 130969 w 771525"/>
                  <a:gd name="connsiteY76" fmla="*/ 1135856 h 1164431"/>
                  <a:gd name="connsiteX77" fmla="*/ 157163 w 771525"/>
                  <a:gd name="connsiteY77" fmla="*/ 1164431 h 1164431"/>
                  <a:gd name="connsiteX78" fmla="*/ 192882 w 771525"/>
                  <a:gd name="connsiteY78" fmla="*/ 1157288 h 1164431"/>
                  <a:gd name="connsiteX79" fmla="*/ 202407 w 771525"/>
                  <a:gd name="connsiteY79" fmla="*/ 1131094 h 1164431"/>
                  <a:gd name="connsiteX0" fmla="*/ 202407 w 771525"/>
                  <a:gd name="connsiteY0" fmla="*/ 1164432 h 1197769"/>
                  <a:gd name="connsiteX1" fmla="*/ 221457 w 771525"/>
                  <a:gd name="connsiteY1" fmla="*/ 1097757 h 1197769"/>
                  <a:gd name="connsiteX2" fmla="*/ 238125 w 771525"/>
                  <a:gd name="connsiteY2" fmla="*/ 1076325 h 1197769"/>
                  <a:gd name="connsiteX3" fmla="*/ 247650 w 771525"/>
                  <a:gd name="connsiteY3" fmla="*/ 1045369 h 1197769"/>
                  <a:gd name="connsiteX4" fmla="*/ 283369 w 771525"/>
                  <a:gd name="connsiteY4" fmla="*/ 1019175 h 1197769"/>
                  <a:gd name="connsiteX5" fmla="*/ 319088 w 771525"/>
                  <a:gd name="connsiteY5" fmla="*/ 995363 h 1197769"/>
                  <a:gd name="connsiteX6" fmla="*/ 350044 w 771525"/>
                  <a:gd name="connsiteY6" fmla="*/ 962025 h 1197769"/>
                  <a:gd name="connsiteX7" fmla="*/ 354807 w 771525"/>
                  <a:gd name="connsiteY7" fmla="*/ 933450 h 1197769"/>
                  <a:gd name="connsiteX8" fmla="*/ 321469 w 771525"/>
                  <a:gd name="connsiteY8" fmla="*/ 888207 h 1197769"/>
                  <a:gd name="connsiteX9" fmla="*/ 323850 w 771525"/>
                  <a:gd name="connsiteY9" fmla="*/ 819150 h 1197769"/>
                  <a:gd name="connsiteX10" fmla="*/ 280988 w 771525"/>
                  <a:gd name="connsiteY10" fmla="*/ 769144 h 1197769"/>
                  <a:gd name="connsiteX11" fmla="*/ 288132 w 771525"/>
                  <a:gd name="connsiteY11" fmla="*/ 731044 h 1197769"/>
                  <a:gd name="connsiteX12" fmla="*/ 316707 w 771525"/>
                  <a:gd name="connsiteY12" fmla="*/ 714375 h 1197769"/>
                  <a:gd name="connsiteX13" fmla="*/ 330994 w 771525"/>
                  <a:gd name="connsiteY13" fmla="*/ 740569 h 1197769"/>
                  <a:gd name="connsiteX14" fmla="*/ 354807 w 771525"/>
                  <a:gd name="connsiteY14" fmla="*/ 759619 h 1197769"/>
                  <a:gd name="connsiteX15" fmla="*/ 369094 w 771525"/>
                  <a:gd name="connsiteY15" fmla="*/ 778669 h 1197769"/>
                  <a:gd name="connsiteX16" fmla="*/ 378619 w 771525"/>
                  <a:gd name="connsiteY16" fmla="*/ 814388 h 1197769"/>
                  <a:gd name="connsiteX17" fmla="*/ 395288 w 771525"/>
                  <a:gd name="connsiteY17" fmla="*/ 831057 h 1197769"/>
                  <a:gd name="connsiteX18" fmla="*/ 409575 w 771525"/>
                  <a:gd name="connsiteY18" fmla="*/ 826294 h 1197769"/>
                  <a:gd name="connsiteX19" fmla="*/ 426244 w 771525"/>
                  <a:gd name="connsiteY19" fmla="*/ 819150 h 1197769"/>
                  <a:gd name="connsiteX20" fmla="*/ 423863 w 771525"/>
                  <a:gd name="connsiteY20" fmla="*/ 709613 h 1197769"/>
                  <a:gd name="connsiteX21" fmla="*/ 409575 w 771525"/>
                  <a:gd name="connsiteY21" fmla="*/ 673894 h 1197769"/>
                  <a:gd name="connsiteX22" fmla="*/ 411957 w 771525"/>
                  <a:gd name="connsiteY22" fmla="*/ 647700 h 1197769"/>
                  <a:gd name="connsiteX23" fmla="*/ 426244 w 771525"/>
                  <a:gd name="connsiteY23" fmla="*/ 600075 h 1197769"/>
                  <a:gd name="connsiteX24" fmla="*/ 473869 w 771525"/>
                  <a:gd name="connsiteY24" fmla="*/ 600075 h 1197769"/>
                  <a:gd name="connsiteX25" fmla="*/ 488157 w 771525"/>
                  <a:gd name="connsiteY25" fmla="*/ 585788 h 1197769"/>
                  <a:gd name="connsiteX26" fmla="*/ 509588 w 771525"/>
                  <a:gd name="connsiteY26" fmla="*/ 535782 h 1197769"/>
                  <a:gd name="connsiteX27" fmla="*/ 604838 w 771525"/>
                  <a:gd name="connsiteY27" fmla="*/ 490538 h 1197769"/>
                  <a:gd name="connsiteX28" fmla="*/ 628650 w 771525"/>
                  <a:gd name="connsiteY28" fmla="*/ 481013 h 1197769"/>
                  <a:gd name="connsiteX29" fmla="*/ 638175 w 771525"/>
                  <a:gd name="connsiteY29" fmla="*/ 435769 h 1197769"/>
                  <a:gd name="connsiteX30" fmla="*/ 638175 w 771525"/>
                  <a:gd name="connsiteY30" fmla="*/ 395288 h 1197769"/>
                  <a:gd name="connsiteX31" fmla="*/ 640557 w 771525"/>
                  <a:gd name="connsiteY31" fmla="*/ 373857 h 1197769"/>
                  <a:gd name="connsiteX32" fmla="*/ 652463 w 771525"/>
                  <a:gd name="connsiteY32" fmla="*/ 366713 h 1197769"/>
                  <a:gd name="connsiteX33" fmla="*/ 742950 w 771525"/>
                  <a:gd name="connsiteY33" fmla="*/ 330994 h 1197769"/>
                  <a:gd name="connsiteX34" fmla="*/ 766763 w 771525"/>
                  <a:gd name="connsiteY34" fmla="*/ 314325 h 1197769"/>
                  <a:gd name="connsiteX35" fmla="*/ 754857 w 771525"/>
                  <a:gd name="connsiteY35" fmla="*/ 285750 h 1197769"/>
                  <a:gd name="connsiteX36" fmla="*/ 742950 w 771525"/>
                  <a:gd name="connsiteY36" fmla="*/ 254794 h 1197769"/>
                  <a:gd name="connsiteX37" fmla="*/ 771525 w 771525"/>
                  <a:gd name="connsiteY37" fmla="*/ 226219 h 1197769"/>
                  <a:gd name="connsiteX38" fmla="*/ 752475 w 771525"/>
                  <a:gd name="connsiteY38" fmla="*/ 195263 h 1197769"/>
                  <a:gd name="connsiteX39" fmla="*/ 752475 w 771525"/>
                  <a:gd name="connsiteY39" fmla="*/ 152400 h 1197769"/>
                  <a:gd name="connsiteX40" fmla="*/ 719138 w 771525"/>
                  <a:gd name="connsiteY40" fmla="*/ 119063 h 1197769"/>
                  <a:gd name="connsiteX41" fmla="*/ 671513 w 771525"/>
                  <a:gd name="connsiteY41" fmla="*/ 85725 h 1197769"/>
                  <a:gd name="connsiteX42" fmla="*/ 645319 w 771525"/>
                  <a:gd name="connsiteY42" fmla="*/ 69057 h 1197769"/>
                  <a:gd name="connsiteX43" fmla="*/ 642938 w 771525"/>
                  <a:gd name="connsiteY43" fmla="*/ 0 h 1197769"/>
                  <a:gd name="connsiteX44" fmla="*/ 609600 w 771525"/>
                  <a:gd name="connsiteY44" fmla="*/ 33338 h 1197769"/>
                  <a:gd name="connsiteX45" fmla="*/ 583407 w 771525"/>
                  <a:gd name="connsiteY45" fmla="*/ 57150 h 1197769"/>
                  <a:gd name="connsiteX46" fmla="*/ 564357 w 771525"/>
                  <a:gd name="connsiteY46" fmla="*/ 52388 h 1197769"/>
                  <a:gd name="connsiteX47" fmla="*/ 554832 w 771525"/>
                  <a:gd name="connsiteY47" fmla="*/ 76200 h 1197769"/>
                  <a:gd name="connsiteX48" fmla="*/ 509588 w 771525"/>
                  <a:gd name="connsiteY48" fmla="*/ 109538 h 1197769"/>
                  <a:gd name="connsiteX49" fmla="*/ 407194 w 771525"/>
                  <a:gd name="connsiteY49" fmla="*/ 147638 h 1197769"/>
                  <a:gd name="connsiteX50" fmla="*/ 381000 w 771525"/>
                  <a:gd name="connsiteY50" fmla="*/ 185738 h 1197769"/>
                  <a:gd name="connsiteX51" fmla="*/ 340519 w 771525"/>
                  <a:gd name="connsiteY51" fmla="*/ 173832 h 1197769"/>
                  <a:gd name="connsiteX52" fmla="*/ 245269 w 771525"/>
                  <a:gd name="connsiteY52" fmla="*/ 178594 h 1197769"/>
                  <a:gd name="connsiteX53" fmla="*/ 250032 w 771525"/>
                  <a:gd name="connsiteY53" fmla="*/ 188119 h 1197769"/>
                  <a:gd name="connsiteX54" fmla="*/ 309563 w 771525"/>
                  <a:gd name="connsiteY54" fmla="*/ 238125 h 1197769"/>
                  <a:gd name="connsiteX55" fmla="*/ 211932 w 771525"/>
                  <a:gd name="connsiteY55" fmla="*/ 361950 h 1197769"/>
                  <a:gd name="connsiteX56" fmla="*/ 173832 w 771525"/>
                  <a:gd name="connsiteY56" fmla="*/ 352425 h 1197769"/>
                  <a:gd name="connsiteX57" fmla="*/ 80963 w 771525"/>
                  <a:gd name="connsiteY57" fmla="*/ 485775 h 1197769"/>
                  <a:gd name="connsiteX58" fmla="*/ 97632 w 771525"/>
                  <a:gd name="connsiteY58" fmla="*/ 497682 h 1197769"/>
                  <a:gd name="connsiteX59" fmla="*/ 114300 w 771525"/>
                  <a:gd name="connsiteY59" fmla="*/ 538163 h 1197769"/>
                  <a:gd name="connsiteX60" fmla="*/ 92869 w 771525"/>
                  <a:gd name="connsiteY60" fmla="*/ 600075 h 1197769"/>
                  <a:gd name="connsiteX61" fmla="*/ 102394 w 771525"/>
                  <a:gd name="connsiteY61" fmla="*/ 673894 h 1197769"/>
                  <a:gd name="connsiteX62" fmla="*/ 73819 w 771525"/>
                  <a:gd name="connsiteY62" fmla="*/ 711994 h 1197769"/>
                  <a:gd name="connsiteX63" fmla="*/ 73819 w 771525"/>
                  <a:gd name="connsiteY63" fmla="*/ 738188 h 1197769"/>
                  <a:gd name="connsiteX64" fmla="*/ 61913 w 771525"/>
                  <a:gd name="connsiteY64" fmla="*/ 766763 h 1197769"/>
                  <a:gd name="connsiteX65" fmla="*/ 88107 w 771525"/>
                  <a:gd name="connsiteY65" fmla="*/ 795338 h 1197769"/>
                  <a:gd name="connsiteX66" fmla="*/ 135732 w 771525"/>
                  <a:gd name="connsiteY66" fmla="*/ 883444 h 1197769"/>
                  <a:gd name="connsiteX67" fmla="*/ 69057 w 771525"/>
                  <a:gd name="connsiteY67" fmla="*/ 909638 h 1197769"/>
                  <a:gd name="connsiteX68" fmla="*/ 45244 w 771525"/>
                  <a:gd name="connsiteY68" fmla="*/ 962025 h 1197769"/>
                  <a:gd name="connsiteX69" fmla="*/ 33338 w 771525"/>
                  <a:gd name="connsiteY69" fmla="*/ 1016794 h 1197769"/>
                  <a:gd name="connsiteX70" fmla="*/ 2382 w 771525"/>
                  <a:gd name="connsiteY70" fmla="*/ 1007269 h 1197769"/>
                  <a:gd name="connsiteX71" fmla="*/ 0 w 771525"/>
                  <a:gd name="connsiteY71" fmla="*/ 1054894 h 1197769"/>
                  <a:gd name="connsiteX72" fmla="*/ 16669 w 771525"/>
                  <a:gd name="connsiteY72" fmla="*/ 1064419 h 1197769"/>
                  <a:gd name="connsiteX73" fmla="*/ 57150 w 771525"/>
                  <a:gd name="connsiteY73" fmla="*/ 1073944 h 1197769"/>
                  <a:gd name="connsiteX74" fmla="*/ 85725 w 771525"/>
                  <a:gd name="connsiteY74" fmla="*/ 1088232 h 1197769"/>
                  <a:gd name="connsiteX75" fmla="*/ 102394 w 771525"/>
                  <a:gd name="connsiteY75" fmla="*/ 1143000 h 1197769"/>
                  <a:gd name="connsiteX76" fmla="*/ 130969 w 771525"/>
                  <a:gd name="connsiteY76" fmla="*/ 1169194 h 1197769"/>
                  <a:gd name="connsiteX77" fmla="*/ 157163 w 771525"/>
                  <a:gd name="connsiteY77" fmla="*/ 1197769 h 1197769"/>
                  <a:gd name="connsiteX78" fmla="*/ 192882 w 771525"/>
                  <a:gd name="connsiteY78" fmla="*/ 1190626 h 1197769"/>
                  <a:gd name="connsiteX79" fmla="*/ 202407 w 771525"/>
                  <a:gd name="connsiteY79" fmla="*/ 1164432 h 1197769"/>
                  <a:gd name="connsiteX0" fmla="*/ 202407 w 771525"/>
                  <a:gd name="connsiteY0" fmla="*/ 1164432 h 1197769"/>
                  <a:gd name="connsiteX1" fmla="*/ 221457 w 771525"/>
                  <a:gd name="connsiteY1" fmla="*/ 1097757 h 1197769"/>
                  <a:gd name="connsiteX2" fmla="*/ 238125 w 771525"/>
                  <a:gd name="connsiteY2" fmla="*/ 1076325 h 1197769"/>
                  <a:gd name="connsiteX3" fmla="*/ 247650 w 771525"/>
                  <a:gd name="connsiteY3" fmla="*/ 1045369 h 1197769"/>
                  <a:gd name="connsiteX4" fmla="*/ 283369 w 771525"/>
                  <a:gd name="connsiteY4" fmla="*/ 1019175 h 1197769"/>
                  <a:gd name="connsiteX5" fmla="*/ 319088 w 771525"/>
                  <a:gd name="connsiteY5" fmla="*/ 995363 h 1197769"/>
                  <a:gd name="connsiteX6" fmla="*/ 350044 w 771525"/>
                  <a:gd name="connsiteY6" fmla="*/ 962025 h 1197769"/>
                  <a:gd name="connsiteX7" fmla="*/ 354807 w 771525"/>
                  <a:gd name="connsiteY7" fmla="*/ 933450 h 1197769"/>
                  <a:gd name="connsiteX8" fmla="*/ 321469 w 771525"/>
                  <a:gd name="connsiteY8" fmla="*/ 888207 h 1197769"/>
                  <a:gd name="connsiteX9" fmla="*/ 323850 w 771525"/>
                  <a:gd name="connsiteY9" fmla="*/ 819150 h 1197769"/>
                  <a:gd name="connsiteX10" fmla="*/ 280988 w 771525"/>
                  <a:gd name="connsiteY10" fmla="*/ 769144 h 1197769"/>
                  <a:gd name="connsiteX11" fmla="*/ 288132 w 771525"/>
                  <a:gd name="connsiteY11" fmla="*/ 731044 h 1197769"/>
                  <a:gd name="connsiteX12" fmla="*/ 316707 w 771525"/>
                  <a:gd name="connsiteY12" fmla="*/ 714375 h 1197769"/>
                  <a:gd name="connsiteX13" fmla="*/ 330994 w 771525"/>
                  <a:gd name="connsiteY13" fmla="*/ 740569 h 1197769"/>
                  <a:gd name="connsiteX14" fmla="*/ 354807 w 771525"/>
                  <a:gd name="connsiteY14" fmla="*/ 759619 h 1197769"/>
                  <a:gd name="connsiteX15" fmla="*/ 369094 w 771525"/>
                  <a:gd name="connsiteY15" fmla="*/ 778669 h 1197769"/>
                  <a:gd name="connsiteX16" fmla="*/ 378619 w 771525"/>
                  <a:gd name="connsiteY16" fmla="*/ 814388 h 1197769"/>
                  <a:gd name="connsiteX17" fmla="*/ 395288 w 771525"/>
                  <a:gd name="connsiteY17" fmla="*/ 831057 h 1197769"/>
                  <a:gd name="connsiteX18" fmla="*/ 409575 w 771525"/>
                  <a:gd name="connsiteY18" fmla="*/ 826294 h 1197769"/>
                  <a:gd name="connsiteX19" fmla="*/ 426244 w 771525"/>
                  <a:gd name="connsiteY19" fmla="*/ 819150 h 1197769"/>
                  <a:gd name="connsiteX20" fmla="*/ 423863 w 771525"/>
                  <a:gd name="connsiteY20" fmla="*/ 709613 h 1197769"/>
                  <a:gd name="connsiteX21" fmla="*/ 409575 w 771525"/>
                  <a:gd name="connsiteY21" fmla="*/ 673894 h 1197769"/>
                  <a:gd name="connsiteX22" fmla="*/ 411957 w 771525"/>
                  <a:gd name="connsiteY22" fmla="*/ 647700 h 1197769"/>
                  <a:gd name="connsiteX23" fmla="*/ 426244 w 771525"/>
                  <a:gd name="connsiteY23" fmla="*/ 600075 h 1197769"/>
                  <a:gd name="connsiteX24" fmla="*/ 473869 w 771525"/>
                  <a:gd name="connsiteY24" fmla="*/ 600075 h 1197769"/>
                  <a:gd name="connsiteX25" fmla="*/ 488157 w 771525"/>
                  <a:gd name="connsiteY25" fmla="*/ 585788 h 1197769"/>
                  <a:gd name="connsiteX26" fmla="*/ 509588 w 771525"/>
                  <a:gd name="connsiteY26" fmla="*/ 535782 h 1197769"/>
                  <a:gd name="connsiteX27" fmla="*/ 604838 w 771525"/>
                  <a:gd name="connsiteY27" fmla="*/ 490538 h 1197769"/>
                  <a:gd name="connsiteX28" fmla="*/ 628650 w 771525"/>
                  <a:gd name="connsiteY28" fmla="*/ 481013 h 1197769"/>
                  <a:gd name="connsiteX29" fmla="*/ 638175 w 771525"/>
                  <a:gd name="connsiteY29" fmla="*/ 435769 h 1197769"/>
                  <a:gd name="connsiteX30" fmla="*/ 638175 w 771525"/>
                  <a:gd name="connsiteY30" fmla="*/ 395288 h 1197769"/>
                  <a:gd name="connsiteX31" fmla="*/ 640557 w 771525"/>
                  <a:gd name="connsiteY31" fmla="*/ 373857 h 1197769"/>
                  <a:gd name="connsiteX32" fmla="*/ 652463 w 771525"/>
                  <a:gd name="connsiteY32" fmla="*/ 366713 h 1197769"/>
                  <a:gd name="connsiteX33" fmla="*/ 742950 w 771525"/>
                  <a:gd name="connsiteY33" fmla="*/ 330994 h 1197769"/>
                  <a:gd name="connsiteX34" fmla="*/ 766763 w 771525"/>
                  <a:gd name="connsiteY34" fmla="*/ 314325 h 1197769"/>
                  <a:gd name="connsiteX35" fmla="*/ 754857 w 771525"/>
                  <a:gd name="connsiteY35" fmla="*/ 285750 h 1197769"/>
                  <a:gd name="connsiteX36" fmla="*/ 742950 w 771525"/>
                  <a:gd name="connsiteY36" fmla="*/ 254794 h 1197769"/>
                  <a:gd name="connsiteX37" fmla="*/ 771525 w 771525"/>
                  <a:gd name="connsiteY37" fmla="*/ 226219 h 1197769"/>
                  <a:gd name="connsiteX38" fmla="*/ 752475 w 771525"/>
                  <a:gd name="connsiteY38" fmla="*/ 195263 h 1197769"/>
                  <a:gd name="connsiteX39" fmla="*/ 752475 w 771525"/>
                  <a:gd name="connsiteY39" fmla="*/ 152400 h 1197769"/>
                  <a:gd name="connsiteX40" fmla="*/ 719138 w 771525"/>
                  <a:gd name="connsiteY40" fmla="*/ 119063 h 1197769"/>
                  <a:gd name="connsiteX41" fmla="*/ 695325 w 771525"/>
                  <a:gd name="connsiteY41" fmla="*/ 97632 h 1197769"/>
                  <a:gd name="connsiteX42" fmla="*/ 671513 w 771525"/>
                  <a:gd name="connsiteY42" fmla="*/ 85725 h 1197769"/>
                  <a:gd name="connsiteX43" fmla="*/ 645319 w 771525"/>
                  <a:gd name="connsiteY43" fmla="*/ 69057 h 1197769"/>
                  <a:gd name="connsiteX44" fmla="*/ 642938 w 771525"/>
                  <a:gd name="connsiteY44" fmla="*/ 0 h 1197769"/>
                  <a:gd name="connsiteX45" fmla="*/ 609600 w 771525"/>
                  <a:gd name="connsiteY45" fmla="*/ 33338 h 1197769"/>
                  <a:gd name="connsiteX46" fmla="*/ 583407 w 771525"/>
                  <a:gd name="connsiteY46" fmla="*/ 57150 h 1197769"/>
                  <a:gd name="connsiteX47" fmla="*/ 564357 w 771525"/>
                  <a:gd name="connsiteY47" fmla="*/ 52388 h 1197769"/>
                  <a:gd name="connsiteX48" fmla="*/ 554832 w 771525"/>
                  <a:gd name="connsiteY48" fmla="*/ 76200 h 1197769"/>
                  <a:gd name="connsiteX49" fmla="*/ 509588 w 771525"/>
                  <a:gd name="connsiteY49" fmla="*/ 109538 h 1197769"/>
                  <a:gd name="connsiteX50" fmla="*/ 407194 w 771525"/>
                  <a:gd name="connsiteY50" fmla="*/ 147638 h 1197769"/>
                  <a:gd name="connsiteX51" fmla="*/ 381000 w 771525"/>
                  <a:gd name="connsiteY51" fmla="*/ 185738 h 1197769"/>
                  <a:gd name="connsiteX52" fmla="*/ 340519 w 771525"/>
                  <a:gd name="connsiteY52" fmla="*/ 173832 h 1197769"/>
                  <a:gd name="connsiteX53" fmla="*/ 245269 w 771525"/>
                  <a:gd name="connsiteY53" fmla="*/ 178594 h 1197769"/>
                  <a:gd name="connsiteX54" fmla="*/ 250032 w 771525"/>
                  <a:gd name="connsiteY54" fmla="*/ 188119 h 1197769"/>
                  <a:gd name="connsiteX55" fmla="*/ 309563 w 771525"/>
                  <a:gd name="connsiteY55" fmla="*/ 238125 h 1197769"/>
                  <a:gd name="connsiteX56" fmla="*/ 211932 w 771525"/>
                  <a:gd name="connsiteY56" fmla="*/ 361950 h 1197769"/>
                  <a:gd name="connsiteX57" fmla="*/ 173832 w 771525"/>
                  <a:gd name="connsiteY57" fmla="*/ 352425 h 1197769"/>
                  <a:gd name="connsiteX58" fmla="*/ 80963 w 771525"/>
                  <a:gd name="connsiteY58" fmla="*/ 485775 h 1197769"/>
                  <a:gd name="connsiteX59" fmla="*/ 97632 w 771525"/>
                  <a:gd name="connsiteY59" fmla="*/ 497682 h 1197769"/>
                  <a:gd name="connsiteX60" fmla="*/ 114300 w 771525"/>
                  <a:gd name="connsiteY60" fmla="*/ 538163 h 1197769"/>
                  <a:gd name="connsiteX61" fmla="*/ 92869 w 771525"/>
                  <a:gd name="connsiteY61" fmla="*/ 600075 h 1197769"/>
                  <a:gd name="connsiteX62" fmla="*/ 102394 w 771525"/>
                  <a:gd name="connsiteY62" fmla="*/ 673894 h 1197769"/>
                  <a:gd name="connsiteX63" fmla="*/ 73819 w 771525"/>
                  <a:gd name="connsiteY63" fmla="*/ 711994 h 1197769"/>
                  <a:gd name="connsiteX64" fmla="*/ 73819 w 771525"/>
                  <a:gd name="connsiteY64" fmla="*/ 738188 h 1197769"/>
                  <a:gd name="connsiteX65" fmla="*/ 61913 w 771525"/>
                  <a:gd name="connsiteY65" fmla="*/ 766763 h 1197769"/>
                  <a:gd name="connsiteX66" fmla="*/ 88107 w 771525"/>
                  <a:gd name="connsiteY66" fmla="*/ 795338 h 1197769"/>
                  <a:gd name="connsiteX67" fmla="*/ 135732 w 771525"/>
                  <a:gd name="connsiteY67" fmla="*/ 883444 h 1197769"/>
                  <a:gd name="connsiteX68" fmla="*/ 69057 w 771525"/>
                  <a:gd name="connsiteY68" fmla="*/ 909638 h 1197769"/>
                  <a:gd name="connsiteX69" fmla="*/ 45244 w 771525"/>
                  <a:gd name="connsiteY69" fmla="*/ 962025 h 1197769"/>
                  <a:gd name="connsiteX70" fmla="*/ 33338 w 771525"/>
                  <a:gd name="connsiteY70" fmla="*/ 1016794 h 1197769"/>
                  <a:gd name="connsiteX71" fmla="*/ 2382 w 771525"/>
                  <a:gd name="connsiteY71" fmla="*/ 1007269 h 1197769"/>
                  <a:gd name="connsiteX72" fmla="*/ 0 w 771525"/>
                  <a:gd name="connsiteY72" fmla="*/ 1054894 h 1197769"/>
                  <a:gd name="connsiteX73" fmla="*/ 16669 w 771525"/>
                  <a:gd name="connsiteY73" fmla="*/ 1064419 h 1197769"/>
                  <a:gd name="connsiteX74" fmla="*/ 57150 w 771525"/>
                  <a:gd name="connsiteY74" fmla="*/ 1073944 h 1197769"/>
                  <a:gd name="connsiteX75" fmla="*/ 85725 w 771525"/>
                  <a:gd name="connsiteY75" fmla="*/ 1088232 h 1197769"/>
                  <a:gd name="connsiteX76" fmla="*/ 102394 w 771525"/>
                  <a:gd name="connsiteY76" fmla="*/ 1143000 h 1197769"/>
                  <a:gd name="connsiteX77" fmla="*/ 130969 w 771525"/>
                  <a:gd name="connsiteY77" fmla="*/ 1169194 h 1197769"/>
                  <a:gd name="connsiteX78" fmla="*/ 157163 w 771525"/>
                  <a:gd name="connsiteY78" fmla="*/ 1197769 h 1197769"/>
                  <a:gd name="connsiteX79" fmla="*/ 192882 w 771525"/>
                  <a:gd name="connsiteY79" fmla="*/ 1190626 h 1197769"/>
                  <a:gd name="connsiteX80" fmla="*/ 202407 w 771525"/>
                  <a:gd name="connsiteY80" fmla="*/ 1164432 h 1197769"/>
                  <a:gd name="connsiteX0" fmla="*/ 202407 w 771525"/>
                  <a:gd name="connsiteY0" fmla="*/ 1164432 h 1197769"/>
                  <a:gd name="connsiteX1" fmla="*/ 221457 w 771525"/>
                  <a:gd name="connsiteY1" fmla="*/ 1097757 h 1197769"/>
                  <a:gd name="connsiteX2" fmla="*/ 238125 w 771525"/>
                  <a:gd name="connsiteY2" fmla="*/ 1076325 h 1197769"/>
                  <a:gd name="connsiteX3" fmla="*/ 247650 w 771525"/>
                  <a:gd name="connsiteY3" fmla="*/ 1045369 h 1197769"/>
                  <a:gd name="connsiteX4" fmla="*/ 283369 w 771525"/>
                  <a:gd name="connsiteY4" fmla="*/ 1019175 h 1197769"/>
                  <a:gd name="connsiteX5" fmla="*/ 319088 w 771525"/>
                  <a:gd name="connsiteY5" fmla="*/ 995363 h 1197769"/>
                  <a:gd name="connsiteX6" fmla="*/ 350044 w 771525"/>
                  <a:gd name="connsiteY6" fmla="*/ 962025 h 1197769"/>
                  <a:gd name="connsiteX7" fmla="*/ 354807 w 771525"/>
                  <a:gd name="connsiteY7" fmla="*/ 933450 h 1197769"/>
                  <a:gd name="connsiteX8" fmla="*/ 321469 w 771525"/>
                  <a:gd name="connsiteY8" fmla="*/ 888207 h 1197769"/>
                  <a:gd name="connsiteX9" fmla="*/ 323850 w 771525"/>
                  <a:gd name="connsiteY9" fmla="*/ 819150 h 1197769"/>
                  <a:gd name="connsiteX10" fmla="*/ 280988 w 771525"/>
                  <a:gd name="connsiteY10" fmla="*/ 769144 h 1197769"/>
                  <a:gd name="connsiteX11" fmla="*/ 288132 w 771525"/>
                  <a:gd name="connsiteY11" fmla="*/ 731044 h 1197769"/>
                  <a:gd name="connsiteX12" fmla="*/ 316707 w 771525"/>
                  <a:gd name="connsiteY12" fmla="*/ 714375 h 1197769"/>
                  <a:gd name="connsiteX13" fmla="*/ 330994 w 771525"/>
                  <a:gd name="connsiteY13" fmla="*/ 740569 h 1197769"/>
                  <a:gd name="connsiteX14" fmla="*/ 354807 w 771525"/>
                  <a:gd name="connsiteY14" fmla="*/ 759619 h 1197769"/>
                  <a:gd name="connsiteX15" fmla="*/ 369094 w 771525"/>
                  <a:gd name="connsiteY15" fmla="*/ 778669 h 1197769"/>
                  <a:gd name="connsiteX16" fmla="*/ 378619 w 771525"/>
                  <a:gd name="connsiteY16" fmla="*/ 814388 h 1197769"/>
                  <a:gd name="connsiteX17" fmla="*/ 395288 w 771525"/>
                  <a:gd name="connsiteY17" fmla="*/ 831057 h 1197769"/>
                  <a:gd name="connsiteX18" fmla="*/ 409575 w 771525"/>
                  <a:gd name="connsiteY18" fmla="*/ 826294 h 1197769"/>
                  <a:gd name="connsiteX19" fmla="*/ 426244 w 771525"/>
                  <a:gd name="connsiteY19" fmla="*/ 819150 h 1197769"/>
                  <a:gd name="connsiteX20" fmla="*/ 423863 w 771525"/>
                  <a:gd name="connsiteY20" fmla="*/ 709613 h 1197769"/>
                  <a:gd name="connsiteX21" fmla="*/ 409575 w 771525"/>
                  <a:gd name="connsiteY21" fmla="*/ 673894 h 1197769"/>
                  <a:gd name="connsiteX22" fmla="*/ 411957 w 771525"/>
                  <a:gd name="connsiteY22" fmla="*/ 647700 h 1197769"/>
                  <a:gd name="connsiteX23" fmla="*/ 426244 w 771525"/>
                  <a:gd name="connsiteY23" fmla="*/ 600075 h 1197769"/>
                  <a:gd name="connsiteX24" fmla="*/ 473869 w 771525"/>
                  <a:gd name="connsiteY24" fmla="*/ 600075 h 1197769"/>
                  <a:gd name="connsiteX25" fmla="*/ 488157 w 771525"/>
                  <a:gd name="connsiteY25" fmla="*/ 585788 h 1197769"/>
                  <a:gd name="connsiteX26" fmla="*/ 509588 w 771525"/>
                  <a:gd name="connsiteY26" fmla="*/ 535782 h 1197769"/>
                  <a:gd name="connsiteX27" fmla="*/ 604838 w 771525"/>
                  <a:gd name="connsiteY27" fmla="*/ 490538 h 1197769"/>
                  <a:gd name="connsiteX28" fmla="*/ 628650 w 771525"/>
                  <a:gd name="connsiteY28" fmla="*/ 481013 h 1197769"/>
                  <a:gd name="connsiteX29" fmla="*/ 638175 w 771525"/>
                  <a:gd name="connsiteY29" fmla="*/ 435769 h 1197769"/>
                  <a:gd name="connsiteX30" fmla="*/ 638175 w 771525"/>
                  <a:gd name="connsiteY30" fmla="*/ 395288 h 1197769"/>
                  <a:gd name="connsiteX31" fmla="*/ 640557 w 771525"/>
                  <a:gd name="connsiteY31" fmla="*/ 373857 h 1197769"/>
                  <a:gd name="connsiteX32" fmla="*/ 652463 w 771525"/>
                  <a:gd name="connsiteY32" fmla="*/ 366713 h 1197769"/>
                  <a:gd name="connsiteX33" fmla="*/ 742950 w 771525"/>
                  <a:gd name="connsiteY33" fmla="*/ 330994 h 1197769"/>
                  <a:gd name="connsiteX34" fmla="*/ 766763 w 771525"/>
                  <a:gd name="connsiteY34" fmla="*/ 314325 h 1197769"/>
                  <a:gd name="connsiteX35" fmla="*/ 754857 w 771525"/>
                  <a:gd name="connsiteY35" fmla="*/ 285750 h 1197769"/>
                  <a:gd name="connsiteX36" fmla="*/ 742950 w 771525"/>
                  <a:gd name="connsiteY36" fmla="*/ 254794 h 1197769"/>
                  <a:gd name="connsiteX37" fmla="*/ 771525 w 771525"/>
                  <a:gd name="connsiteY37" fmla="*/ 226219 h 1197769"/>
                  <a:gd name="connsiteX38" fmla="*/ 752475 w 771525"/>
                  <a:gd name="connsiteY38" fmla="*/ 195263 h 1197769"/>
                  <a:gd name="connsiteX39" fmla="*/ 752475 w 771525"/>
                  <a:gd name="connsiteY39" fmla="*/ 152400 h 1197769"/>
                  <a:gd name="connsiteX40" fmla="*/ 719138 w 771525"/>
                  <a:gd name="connsiteY40" fmla="*/ 119063 h 1197769"/>
                  <a:gd name="connsiteX41" fmla="*/ 707231 w 771525"/>
                  <a:gd name="connsiteY41" fmla="*/ 92870 h 1197769"/>
                  <a:gd name="connsiteX42" fmla="*/ 671513 w 771525"/>
                  <a:gd name="connsiteY42" fmla="*/ 85725 h 1197769"/>
                  <a:gd name="connsiteX43" fmla="*/ 645319 w 771525"/>
                  <a:gd name="connsiteY43" fmla="*/ 69057 h 1197769"/>
                  <a:gd name="connsiteX44" fmla="*/ 642938 w 771525"/>
                  <a:gd name="connsiteY44" fmla="*/ 0 h 1197769"/>
                  <a:gd name="connsiteX45" fmla="*/ 609600 w 771525"/>
                  <a:gd name="connsiteY45" fmla="*/ 33338 h 1197769"/>
                  <a:gd name="connsiteX46" fmla="*/ 583407 w 771525"/>
                  <a:gd name="connsiteY46" fmla="*/ 57150 h 1197769"/>
                  <a:gd name="connsiteX47" fmla="*/ 564357 w 771525"/>
                  <a:gd name="connsiteY47" fmla="*/ 52388 h 1197769"/>
                  <a:gd name="connsiteX48" fmla="*/ 554832 w 771525"/>
                  <a:gd name="connsiteY48" fmla="*/ 76200 h 1197769"/>
                  <a:gd name="connsiteX49" fmla="*/ 509588 w 771525"/>
                  <a:gd name="connsiteY49" fmla="*/ 109538 h 1197769"/>
                  <a:gd name="connsiteX50" fmla="*/ 407194 w 771525"/>
                  <a:gd name="connsiteY50" fmla="*/ 147638 h 1197769"/>
                  <a:gd name="connsiteX51" fmla="*/ 381000 w 771525"/>
                  <a:gd name="connsiteY51" fmla="*/ 185738 h 1197769"/>
                  <a:gd name="connsiteX52" fmla="*/ 340519 w 771525"/>
                  <a:gd name="connsiteY52" fmla="*/ 173832 h 1197769"/>
                  <a:gd name="connsiteX53" fmla="*/ 245269 w 771525"/>
                  <a:gd name="connsiteY53" fmla="*/ 178594 h 1197769"/>
                  <a:gd name="connsiteX54" fmla="*/ 250032 w 771525"/>
                  <a:gd name="connsiteY54" fmla="*/ 188119 h 1197769"/>
                  <a:gd name="connsiteX55" fmla="*/ 309563 w 771525"/>
                  <a:gd name="connsiteY55" fmla="*/ 238125 h 1197769"/>
                  <a:gd name="connsiteX56" fmla="*/ 211932 w 771525"/>
                  <a:gd name="connsiteY56" fmla="*/ 361950 h 1197769"/>
                  <a:gd name="connsiteX57" fmla="*/ 173832 w 771525"/>
                  <a:gd name="connsiteY57" fmla="*/ 352425 h 1197769"/>
                  <a:gd name="connsiteX58" fmla="*/ 80963 w 771525"/>
                  <a:gd name="connsiteY58" fmla="*/ 485775 h 1197769"/>
                  <a:gd name="connsiteX59" fmla="*/ 97632 w 771525"/>
                  <a:gd name="connsiteY59" fmla="*/ 497682 h 1197769"/>
                  <a:gd name="connsiteX60" fmla="*/ 114300 w 771525"/>
                  <a:gd name="connsiteY60" fmla="*/ 538163 h 1197769"/>
                  <a:gd name="connsiteX61" fmla="*/ 92869 w 771525"/>
                  <a:gd name="connsiteY61" fmla="*/ 600075 h 1197769"/>
                  <a:gd name="connsiteX62" fmla="*/ 102394 w 771525"/>
                  <a:gd name="connsiteY62" fmla="*/ 673894 h 1197769"/>
                  <a:gd name="connsiteX63" fmla="*/ 73819 w 771525"/>
                  <a:gd name="connsiteY63" fmla="*/ 711994 h 1197769"/>
                  <a:gd name="connsiteX64" fmla="*/ 73819 w 771525"/>
                  <a:gd name="connsiteY64" fmla="*/ 738188 h 1197769"/>
                  <a:gd name="connsiteX65" fmla="*/ 61913 w 771525"/>
                  <a:gd name="connsiteY65" fmla="*/ 766763 h 1197769"/>
                  <a:gd name="connsiteX66" fmla="*/ 88107 w 771525"/>
                  <a:gd name="connsiteY66" fmla="*/ 795338 h 1197769"/>
                  <a:gd name="connsiteX67" fmla="*/ 135732 w 771525"/>
                  <a:gd name="connsiteY67" fmla="*/ 883444 h 1197769"/>
                  <a:gd name="connsiteX68" fmla="*/ 69057 w 771525"/>
                  <a:gd name="connsiteY68" fmla="*/ 909638 h 1197769"/>
                  <a:gd name="connsiteX69" fmla="*/ 45244 w 771525"/>
                  <a:gd name="connsiteY69" fmla="*/ 962025 h 1197769"/>
                  <a:gd name="connsiteX70" fmla="*/ 33338 w 771525"/>
                  <a:gd name="connsiteY70" fmla="*/ 1016794 h 1197769"/>
                  <a:gd name="connsiteX71" fmla="*/ 2382 w 771525"/>
                  <a:gd name="connsiteY71" fmla="*/ 1007269 h 1197769"/>
                  <a:gd name="connsiteX72" fmla="*/ 0 w 771525"/>
                  <a:gd name="connsiteY72" fmla="*/ 1054894 h 1197769"/>
                  <a:gd name="connsiteX73" fmla="*/ 16669 w 771525"/>
                  <a:gd name="connsiteY73" fmla="*/ 1064419 h 1197769"/>
                  <a:gd name="connsiteX74" fmla="*/ 57150 w 771525"/>
                  <a:gd name="connsiteY74" fmla="*/ 1073944 h 1197769"/>
                  <a:gd name="connsiteX75" fmla="*/ 85725 w 771525"/>
                  <a:gd name="connsiteY75" fmla="*/ 1088232 h 1197769"/>
                  <a:gd name="connsiteX76" fmla="*/ 102394 w 771525"/>
                  <a:gd name="connsiteY76" fmla="*/ 1143000 h 1197769"/>
                  <a:gd name="connsiteX77" fmla="*/ 130969 w 771525"/>
                  <a:gd name="connsiteY77" fmla="*/ 1169194 h 1197769"/>
                  <a:gd name="connsiteX78" fmla="*/ 157163 w 771525"/>
                  <a:gd name="connsiteY78" fmla="*/ 1197769 h 1197769"/>
                  <a:gd name="connsiteX79" fmla="*/ 192882 w 771525"/>
                  <a:gd name="connsiteY79" fmla="*/ 1190626 h 1197769"/>
                  <a:gd name="connsiteX80" fmla="*/ 202407 w 771525"/>
                  <a:gd name="connsiteY80" fmla="*/ 1164432 h 1197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771525" h="1197769">
                    <a:moveTo>
                      <a:pt x="202407" y="1164432"/>
                    </a:moveTo>
                    <a:lnTo>
                      <a:pt x="221457" y="1097757"/>
                    </a:lnTo>
                    <a:lnTo>
                      <a:pt x="238125" y="1076325"/>
                    </a:lnTo>
                    <a:lnTo>
                      <a:pt x="247650" y="1045369"/>
                    </a:lnTo>
                    <a:lnTo>
                      <a:pt x="283369" y="1019175"/>
                    </a:lnTo>
                    <a:lnTo>
                      <a:pt x="319088" y="995363"/>
                    </a:lnTo>
                    <a:lnTo>
                      <a:pt x="350044" y="962025"/>
                    </a:lnTo>
                    <a:lnTo>
                      <a:pt x="354807" y="933450"/>
                    </a:lnTo>
                    <a:lnTo>
                      <a:pt x="321469" y="888207"/>
                    </a:lnTo>
                    <a:cubicBezTo>
                      <a:pt x="322263" y="865188"/>
                      <a:pt x="323056" y="842169"/>
                      <a:pt x="323850" y="819150"/>
                    </a:cubicBezTo>
                    <a:lnTo>
                      <a:pt x="280988" y="769144"/>
                    </a:lnTo>
                    <a:lnTo>
                      <a:pt x="288132" y="731044"/>
                    </a:lnTo>
                    <a:lnTo>
                      <a:pt x="316707" y="714375"/>
                    </a:lnTo>
                    <a:lnTo>
                      <a:pt x="330994" y="740569"/>
                    </a:lnTo>
                    <a:lnTo>
                      <a:pt x="354807" y="759619"/>
                    </a:lnTo>
                    <a:lnTo>
                      <a:pt x="369094" y="778669"/>
                    </a:lnTo>
                    <a:lnTo>
                      <a:pt x="378619" y="814388"/>
                    </a:lnTo>
                    <a:lnTo>
                      <a:pt x="395288" y="831057"/>
                    </a:lnTo>
                    <a:lnTo>
                      <a:pt x="409575" y="826294"/>
                    </a:lnTo>
                    <a:lnTo>
                      <a:pt x="426244" y="819150"/>
                    </a:lnTo>
                    <a:cubicBezTo>
                      <a:pt x="425450" y="782638"/>
                      <a:pt x="424657" y="746125"/>
                      <a:pt x="423863" y="709613"/>
                    </a:cubicBezTo>
                    <a:lnTo>
                      <a:pt x="409575" y="673894"/>
                    </a:lnTo>
                    <a:lnTo>
                      <a:pt x="411957" y="647700"/>
                    </a:lnTo>
                    <a:lnTo>
                      <a:pt x="426244" y="600075"/>
                    </a:lnTo>
                    <a:lnTo>
                      <a:pt x="473869" y="600075"/>
                    </a:lnTo>
                    <a:lnTo>
                      <a:pt x="488157" y="585788"/>
                    </a:lnTo>
                    <a:lnTo>
                      <a:pt x="509588" y="535782"/>
                    </a:lnTo>
                    <a:lnTo>
                      <a:pt x="604838" y="490538"/>
                    </a:lnTo>
                    <a:lnTo>
                      <a:pt x="628650" y="481013"/>
                    </a:lnTo>
                    <a:lnTo>
                      <a:pt x="638175" y="435769"/>
                    </a:lnTo>
                    <a:lnTo>
                      <a:pt x="638175" y="395288"/>
                    </a:lnTo>
                    <a:lnTo>
                      <a:pt x="640557" y="373857"/>
                    </a:lnTo>
                    <a:lnTo>
                      <a:pt x="652463" y="366713"/>
                    </a:lnTo>
                    <a:lnTo>
                      <a:pt x="742950" y="330994"/>
                    </a:lnTo>
                    <a:lnTo>
                      <a:pt x="766763" y="314325"/>
                    </a:lnTo>
                    <a:lnTo>
                      <a:pt x="754857" y="285750"/>
                    </a:lnTo>
                    <a:lnTo>
                      <a:pt x="742950" y="254794"/>
                    </a:lnTo>
                    <a:lnTo>
                      <a:pt x="771525" y="226219"/>
                    </a:lnTo>
                    <a:lnTo>
                      <a:pt x="752475" y="195263"/>
                    </a:lnTo>
                    <a:lnTo>
                      <a:pt x="752475" y="152400"/>
                    </a:lnTo>
                    <a:lnTo>
                      <a:pt x="719138" y="119063"/>
                    </a:lnTo>
                    <a:lnTo>
                      <a:pt x="707231" y="92870"/>
                    </a:lnTo>
                    <a:lnTo>
                      <a:pt x="671513" y="85725"/>
                    </a:lnTo>
                    <a:lnTo>
                      <a:pt x="645319" y="69057"/>
                    </a:lnTo>
                    <a:cubicBezTo>
                      <a:pt x="644525" y="46038"/>
                      <a:pt x="643732" y="23019"/>
                      <a:pt x="642938" y="0"/>
                    </a:cubicBezTo>
                    <a:lnTo>
                      <a:pt x="609600" y="33338"/>
                    </a:lnTo>
                    <a:lnTo>
                      <a:pt x="583407" y="57150"/>
                    </a:lnTo>
                    <a:lnTo>
                      <a:pt x="564357" y="52388"/>
                    </a:lnTo>
                    <a:lnTo>
                      <a:pt x="554832" y="76200"/>
                    </a:lnTo>
                    <a:lnTo>
                      <a:pt x="509588" y="109538"/>
                    </a:lnTo>
                    <a:lnTo>
                      <a:pt x="407194" y="147638"/>
                    </a:lnTo>
                    <a:lnTo>
                      <a:pt x="381000" y="185738"/>
                    </a:lnTo>
                    <a:lnTo>
                      <a:pt x="340519" y="173832"/>
                    </a:lnTo>
                    <a:lnTo>
                      <a:pt x="245269" y="178594"/>
                    </a:lnTo>
                    <a:lnTo>
                      <a:pt x="250032" y="188119"/>
                    </a:lnTo>
                    <a:lnTo>
                      <a:pt x="309563" y="238125"/>
                    </a:lnTo>
                    <a:lnTo>
                      <a:pt x="211932" y="361950"/>
                    </a:lnTo>
                    <a:lnTo>
                      <a:pt x="173832" y="352425"/>
                    </a:lnTo>
                    <a:lnTo>
                      <a:pt x="80963" y="485775"/>
                    </a:lnTo>
                    <a:lnTo>
                      <a:pt x="97632" y="497682"/>
                    </a:lnTo>
                    <a:lnTo>
                      <a:pt x="114300" y="538163"/>
                    </a:lnTo>
                    <a:lnTo>
                      <a:pt x="92869" y="600075"/>
                    </a:lnTo>
                    <a:lnTo>
                      <a:pt x="102394" y="673894"/>
                    </a:lnTo>
                    <a:lnTo>
                      <a:pt x="73819" y="711994"/>
                    </a:lnTo>
                    <a:lnTo>
                      <a:pt x="73819" y="738188"/>
                    </a:lnTo>
                    <a:lnTo>
                      <a:pt x="61913" y="766763"/>
                    </a:lnTo>
                    <a:lnTo>
                      <a:pt x="88107" y="795338"/>
                    </a:lnTo>
                    <a:lnTo>
                      <a:pt x="135732" y="883444"/>
                    </a:lnTo>
                    <a:lnTo>
                      <a:pt x="69057" y="909638"/>
                    </a:lnTo>
                    <a:lnTo>
                      <a:pt x="45244" y="962025"/>
                    </a:lnTo>
                    <a:lnTo>
                      <a:pt x="33338" y="1016794"/>
                    </a:lnTo>
                    <a:lnTo>
                      <a:pt x="2382" y="1007269"/>
                    </a:lnTo>
                    <a:lnTo>
                      <a:pt x="0" y="1054894"/>
                    </a:lnTo>
                    <a:lnTo>
                      <a:pt x="16669" y="1064419"/>
                    </a:lnTo>
                    <a:lnTo>
                      <a:pt x="57150" y="1073944"/>
                    </a:lnTo>
                    <a:lnTo>
                      <a:pt x="85725" y="1088232"/>
                    </a:lnTo>
                    <a:lnTo>
                      <a:pt x="102394" y="1143000"/>
                    </a:lnTo>
                    <a:lnTo>
                      <a:pt x="130969" y="1169194"/>
                    </a:lnTo>
                    <a:lnTo>
                      <a:pt x="157163" y="1197769"/>
                    </a:lnTo>
                    <a:lnTo>
                      <a:pt x="192882" y="1190626"/>
                    </a:lnTo>
                    <a:lnTo>
                      <a:pt x="202407" y="1164432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57" name="Freeform 22">
                <a:extLst>
                  <a:ext uri="{FF2B5EF4-FFF2-40B4-BE49-F238E27FC236}">
                    <a16:creationId xmlns:a16="http://schemas.microsoft.com/office/drawing/2014/main" id="{FB3081AE-D68D-49CD-A9FB-1FC9A0C98A1F}"/>
                  </a:ext>
                </a:extLst>
              </p:cNvPr>
              <p:cNvSpPr/>
              <p:nvPr/>
            </p:nvSpPr>
            <p:spPr>
              <a:xfrm>
                <a:off x="5022850" y="4014788"/>
                <a:ext cx="1138238" cy="862012"/>
              </a:xfrm>
              <a:custGeom>
                <a:avLst/>
                <a:gdLst>
                  <a:gd name="connsiteX0" fmla="*/ 631031 w 1114425"/>
                  <a:gd name="connsiteY0" fmla="*/ 650081 h 862012"/>
                  <a:gd name="connsiteX1" fmla="*/ 678656 w 1114425"/>
                  <a:gd name="connsiteY1" fmla="*/ 585787 h 862012"/>
                  <a:gd name="connsiteX2" fmla="*/ 702468 w 1114425"/>
                  <a:gd name="connsiteY2" fmla="*/ 573881 h 862012"/>
                  <a:gd name="connsiteX3" fmla="*/ 733425 w 1114425"/>
                  <a:gd name="connsiteY3" fmla="*/ 573881 h 862012"/>
                  <a:gd name="connsiteX4" fmla="*/ 778668 w 1114425"/>
                  <a:gd name="connsiteY4" fmla="*/ 554831 h 862012"/>
                  <a:gd name="connsiteX5" fmla="*/ 833437 w 1114425"/>
                  <a:gd name="connsiteY5" fmla="*/ 528637 h 862012"/>
                  <a:gd name="connsiteX6" fmla="*/ 883443 w 1114425"/>
                  <a:gd name="connsiteY6" fmla="*/ 495300 h 862012"/>
                  <a:gd name="connsiteX7" fmla="*/ 900112 w 1114425"/>
                  <a:gd name="connsiteY7" fmla="*/ 490537 h 862012"/>
                  <a:gd name="connsiteX8" fmla="*/ 919162 w 1114425"/>
                  <a:gd name="connsiteY8" fmla="*/ 485775 h 862012"/>
                  <a:gd name="connsiteX9" fmla="*/ 916781 w 1114425"/>
                  <a:gd name="connsiteY9" fmla="*/ 447675 h 862012"/>
                  <a:gd name="connsiteX10" fmla="*/ 954881 w 1114425"/>
                  <a:gd name="connsiteY10" fmla="*/ 428625 h 862012"/>
                  <a:gd name="connsiteX11" fmla="*/ 985837 w 1114425"/>
                  <a:gd name="connsiteY11" fmla="*/ 407194 h 862012"/>
                  <a:gd name="connsiteX12" fmla="*/ 1000125 w 1114425"/>
                  <a:gd name="connsiteY12" fmla="*/ 347662 h 862012"/>
                  <a:gd name="connsiteX13" fmla="*/ 981075 w 1114425"/>
                  <a:gd name="connsiteY13" fmla="*/ 316706 h 862012"/>
                  <a:gd name="connsiteX14" fmla="*/ 997743 w 1114425"/>
                  <a:gd name="connsiteY14" fmla="*/ 271462 h 862012"/>
                  <a:gd name="connsiteX15" fmla="*/ 1033462 w 1114425"/>
                  <a:gd name="connsiteY15" fmla="*/ 233362 h 862012"/>
                  <a:gd name="connsiteX16" fmla="*/ 1097756 w 1114425"/>
                  <a:gd name="connsiteY16" fmla="*/ 209550 h 862012"/>
                  <a:gd name="connsiteX17" fmla="*/ 1114425 w 1114425"/>
                  <a:gd name="connsiteY17" fmla="*/ 190500 h 862012"/>
                  <a:gd name="connsiteX18" fmla="*/ 1100137 w 1114425"/>
                  <a:gd name="connsiteY18" fmla="*/ 161925 h 862012"/>
                  <a:gd name="connsiteX19" fmla="*/ 1052512 w 1114425"/>
                  <a:gd name="connsiteY19" fmla="*/ 107156 h 862012"/>
                  <a:gd name="connsiteX20" fmla="*/ 1009650 w 1114425"/>
                  <a:gd name="connsiteY20" fmla="*/ 73819 h 862012"/>
                  <a:gd name="connsiteX21" fmla="*/ 995362 w 1114425"/>
                  <a:gd name="connsiteY21" fmla="*/ 47625 h 862012"/>
                  <a:gd name="connsiteX22" fmla="*/ 983456 w 1114425"/>
                  <a:gd name="connsiteY22" fmla="*/ 64294 h 862012"/>
                  <a:gd name="connsiteX23" fmla="*/ 966787 w 1114425"/>
                  <a:gd name="connsiteY23" fmla="*/ 69056 h 862012"/>
                  <a:gd name="connsiteX24" fmla="*/ 935831 w 1114425"/>
                  <a:gd name="connsiteY24" fmla="*/ 59531 h 862012"/>
                  <a:gd name="connsiteX25" fmla="*/ 904875 w 1114425"/>
                  <a:gd name="connsiteY25" fmla="*/ 23812 h 862012"/>
                  <a:gd name="connsiteX26" fmla="*/ 888206 w 1114425"/>
                  <a:gd name="connsiteY26" fmla="*/ 0 h 862012"/>
                  <a:gd name="connsiteX27" fmla="*/ 869156 w 1114425"/>
                  <a:gd name="connsiteY27" fmla="*/ 28575 h 862012"/>
                  <a:gd name="connsiteX28" fmla="*/ 871537 w 1114425"/>
                  <a:gd name="connsiteY28" fmla="*/ 69056 h 862012"/>
                  <a:gd name="connsiteX29" fmla="*/ 847725 w 1114425"/>
                  <a:gd name="connsiteY29" fmla="*/ 100012 h 862012"/>
                  <a:gd name="connsiteX30" fmla="*/ 826293 w 1114425"/>
                  <a:gd name="connsiteY30" fmla="*/ 97631 h 862012"/>
                  <a:gd name="connsiteX31" fmla="*/ 800100 w 1114425"/>
                  <a:gd name="connsiteY31" fmla="*/ 71437 h 862012"/>
                  <a:gd name="connsiteX32" fmla="*/ 783431 w 1114425"/>
                  <a:gd name="connsiteY32" fmla="*/ 57150 h 862012"/>
                  <a:gd name="connsiteX33" fmla="*/ 764381 w 1114425"/>
                  <a:gd name="connsiteY33" fmla="*/ 61912 h 862012"/>
                  <a:gd name="connsiteX34" fmla="*/ 747712 w 1114425"/>
                  <a:gd name="connsiteY34" fmla="*/ 92869 h 862012"/>
                  <a:gd name="connsiteX35" fmla="*/ 742950 w 1114425"/>
                  <a:gd name="connsiteY35" fmla="*/ 107156 h 862012"/>
                  <a:gd name="connsiteX36" fmla="*/ 714375 w 1114425"/>
                  <a:gd name="connsiteY36" fmla="*/ 107156 h 862012"/>
                  <a:gd name="connsiteX37" fmla="*/ 700087 w 1114425"/>
                  <a:gd name="connsiteY37" fmla="*/ 95250 h 862012"/>
                  <a:gd name="connsiteX38" fmla="*/ 700087 w 1114425"/>
                  <a:gd name="connsiteY38" fmla="*/ 66675 h 862012"/>
                  <a:gd name="connsiteX39" fmla="*/ 704850 w 1114425"/>
                  <a:gd name="connsiteY39" fmla="*/ 38100 h 862012"/>
                  <a:gd name="connsiteX40" fmla="*/ 692943 w 1114425"/>
                  <a:gd name="connsiteY40" fmla="*/ 23812 h 862012"/>
                  <a:gd name="connsiteX41" fmla="*/ 669131 w 1114425"/>
                  <a:gd name="connsiteY41" fmla="*/ 26194 h 862012"/>
                  <a:gd name="connsiteX42" fmla="*/ 640556 w 1114425"/>
                  <a:gd name="connsiteY42" fmla="*/ 19050 h 862012"/>
                  <a:gd name="connsiteX43" fmla="*/ 604837 w 1114425"/>
                  <a:gd name="connsiteY43" fmla="*/ 4762 h 862012"/>
                  <a:gd name="connsiteX44" fmla="*/ 569118 w 1114425"/>
                  <a:gd name="connsiteY44" fmla="*/ 4762 h 862012"/>
                  <a:gd name="connsiteX45" fmla="*/ 557212 w 1114425"/>
                  <a:gd name="connsiteY45" fmla="*/ 11906 h 862012"/>
                  <a:gd name="connsiteX46" fmla="*/ 438150 w 1114425"/>
                  <a:gd name="connsiteY46" fmla="*/ 69056 h 862012"/>
                  <a:gd name="connsiteX47" fmla="*/ 421481 w 1114425"/>
                  <a:gd name="connsiteY47" fmla="*/ 169069 h 862012"/>
                  <a:gd name="connsiteX48" fmla="*/ 304800 w 1114425"/>
                  <a:gd name="connsiteY48" fmla="*/ 228600 h 862012"/>
                  <a:gd name="connsiteX49" fmla="*/ 276225 w 1114425"/>
                  <a:gd name="connsiteY49" fmla="*/ 290512 h 862012"/>
                  <a:gd name="connsiteX50" fmla="*/ 228600 w 1114425"/>
                  <a:gd name="connsiteY50" fmla="*/ 285750 h 862012"/>
                  <a:gd name="connsiteX51" fmla="*/ 211931 w 1114425"/>
                  <a:gd name="connsiteY51" fmla="*/ 357187 h 862012"/>
                  <a:gd name="connsiteX52" fmla="*/ 207168 w 1114425"/>
                  <a:gd name="connsiteY52" fmla="*/ 369094 h 862012"/>
                  <a:gd name="connsiteX53" fmla="*/ 223837 w 1114425"/>
                  <a:gd name="connsiteY53" fmla="*/ 404812 h 862012"/>
                  <a:gd name="connsiteX54" fmla="*/ 219075 w 1114425"/>
                  <a:gd name="connsiteY54" fmla="*/ 511969 h 862012"/>
                  <a:gd name="connsiteX55" fmla="*/ 195262 w 1114425"/>
                  <a:gd name="connsiteY55" fmla="*/ 521494 h 862012"/>
                  <a:gd name="connsiteX56" fmla="*/ 180975 w 1114425"/>
                  <a:gd name="connsiteY56" fmla="*/ 502444 h 862012"/>
                  <a:gd name="connsiteX57" fmla="*/ 161925 w 1114425"/>
                  <a:gd name="connsiteY57" fmla="*/ 457200 h 862012"/>
                  <a:gd name="connsiteX58" fmla="*/ 128587 w 1114425"/>
                  <a:gd name="connsiteY58" fmla="*/ 433387 h 862012"/>
                  <a:gd name="connsiteX59" fmla="*/ 116681 w 1114425"/>
                  <a:gd name="connsiteY59" fmla="*/ 409575 h 862012"/>
                  <a:gd name="connsiteX60" fmla="*/ 83343 w 1114425"/>
                  <a:gd name="connsiteY60" fmla="*/ 421481 h 862012"/>
                  <a:gd name="connsiteX61" fmla="*/ 78581 w 1114425"/>
                  <a:gd name="connsiteY61" fmla="*/ 466725 h 862012"/>
                  <a:gd name="connsiteX62" fmla="*/ 116681 w 1114425"/>
                  <a:gd name="connsiteY62" fmla="*/ 514350 h 862012"/>
                  <a:gd name="connsiteX63" fmla="*/ 123825 w 1114425"/>
                  <a:gd name="connsiteY63" fmla="*/ 583406 h 862012"/>
                  <a:gd name="connsiteX64" fmla="*/ 152400 w 1114425"/>
                  <a:gd name="connsiteY64" fmla="*/ 631031 h 862012"/>
                  <a:gd name="connsiteX65" fmla="*/ 142875 w 1114425"/>
                  <a:gd name="connsiteY65" fmla="*/ 657225 h 862012"/>
                  <a:gd name="connsiteX66" fmla="*/ 107156 w 1114425"/>
                  <a:gd name="connsiteY66" fmla="*/ 697706 h 862012"/>
                  <a:gd name="connsiteX67" fmla="*/ 42862 w 1114425"/>
                  <a:gd name="connsiteY67" fmla="*/ 735806 h 862012"/>
                  <a:gd name="connsiteX68" fmla="*/ 35718 w 1114425"/>
                  <a:gd name="connsiteY68" fmla="*/ 769144 h 862012"/>
                  <a:gd name="connsiteX69" fmla="*/ 19050 w 1114425"/>
                  <a:gd name="connsiteY69" fmla="*/ 795337 h 862012"/>
                  <a:gd name="connsiteX70" fmla="*/ 0 w 1114425"/>
                  <a:gd name="connsiteY70" fmla="*/ 859631 h 862012"/>
                  <a:gd name="connsiteX71" fmla="*/ 19050 w 1114425"/>
                  <a:gd name="connsiteY71" fmla="*/ 862012 h 862012"/>
                  <a:gd name="connsiteX72" fmla="*/ 154781 w 1114425"/>
                  <a:gd name="connsiteY72" fmla="*/ 828675 h 862012"/>
                  <a:gd name="connsiteX73" fmla="*/ 171450 w 1114425"/>
                  <a:gd name="connsiteY73" fmla="*/ 757237 h 862012"/>
                  <a:gd name="connsiteX74" fmla="*/ 259556 w 1114425"/>
                  <a:gd name="connsiteY74" fmla="*/ 800100 h 862012"/>
                  <a:gd name="connsiteX75" fmla="*/ 297656 w 1114425"/>
                  <a:gd name="connsiteY75" fmla="*/ 700087 h 862012"/>
                  <a:gd name="connsiteX76" fmla="*/ 385762 w 1114425"/>
                  <a:gd name="connsiteY76" fmla="*/ 666750 h 862012"/>
                  <a:gd name="connsiteX77" fmla="*/ 435768 w 1114425"/>
                  <a:gd name="connsiteY77" fmla="*/ 681037 h 862012"/>
                  <a:gd name="connsiteX78" fmla="*/ 473868 w 1114425"/>
                  <a:gd name="connsiteY78" fmla="*/ 702469 h 862012"/>
                  <a:gd name="connsiteX79" fmla="*/ 500062 w 1114425"/>
                  <a:gd name="connsiteY79" fmla="*/ 707231 h 862012"/>
                  <a:gd name="connsiteX80" fmla="*/ 516731 w 1114425"/>
                  <a:gd name="connsiteY80" fmla="*/ 702469 h 862012"/>
                  <a:gd name="connsiteX81" fmla="*/ 545306 w 1114425"/>
                  <a:gd name="connsiteY81" fmla="*/ 671512 h 862012"/>
                  <a:gd name="connsiteX82" fmla="*/ 576262 w 1114425"/>
                  <a:gd name="connsiteY82" fmla="*/ 671512 h 862012"/>
                  <a:gd name="connsiteX83" fmla="*/ 631031 w 1114425"/>
                  <a:gd name="connsiteY83" fmla="*/ 650081 h 862012"/>
                  <a:gd name="connsiteX0" fmla="*/ 631031 w 1138238"/>
                  <a:gd name="connsiteY0" fmla="*/ 650081 h 862012"/>
                  <a:gd name="connsiteX1" fmla="*/ 678656 w 1138238"/>
                  <a:gd name="connsiteY1" fmla="*/ 585787 h 862012"/>
                  <a:gd name="connsiteX2" fmla="*/ 702468 w 1138238"/>
                  <a:gd name="connsiteY2" fmla="*/ 573881 h 862012"/>
                  <a:gd name="connsiteX3" fmla="*/ 733425 w 1138238"/>
                  <a:gd name="connsiteY3" fmla="*/ 573881 h 862012"/>
                  <a:gd name="connsiteX4" fmla="*/ 778668 w 1138238"/>
                  <a:gd name="connsiteY4" fmla="*/ 554831 h 862012"/>
                  <a:gd name="connsiteX5" fmla="*/ 833437 w 1138238"/>
                  <a:gd name="connsiteY5" fmla="*/ 528637 h 862012"/>
                  <a:gd name="connsiteX6" fmla="*/ 883443 w 1138238"/>
                  <a:gd name="connsiteY6" fmla="*/ 495300 h 862012"/>
                  <a:gd name="connsiteX7" fmla="*/ 900112 w 1138238"/>
                  <a:gd name="connsiteY7" fmla="*/ 490537 h 862012"/>
                  <a:gd name="connsiteX8" fmla="*/ 919162 w 1138238"/>
                  <a:gd name="connsiteY8" fmla="*/ 485775 h 862012"/>
                  <a:gd name="connsiteX9" fmla="*/ 916781 w 1138238"/>
                  <a:gd name="connsiteY9" fmla="*/ 447675 h 862012"/>
                  <a:gd name="connsiteX10" fmla="*/ 954881 w 1138238"/>
                  <a:gd name="connsiteY10" fmla="*/ 428625 h 862012"/>
                  <a:gd name="connsiteX11" fmla="*/ 985837 w 1138238"/>
                  <a:gd name="connsiteY11" fmla="*/ 407194 h 862012"/>
                  <a:gd name="connsiteX12" fmla="*/ 1000125 w 1138238"/>
                  <a:gd name="connsiteY12" fmla="*/ 347662 h 862012"/>
                  <a:gd name="connsiteX13" fmla="*/ 981075 w 1138238"/>
                  <a:gd name="connsiteY13" fmla="*/ 316706 h 862012"/>
                  <a:gd name="connsiteX14" fmla="*/ 997743 w 1138238"/>
                  <a:gd name="connsiteY14" fmla="*/ 271462 h 862012"/>
                  <a:gd name="connsiteX15" fmla="*/ 1033462 w 1138238"/>
                  <a:gd name="connsiteY15" fmla="*/ 233362 h 862012"/>
                  <a:gd name="connsiteX16" fmla="*/ 1097756 w 1138238"/>
                  <a:gd name="connsiteY16" fmla="*/ 209550 h 862012"/>
                  <a:gd name="connsiteX17" fmla="*/ 1138238 w 1138238"/>
                  <a:gd name="connsiteY17" fmla="*/ 185737 h 862012"/>
                  <a:gd name="connsiteX18" fmla="*/ 1100137 w 1138238"/>
                  <a:gd name="connsiteY18" fmla="*/ 161925 h 862012"/>
                  <a:gd name="connsiteX19" fmla="*/ 1052512 w 1138238"/>
                  <a:gd name="connsiteY19" fmla="*/ 107156 h 862012"/>
                  <a:gd name="connsiteX20" fmla="*/ 1009650 w 1138238"/>
                  <a:gd name="connsiteY20" fmla="*/ 73819 h 862012"/>
                  <a:gd name="connsiteX21" fmla="*/ 995362 w 1138238"/>
                  <a:gd name="connsiteY21" fmla="*/ 47625 h 862012"/>
                  <a:gd name="connsiteX22" fmla="*/ 983456 w 1138238"/>
                  <a:gd name="connsiteY22" fmla="*/ 64294 h 862012"/>
                  <a:gd name="connsiteX23" fmla="*/ 966787 w 1138238"/>
                  <a:gd name="connsiteY23" fmla="*/ 69056 h 862012"/>
                  <a:gd name="connsiteX24" fmla="*/ 935831 w 1138238"/>
                  <a:gd name="connsiteY24" fmla="*/ 59531 h 862012"/>
                  <a:gd name="connsiteX25" fmla="*/ 904875 w 1138238"/>
                  <a:gd name="connsiteY25" fmla="*/ 23812 h 862012"/>
                  <a:gd name="connsiteX26" fmla="*/ 888206 w 1138238"/>
                  <a:gd name="connsiteY26" fmla="*/ 0 h 862012"/>
                  <a:gd name="connsiteX27" fmla="*/ 869156 w 1138238"/>
                  <a:gd name="connsiteY27" fmla="*/ 28575 h 862012"/>
                  <a:gd name="connsiteX28" fmla="*/ 871537 w 1138238"/>
                  <a:gd name="connsiteY28" fmla="*/ 69056 h 862012"/>
                  <a:gd name="connsiteX29" fmla="*/ 847725 w 1138238"/>
                  <a:gd name="connsiteY29" fmla="*/ 100012 h 862012"/>
                  <a:gd name="connsiteX30" fmla="*/ 826293 w 1138238"/>
                  <a:gd name="connsiteY30" fmla="*/ 97631 h 862012"/>
                  <a:gd name="connsiteX31" fmla="*/ 800100 w 1138238"/>
                  <a:gd name="connsiteY31" fmla="*/ 71437 h 862012"/>
                  <a:gd name="connsiteX32" fmla="*/ 783431 w 1138238"/>
                  <a:gd name="connsiteY32" fmla="*/ 57150 h 862012"/>
                  <a:gd name="connsiteX33" fmla="*/ 764381 w 1138238"/>
                  <a:gd name="connsiteY33" fmla="*/ 61912 h 862012"/>
                  <a:gd name="connsiteX34" fmla="*/ 747712 w 1138238"/>
                  <a:gd name="connsiteY34" fmla="*/ 92869 h 862012"/>
                  <a:gd name="connsiteX35" fmla="*/ 742950 w 1138238"/>
                  <a:gd name="connsiteY35" fmla="*/ 107156 h 862012"/>
                  <a:gd name="connsiteX36" fmla="*/ 714375 w 1138238"/>
                  <a:gd name="connsiteY36" fmla="*/ 107156 h 862012"/>
                  <a:gd name="connsiteX37" fmla="*/ 700087 w 1138238"/>
                  <a:gd name="connsiteY37" fmla="*/ 95250 h 862012"/>
                  <a:gd name="connsiteX38" fmla="*/ 700087 w 1138238"/>
                  <a:gd name="connsiteY38" fmla="*/ 66675 h 862012"/>
                  <a:gd name="connsiteX39" fmla="*/ 704850 w 1138238"/>
                  <a:gd name="connsiteY39" fmla="*/ 38100 h 862012"/>
                  <a:gd name="connsiteX40" fmla="*/ 692943 w 1138238"/>
                  <a:gd name="connsiteY40" fmla="*/ 23812 h 862012"/>
                  <a:gd name="connsiteX41" fmla="*/ 669131 w 1138238"/>
                  <a:gd name="connsiteY41" fmla="*/ 26194 h 862012"/>
                  <a:gd name="connsiteX42" fmla="*/ 640556 w 1138238"/>
                  <a:gd name="connsiteY42" fmla="*/ 19050 h 862012"/>
                  <a:gd name="connsiteX43" fmla="*/ 604837 w 1138238"/>
                  <a:gd name="connsiteY43" fmla="*/ 4762 h 862012"/>
                  <a:gd name="connsiteX44" fmla="*/ 569118 w 1138238"/>
                  <a:gd name="connsiteY44" fmla="*/ 4762 h 862012"/>
                  <a:gd name="connsiteX45" fmla="*/ 557212 w 1138238"/>
                  <a:gd name="connsiteY45" fmla="*/ 11906 h 862012"/>
                  <a:gd name="connsiteX46" fmla="*/ 438150 w 1138238"/>
                  <a:gd name="connsiteY46" fmla="*/ 69056 h 862012"/>
                  <a:gd name="connsiteX47" fmla="*/ 421481 w 1138238"/>
                  <a:gd name="connsiteY47" fmla="*/ 169069 h 862012"/>
                  <a:gd name="connsiteX48" fmla="*/ 304800 w 1138238"/>
                  <a:gd name="connsiteY48" fmla="*/ 228600 h 862012"/>
                  <a:gd name="connsiteX49" fmla="*/ 276225 w 1138238"/>
                  <a:gd name="connsiteY49" fmla="*/ 290512 h 862012"/>
                  <a:gd name="connsiteX50" fmla="*/ 228600 w 1138238"/>
                  <a:gd name="connsiteY50" fmla="*/ 285750 h 862012"/>
                  <a:gd name="connsiteX51" fmla="*/ 211931 w 1138238"/>
                  <a:gd name="connsiteY51" fmla="*/ 357187 h 862012"/>
                  <a:gd name="connsiteX52" fmla="*/ 207168 w 1138238"/>
                  <a:gd name="connsiteY52" fmla="*/ 369094 h 862012"/>
                  <a:gd name="connsiteX53" fmla="*/ 223837 w 1138238"/>
                  <a:gd name="connsiteY53" fmla="*/ 404812 h 862012"/>
                  <a:gd name="connsiteX54" fmla="*/ 219075 w 1138238"/>
                  <a:gd name="connsiteY54" fmla="*/ 511969 h 862012"/>
                  <a:gd name="connsiteX55" fmla="*/ 195262 w 1138238"/>
                  <a:gd name="connsiteY55" fmla="*/ 521494 h 862012"/>
                  <a:gd name="connsiteX56" fmla="*/ 180975 w 1138238"/>
                  <a:gd name="connsiteY56" fmla="*/ 502444 h 862012"/>
                  <a:gd name="connsiteX57" fmla="*/ 161925 w 1138238"/>
                  <a:gd name="connsiteY57" fmla="*/ 457200 h 862012"/>
                  <a:gd name="connsiteX58" fmla="*/ 128587 w 1138238"/>
                  <a:gd name="connsiteY58" fmla="*/ 433387 h 862012"/>
                  <a:gd name="connsiteX59" fmla="*/ 116681 w 1138238"/>
                  <a:gd name="connsiteY59" fmla="*/ 409575 h 862012"/>
                  <a:gd name="connsiteX60" fmla="*/ 83343 w 1138238"/>
                  <a:gd name="connsiteY60" fmla="*/ 421481 h 862012"/>
                  <a:gd name="connsiteX61" fmla="*/ 78581 w 1138238"/>
                  <a:gd name="connsiteY61" fmla="*/ 466725 h 862012"/>
                  <a:gd name="connsiteX62" fmla="*/ 116681 w 1138238"/>
                  <a:gd name="connsiteY62" fmla="*/ 514350 h 862012"/>
                  <a:gd name="connsiteX63" fmla="*/ 123825 w 1138238"/>
                  <a:gd name="connsiteY63" fmla="*/ 583406 h 862012"/>
                  <a:gd name="connsiteX64" fmla="*/ 152400 w 1138238"/>
                  <a:gd name="connsiteY64" fmla="*/ 631031 h 862012"/>
                  <a:gd name="connsiteX65" fmla="*/ 142875 w 1138238"/>
                  <a:gd name="connsiteY65" fmla="*/ 657225 h 862012"/>
                  <a:gd name="connsiteX66" fmla="*/ 107156 w 1138238"/>
                  <a:gd name="connsiteY66" fmla="*/ 697706 h 862012"/>
                  <a:gd name="connsiteX67" fmla="*/ 42862 w 1138238"/>
                  <a:gd name="connsiteY67" fmla="*/ 735806 h 862012"/>
                  <a:gd name="connsiteX68" fmla="*/ 35718 w 1138238"/>
                  <a:gd name="connsiteY68" fmla="*/ 769144 h 862012"/>
                  <a:gd name="connsiteX69" fmla="*/ 19050 w 1138238"/>
                  <a:gd name="connsiteY69" fmla="*/ 795337 h 862012"/>
                  <a:gd name="connsiteX70" fmla="*/ 0 w 1138238"/>
                  <a:gd name="connsiteY70" fmla="*/ 859631 h 862012"/>
                  <a:gd name="connsiteX71" fmla="*/ 19050 w 1138238"/>
                  <a:gd name="connsiteY71" fmla="*/ 862012 h 862012"/>
                  <a:gd name="connsiteX72" fmla="*/ 154781 w 1138238"/>
                  <a:gd name="connsiteY72" fmla="*/ 828675 h 862012"/>
                  <a:gd name="connsiteX73" fmla="*/ 171450 w 1138238"/>
                  <a:gd name="connsiteY73" fmla="*/ 757237 h 862012"/>
                  <a:gd name="connsiteX74" fmla="*/ 259556 w 1138238"/>
                  <a:gd name="connsiteY74" fmla="*/ 800100 h 862012"/>
                  <a:gd name="connsiteX75" fmla="*/ 297656 w 1138238"/>
                  <a:gd name="connsiteY75" fmla="*/ 700087 h 862012"/>
                  <a:gd name="connsiteX76" fmla="*/ 385762 w 1138238"/>
                  <a:gd name="connsiteY76" fmla="*/ 666750 h 862012"/>
                  <a:gd name="connsiteX77" fmla="*/ 435768 w 1138238"/>
                  <a:gd name="connsiteY77" fmla="*/ 681037 h 862012"/>
                  <a:gd name="connsiteX78" fmla="*/ 473868 w 1138238"/>
                  <a:gd name="connsiteY78" fmla="*/ 702469 h 862012"/>
                  <a:gd name="connsiteX79" fmla="*/ 500062 w 1138238"/>
                  <a:gd name="connsiteY79" fmla="*/ 707231 h 862012"/>
                  <a:gd name="connsiteX80" fmla="*/ 516731 w 1138238"/>
                  <a:gd name="connsiteY80" fmla="*/ 702469 h 862012"/>
                  <a:gd name="connsiteX81" fmla="*/ 545306 w 1138238"/>
                  <a:gd name="connsiteY81" fmla="*/ 671512 h 862012"/>
                  <a:gd name="connsiteX82" fmla="*/ 576262 w 1138238"/>
                  <a:gd name="connsiteY82" fmla="*/ 671512 h 862012"/>
                  <a:gd name="connsiteX83" fmla="*/ 631031 w 1138238"/>
                  <a:gd name="connsiteY83" fmla="*/ 650081 h 862012"/>
                  <a:gd name="connsiteX0" fmla="*/ 631031 w 1138238"/>
                  <a:gd name="connsiteY0" fmla="*/ 650081 h 862012"/>
                  <a:gd name="connsiteX1" fmla="*/ 678656 w 1138238"/>
                  <a:gd name="connsiteY1" fmla="*/ 585787 h 862012"/>
                  <a:gd name="connsiteX2" fmla="*/ 702468 w 1138238"/>
                  <a:gd name="connsiteY2" fmla="*/ 573881 h 862012"/>
                  <a:gd name="connsiteX3" fmla="*/ 733425 w 1138238"/>
                  <a:gd name="connsiteY3" fmla="*/ 573881 h 862012"/>
                  <a:gd name="connsiteX4" fmla="*/ 778668 w 1138238"/>
                  <a:gd name="connsiteY4" fmla="*/ 554831 h 862012"/>
                  <a:gd name="connsiteX5" fmla="*/ 833437 w 1138238"/>
                  <a:gd name="connsiteY5" fmla="*/ 528637 h 862012"/>
                  <a:gd name="connsiteX6" fmla="*/ 883443 w 1138238"/>
                  <a:gd name="connsiteY6" fmla="*/ 495300 h 862012"/>
                  <a:gd name="connsiteX7" fmla="*/ 900112 w 1138238"/>
                  <a:gd name="connsiteY7" fmla="*/ 490537 h 862012"/>
                  <a:gd name="connsiteX8" fmla="*/ 919162 w 1138238"/>
                  <a:gd name="connsiteY8" fmla="*/ 485775 h 862012"/>
                  <a:gd name="connsiteX9" fmla="*/ 916781 w 1138238"/>
                  <a:gd name="connsiteY9" fmla="*/ 447675 h 862012"/>
                  <a:gd name="connsiteX10" fmla="*/ 954881 w 1138238"/>
                  <a:gd name="connsiteY10" fmla="*/ 428625 h 862012"/>
                  <a:gd name="connsiteX11" fmla="*/ 985837 w 1138238"/>
                  <a:gd name="connsiteY11" fmla="*/ 407194 h 862012"/>
                  <a:gd name="connsiteX12" fmla="*/ 1000125 w 1138238"/>
                  <a:gd name="connsiteY12" fmla="*/ 347662 h 862012"/>
                  <a:gd name="connsiteX13" fmla="*/ 981075 w 1138238"/>
                  <a:gd name="connsiteY13" fmla="*/ 316706 h 862012"/>
                  <a:gd name="connsiteX14" fmla="*/ 997743 w 1138238"/>
                  <a:gd name="connsiteY14" fmla="*/ 271462 h 862012"/>
                  <a:gd name="connsiteX15" fmla="*/ 1033462 w 1138238"/>
                  <a:gd name="connsiteY15" fmla="*/ 233362 h 862012"/>
                  <a:gd name="connsiteX16" fmla="*/ 1097756 w 1138238"/>
                  <a:gd name="connsiteY16" fmla="*/ 209550 h 862012"/>
                  <a:gd name="connsiteX17" fmla="*/ 1138238 w 1138238"/>
                  <a:gd name="connsiteY17" fmla="*/ 185737 h 862012"/>
                  <a:gd name="connsiteX18" fmla="*/ 1107281 w 1138238"/>
                  <a:gd name="connsiteY18" fmla="*/ 154781 h 862012"/>
                  <a:gd name="connsiteX19" fmla="*/ 1052512 w 1138238"/>
                  <a:gd name="connsiteY19" fmla="*/ 107156 h 862012"/>
                  <a:gd name="connsiteX20" fmla="*/ 1009650 w 1138238"/>
                  <a:gd name="connsiteY20" fmla="*/ 73819 h 862012"/>
                  <a:gd name="connsiteX21" fmla="*/ 995362 w 1138238"/>
                  <a:gd name="connsiteY21" fmla="*/ 47625 h 862012"/>
                  <a:gd name="connsiteX22" fmla="*/ 983456 w 1138238"/>
                  <a:gd name="connsiteY22" fmla="*/ 64294 h 862012"/>
                  <a:gd name="connsiteX23" fmla="*/ 966787 w 1138238"/>
                  <a:gd name="connsiteY23" fmla="*/ 69056 h 862012"/>
                  <a:gd name="connsiteX24" fmla="*/ 935831 w 1138238"/>
                  <a:gd name="connsiteY24" fmla="*/ 59531 h 862012"/>
                  <a:gd name="connsiteX25" fmla="*/ 904875 w 1138238"/>
                  <a:gd name="connsiteY25" fmla="*/ 23812 h 862012"/>
                  <a:gd name="connsiteX26" fmla="*/ 888206 w 1138238"/>
                  <a:gd name="connsiteY26" fmla="*/ 0 h 862012"/>
                  <a:gd name="connsiteX27" fmla="*/ 869156 w 1138238"/>
                  <a:gd name="connsiteY27" fmla="*/ 28575 h 862012"/>
                  <a:gd name="connsiteX28" fmla="*/ 871537 w 1138238"/>
                  <a:gd name="connsiteY28" fmla="*/ 69056 h 862012"/>
                  <a:gd name="connsiteX29" fmla="*/ 847725 w 1138238"/>
                  <a:gd name="connsiteY29" fmla="*/ 100012 h 862012"/>
                  <a:gd name="connsiteX30" fmla="*/ 826293 w 1138238"/>
                  <a:gd name="connsiteY30" fmla="*/ 97631 h 862012"/>
                  <a:gd name="connsiteX31" fmla="*/ 800100 w 1138238"/>
                  <a:gd name="connsiteY31" fmla="*/ 71437 h 862012"/>
                  <a:gd name="connsiteX32" fmla="*/ 783431 w 1138238"/>
                  <a:gd name="connsiteY32" fmla="*/ 57150 h 862012"/>
                  <a:gd name="connsiteX33" fmla="*/ 764381 w 1138238"/>
                  <a:gd name="connsiteY33" fmla="*/ 61912 h 862012"/>
                  <a:gd name="connsiteX34" fmla="*/ 747712 w 1138238"/>
                  <a:gd name="connsiteY34" fmla="*/ 92869 h 862012"/>
                  <a:gd name="connsiteX35" fmla="*/ 742950 w 1138238"/>
                  <a:gd name="connsiteY35" fmla="*/ 107156 h 862012"/>
                  <a:gd name="connsiteX36" fmla="*/ 714375 w 1138238"/>
                  <a:gd name="connsiteY36" fmla="*/ 107156 h 862012"/>
                  <a:gd name="connsiteX37" fmla="*/ 700087 w 1138238"/>
                  <a:gd name="connsiteY37" fmla="*/ 95250 h 862012"/>
                  <a:gd name="connsiteX38" fmla="*/ 700087 w 1138238"/>
                  <a:gd name="connsiteY38" fmla="*/ 66675 h 862012"/>
                  <a:gd name="connsiteX39" fmla="*/ 704850 w 1138238"/>
                  <a:gd name="connsiteY39" fmla="*/ 38100 h 862012"/>
                  <a:gd name="connsiteX40" fmla="*/ 692943 w 1138238"/>
                  <a:gd name="connsiteY40" fmla="*/ 23812 h 862012"/>
                  <a:gd name="connsiteX41" fmla="*/ 669131 w 1138238"/>
                  <a:gd name="connsiteY41" fmla="*/ 26194 h 862012"/>
                  <a:gd name="connsiteX42" fmla="*/ 640556 w 1138238"/>
                  <a:gd name="connsiteY42" fmla="*/ 19050 h 862012"/>
                  <a:gd name="connsiteX43" fmla="*/ 604837 w 1138238"/>
                  <a:gd name="connsiteY43" fmla="*/ 4762 h 862012"/>
                  <a:gd name="connsiteX44" fmla="*/ 569118 w 1138238"/>
                  <a:gd name="connsiteY44" fmla="*/ 4762 h 862012"/>
                  <a:gd name="connsiteX45" fmla="*/ 557212 w 1138238"/>
                  <a:gd name="connsiteY45" fmla="*/ 11906 h 862012"/>
                  <a:gd name="connsiteX46" fmla="*/ 438150 w 1138238"/>
                  <a:gd name="connsiteY46" fmla="*/ 69056 h 862012"/>
                  <a:gd name="connsiteX47" fmla="*/ 421481 w 1138238"/>
                  <a:gd name="connsiteY47" fmla="*/ 169069 h 862012"/>
                  <a:gd name="connsiteX48" fmla="*/ 304800 w 1138238"/>
                  <a:gd name="connsiteY48" fmla="*/ 228600 h 862012"/>
                  <a:gd name="connsiteX49" fmla="*/ 276225 w 1138238"/>
                  <a:gd name="connsiteY49" fmla="*/ 290512 h 862012"/>
                  <a:gd name="connsiteX50" fmla="*/ 228600 w 1138238"/>
                  <a:gd name="connsiteY50" fmla="*/ 285750 h 862012"/>
                  <a:gd name="connsiteX51" fmla="*/ 211931 w 1138238"/>
                  <a:gd name="connsiteY51" fmla="*/ 357187 h 862012"/>
                  <a:gd name="connsiteX52" fmla="*/ 207168 w 1138238"/>
                  <a:gd name="connsiteY52" fmla="*/ 369094 h 862012"/>
                  <a:gd name="connsiteX53" fmla="*/ 223837 w 1138238"/>
                  <a:gd name="connsiteY53" fmla="*/ 404812 h 862012"/>
                  <a:gd name="connsiteX54" fmla="*/ 219075 w 1138238"/>
                  <a:gd name="connsiteY54" fmla="*/ 511969 h 862012"/>
                  <a:gd name="connsiteX55" fmla="*/ 195262 w 1138238"/>
                  <a:gd name="connsiteY55" fmla="*/ 521494 h 862012"/>
                  <a:gd name="connsiteX56" fmla="*/ 180975 w 1138238"/>
                  <a:gd name="connsiteY56" fmla="*/ 502444 h 862012"/>
                  <a:gd name="connsiteX57" fmla="*/ 161925 w 1138238"/>
                  <a:gd name="connsiteY57" fmla="*/ 457200 h 862012"/>
                  <a:gd name="connsiteX58" fmla="*/ 128587 w 1138238"/>
                  <a:gd name="connsiteY58" fmla="*/ 433387 h 862012"/>
                  <a:gd name="connsiteX59" fmla="*/ 116681 w 1138238"/>
                  <a:gd name="connsiteY59" fmla="*/ 409575 h 862012"/>
                  <a:gd name="connsiteX60" fmla="*/ 83343 w 1138238"/>
                  <a:gd name="connsiteY60" fmla="*/ 421481 h 862012"/>
                  <a:gd name="connsiteX61" fmla="*/ 78581 w 1138238"/>
                  <a:gd name="connsiteY61" fmla="*/ 466725 h 862012"/>
                  <a:gd name="connsiteX62" fmla="*/ 116681 w 1138238"/>
                  <a:gd name="connsiteY62" fmla="*/ 514350 h 862012"/>
                  <a:gd name="connsiteX63" fmla="*/ 123825 w 1138238"/>
                  <a:gd name="connsiteY63" fmla="*/ 583406 h 862012"/>
                  <a:gd name="connsiteX64" fmla="*/ 152400 w 1138238"/>
                  <a:gd name="connsiteY64" fmla="*/ 631031 h 862012"/>
                  <a:gd name="connsiteX65" fmla="*/ 142875 w 1138238"/>
                  <a:gd name="connsiteY65" fmla="*/ 657225 h 862012"/>
                  <a:gd name="connsiteX66" fmla="*/ 107156 w 1138238"/>
                  <a:gd name="connsiteY66" fmla="*/ 697706 h 862012"/>
                  <a:gd name="connsiteX67" fmla="*/ 42862 w 1138238"/>
                  <a:gd name="connsiteY67" fmla="*/ 735806 h 862012"/>
                  <a:gd name="connsiteX68" fmla="*/ 35718 w 1138238"/>
                  <a:gd name="connsiteY68" fmla="*/ 769144 h 862012"/>
                  <a:gd name="connsiteX69" fmla="*/ 19050 w 1138238"/>
                  <a:gd name="connsiteY69" fmla="*/ 795337 h 862012"/>
                  <a:gd name="connsiteX70" fmla="*/ 0 w 1138238"/>
                  <a:gd name="connsiteY70" fmla="*/ 859631 h 862012"/>
                  <a:gd name="connsiteX71" fmla="*/ 19050 w 1138238"/>
                  <a:gd name="connsiteY71" fmla="*/ 862012 h 862012"/>
                  <a:gd name="connsiteX72" fmla="*/ 154781 w 1138238"/>
                  <a:gd name="connsiteY72" fmla="*/ 828675 h 862012"/>
                  <a:gd name="connsiteX73" fmla="*/ 171450 w 1138238"/>
                  <a:gd name="connsiteY73" fmla="*/ 757237 h 862012"/>
                  <a:gd name="connsiteX74" fmla="*/ 259556 w 1138238"/>
                  <a:gd name="connsiteY74" fmla="*/ 800100 h 862012"/>
                  <a:gd name="connsiteX75" fmla="*/ 297656 w 1138238"/>
                  <a:gd name="connsiteY75" fmla="*/ 700087 h 862012"/>
                  <a:gd name="connsiteX76" fmla="*/ 385762 w 1138238"/>
                  <a:gd name="connsiteY76" fmla="*/ 666750 h 862012"/>
                  <a:gd name="connsiteX77" fmla="*/ 435768 w 1138238"/>
                  <a:gd name="connsiteY77" fmla="*/ 681037 h 862012"/>
                  <a:gd name="connsiteX78" fmla="*/ 473868 w 1138238"/>
                  <a:gd name="connsiteY78" fmla="*/ 702469 h 862012"/>
                  <a:gd name="connsiteX79" fmla="*/ 500062 w 1138238"/>
                  <a:gd name="connsiteY79" fmla="*/ 707231 h 862012"/>
                  <a:gd name="connsiteX80" fmla="*/ 516731 w 1138238"/>
                  <a:gd name="connsiteY80" fmla="*/ 702469 h 862012"/>
                  <a:gd name="connsiteX81" fmla="*/ 545306 w 1138238"/>
                  <a:gd name="connsiteY81" fmla="*/ 671512 h 862012"/>
                  <a:gd name="connsiteX82" fmla="*/ 576262 w 1138238"/>
                  <a:gd name="connsiteY82" fmla="*/ 671512 h 862012"/>
                  <a:gd name="connsiteX83" fmla="*/ 631031 w 1138238"/>
                  <a:gd name="connsiteY83" fmla="*/ 650081 h 862012"/>
                  <a:gd name="connsiteX0" fmla="*/ 631031 w 1138238"/>
                  <a:gd name="connsiteY0" fmla="*/ 650081 h 862012"/>
                  <a:gd name="connsiteX1" fmla="*/ 678656 w 1138238"/>
                  <a:gd name="connsiteY1" fmla="*/ 585787 h 862012"/>
                  <a:gd name="connsiteX2" fmla="*/ 702468 w 1138238"/>
                  <a:gd name="connsiteY2" fmla="*/ 573881 h 862012"/>
                  <a:gd name="connsiteX3" fmla="*/ 733425 w 1138238"/>
                  <a:gd name="connsiteY3" fmla="*/ 573881 h 862012"/>
                  <a:gd name="connsiteX4" fmla="*/ 778668 w 1138238"/>
                  <a:gd name="connsiteY4" fmla="*/ 554831 h 862012"/>
                  <a:gd name="connsiteX5" fmla="*/ 833437 w 1138238"/>
                  <a:gd name="connsiteY5" fmla="*/ 528637 h 862012"/>
                  <a:gd name="connsiteX6" fmla="*/ 883443 w 1138238"/>
                  <a:gd name="connsiteY6" fmla="*/ 495300 h 862012"/>
                  <a:gd name="connsiteX7" fmla="*/ 900112 w 1138238"/>
                  <a:gd name="connsiteY7" fmla="*/ 490537 h 862012"/>
                  <a:gd name="connsiteX8" fmla="*/ 919162 w 1138238"/>
                  <a:gd name="connsiteY8" fmla="*/ 485775 h 862012"/>
                  <a:gd name="connsiteX9" fmla="*/ 916781 w 1138238"/>
                  <a:gd name="connsiteY9" fmla="*/ 447675 h 862012"/>
                  <a:gd name="connsiteX10" fmla="*/ 954881 w 1138238"/>
                  <a:gd name="connsiteY10" fmla="*/ 428625 h 862012"/>
                  <a:gd name="connsiteX11" fmla="*/ 985837 w 1138238"/>
                  <a:gd name="connsiteY11" fmla="*/ 407194 h 862012"/>
                  <a:gd name="connsiteX12" fmla="*/ 1000125 w 1138238"/>
                  <a:gd name="connsiteY12" fmla="*/ 347662 h 862012"/>
                  <a:gd name="connsiteX13" fmla="*/ 981075 w 1138238"/>
                  <a:gd name="connsiteY13" fmla="*/ 316706 h 862012"/>
                  <a:gd name="connsiteX14" fmla="*/ 997743 w 1138238"/>
                  <a:gd name="connsiteY14" fmla="*/ 271462 h 862012"/>
                  <a:gd name="connsiteX15" fmla="*/ 1033462 w 1138238"/>
                  <a:gd name="connsiteY15" fmla="*/ 233362 h 862012"/>
                  <a:gd name="connsiteX16" fmla="*/ 1097756 w 1138238"/>
                  <a:gd name="connsiteY16" fmla="*/ 209550 h 862012"/>
                  <a:gd name="connsiteX17" fmla="*/ 1138238 w 1138238"/>
                  <a:gd name="connsiteY17" fmla="*/ 185737 h 862012"/>
                  <a:gd name="connsiteX18" fmla="*/ 1107281 w 1138238"/>
                  <a:gd name="connsiteY18" fmla="*/ 154781 h 862012"/>
                  <a:gd name="connsiteX19" fmla="*/ 1052512 w 1138238"/>
                  <a:gd name="connsiteY19" fmla="*/ 97631 h 862012"/>
                  <a:gd name="connsiteX20" fmla="*/ 1009650 w 1138238"/>
                  <a:gd name="connsiteY20" fmla="*/ 73819 h 862012"/>
                  <a:gd name="connsiteX21" fmla="*/ 995362 w 1138238"/>
                  <a:gd name="connsiteY21" fmla="*/ 47625 h 862012"/>
                  <a:gd name="connsiteX22" fmla="*/ 983456 w 1138238"/>
                  <a:gd name="connsiteY22" fmla="*/ 64294 h 862012"/>
                  <a:gd name="connsiteX23" fmla="*/ 966787 w 1138238"/>
                  <a:gd name="connsiteY23" fmla="*/ 69056 h 862012"/>
                  <a:gd name="connsiteX24" fmla="*/ 935831 w 1138238"/>
                  <a:gd name="connsiteY24" fmla="*/ 59531 h 862012"/>
                  <a:gd name="connsiteX25" fmla="*/ 904875 w 1138238"/>
                  <a:gd name="connsiteY25" fmla="*/ 23812 h 862012"/>
                  <a:gd name="connsiteX26" fmla="*/ 888206 w 1138238"/>
                  <a:gd name="connsiteY26" fmla="*/ 0 h 862012"/>
                  <a:gd name="connsiteX27" fmla="*/ 869156 w 1138238"/>
                  <a:gd name="connsiteY27" fmla="*/ 28575 h 862012"/>
                  <a:gd name="connsiteX28" fmla="*/ 871537 w 1138238"/>
                  <a:gd name="connsiteY28" fmla="*/ 69056 h 862012"/>
                  <a:gd name="connsiteX29" fmla="*/ 847725 w 1138238"/>
                  <a:gd name="connsiteY29" fmla="*/ 100012 h 862012"/>
                  <a:gd name="connsiteX30" fmla="*/ 826293 w 1138238"/>
                  <a:gd name="connsiteY30" fmla="*/ 97631 h 862012"/>
                  <a:gd name="connsiteX31" fmla="*/ 800100 w 1138238"/>
                  <a:gd name="connsiteY31" fmla="*/ 71437 h 862012"/>
                  <a:gd name="connsiteX32" fmla="*/ 783431 w 1138238"/>
                  <a:gd name="connsiteY32" fmla="*/ 57150 h 862012"/>
                  <a:gd name="connsiteX33" fmla="*/ 764381 w 1138238"/>
                  <a:gd name="connsiteY33" fmla="*/ 61912 h 862012"/>
                  <a:gd name="connsiteX34" fmla="*/ 747712 w 1138238"/>
                  <a:gd name="connsiteY34" fmla="*/ 92869 h 862012"/>
                  <a:gd name="connsiteX35" fmla="*/ 742950 w 1138238"/>
                  <a:gd name="connsiteY35" fmla="*/ 107156 h 862012"/>
                  <a:gd name="connsiteX36" fmla="*/ 714375 w 1138238"/>
                  <a:gd name="connsiteY36" fmla="*/ 107156 h 862012"/>
                  <a:gd name="connsiteX37" fmla="*/ 700087 w 1138238"/>
                  <a:gd name="connsiteY37" fmla="*/ 95250 h 862012"/>
                  <a:gd name="connsiteX38" fmla="*/ 700087 w 1138238"/>
                  <a:gd name="connsiteY38" fmla="*/ 66675 h 862012"/>
                  <a:gd name="connsiteX39" fmla="*/ 704850 w 1138238"/>
                  <a:gd name="connsiteY39" fmla="*/ 38100 h 862012"/>
                  <a:gd name="connsiteX40" fmla="*/ 692943 w 1138238"/>
                  <a:gd name="connsiteY40" fmla="*/ 23812 h 862012"/>
                  <a:gd name="connsiteX41" fmla="*/ 669131 w 1138238"/>
                  <a:gd name="connsiteY41" fmla="*/ 26194 h 862012"/>
                  <a:gd name="connsiteX42" fmla="*/ 640556 w 1138238"/>
                  <a:gd name="connsiteY42" fmla="*/ 19050 h 862012"/>
                  <a:gd name="connsiteX43" fmla="*/ 604837 w 1138238"/>
                  <a:gd name="connsiteY43" fmla="*/ 4762 h 862012"/>
                  <a:gd name="connsiteX44" fmla="*/ 569118 w 1138238"/>
                  <a:gd name="connsiteY44" fmla="*/ 4762 h 862012"/>
                  <a:gd name="connsiteX45" fmla="*/ 557212 w 1138238"/>
                  <a:gd name="connsiteY45" fmla="*/ 11906 h 862012"/>
                  <a:gd name="connsiteX46" fmla="*/ 438150 w 1138238"/>
                  <a:gd name="connsiteY46" fmla="*/ 69056 h 862012"/>
                  <a:gd name="connsiteX47" fmla="*/ 421481 w 1138238"/>
                  <a:gd name="connsiteY47" fmla="*/ 169069 h 862012"/>
                  <a:gd name="connsiteX48" fmla="*/ 304800 w 1138238"/>
                  <a:gd name="connsiteY48" fmla="*/ 228600 h 862012"/>
                  <a:gd name="connsiteX49" fmla="*/ 276225 w 1138238"/>
                  <a:gd name="connsiteY49" fmla="*/ 290512 h 862012"/>
                  <a:gd name="connsiteX50" fmla="*/ 228600 w 1138238"/>
                  <a:gd name="connsiteY50" fmla="*/ 285750 h 862012"/>
                  <a:gd name="connsiteX51" fmla="*/ 211931 w 1138238"/>
                  <a:gd name="connsiteY51" fmla="*/ 357187 h 862012"/>
                  <a:gd name="connsiteX52" fmla="*/ 207168 w 1138238"/>
                  <a:gd name="connsiteY52" fmla="*/ 369094 h 862012"/>
                  <a:gd name="connsiteX53" fmla="*/ 223837 w 1138238"/>
                  <a:gd name="connsiteY53" fmla="*/ 404812 h 862012"/>
                  <a:gd name="connsiteX54" fmla="*/ 219075 w 1138238"/>
                  <a:gd name="connsiteY54" fmla="*/ 511969 h 862012"/>
                  <a:gd name="connsiteX55" fmla="*/ 195262 w 1138238"/>
                  <a:gd name="connsiteY55" fmla="*/ 521494 h 862012"/>
                  <a:gd name="connsiteX56" fmla="*/ 180975 w 1138238"/>
                  <a:gd name="connsiteY56" fmla="*/ 502444 h 862012"/>
                  <a:gd name="connsiteX57" fmla="*/ 161925 w 1138238"/>
                  <a:gd name="connsiteY57" fmla="*/ 457200 h 862012"/>
                  <a:gd name="connsiteX58" fmla="*/ 128587 w 1138238"/>
                  <a:gd name="connsiteY58" fmla="*/ 433387 h 862012"/>
                  <a:gd name="connsiteX59" fmla="*/ 116681 w 1138238"/>
                  <a:gd name="connsiteY59" fmla="*/ 409575 h 862012"/>
                  <a:gd name="connsiteX60" fmla="*/ 83343 w 1138238"/>
                  <a:gd name="connsiteY60" fmla="*/ 421481 h 862012"/>
                  <a:gd name="connsiteX61" fmla="*/ 78581 w 1138238"/>
                  <a:gd name="connsiteY61" fmla="*/ 466725 h 862012"/>
                  <a:gd name="connsiteX62" fmla="*/ 116681 w 1138238"/>
                  <a:gd name="connsiteY62" fmla="*/ 514350 h 862012"/>
                  <a:gd name="connsiteX63" fmla="*/ 123825 w 1138238"/>
                  <a:gd name="connsiteY63" fmla="*/ 583406 h 862012"/>
                  <a:gd name="connsiteX64" fmla="*/ 152400 w 1138238"/>
                  <a:gd name="connsiteY64" fmla="*/ 631031 h 862012"/>
                  <a:gd name="connsiteX65" fmla="*/ 142875 w 1138238"/>
                  <a:gd name="connsiteY65" fmla="*/ 657225 h 862012"/>
                  <a:gd name="connsiteX66" fmla="*/ 107156 w 1138238"/>
                  <a:gd name="connsiteY66" fmla="*/ 697706 h 862012"/>
                  <a:gd name="connsiteX67" fmla="*/ 42862 w 1138238"/>
                  <a:gd name="connsiteY67" fmla="*/ 735806 h 862012"/>
                  <a:gd name="connsiteX68" fmla="*/ 35718 w 1138238"/>
                  <a:gd name="connsiteY68" fmla="*/ 769144 h 862012"/>
                  <a:gd name="connsiteX69" fmla="*/ 19050 w 1138238"/>
                  <a:gd name="connsiteY69" fmla="*/ 795337 h 862012"/>
                  <a:gd name="connsiteX70" fmla="*/ 0 w 1138238"/>
                  <a:gd name="connsiteY70" fmla="*/ 859631 h 862012"/>
                  <a:gd name="connsiteX71" fmla="*/ 19050 w 1138238"/>
                  <a:gd name="connsiteY71" fmla="*/ 862012 h 862012"/>
                  <a:gd name="connsiteX72" fmla="*/ 154781 w 1138238"/>
                  <a:gd name="connsiteY72" fmla="*/ 828675 h 862012"/>
                  <a:gd name="connsiteX73" fmla="*/ 171450 w 1138238"/>
                  <a:gd name="connsiteY73" fmla="*/ 757237 h 862012"/>
                  <a:gd name="connsiteX74" fmla="*/ 259556 w 1138238"/>
                  <a:gd name="connsiteY74" fmla="*/ 800100 h 862012"/>
                  <a:gd name="connsiteX75" fmla="*/ 297656 w 1138238"/>
                  <a:gd name="connsiteY75" fmla="*/ 700087 h 862012"/>
                  <a:gd name="connsiteX76" fmla="*/ 385762 w 1138238"/>
                  <a:gd name="connsiteY76" fmla="*/ 666750 h 862012"/>
                  <a:gd name="connsiteX77" fmla="*/ 435768 w 1138238"/>
                  <a:gd name="connsiteY77" fmla="*/ 681037 h 862012"/>
                  <a:gd name="connsiteX78" fmla="*/ 473868 w 1138238"/>
                  <a:gd name="connsiteY78" fmla="*/ 702469 h 862012"/>
                  <a:gd name="connsiteX79" fmla="*/ 500062 w 1138238"/>
                  <a:gd name="connsiteY79" fmla="*/ 707231 h 862012"/>
                  <a:gd name="connsiteX80" fmla="*/ 516731 w 1138238"/>
                  <a:gd name="connsiteY80" fmla="*/ 702469 h 862012"/>
                  <a:gd name="connsiteX81" fmla="*/ 545306 w 1138238"/>
                  <a:gd name="connsiteY81" fmla="*/ 671512 h 862012"/>
                  <a:gd name="connsiteX82" fmla="*/ 576262 w 1138238"/>
                  <a:gd name="connsiteY82" fmla="*/ 671512 h 862012"/>
                  <a:gd name="connsiteX83" fmla="*/ 631031 w 1138238"/>
                  <a:gd name="connsiteY83" fmla="*/ 650081 h 86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138238" h="862012">
                    <a:moveTo>
                      <a:pt x="631031" y="650081"/>
                    </a:moveTo>
                    <a:lnTo>
                      <a:pt x="678656" y="585787"/>
                    </a:lnTo>
                    <a:lnTo>
                      <a:pt x="702468" y="573881"/>
                    </a:lnTo>
                    <a:lnTo>
                      <a:pt x="733425" y="573881"/>
                    </a:lnTo>
                    <a:lnTo>
                      <a:pt x="778668" y="554831"/>
                    </a:lnTo>
                    <a:lnTo>
                      <a:pt x="833437" y="528637"/>
                    </a:lnTo>
                    <a:lnTo>
                      <a:pt x="883443" y="495300"/>
                    </a:lnTo>
                    <a:lnTo>
                      <a:pt x="900112" y="490537"/>
                    </a:lnTo>
                    <a:lnTo>
                      <a:pt x="919162" y="485775"/>
                    </a:lnTo>
                    <a:lnTo>
                      <a:pt x="916781" y="447675"/>
                    </a:lnTo>
                    <a:lnTo>
                      <a:pt x="954881" y="428625"/>
                    </a:lnTo>
                    <a:lnTo>
                      <a:pt x="985837" y="407194"/>
                    </a:lnTo>
                    <a:lnTo>
                      <a:pt x="1000125" y="347662"/>
                    </a:lnTo>
                    <a:lnTo>
                      <a:pt x="981075" y="316706"/>
                    </a:lnTo>
                    <a:lnTo>
                      <a:pt x="997743" y="271462"/>
                    </a:lnTo>
                    <a:lnTo>
                      <a:pt x="1033462" y="233362"/>
                    </a:lnTo>
                    <a:lnTo>
                      <a:pt x="1097756" y="209550"/>
                    </a:lnTo>
                    <a:lnTo>
                      <a:pt x="1138238" y="185737"/>
                    </a:lnTo>
                    <a:lnTo>
                      <a:pt x="1107281" y="154781"/>
                    </a:lnTo>
                    <a:lnTo>
                      <a:pt x="1052512" y="97631"/>
                    </a:lnTo>
                    <a:lnTo>
                      <a:pt x="1009650" y="73819"/>
                    </a:lnTo>
                    <a:lnTo>
                      <a:pt x="995362" y="47625"/>
                    </a:lnTo>
                    <a:lnTo>
                      <a:pt x="983456" y="64294"/>
                    </a:lnTo>
                    <a:lnTo>
                      <a:pt x="966787" y="69056"/>
                    </a:lnTo>
                    <a:lnTo>
                      <a:pt x="935831" y="59531"/>
                    </a:lnTo>
                    <a:lnTo>
                      <a:pt x="904875" y="23812"/>
                    </a:lnTo>
                    <a:lnTo>
                      <a:pt x="888206" y="0"/>
                    </a:lnTo>
                    <a:lnTo>
                      <a:pt x="869156" y="28575"/>
                    </a:lnTo>
                    <a:lnTo>
                      <a:pt x="871537" y="69056"/>
                    </a:lnTo>
                    <a:lnTo>
                      <a:pt x="847725" y="100012"/>
                    </a:lnTo>
                    <a:lnTo>
                      <a:pt x="826293" y="97631"/>
                    </a:lnTo>
                    <a:lnTo>
                      <a:pt x="800100" y="71437"/>
                    </a:lnTo>
                    <a:lnTo>
                      <a:pt x="783431" y="57150"/>
                    </a:lnTo>
                    <a:lnTo>
                      <a:pt x="764381" y="61912"/>
                    </a:lnTo>
                    <a:lnTo>
                      <a:pt x="747712" y="92869"/>
                    </a:lnTo>
                    <a:lnTo>
                      <a:pt x="742950" y="107156"/>
                    </a:lnTo>
                    <a:lnTo>
                      <a:pt x="714375" y="107156"/>
                    </a:lnTo>
                    <a:lnTo>
                      <a:pt x="700087" y="95250"/>
                    </a:lnTo>
                    <a:lnTo>
                      <a:pt x="700087" y="66675"/>
                    </a:lnTo>
                    <a:lnTo>
                      <a:pt x="704850" y="38100"/>
                    </a:lnTo>
                    <a:lnTo>
                      <a:pt x="692943" y="23812"/>
                    </a:lnTo>
                    <a:lnTo>
                      <a:pt x="669131" y="26194"/>
                    </a:lnTo>
                    <a:lnTo>
                      <a:pt x="640556" y="19050"/>
                    </a:lnTo>
                    <a:lnTo>
                      <a:pt x="604837" y="4762"/>
                    </a:lnTo>
                    <a:lnTo>
                      <a:pt x="569118" y="4762"/>
                    </a:lnTo>
                    <a:lnTo>
                      <a:pt x="557212" y="11906"/>
                    </a:lnTo>
                    <a:lnTo>
                      <a:pt x="438150" y="69056"/>
                    </a:lnTo>
                    <a:lnTo>
                      <a:pt x="421481" y="169069"/>
                    </a:lnTo>
                    <a:lnTo>
                      <a:pt x="304800" y="228600"/>
                    </a:lnTo>
                    <a:lnTo>
                      <a:pt x="276225" y="290512"/>
                    </a:lnTo>
                    <a:lnTo>
                      <a:pt x="228600" y="285750"/>
                    </a:lnTo>
                    <a:lnTo>
                      <a:pt x="211931" y="357187"/>
                    </a:lnTo>
                    <a:lnTo>
                      <a:pt x="207168" y="369094"/>
                    </a:lnTo>
                    <a:lnTo>
                      <a:pt x="223837" y="404812"/>
                    </a:lnTo>
                    <a:lnTo>
                      <a:pt x="219075" y="511969"/>
                    </a:lnTo>
                    <a:lnTo>
                      <a:pt x="195262" y="521494"/>
                    </a:lnTo>
                    <a:lnTo>
                      <a:pt x="180975" y="502444"/>
                    </a:lnTo>
                    <a:lnTo>
                      <a:pt x="161925" y="457200"/>
                    </a:lnTo>
                    <a:lnTo>
                      <a:pt x="128587" y="433387"/>
                    </a:lnTo>
                    <a:lnTo>
                      <a:pt x="116681" y="409575"/>
                    </a:lnTo>
                    <a:lnTo>
                      <a:pt x="83343" y="421481"/>
                    </a:lnTo>
                    <a:lnTo>
                      <a:pt x="78581" y="466725"/>
                    </a:lnTo>
                    <a:lnTo>
                      <a:pt x="116681" y="514350"/>
                    </a:lnTo>
                    <a:lnTo>
                      <a:pt x="123825" y="583406"/>
                    </a:lnTo>
                    <a:lnTo>
                      <a:pt x="152400" y="631031"/>
                    </a:lnTo>
                    <a:lnTo>
                      <a:pt x="142875" y="657225"/>
                    </a:lnTo>
                    <a:lnTo>
                      <a:pt x="107156" y="697706"/>
                    </a:lnTo>
                    <a:lnTo>
                      <a:pt x="42862" y="735806"/>
                    </a:lnTo>
                    <a:lnTo>
                      <a:pt x="35718" y="769144"/>
                    </a:lnTo>
                    <a:lnTo>
                      <a:pt x="19050" y="795337"/>
                    </a:lnTo>
                    <a:lnTo>
                      <a:pt x="0" y="859631"/>
                    </a:lnTo>
                    <a:lnTo>
                      <a:pt x="19050" y="862012"/>
                    </a:lnTo>
                    <a:lnTo>
                      <a:pt x="154781" y="828675"/>
                    </a:lnTo>
                    <a:lnTo>
                      <a:pt x="171450" y="757237"/>
                    </a:lnTo>
                    <a:lnTo>
                      <a:pt x="259556" y="800100"/>
                    </a:lnTo>
                    <a:lnTo>
                      <a:pt x="297656" y="700087"/>
                    </a:lnTo>
                    <a:lnTo>
                      <a:pt x="385762" y="666750"/>
                    </a:lnTo>
                    <a:lnTo>
                      <a:pt x="435768" y="681037"/>
                    </a:lnTo>
                    <a:lnTo>
                      <a:pt x="473868" y="702469"/>
                    </a:lnTo>
                    <a:lnTo>
                      <a:pt x="500062" y="707231"/>
                    </a:lnTo>
                    <a:lnTo>
                      <a:pt x="516731" y="702469"/>
                    </a:lnTo>
                    <a:lnTo>
                      <a:pt x="545306" y="671512"/>
                    </a:lnTo>
                    <a:lnTo>
                      <a:pt x="576262" y="671512"/>
                    </a:lnTo>
                    <a:lnTo>
                      <a:pt x="631031" y="650081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58" name="Freeform 23">
                <a:extLst>
                  <a:ext uri="{FF2B5EF4-FFF2-40B4-BE49-F238E27FC236}">
                    <a16:creationId xmlns:a16="http://schemas.microsoft.com/office/drawing/2014/main" id="{5EF643F3-D772-454B-A3DC-8191DF5E3E99}"/>
                  </a:ext>
                </a:extLst>
              </p:cNvPr>
              <p:cNvSpPr/>
              <p:nvPr/>
            </p:nvSpPr>
            <p:spPr>
              <a:xfrm>
                <a:off x="5464175" y="3511550"/>
                <a:ext cx="735013" cy="614363"/>
              </a:xfrm>
              <a:custGeom>
                <a:avLst/>
                <a:gdLst>
                  <a:gd name="connsiteX0" fmla="*/ 123825 w 735806"/>
                  <a:gd name="connsiteY0" fmla="*/ 504825 h 611981"/>
                  <a:gd name="connsiteX1" fmla="*/ 207169 w 735806"/>
                  <a:gd name="connsiteY1" fmla="*/ 528638 h 611981"/>
                  <a:gd name="connsiteX2" fmla="*/ 235744 w 735806"/>
                  <a:gd name="connsiteY2" fmla="*/ 535781 h 611981"/>
                  <a:gd name="connsiteX3" fmla="*/ 257175 w 735806"/>
                  <a:gd name="connsiteY3" fmla="*/ 531019 h 611981"/>
                  <a:gd name="connsiteX4" fmla="*/ 259556 w 735806"/>
                  <a:gd name="connsiteY4" fmla="*/ 547688 h 611981"/>
                  <a:gd name="connsiteX5" fmla="*/ 266700 w 735806"/>
                  <a:gd name="connsiteY5" fmla="*/ 604838 h 611981"/>
                  <a:gd name="connsiteX6" fmla="*/ 276225 w 735806"/>
                  <a:gd name="connsiteY6" fmla="*/ 611981 h 611981"/>
                  <a:gd name="connsiteX7" fmla="*/ 276225 w 735806"/>
                  <a:gd name="connsiteY7" fmla="*/ 611981 h 611981"/>
                  <a:gd name="connsiteX8" fmla="*/ 311944 w 735806"/>
                  <a:gd name="connsiteY8" fmla="*/ 592931 h 611981"/>
                  <a:gd name="connsiteX9" fmla="*/ 323850 w 735806"/>
                  <a:gd name="connsiteY9" fmla="*/ 566738 h 611981"/>
                  <a:gd name="connsiteX10" fmla="*/ 340519 w 735806"/>
                  <a:gd name="connsiteY10" fmla="*/ 561975 h 611981"/>
                  <a:gd name="connsiteX11" fmla="*/ 364331 w 735806"/>
                  <a:gd name="connsiteY11" fmla="*/ 585788 h 611981"/>
                  <a:gd name="connsiteX12" fmla="*/ 381000 w 735806"/>
                  <a:gd name="connsiteY12" fmla="*/ 600075 h 611981"/>
                  <a:gd name="connsiteX13" fmla="*/ 400050 w 735806"/>
                  <a:gd name="connsiteY13" fmla="*/ 607219 h 611981"/>
                  <a:gd name="connsiteX14" fmla="*/ 426244 w 735806"/>
                  <a:gd name="connsiteY14" fmla="*/ 573881 h 611981"/>
                  <a:gd name="connsiteX15" fmla="*/ 433387 w 735806"/>
                  <a:gd name="connsiteY15" fmla="*/ 533400 h 611981"/>
                  <a:gd name="connsiteX16" fmla="*/ 447675 w 735806"/>
                  <a:gd name="connsiteY16" fmla="*/ 504825 h 611981"/>
                  <a:gd name="connsiteX17" fmla="*/ 473869 w 735806"/>
                  <a:gd name="connsiteY17" fmla="*/ 542925 h 611981"/>
                  <a:gd name="connsiteX18" fmla="*/ 495300 w 735806"/>
                  <a:gd name="connsiteY18" fmla="*/ 561975 h 611981"/>
                  <a:gd name="connsiteX19" fmla="*/ 516731 w 735806"/>
                  <a:gd name="connsiteY19" fmla="*/ 578644 h 611981"/>
                  <a:gd name="connsiteX20" fmla="*/ 550069 w 735806"/>
                  <a:gd name="connsiteY20" fmla="*/ 566738 h 611981"/>
                  <a:gd name="connsiteX21" fmla="*/ 557212 w 735806"/>
                  <a:gd name="connsiteY21" fmla="*/ 547688 h 611981"/>
                  <a:gd name="connsiteX22" fmla="*/ 557212 w 735806"/>
                  <a:gd name="connsiteY22" fmla="*/ 535781 h 611981"/>
                  <a:gd name="connsiteX23" fmla="*/ 531019 w 735806"/>
                  <a:gd name="connsiteY23" fmla="*/ 511969 h 611981"/>
                  <a:gd name="connsiteX24" fmla="*/ 514350 w 735806"/>
                  <a:gd name="connsiteY24" fmla="*/ 421481 h 611981"/>
                  <a:gd name="connsiteX25" fmla="*/ 514350 w 735806"/>
                  <a:gd name="connsiteY25" fmla="*/ 421481 h 611981"/>
                  <a:gd name="connsiteX26" fmla="*/ 464344 w 735806"/>
                  <a:gd name="connsiteY26" fmla="*/ 445294 h 611981"/>
                  <a:gd name="connsiteX27" fmla="*/ 438150 w 735806"/>
                  <a:gd name="connsiteY27" fmla="*/ 431006 h 611981"/>
                  <a:gd name="connsiteX28" fmla="*/ 426244 w 735806"/>
                  <a:gd name="connsiteY28" fmla="*/ 385763 h 611981"/>
                  <a:gd name="connsiteX29" fmla="*/ 411956 w 735806"/>
                  <a:gd name="connsiteY29" fmla="*/ 381000 h 611981"/>
                  <a:gd name="connsiteX30" fmla="*/ 388144 w 735806"/>
                  <a:gd name="connsiteY30" fmla="*/ 350044 h 611981"/>
                  <a:gd name="connsiteX31" fmla="*/ 409575 w 735806"/>
                  <a:gd name="connsiteY31" fmla="*/ 314325 h 611981"/>
                  <a:gd name="connsiteX32" fmla="*/ 507206 w 735806"/>
                  <a:gd name="connsiteY32" fmla="*/ 338138 h 611981"/>
                  <a:gd name="connsiteX33" fmla="*/ 528637 w 735806"/>
                  <a:gd name="connsiteY33" fmla="*/ 311944 h 611981"/>
                  <a:gd name="connsiteX34" fmla="*/ 626269 w 735806"/>
                  <a:gd name="connsiteY34" fmla="*/ 290513 h 611981"/>
                  <a:gd name="connsiteX35" fmla="*/ 631031 w 735806"/>
                  <a:gd name="connsiteY35" fmla="*/ 240506 h 611981"/>
                  <a:gd name="connsiteX36" fmla="*/ 714375 w 735806"/>
                  <a:gd name="connsiteY36" fmla="*/ 166688 h 611981"/>
                  <a:gd name="connsiteX37" fmla="*/ 735806 w 735806"/>
                  <a:gd name="connsiteY37" fmla="*/ 71438 h 611981"/>
                  <a:gd name="connsiteX38" fmla="*/ 707231 w 735806"/>
                  <a:gd name="connsiteY38" fmla="*/ 0 h 611981"/>
                  <a:gd name="connsiteX39" fmla="*/ 614362 w 735806"/>
                  <a:gd name="connsiteY39" fmla="*/ 47625 h 611981"/>
                  <a:gd name="connsiteX40" fmla="*/ 614362 w 735806"/>
                  <a:gd name="connsiteY40" fmla="*/ 66675 h 611981"/>
                  <a:gd name="connsiteX41" fmla="*/ 597694 w 735806"/>
                  <a:gd name="connsiteY41" fmla="*/ 135731 h 611981"/>
                  <a:gd name="connsiteX42" fmla="*/ 566737 w 735806"/>
                  <a:gd name="connsiteY42" fmla="*/ 130969 h 611981"/>
                  <a:gd name="connsiteX43" fmla="*/ 514350 w 735806"/>
                  <a:gd name="connsiteY43" fmla="*/ 164306 h 611981"/>
                  <a:gd name="connsiteX44" fmla="*/ 433387 w 735806"/>
                  <a:gd name="connsiteY44" fmla="*/ 123825 h 611981"/>
                  <a:gd name="connsiteX45" fmla="*/ 402431 w 735806"/>
                  <a:gd name="connsiteY45" fmla="*/ 128588 h 611981"/>
                  <a:gd name="connsiteX46" fmla="*/ 359569 w 735806"/>
                  <a:gd name="connsiteY46" fmla="*/ 154781 h 611981"/>
                  <a:gd name="connsiteX47" fmla="*/ 307181 w 735806"/>
                  <a:gd name="connsiteY47" fmla="*/ 154781 h 611981"/>
                  <a:gd name="connsiteX48" fmla="*/ 280987 w 735806"/>
                  <a:gd name="connsiteY48" fmla="*/ 188119 h 611981"/>
                  <a:gd name="connsiteX49" fmla="*/ 209550 w 735806"/>
                  <a:gd name="connsiteY49" fmla="*/ 171450 h 611981"/>
                  <a:gd name="connsiteX50" fmla="*/ 154781 w 735806"/>
                  <a:gd name="connsiteY50" fmla="*/ 197644 h 611981"/>
                  <a:gd name="connsiteX51" fmla="*/ 126206 w 735806"/>
                  <a:gd name="connsiteY51" fmla="*/ 176213 h 611981"/>
                  <a:gd name="connsiteX52" fmla="*/ 111919 w 735806"/>
                  <a:gd name="connsiteY52" fmla="*/ 176213 h 611981"/>
                  <a:gd name="connsiteX53" fmla="*/ 107156 w 735806"/>
                  <a:gd name="connsiteY53" fmla="*/ 164306 h 611981"/>
                  <a:gd name="connsiteX54" fmla="*/ 9525 w 735806"/>
                  <a:gd name="connsiteY54" fmla="*/ 159544 h 611981"/>
                  <a:gd name="connsiteX55" fmla="*/ 0 w 735806"/>
                  <a:gd name="connsiteY55" fmla="*/ 190500 h 611981"/>
                  <a:gd name="connsiteX56" fmla="*/ 2381 w 735806"/>
                  <a:gd name="connsiteY56" fmla="*/ 261938 h 611981"/>
                  <a:gd name="connsiteX57" fmla="*/ 30956 w 735806"/>
                  <a:gd name="connsiteY57" fmla="*/ 278606 h 611981"/>
                  <a:gd name="connsiteX58" fmla="*/ 47625 w 735806"/>
                  <a:gd name="connsiteY58" fmla="*/ 285750 h 611981"/>
                  <a:gd name="connsiteX59" fmla="*/ 69056 w 735806"/>
                  <a:gd name="connsiteY59" fmla="*/ 292894 h 611981"/>
                  <a:gd name="connsiteX60" fmla="*/ 80962 w 735806"/>
                  <a:gd name="connsiteY60" fmla="*/ 319088 h 611981"/>
                  <a:gd name="connsiteX61" fmla="*/ 109537 w 735806"/>
                  <a:gd name="connsiteY61" fmla="*/ 340519 h 611981"/>
                  <a:gd name="connsiteX62" fmla="*/ 111919 w 735806"/>
                  <a:gd name="connsiteY62" fmla="*/ 390525 h 611981"/>
                  <a:gd name="connsiteX63" fmla="*/ 128587 w 735806"/>
                  <a:gd name="connsiteY63" fmla="*/ 428625 h 611981"/>
                  <a:gd name="connsiteX64" fmla="*/ 104775 w 735806"/>
                  <a:gd name="connsiteY64" fmla="*/ 445294 h 611981"/>
                  <a:gd name="connsiteX65" fmla="*/ 123825 w 735806"/>
                  <a:gd name="connsiteY65" fmla="*/ 504825 h 611981"/>
                  <a:gd name="connsiteX0" fmla="*/ 123825 w 735806"/>
                  <a:gd name="connsiteY0" fmla="*/ 504825 h 614362"/>
                  <a:gd name="connsiteX1" fmla="*/ 207169 w 735806"/>
                  <a:gd name="connsiteY1" fmla="*/ 528638 h 614362"/>
                  <a:gd name="connsiteX2" fmla="*/ 235744 w 735806"/>
                  <a:gd name="connsiteY2" fmla="*/ 535781 h 614362"/>
                  <a:gd name="connsiteX3" fmla="*/ 257175 w 735806"/>
                  <a:gd name="connsiteY3" fmla="*/ 531019 h 614362"/>
                  <a:gd name="connsiteX4" fmla="*/ 259556 w 735806"/>
                  <a:gd name="connsiteY4" fmla="*/ 547688 h 614362"/>
                  <a:gd name="connsiteX5" fmla="*/ 266700 w 735806"/>
                  <a:gd name="connsiteY5" fmla="*/ 604838 h 614362"/>
                  <a:gd name="connsiteX6" fmla="*/ 276225 w 735806"/>
                  <a:gd name="connsiteY6" fmla="*/ 611981 h 614362"/>
                  <a:gd name="connsiteX7" fmla="*/ 276225 w 735806"/>
                  <a:gd name="connsiteY7" fmla="*/ 611981 h 614362"/>
                  <a:gd name="connsiteX8" fmla="*/ 311944 w 735806"/>
                  <a:gd name="connsiteY8" fmla="*/ 614362 h 614362"/>
                  <a:gd name="connsiteX9" fmla="*/ 323850 w 735806"/>
                  <a:gd name="connsiteY9" fmla="*/ 566738 h 614362"/>
                  <a:gd name="connsiteX10" fmla="*/ 340519 w 735806"/>
                  <a:gd name="connsiteY10" fmla="*/ 561975 h 614362"/>
                  <a:gd name="connsiteX11" fmla="*/ 364331 w 735806"/>
                  <a:gd name="connsiteY11" fmla="*/ 585788 h 614362"/>
                  <a:gd name="connsiteX12" fmla="*/ 381000 w 735806"/>
                  <a:gd name="connsiteY12" fmla="*/ 600075 h 614362"/>
                  <a:gd name="connsiteX13" fmla="*/ 400050 w 735806"/>
                  <a:gd name="connsiteY13" fmla="*/ 607219 h 614362"/>
                  <a:gd name="connsiteX14" fmla="*/ 426244 w 735806"/>
                  <a:gd name="connsiteY14" fmla="*/ 573881 h 614362"/>
                  <a:gd name="connsiteX15" fmla="*/ 433387 w 735806"/>
                  <a:gd name="connsiteY15" fmla="*/ 533400 h 614362"/>
                  <a:gd name="connsiteX16" fmla="*/ 447675 w 735806"/>
                  <a:gd name="connsiteY16" fmla="*/ 504825 h 614362"/>
                  <a:gd name="connsiteX17" fmla="*/ 473869 w 735806"/>
                  <a:gd name="connsiteY17" fmla="*/ 542925 h 614362"/>
                  <a:gd name="connsiteX18" fmla="*/ 495300 w 735806"/>
                  <a:gd name="connsiteY18" fmla="*/ 561975 h 614362"/>
                  <a:gd name="connsiteX19" fmla="*/ 516731 w 735806"/>
                  <a:gd name="connsiteY19" fmla="*/ 578644 h 614362"/>
                  <a:gd name="connsiteX20" fmla="*/ 550069 w 735806"/>
                  <a:gd name="connsiteY20" fmla="*/ 566738 h 614362"/>
                  <a:gd name="connsiteX21" fmla="*/ 557212 w 735806"/>
                  <a:gd name="connsiteY21" fmla="*/ 547688 h 614362"/>
                  <a:gd name="connsiteX22" fmla="*/ 557212 w 735806"/>
                  <a:gd name="connsiteY22" fmla="*/ 535781 h 614362"/>
                  <a:gd name="connsiteX23" fmla="*/ 531019 w 735806"/>
                  <a:gd name="connsiteY23" fmla="*/ 511969 h 614362"/>
                  <a:gd name="connsiteX24" fmla="*/ 514350 w 735806"/>
                  <a:gd name="connsiteY24" fmla="*/ 421481 h 614362"/>
                  <a:gd name="connsiteX25" fmla="*/ 514350 w 735806"/>
                  <a:gd name="connsiteY25" fmla="*/ 421481 h 614362"/>
                  <a:gd name="connsiteX26" fmla="*/ 464344 w 735806"/>
                  <a:gd name="connsiteY26" fmla="*/ 445294 h 614362"/>
                  <a:gd name="connsiteX27" fmla="*/ 438150 w 735806"/>
                  <a:gd name="connsiteY27" fmla="*/ 431006 h 614362"/>
                  <a:gd name="connsiteX28" fmla="*/ 426244 w 735806"/>
                  <a:gd name="connsiteY28" fmla="*/ 385763 h 614362"/>
                  <a:gd name="connsiteX29" fmla="*/ 411956 w 735806"/>
                  <a:gd name="connsiteY29" fmla="*/ 381000 h 614362"/>
                  <a:gd name="connsiteX30" fmla="*/ 388144 w 735806"/>
                  <a:gd name="connsiteY30" fmla="*/ 350044 h 614362"/>
                  <a:gd name="connsiteX31" fmla="*/ 409575 w 735806"/>
                  <a:gd name="connsiteY31" fmla="*/ 314325 h 614362"/>
                  <a:gd name="connsiteX32" fmla="*/ 507206 w 735806"/>
                  <a:gd name="connsiteY32" fmla="*/ 338138 h 614362"/>
                  <a:gd name="connsiteX33" fmla="*/ 528637 w 735806"/>
                  <a:gd name="connsiteY33" fmla="*/ 311944 h 614362"/>
                  <a:gd name="connsiteX34" fmla="*/ 626269 w 735806"/>
                  <a:gd name="connsiteY34" fmla="*/ 290513 h 614362"/>
                  <a:gd name="connsiteX35" fmla="*/ 631031 w 735806"/>
                  <a:gd name="connsiteY35" fmla="*/ 240506 h 614362"/>
                  <a:gd name="connsiteX36" fmla="*/ 714375 w 735806"/>
                  <a:gd name="connsiteY36" fmla="*/ 166688 h 614362"/>
                  <a:gd name="connsiteX37" fmla="*/ 735806 w 735806"/>
                  <a:gd name="connsiteY37" fmla="*/ 71438 h 614362"/>
                  <a:gd name="connsiteX38" fmla="*/ 707231 w 735806"/>
                  <a:gd name="connsiteY38" fmla="*/ 0 h 614362"/>
                  <a:gd name="connsiteX39" fmla="*/ 614362 w 735806"/>
                  <a:gd name="connsiteY39" fmla="*/ 47625 h 614362"/>
                  <a:gd name="connsiteX40" fmla="*/ 614362 w 735806"/>
                  <a:gd name="connsiteY40" fmla="*/ 66675 h 614362"/>
                  <a:gd name="connsiteX41" fmla="*/ 597694 w 735806"/>
                  <a:gd name="connsiteY41" fmla="*/ 135731 h 614362"/>
                  <a:gd name="connsiteX42" fmla="*/ 566737 w 735806"/>
                  <a:gd name="connsiteY42" fmla="*/ 130969 h 614362"/>
                  <a:gd name="connsiteX43" fmla="*/ 514350 w 735806"/>
                  <a:gd name="connsiteY43" fmla="*/ 164306 h 614362"/>
                  <a:gd name="connsiteX44" fmla="*/ 433387 w 735806"/>
                  <a:gd name="connsiteY44" fmla="*/ 123825 h 614362"/>
                  <a:gd name="connsiteX45" fmla="*/ 402431 w 735806"/>
                  <a:gd name="connsiteY45" fmla="*/ 128588 h 614362"/>
                  <a:gd name="connsiteX46" fmla="*/ 359569 w 735806"/>
                  <a:gd name="connsiteY46" fmla="*/ 154781 h 614362"/>
                  <a:gd name="connsiteX47" fmla="*/ 307181 w 735806"/>
                  <a:gd name="connsiteY47" fmla="*/ 154781 h 614362"/>
                  <a:gd name="connsiteX48" fmla="*/ 280987 w 735806"/>
                  <a:gd name="connsiteY48" fmla="*/ 188119 h 614362"/>
                  <a:gd name="connsiteX49" fmla="*/ 209550 w 735806"/>
                  <a:gd name="connsiteY49" fmla="*/ 171450 h 614362"/>
                  <a:gd name="connsiteX50" fmla="*/ 154781 w 735806"/>
                  <a:gd name="connsiteY50" fmla="*/ 197644 h 614362"/>
                  <a:gd name="connsiteX51" fmla="*/ 126206 w 735806"/>
                  <a:gd name="connsiteY51" fmla="*/ 176213 h 614362"/>
                  <a:gd name="connsiteX52" fmla="*/ 111919 w 735806"/>
                  <a:gd name="connsiteY52" fmla="*/ 176213 h 614362"/>
                  <a:gd name="connsiteX53" fmla="*/ 107156 w 735806"/>
                  <a:gd name="connsiteY53" fmla="*/ 164306 h 614362"/>
                  <a:gd name="connsiteX54" fmla="*/ 9525 w 735806"/>
                  <a:gd name="connsiteY54" fmla="*/ 159544 h 614362"/>
                  <a:gd name="connsiteX55" fmla="*/ 0 w 735806"/>
                  <a:gd name="connsiteY55" fmla="*/ 190500 h 614362"/>
                  <a:gd name="connsiteX56" fmla="*/ 2381 w 735806"/>
                  <a:gd name="connsiteY56" fmla="*/ 261938 h 614362"/>
                  <a:gd name="connsiteX57" fmla="*/ 30956 w 735806"/>
                  <a:gd name="connsiteY57" fmla="*/ 278606 h 614362"/>
                  <a:gd name="connsiteX58" fmla="*/ 47625 w 735806"/>
                  <a:gd name="connsiteY58" fmla="*/ 285750 h 614362"/>
                  <a:gd name="connsiteX59" fmla="*/ 69056 w 735806"/>
                  <a:gd name="connsiteY59" fmla="*/ 292894 h 614362"/>
                  <a:gd name="connsiteX60" fmla="*/ 80962 w 735806"/>
                  <a:gd name="connsiteY60" fmla="*/ 319088 h 614362"/>
                  <a:gd name="connsiteX61" fmla="*/ 109537 w 735806"/>
                  <a:gd name="connsiteY61" fmla="*/ 340519 h 614362"/>
                  <a:gd name="connsiteX62" fmla="*/ 111919 w 735806"/>
                  <a:gd name="connsiteY62" fmla="*/ 390525 h 614362"/>
                  <a:gd name="connsiteX63" fmla="*/ 128587 w 735806"/>
                  <a:gd name="connsiteY63" fmla="*/ 428625 h 614362"/>
                  <a:gd name="connsiteX64" fmla="*/ 104775 w 735806"/>
                  <a:gd name="connsiteY64" fmla="*/ 445294 h 614362"/>
                  <a:gd name="connsiteX65" fmla="*/ 123825 w 735806"/>
                  <a:gd name="connsiteY65" fmla="*/ 504825 h 614362"/>
                  <a:gd name="connsiteX0" fmla="*/ 123825 w 735806"/>
                  <a:gd name="connsiteY0" fmla="*/ 504825 h 614362"/>
                  <a:gd name="connsiteX1" fmla="*/ 207169 w 735806"/>
                  <a:gd name="connsiteY1" fmla="*/ 528638 h 614362"/>
                  <a:gd name="connsiteX2" fmla="*/ 235744 w 735806"/>
                  <a:gd name="connsiteY2" fmla="*/ 535781 h 614362"/>
                  <a:gd name="connsiteX3" fmla="*/ 257175 w 735806"/>
                  <a:gd name="connsiteY3" fmla="*/ 531019 h 614362"/>
                  <a:gd name="connsiteX4" fmla="*/ 259556 w 735806"/>
                  <a:gd name="connsiteY4" fmla="*/ 547688 h 614362"/>
                  <a:gd name="connsiteX5" fmla="*/ 259556 w 735806"/>
                  <a:gd name="connsiteY5" fmla="*/ 592932 h 614362"/>
                  <a:gd name="connsiteX6" fmla="*/ 276225 w 735806"/>
                  <a:gd name="connsiteY6" fmla="*/ 611981 h 614362"/>
                  <a:gd name="connsiteX7" fmla="*/ 276225 w 735806"/>
                  <a:gd name="connsiteY7" fmla="*/ 611981 h 614362"/>
                  <a:gd name="connsiteX8" fmla="*/ 311944 w 735806"/>
                  <a:gd name="connsiteY8" fmla="*/ 614362 h 614362"/>
                  <a:gd name="connsiteX9" fmla="*/ 323850 w 735806"/>
                  <a:gd name="connsiteY9" fmla="*/ 566738 h 614362"/>
                  <a:gd name="connsiteX10" fmla="*/ 340519 w 735806"/>
                  <a:gd name="connsiteY10" fmla="*/ 561975 h 614362"/>
                  <a:gd name="connsiteX11" fmla="*/ 364331 w 735806"/>
                  <a:gd name="connsiteY11" fmla="*/ 585788 h 614362"/>
                  <a:gd name="connsiteX12" fmla="*/ 381000 w 735806"/>
                  <a:gd name="connsiteY12" fmla="*/ 600075 h 614362"/>
                  <a:gd name="connsiteX13" fmla="*/ 400050 w 735806"/>
                  <a:gd name="connsiteY13" fmla="*/ 607219 h 614362"/>
                  <a:gd name="connsiteX14" fmla="*/ 426244 w 735806"/>
                  <a:gd name="connsiteY14" fmla="*/ 573881 h 614362"/>
                  <a:gd name="connsiteX15" fmla="*/ 433387 w 735806"/>
                  <a:gd name="connsiteY15" fmla="*/ 533400 h 614362"/>
                  <a:gd name="connsiteX16" fmla="*/ 447675 w 735806"/>
                  <a:gd name="connsiteY16" fmla="*/ 504825 h 614362"/>
                  <a:gd name="connsiteX17" fmla="*/ 473869 w 735806"/>
                  <a:gd name="connsiteY17" fmla="*/ 542925 h 614362"/>
                  <a:gd name="connsiteX18" fmla="*/ 495300 w 735806"/>
                  <a:gd name="connsiteY18" fmla="*/ 561975 h 614362"/>
                  <a:gd name="connsiteX19" fmla="*/ 516731 w 735806"/>
                  <a:gd name="connsiteY19" fmla="*/ 578644 h 614362"/>
                  <a:gd name="connsiteX20" fmla="*/ 550069 w 735806"/>
                  <a:gd name="connsiteY20" fmla="*/ 566738 h 614362"/>
                  <a:gd name="connsiteX21" fmla="*/ 557212 w 735806"/>
                  <a:gd name="connsiteY21" fmla="*/ 547688 h 614362"/>
                  <a:gd name="connsiteX22" fmla="*/ 557212 w 735806"/>
                  <a:gd name="connsiteY22" fmla="*/ 535781 h 614362"/>
                  <a:gd name="connsiteX23" fmla="*/ 531019 w 735806"/>
                  <a:gd name="connsiteY23" fmla="*/ 511969 h 614362"/>
                  <a:gd name="connsiteX24" fmla="*/ 514350 w 735806"/>
                  <a:gd name="connsiteY24" fmla="*/ 421481 h 614362"/>
                  <a:gd name="connsiteX25" fmla="*/ 514350 w 735806"/>
                  <a:gd name="connsiteY25" fmla="*/ 421481 h 614362"/>
                  <a:gd name="connsiteX26" fmla="*/ 464344 w 735806"/>
                  <a:gd name="connsiteY26" fmla="*/ 445294 h 614362"/>
                  <a:gd name="connsiteX27" fmla="*/ 438150 w 735806"/>
                  <a:gd name="connsiteY27" fmla="*/ 431006 h 614362"/>
                  <a:gd name="connsiteX28" fmla="*/ 426244 w 735806"/>
                  <a:gd name="connsiteY28" fmla="*/ 385763 h 614362"/>
                  <a:gd name="connsiteX29" fmla="*/ 411956 w 735806"/>
                  <a:gd name="connsiteY29" fmla="*/ 381000 h 614362"/>
                  <a:gd name="connsiteX30" fmla="*/ 388144 w 735806"/>
                  <a:gd name="connsiteY30" fmla="*/ 350044 h 614362"/>
                  <a:gd name="connsiteX31" fmla="*/ 409575 w 735806"/>
                  <a:gd name="connsiteY31" fmla="*/ 314325 h 614362"/>
                  <a:gd name="connsiteX32" fmla="*/ 507206 w 735806"/>
                  <a:gd name="connsiteY32" fmla="*/ 338138 h 614362"/>
                  <a:gd name="connsiteX33" fmla="*/ 528637 w 735806"/>
                  <a:gd name="connsiteY33" fmla="*/ 311944 h 614362"/>
                  <a:gd name="connsiteX34" fmla="*/ 626269 w 735806"/>
                  <a:gd name="connsiteY34" fmla="*/ 290513 h 614362"/>
                  <a:gd name="connsiteX35" fmla="*/ 631031 w 735806"/>
                  <a:gd name="connsiteY35" fmla="*/ 240506 h 614362"/>
                  <a:gd name="connsiteX36" fmla="*/ 714375 w 735806"/>
                  <a:gd name="connsiteY36" fmla="*/ 166688 h 614362"/>
                  <a:gd name="connsiteX37" fmla="*/ 735806 w 735806"/>
                  <a:gd name="connsiteY37" fmla="*/ 71438 h 614362"/>
                  <a:gd name="connsiteX38" fmla="*/ 707231 w 735806"/>
                  <a:gd name="connsiteY38" fmla="*/ 0 h 614362"/>
                  <a:gd name="connsiteX39" fmla="*/ 614362 w 735806"/>
                  <a:gd name="connsiteY39" fmla="*/ 47625 h 614362"/>
                  <a:gd name="connsiteX40" fmla="*/ 614362 w 735806"/>
                  <a:gd name="connsiteY40" fmla="*/ 66675 h 614362"/>
                  <a:gd name="connsiteX41" fmla="*/ 597694 w 735806"/>
                  <a:gd name="connsiteY41" fmla="*/ 135731 h 614362"/>
                  <a:gd name="connsiteX42" fmla="*/ 566737 w 735806"/>
                  <a:gd name="connsiteY42" fmla="*/ 130969 h 614362"/>
                  <a:gd name="connsiteX43" fmla="*/ 514350 w 735806"/>
                  <a:gd name="connsiteY43" fmla="*/ 164306 h 614362"/>
                  <a:gd name="connsiteX44" fmla="*/ 433387 w 735806"/>
                  <a:gd name="connsiteY44" fmla="*/ 123825 h 614362"/>
                  <a:gd name="connsiteX45" fmla="*/ 402431 w 735806"/>
                  <a:gd name="connsiteY45" fmla="*/ 128588 h 614362"/>
                  <a:gd name="connsiteX46" fmla="*/ 359569 w 735806"/>
                  <a:gd name="connsiteY46" fmla="*/ 154781 h 614362"/>
                  <a:gd name="connsiteX47" fmla="*/ 307181 w 735806"/>
                  <a:gd name="connsiteY47" fmla="*/ 154781 h 614362"/>
                  <a:gd name="connsiteX48" fmla="*/ 280987 w 735806"/>
                  <a:gd name="connsiteY48" fmla="*/ 188119 h 614362"/>
                  <a:gd name="connsiteX49" fmla="*/ 209550 w 735806"/>
                  <a:gd name="connsiteY49" fmla="*/ 171450 h 614362"/>
                  <a:gd name="connsiteX50" fmla="*/ 154781 w 735806"/>
                  <a:gd name="connsiteY50" fmla="*/ 197644 h 614362"/>
                  <a:gd name="connsiteX51" fmla="*/ 126206 w 735806"/>
                  <a:gd name="connsiteY51" fmla="*/ 176213 h 614362"/>
                  <a:gd name="connsiteX52" fmla="*/ 111919 w 735806"/>
                  <a:gd name="connsiteY52" fmla="*/ 176213 h 614362"/>
                  <a:gd name="connsiteX53" fmla="*/ 107156 w 735806"/>
                  <a:gd name="connsiteY53" fmla="*/ 164306 h 614362"/>
                  <a:gd name="connsiteX54" fmla="*/ 9525 w 735806"/>
                  <a:gd name="connsiteY54" fmla="*/ 159544 h 614362"/>
                  <a:gd name="connsiteX55" fmla="*/ 0 w 735806"/>
                  <a:gd name="connsiteY55" fmla="*/ 190500 h 614362"/>
                  <a:gd name="connsiteX56" fmla="*/ 2381 w 735806"/>
                  <a:gd name="connsiteY56" fmla="*/ 261938 h 614362"/>
                  <a:gd name="connsiteX57" fmla="*/ 30956 w 735806"/>
                  <a:gd name="connsiteY57" fmla="*/ 278606 h 614362"/>
                  <a:gd name="connsiteX58" fmla="*/ 47625 w 735806"/>
                  <a:gd name="connsiteY58" fmla="*/ 285750 h 614362"/>
                  <a:gd name="connsiteX59" fmla="*/ 69056 w 735806"/>
                  <a:gd name="connsiteY59" fmla="*/ 292894 h 614362"/>
                  <a:gd name="connsiteX60" fmla="*/ 80962 w 735806"/>
                  <a:gd name="connsiteY60" fmla="*/ 319088 h 614362"/>
                  <a:gd name="connsiteX61" fmla="*/ 109537 w 735806"/>
                  <a:gd name="connsiteY61" fmla="*/ 340519 h 614362"/>
                  <a:gd name="connsiteX62" fmla="*/ 111919 w 735806"/>
                  <a:gd name="connsiteY62" fmla="*/ 390525 h 614362"/>
                  <a:gd name="connsiteX63" fmla="*/ 128587 w 735806"/>
                  <a:gd name="connsiteY63" fmla="*/ 428625 h 614362"/>
                  <a:gd name="connsiteX64" fmla="*/ 104775 w 735806"/>
                  <a:gd name="connsiteY64" fmla="*/ 445294 h 614362"/>
                  <a:gd name="connsiteX65" fmla="*/ 123825 w 735806"/>
                  <a:gd name="connsiteY65" fmla="*/ 504825 h 614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735806" h="614362">
                    <a:moveTo>
                      <a:pt x="123825" y="504825"/>
                    </a:moveTo>
                    <a:lnTo>
                      <a:pt x="207169" y="528638"/>
                    </a:lnTo>
                    <a:lnTo>
                      <a:pt x="235744" y="535781"/>
                    </a:lnTo>
                    <a:lnTo>
                      <a:pt x="257175" y="531019"/>
                    </a:lnTo>
                    <a:lnTo>
                      <a:pt x="259556" y="547688"/>
                    </a:lnTo>
                    <a:lnTo>
                      <a:pt x="259556" y="592932"/>
                    </a:lnTo>
                    <a:lnTo>
                      <a:pt x="276225" y="611981"/>
                    </a:lnTo>
                    <a:lnTo>
                      <a:pt x="276225" y="611981"/>
                    </a:lnTo>
                    <a:lnTo>
                      <a:pt x="311944" y="614362"/>
                    </a:lnTo>
                    <a:lnTo>
                      <a:pt x="323850" y="566738"/>
                    </a:lnTo>
                    <a:lnTo>
                      <a:pt x="340519" y="561975"/>
                    </a:lnTo>
                    <a:lnTo>
                      <a:pt x="364331" y="585788"/>
                    </a:lnTo>
                    <a:lnTo>
                      <a:pt x="381000" y="600075"/>
                    </a:lnTo>
                    <a:lnTo>
                      <a:pt x="400050" y="607219"/>
                    </a:lnTo>
                    <a:lnTo>
                      <a:pt x="426244" y="573881"/>
                    </a:lnTo>
                    <a:lnTo>
                      <a:pt x="433387" y="533400"/>
                    </a:lnTo>
                    <a:lnTo>
                      <a:pt x="447675" y="504825"/>
                    </a:lnTo>
                    <a:lnTo>
                      <a:pt x="473869" y="542925"/>
                    </a:lnTo>
                    <a:lnTo>
                      <a:pt x="495300" y="561975"/>
                    </a:lnTo>
                    <a:lnTo>
                      <a:pt x="516731" y="578644"/>
                    </a:lnTo>
                    <a:lnTo>
                      <a:pt x="550069" y="566738"/>
                    </a:lnTo>
                    <a:lnTo>
                      <a:pt x="557212" y="547688"/>
                    </a:lnTo>
                    <a:lnTo>
                      <a:pt x="557212" y="535781"/>
                    </a:lnTo>
                    <a:lnTo>
                      <a:pt x="531019" y="511969"/>
                    </a:lnTo>
                    <a:lnTo>
                      <a:pt x="514350" y="421481"/>
                    </a:lnTo>
                    <a:lnTo>
                      <a:pt x="514350" y="421481"/>
                    </a:lnTo>
                    <a:lnTo>
                      <a:pt x="464344" y="445294"/>
                    </a:lnTo>
                    <a:lnTo>
                      <a:pt x="438150" y="431006"/>
                    </a:lnTo>
                    <a:lnTo>
                      <a:pt x="426244" y="385763"/>
                    </a:lnTo>
                    <a:lnTo>
                      <a:pt x="411956" y="381000"/>
                    </a:lnTo>
                    <a:lnTo>
                      <a:pt x="388144" y="350044"/>
                    </a:lnTo>
                    <a:lnTo>
                      <a:pt x="409575" y="314325"/>
                    </a:lnTo>
                    <a:lnTo>
                      <a:pt x="507206" y="338138"/>
                    </a:lnTo>
                    <a:lnTo>
                      <a:pt x="528637" y="311944"/>
                    </a:lnTo>
                    <a:lnTo>
                      <a:pt x="626269" y="290513"/>
                    </a:lnTo>
                    <a:lnTo>
                      <a:pt x="631031" y="240506"/>
                    </a:lnTo>
                    <a:lnTo>
                      <a:pt x="714375" y="166688"/>
                    </a:lnTo>
                    <a:lnTo>
                      <a:pt x="735806" y="71438"/>
                    </a:lnTo>
                    <a:lnTo>
                      <a:pt x="707231" y="0"/>
                    </a:lnTo>
                    <a:lnTo>
                      <a:pt x="614362" y="47625"/>
                    </a:lnTo>
                    <a:lnTo>
                      <a:pt x="614362" y="66675"/>
                    </a:lnTo>
                    <a:lnTo>
                      <a:pt x="597694" y="135731"/>
                    </a:lnTo>
                    <a:lnTo>
                      <a:pt x="566737" y="130969"/>
                    </a:lnTo>
                    <a:lnTo>
                      <a:pt x="514350" y="164306"/>
                    </a:lnTo>
                    <a:lnTo>
                      <a:pt x="433387" y="123825"/>
                    </a:lnTo>
                    <a:lnTo>
                      <a:pt x="402431" y="128588"/>
                    </a:lnTo>
                    <a:lnTo>
                      <a:pt x="359569" y="154781"/>
                    </a:lnTo>
                    <a:lnTo>
                      <a:pt x="307181" y="154781"/>
                    </a:lnTo>
                    <a:lnTo>
                      <a:pt x="280987" y="188119"/>
                    </a:lnTo>
                    <a:lnTo>
                      <a:pt x="209550" y="171450"/>
                    </a:lnTo>
                    <a:lnTo>
                      <a:pt x="154781" y="197644"/>
                    </a:lnTo>
                    <a:lnTo>
                      <a:pt x="126206" y="176213"/>
                    </a:lnTo>
                    <a:lnTo>
                      <a:pt x="111919" y="176213"/>
                    </a:lnTo>
                    <a:lnTo>
                      <a:pt x="107156" y="164306"/>
                    </a:lnTo>
                    <a:lnTo>
                      <a:pt x="9525" y="159544"/>
                    </a:lnTo>
                    <a:lnTo>
                      <a:pt x="0" y="190500"/>
                    </a:lnTo>
                    <a:cubicBezTo>
                      <a:pt x="794" y="214313"/>
                      <a:pt x="1587" y="238125"/>
                      <a:pt x="2381" y="261938"/>
                    </a:cubicBezTo>
                    <a:lnTo>
                      <a:pt x="30956" y="278606"/>
                    </a:lnTo>
                    <a:lnTo>
                      <a:pt x="47625" y="285750"/>
                    </a:lnTo>
                    <a:lnTo>
                      <a:pt x="69056" y="292894"/>
                    </a:lnTo>
                    <a:lnTo>
                      <a:pt x="80962" y="319088"/>
                    </a:lnTo>
                    <a:lnTo>
                      <a:pt x="109537" y="340519"/>
                    </a:lnTo>
                    <a:lnTo>
                      <a:pt x="111919" y="390525"/>
                    </a:lnTo>
                    <a:lnTo>
                      <a:pt x="128587" y="428625"/>
                    </a:lnTo>
                    <a:lnTo>
                      <a:pt x="104775" y="445294"/>
                    </a:lnTo>
                    <a:lnTo>
                      <a:pt x="123825" y="504825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59" name="Freeform 24">
                <a:extLst>
                  <a:ext uri="{FF2B5EF4-FFF2-40B4-BE49-F238E27FC236}">
                    <a16:creationId xmlns:a16="http://schemas.microsoft.com/office/drawing/2014/main" id="{4490AE70-E85F-49E9-A85F-F3A5D5228D3D}"/>
                  </a:ext>
                </a:extLst>
              </p:cNvPr>
              <p:cNvSpPr/>
              <p:nvPr/>
            </p:nvSpPr>
            <p:spPr>
              <a:xfrm>
                <a:off x="6775450" y="3702050"/>
                <a:ext cx="207963" cy="295275"/>
              </a:xfrm>
              <a:custGeom>
                <a:avLst/>
                <a:gdLst>
                  <a:gd name="connsiteX0" fmla="*/ 195262 w 207168"/>
                  <a:gd name="connsiteY0" fmla="*/ 0 h 295275"/>
                  <a:gd name="connsiteX1" fmla="*/ 64293 w 207168"/>
                  <a:gd name="connsiteY1" fmla="*/ 45244 h 295275"/>
                  <a:gd name="connsiteX2" fmla="*/ 9525 w 207168"/>
                  <a:gd name="connsiteY2" fmla="*/ 90488 h 295275"/>
                  <a:gd name="connsiteX3" fmla="*/ 2381 w 207168"/>
                  <a:gd name="connsiteY3" fmla="*/ 152400 h 295275"/>
                  <a:gd name="connsiteX4" fmla="*/ 0 w 207168"/>
                  <a:gd name="connsiteY4" fmla="*/ 197644 h 295275"/>
                  <a:gd name="connsiteX5" fmla="*/ 7143 w 207168"/>
                  <a:gd name="connsiteY5" fmla="*/ 204788 h 295275"/>
                  <a:gd name="connsiteX6" fmla="*/ 4762 w 207168"/>
                  <a:gd name="connsiteY6" fmla="*/ 228600 h 295275"/>
                  <a:gd name="connsiteX7" fmla="*/ 30956 w 207168"/>
                  <a:gd name="connsiteY7" fmla="*/ 252413 h 295275"/>
                  <a:gd name="connsiteX8" fmla="*/ 52387 w 207168"/>
                  <a:gd name="connsiteY8" fmla="*/ 295275 h 295275"/>
                  <a:gd name="connsiteX9" fmla="*/ 69056 w 207168"/>
                  <a:gd name="connsiteY9" fmla="*/ 288131 h 295275"/>
                  <a:gd name="connsiteX10" fmla="*/ 69056 w 207168"/>
                  <a:gd name="connsiteY10" fmla="*/ 259556 h 295275"/>
                  <a:gd name="connsiteX11" fmla="*/ 88106 w 207168"/>
                  <a:gd name="connsiteY11" fmla="*/ 233363 h 295275"/>
                  <a:gd name="connsiteX12" fmla="*/ 104775 w 207168"/>
                  <a:gd name="connsiteY12" fmla="*/ 228600 h 295275"/>
                  <a:gd name="connsiteX13" fmla="*/ 176212 w 207168"/>
                  <a:gd name="connsiteY13" fmla="*/ 161925 h 295275"/>
                  <a:gd name="connsiteX14" fmla="*/ 180975 w 207168"/>
                  <a:gd name="connsiteY14" fmla="*/ 128588 h 295275"/>
                  <a:gd name="connsiteX15" fmla="*/ 185737 w 207168"/>
                  <a:gd name="connsiteY15" fmla="*/ 97631 h 295275"/>
                  <a:gd name="connsiteX16" fmla="*/ 185737 w 207168"/>
                  <a:gd name="connsiteY16" fmla="*/ 88106 h 295275"/>
                  <a:gd name="connsiteX17" fmla="*/ 207168 w 207168"/>
                  <a:gd name="connsiteY17" fmla="*/ 59531 h 295275"/>
                  <a:gd name="connsiteX18" fmla="*/ 195262 w 207168"/>
                  <a:gd name="connsiteY18" fmla="*/ 0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7168" h="295275">
                    <a:moveTo>
                      <a:pt x="195262" y="0"/>
                    </a:moveTo>
                    <a:lnTo>
                      <a:pt x="64293" y="45244"/>
                    </a:lnTo>
                    <a:lnTo>
                      <a:pt x="9525" y="90488"/>
                    </a:lnTo>
                    <a:lnTo>
                      <a:pt x="2381" y="152400"/>
                    </a:lnTo>
                    <a:lnTo>
                      <a:pt x="0" y="197644"/>
                    </a:lnTo>
                    <a:lnTo>
                      <a:pt x="7143" y="204788"/>
                    </a:lnTo>
                    <a:lnTo>
                      <a:pt x="4762" y="228600"/>
                    </a:lnTo>
                    <a:lnTo>
                      <a:pt x="30956" y="252413"/>
                    </a:lnTo>
                    <a:lnTo>
                      <a:pt x="52387" y="295275"/>
                    </a:lnTo>
                    <a:lnTo>
                      <a:pt x="69056" y="288131"/>
                    </a:lnTo>
                    <a:lnTo>
                      <a:pt x="69056" y="259556"/>
                    </a:lnTo>
                    <a:lnTo>
                      <a:pt x="88106" y="233363"/>
                    </a:lnTo>
                    <a:lnTo>
                      <a:pt x="104775" y="228600"/>
                    </a:lnTo>
                    <a:lnTo>
                      <a:pt x="176212" y="161925"/>
                    </a:lnTo>
                    <a:lnTo>
                      <a:pt x="180975" y="128588"/>
                    </a:lnTo>
                    <a:lnTo>
                      <a:pt x="185737" y="97631"/>
                    </a:lnTo>
                    <a:lnTo>
                      <a:pt x="185737" y="88106"/>
                    </a:lnTo>
                    <a:lnTo>
                      <a:pt x="207168" y="59531"/>
                    </a:lnTo>
                    <a:lnTo>
                      <a:pt x="195262" y="0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60" name="Freeform 25">
                <a:extLst>
                  <a:ext uri="{FF2B5EF4-FFF2-40B4-BE49-F238E27FC236}">
                    <a16:creationId xmlns:a16="http://schemas.microsoft.com/office/drawing/2014/main" id="{C2CC9344-7C6B-4850-80DE-C7D3BCA8F50E}"/>
                  </a:ext>
                </a:extLst>
              </p:cNvPr>
              <p:cNvSpPr/>
              <p:nvPr/>
            </p:nvSpPr>
            <p:spPr>
              <a:xfrm>
                <a:off x="6946900" y="3686175"/>
                <a:ext cx="217488" cy="414338"/>
              </a:xfrm>
              <a:custGeom>
                <a:avLst/>
                <a:gdLst>
                  <a:gd name="connsiteX0" fmla="*/ 0 w 216693"/>
                  <a:gd name="connsiteY0" fmla="*/ 183356 h 411956"/>
                  <a:gd name="connsiteX1" fmla="*/ 40481 w 216693"/>
                  <a:gd name="connsiteY1" fmla="*/ 254793 h 411956"/>
                  <a:gd name="connsiteX2" fmla="*/ 59531 w 216693"/>
                  <a:gd name="connsiteY2" fmla="*/ 276225 h 411956"/>
                  <a:gd name="connsiteX3" fmla="*/ 71437 w 216693"/>
                  <a:gd name="connsiteY3" fmla="*/ 309562 h 411956"/>
                  <a:gd name="connsiteX4" fmla="*/ 73818 w 216693"/>
                  <a:gd name="connsiteY4" fmla="*/ 342900 h 411956"/>
                  <a:gd name="connsiteX5" fmla="*/ 111918 w 216693"/>
                  <a:gd name="connsiteY5" fmla="*/ 392906 h 411956"/>
                  <a:gd name="connsiteX6" fmla="*/ 130968 w 216693"/>
                  <a:gd name="connsiteY6" fmla="*/ 388143 h 411956"/>
                  <a:gd name="connsiteX7" fmla="*/ 157162 w 216693"/>
                  <a:gd name="connsiteY7" fmla="*/ 411956 h 411956"/>
                  <a:gd name="connsiteX8" fmla="*/ 192881 w 216693"/>
                  <a:gd name="connsiteY8" fmla="*/ 402431 h 411956"/>
                  <a:gd name="connsiteX9" fmla="*/ 185737 w 216693"/>
                  <a:gd name="connsiteY9" fmla="*/ 309562 h 411956"/>
                  <a:gd name="connsiteX10" fmla="*/ 216693 w 216693"/>
                  <a:gd name="connsiteY10" fmla="*/ 257175 h 411956"/>
                  <a:gd name="connsiteX11" fmla="*/ 216693 w 216693"/>
                  <a:gd name="connsiteY11" fmla="*/ 128587 h 411956"/>
                  <a:gd name="connsiteX12" fmla="*/ 211931 w 216693"/>
                  <a:gd name="connsiteY12" fmla="*/ 80962 h 411956"/>
                  <a:gd name="connsiteX13" fmla="*/ 142875 w 216693"/>
                  <a:gd name="connsiteY13" fmla="*/ 28575 h 411956"/>
                  <a:gd name="connsiteX14" fmla="*/ 116681 w 216693"/>
                  <a:gd name="connsiteY14" fmla="*/ 7143 h 411956"/>
                  <a:gd name="connsiteX15" fmla="*/ 78581 w 216693"/>
                  <a:gd name="connsiteY15" fmla="*/ 4762 h 411956"/>
                  <a:gd name="connsiteX16" fmla="*/ 42862 w 216693"/>
                  <a:gd name="connsiteY16" fmla="*/ 0 h 411956"/>
                  <a:gd name="connsiteX17" fmla="*/ 35718 w 216693"/>
                  <a:gd name="connsiteY17" fmla="*/ 19050 h 411956"/>
                  <a:gd name="connsiteX18" fmla="*/ 35718 w 216693"/>
                  <a:gd name="connsiteY18" fmla="*/ 19050 h 411956"/>
                  <a:gd name="connsiteX19" fmla="*/ 38100 w 216693"/>
                  <a:gd name="connsiteY19" fmla="*/ 88106 h 411956"/>
                  <a:gd name="connsiteX20" fmla="*/ 11906 w 216693"/>
                  <a:gd name="connsiteY20" fmla="*/ 114300 h 411956"/>
                  <a:gd name="connsiteX21" fmla="*/ 0 w 216693"/>
                  <a:gd name="connsiteY21" fmla="*/ 183356 h 411956"/>
                  <a:gd name="connsiteX0" fmla="*/ 0 w 216693"/>
                  <a:gd name="connsiteY0" fmla="*/ 183356 h 411956"/>
                  <a:gd name="connsiteX1" fmla="*/ 40481 w 216693"/>
                  <a:gd name="connsiteY1" fmla="*/ 254793 h 411956"/>
                  <a:gd name="connsiteX2" fmla="*/ 59531 w 216693"/>
                  <a:gd name="connsiteY2" fmla="*/ 276225 h 411956"/>
                  <a:gd name="connsiteX3" fmla="*/ 71437 w 216693"/>
                  <a:gd name="connsiteY3" fmla="*/ 309562 h 411956"/>
                  <a:gd name="connsiteX4" fmla="*/ 73818 w 216693"/>
                  <a:gd name="connsiteY4" fmla="*/ 342900 h 411956"/>
                  <a:gd name="connsiteX5" fmla="*/ 111918 w 216693"/>
                  <a:gd name="connsiteY5" fmla="*/ 392906 h 411956"/>
                  <a:gd name="connsiteX6" fmla="*/ 130968 w 216693"/>
                  <a:gd name="connsiteY6" fmla="*/ 388143 h 411956"/>
                  <a:gd name="connsiteX7" fmla="*/ 157162 w 216693"/>
                  <a:gd name="connsiteY7" fmla="*/ 411956 h 411956"/>
                  <a:gd name="connsiteX8" fmla="*/ 192881 w 216693"/>
                  <a:gd name="connsiteY8" fmla="*/ 402431 h 411956"/>
                  <a:gd name="connsiteX9" fmla="*/ 185737 w 216693"/>
                  <a:gd name="connsiteY9" fmla="*/ 309562 h 411956"/>
                  <a:gd name="connsiteX10" fmla="*/ 216693 w 216693"/>
                  <a:gd name="connsiteY10" fmla="*/ 257175 h 411956"/>
                  <a:gd name="connsiteX11" fmla="*/ 216693 w 216693"/>
                  <a:gd name="connsiteY11" fmla="*/ 128587 h 411956"/>
                  <a:gd name="connsiteX12" fmla="*/ 211931 w 216693"/>
                  <a:gd name="connsiteY12" fmla="*/ 80962 h 411956"/>
                  <a:gd name="connsiteX13" fmla="*/ 142875 w 216693"/>
                  <a:gd name="connsiteY13" fmla="*/ 28575 h 411956"/>
                  <a:gd name="connsiteX14" fmla="*/ 116681 w 216693"/>
                  <a:gd name="connsiteY14" fmla="*/ 7143 h 411956"/>
                  <a:gd name="connsiteX15" fmla="*/ 78581 w 216693"/>
                  <a:gd name="connsiteY15" fmla="*/ 4762 h 411956"/>
                  <a:gd name="connsiteX16" fmla="*/ 42862 w 216693"/>
                  <a:gd name="connsiteY16" fmla="*/ 0 h 411956"/>
                  <a:gd name="connsiteX17" fmla="*/ 35718 w 216693"/>
                  <a:gd name="connsiteY17" fmla="*/ 19050 h 411956"/>
                  <a:gd name="connsiteX18" fmla="*/ 26193 w 216693"/>
                  <a:gd name="connsiteY18" fmla="*/ 26194 h 411956"/>
                  <a:gd name="connsiteX19" fmla="*/ 38100 w 216693"/>
                  <a:gd name="connsiteY19" fmla="*/ 88106 h 411956"/>
                  <a:gd name="connsiteX20" fmla="*/ 11906 w 216693"/>
                  <a:gd name="connsiteY20" fmla="*/ 114300 h 411956"/>
                  <a:gd name="connsiteX21" fmla="*/ 0 w 216693"/>
                  <a:gd name="connsiteY21" fmla="*/ 183356 h 411956"/>
                  <a:gd name="connsiteX0" fmla="*/ 0 w 216693"/>
                  <a:gd name="connsiteY0" fmla="*/ 185737 h 414337"/>
                  <a:gd name="connsiteX1" fmla="*/ 40481 w 216693"/>
                  <a:gd name="connsiteY1" fmla="*/ 257174 h 414337"/>
                  <a:gd name="connsiteX2" fmla="*/ 59531 w 216693"/>
                  <a:gd name="connsiteY2" fmla="*/ 278606 h 414337"/>
                  <a:gd name="connsiteX3" fmla="*/ 71437 w 216693"/>
                  <a:gd name="connsiteY3" fmla="*/ 311943 h 414337"/>
                  <a:gd name="connsiteX4" fmla="*/ 73818 w 216693"/>
                  <a:gd name="connsiteY4" fmla="*/ 345281 h 414337"/>
                  <a:gd name="connsiteX5" fmla="*/ 111918 w 216693"/>
                  <a:gd name="connsiteY5" fmla="*/ 395287 h 414337"/>
                  <a:gd name="connsiteX6" fmla="*/ 130968 w 216693"/>
                  <a:gd name="connsiteY6" fmla="*/ 390524 h 414337"/>
                  <a:gd name="connsiteX7" fmla="*/ 157162 w 216693"/>
                  <a:gd name="connsiteY7" fmla="*/ 414337 h 414337"/>
                  <a:gd name="connsiteX8" fmla="*/ 192881 w 216693"/>
                  <a:gd name="connsiteY8" fmla="*/ 404812 h 414337"/>
                  <a:gd name="connsiteX9" fmla="*/ 185737 w 216693"/>
                  <a:gd name="connsiteY9" fmla="*/ 311943 h 414337"/>
                  <a:gd name="connsiteX10" fmla="*/ 216693 w 216693"/>
                  <a:gd name="connsiteY10" fmla="*/ 259556 h 414337"/>
                  <a:gd name="connsiteX11" fmla="*/ 216693 w 216693"/>
                  <a:gd name="connsiteY11" fmla="*/ 130968 h 414337"/>
                  <a:gd name="connsiteX12" fmla="*/ 211931 w 216693"/>
                  <a:gd name="connsiteY12" fmla="*/ 83343 h 414337"/>
                  <a:gd name="connsiteX13" fmla="*/ 142875 w 216693"/>
                  <a:gd name="connsiteY13" fmla="*/ 30956 h 414337"/>
                  <a:gd name="connsiteX14" fmla="*/ 116681 w 216693"/>
                  <a:gd name="connsiteY14" fmla="*/ 9524 h 414337"/>
                  <a:gd name="connsiteX15" fmla="*/ 78581 w 216693"/>
                  <a:gd name="connsiteY15" fmla="*/ 7143 h 414337"/>
                  <a:gd name="connsiteX16" fmla="*/ 30956 w 216693"/>
                  <a:gd name="connsiteY16" fmla="*/ 0 h 414337"/>
                  <a:gd name="connsiteX17" fmla="*/ 35718 w 216693"/>
                  <a:gd name="connsiteY17" fmla="*/ 21431 h 414337"/>
                  <a:gd name="connsiteX18" fmla="*/ 26193 w 216693"/>
                  <a:gd name="connsiteY18" fmla="*/ 28575 h 414337"/>
                  <a:gd name="connsiteX19" fmla="*/ 38100 w 216693"/>
                  <a:gd name="connsiteY19" fmla="*/ 90487 h 414337"/>
                  <a:gd name="connsiteX20" fmla="*/ 11906 w 216693"/>
                  <a:gd name="connsiteY20" fmla="*/ 116681 h 414337"/>
                  <a:gd name="connsiteX21" fmla="*/ 0 w 216693"/>
                  <a:gd name="connsiteY21" fmla="*/ 185737 h 414337"/>
                  <a:gd name="connsiteX0" fmla="*/ 0 w 216693"/>
                  <a:gd name="connsiteY0" fmla="*/ 185737 h 414337"/>
                  <a:gd name="connsiteX1" fmla="*/ 40481 w 216693"/>
                  <a:gd name="connsiteY1" fmla="*/ 257174 h 414337"/>
                  <a:gd name="connsiteX2" fmla="*/ 59531 w 216693"/>
                  <a:gd name="connsiteY2" fmla="*/ 278606 h 414337"/>
                  <a:gd name="connsiteX3" fmla="*/ 71437 w 216693"/>
                  <a:gd name="connsiteY3" fmla="*/ 311943 h 414337"/>
                  <a:gd name="connsiteX4" fmla="*/ 73818 w 216693"/>
                  <a:gd name="connsiteY4" fmla="*/ 345281 h 414337"/>
                  <a:gd name="connsiteX5" fmla="*/ 111918 w 216693"/>
                  <a:gd name="connsiteY5" fmla="*/ 395287 h 414337"/>
                  <a:gd name="connsiteX6" fmla="*/ 130968 w 216693"/>
                  <a:gd name="connsiteY6" fmla="*/ 390524 h 414337"/>
                  <a:gd name="connsiteX7" fmla="*/ 157162 w 216693"/>
                  <a:gd name="connsiteY7" fmla="*/ 414337 h 414337"/>
                  <a:gd name="connsiteX8" fmla="*/ 192881 w 216693"/>
                  <a:gd name="connsiteY8" fmla="*/ 404812 h 414337"/>
                  <a:gd name="connsiteX9" fmla="*/ 185737 w 216693"/>
                  <a:gd name="connsiteY9" fmla="*/ 311943 h 414337"/>
                  <a:gd name="connsiteX10" fmla="*/ 216693 w 216693"/>
                  <a:gd name="connsiteY10" fmla="*/ 259556 h 414337"/>
                  <a:gd name="connsiteX11" fmla="*/ 216693 w 216693"/>
                  <a:gd name="connsiteY11" fmla="*/ 130968 h 414337"/>
                  <a:gd name="connsiteX12" fmla="*/ 211931 w 216693"/>
                  <a:gd name="connsiteY12" fmla="*/ 83343 h 414337"/>
                  <a:gd name="connsiteX13" fmla="*/ 142875 w 216693"/>
                  <a:gd name="connsiteY13" fmla="*/ 30956 h 414337"/>
                  <a:gd name="connsiteX14" fmla="*/ 116681 w 216693"/>
                  <a:gd name="connsiteY14" fmla="*/ 9524 h 414337"/>
                  <a:gd name="connsiteX15" fmla="*/ 78581 w 216693"/>
                  <a:gd name="connsiteY15" fmla="*/ 7143 h 414337"/>
                  <a:gd name="connsiteX16" fmla="*/ 30956 w 216693"/>
                  <a:gd name="connsiteY16" fmla="*/ 0 h 414337"/>
                  <a:gd name="connsiteX17" fmla="*/ 23812 w 216693"/>
                  <a:gd name="connsiteY17" fmla="*/ 19050 h 414337"/>
                  <a:gd name="connsiteX18" fmla="*/ 26193 w 216693"/>
                  <a:gd name="connsiteY18" fmla="*/ 28575 h 414337"/>
                  <a:gd name="connsiteX19" fmla="*/ 38100 w 216693"/>
                  <a:gd name="connsiteY19" fmla="*/ 90487 h 414337"/>
                  <a:gd name="connsiteX20" fmla="*/ 11906 w 216693"/>
                  <a:gd name="connsiteY20" fmla="*/ 116681 h 414337"/>
                  <a:gd name="connsiteX21" fmla="*/ 0 w 216693"/>
                  <a:gd name="connsiteY21" fmla="*/ 185737 h 414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16693" h="414337">
                    <a:moveTo>
                      <a:pt x="0" y="185737"/>
                    </a:moveTo>
                    <a:lnTo>
                      <a:pt x="40481" y="257174"/>
                    </a:lnTo>
                    <a:lnTo>
                      <a:pt x="59531" y="278606"/>
                    </a:lnTo>
                    <a:lnTo>
                      <a:pt x="71437" y="311943"/>
                    </a:lnTo>
                    <a:lnTo>
                      <a:pt x="73818" y="345281"/>
                    </a:lnTo>
                    <a:lnTo>
                      <a:pt x="111918" y="395287"/>
                    </a:lnTo>
                    <a:lnTo>
                      <a:pt x="130968" y="390524"/>
                    </a:lnTo>
                    <a:lnTo>
                      <a:pt x="157162" y="414337"/>
                    </a:lnTo>
                    <a:lnTo>
                      <a:pt x="192881" y="404812"/>
                    </a:lnTo>
                    <a:lnTo>
                      <a:pt x="185737" y="311943"/>
                    </a:lnTo>
                    <a:lnTo>
                      <a:pt x="216693" y="259556"/>
                    </a:lnTo>
                    <a:lnTo>
                      <a:pt x="216693" y="130968"/>
                    </a:lnTo>
                    <a:lnTo>
                      <a:pt x="211931" y="83343"/>
                    </a:lnTo>
                    <a:lnTo>
                      <a:pt x="142875" y="30956"/>
                    </a:lnTo>
                    <a:lnTo>
                      <a:pt x="116681" y="9524"/>
                    </a:lnTo>
                    <a:lnTo>
                      <a:pt x="78581" y="7143"/>
                    </a:lnTo>
                    <a:lnTo>
                      <a:pt x="30956" y="0"/>
                    </a:lnTo>
                    <a:cubicBezTo>
                      <a:pt x="28575" y="6350"/>
                      <a:pt x="24606" y="14288"/>
                      <a:pt x="23812" y="19050"/>
                    </a:cubicBezTo>
                    <a:cubicBezTo>
                      <a:pt x="23018" y="23812"/>
                      <a:pt x="23812" y="16669"/>
                      <a:pt x="26193" y="28575"/>
                    </a:cubicBezTo>
                    <a:cubicBezTo>
                      <a:pt x="28574" y="40481"/>
                      <a:pt x="34131" y="69850"/>
                      <a:pt x="38100" y="90487"/>
                    </a:cubicBezTo>
                    <a:lnTo>
                      <a:pt x="11906" y="116681"/>
                    </a:lnTo>
                    <a:cubicBezTo>
                      <a:pt x="11112" y="139700"/>
                      <a:pt x="10319" y="162718"/>
                      <a:pt x="0" y="185737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161" name="Freeform 26">
                <a:extLst>
                  <a:ext uri="{FF2B5EF4-FFF2-40B4-BE49-F238E27FC236}">
                    <a16:creationId xmlns:a16="http://schemas.microsoft.com/office/drawing/2014/main" id="{7B8D1CCA-DC17-431F-8762-D26EC6EA4825}"/>
                  </a:ext>
                </a:extLst>
              </p:cNvPr>
              <p:cNvSpPr/>
              <p:nvPr/>
            </p:nvSpPr>
            <p:spPr>
              <a:xfrm>
                <a:off x="7059613" y="3467100"/>
                <a:ext cx="334962" cy="301625"/>
              </a:xfrm>
              <a:custGeom>
                <a:avLst/>
                <a:gdLst>
                  <a:gd name="connsiteX0" fmla="*/ 104775 w 335757"/>
                  <a:gd name="connsiteY0" fmla="*/ 302419 h 302419"/>
                  <a:gd name="connsiteX1" fmla="*/ 247650 w 335757"/>
                  <a:gd name="connsiteY1" fmla="*/ 276225 h 302419"/>
                  <a:gd name="connsiteX2" fmla="*/ 280988 w 335757"/>
                  <a:gd name="connsiteY2" fmla="*/ 209550 h 302419"/>
                  <a:gd name="connsiteX3" fmla="*/ 302419 w 335757"/>
                  <a:gd name="connsiteY3" fmla="*/ 173832 h 302419"/>
                  <a:gd name="connsiteX4" fmla="*/ 316707 w 335757"/>
                  <a:gd name="connsiteY4" fmla="*/ 138113 h 302419"/>
                  <a:gd name="connsiteX5" fmla="*/ 335757 w 335757"/>
                  <a:gd name="connsiteY5" fmla="*/ 114300 h 302419"/>
                  <a:gd name="connsiteX6" fmla="*/ 314325 w 335757"/>
                  <a:gd name="connsiteY6" fmla="*/ 66675 h 302419"/>
                  <a:gd name="connsiteX7" fmla="*/ 309563 w 335757"/>
                  <a:gd name="connsiteY7" fmla="*/ 30957 h 302419"/>
                  <a:gd name="connsiteX8" fmla="*/ 252413 w 335757"/>
                  <a:gd name="connsiteY8" fmla="*/ 7144 h 302419"/>
                  <a:gd name="connsiteX9" fmla="*/ 216694 w 335757"/>
                  <a:gd name="connsiteY9" fmla="*/ 0 h 302419"/>
                  <a:gd name="connsiteX10" fmla="*/ 169069 w 335757"/>
                  <a:gd name="connsiteY10" fmla="*/ 16669 h 302419"/>
                  <a:gd name="connsiteX11" fmla="*/ 135732 w 335757"/>
                  <a:gd name="connsiteY11" fmla="*/ 40482 h 302419"/>
                  <a:gd name="connsiteX12" fmla="*/ 66675 w 335757"/>
                  <a:gd name="connsiteY12" fmla="*/ 102394 h 302419"/>
                  <a:gd name="connsiteX13" fmla="*/ 76200 w 335757"/>
                  <a:gd name="connsiteY13" fmla="*/ 176213 h 302419"/>
                  <a:gd name="connsiteX14" fmla="*/ 0 w 335757"/>
                  <a:gd name="connsiteY14" fmla="*/ 221457 h 302419"/>
                  <a:gd name="connsiteX15" fmla="*/ 104775 w 335757"/>
                  <a:gd name="connsiteY15" fmla="*/ 302419 h 302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35757" h="302419">
                    <a:moveTo>
                      <a:pt x="104775" y="302419"/>
                    </a:moveTo>
                    <a:lnTo>
                      <a:pt x="247650" y="276225"/>
                    </a:lnTo>
                    <a:lnTo>
                      <a:pt x="280988" y="209550"/>
                    </a:lnTo>
                    <a:lnTo>
                      <a:pt x="302419" y="173832"/>
                    </a:lnTo>
                    <a:lnTo>
                      <a:pt x="316707" y="138113"/>
                    </a:lnTo>
                    <a:lnTo>
                      <a:pt x="335757" y="114300"/>
                    </a:lnTo>
                    <a:lnTo>
                      <a:pt x="314325" y="66675"/>
                    </a:lnTo>
                    <a:lnTo>
                      <a:pt x="309563" y="30957"/>
                    </a:lnTo>
                    <a:lnTo>
                      <a:pt x="252413" y="7144"/>
                    </a:lnTo>
                    <a:lnTo>
                      <a:pt x="216694" y="0"/>
                    </a:lnTo>
                    <a:lnTo>
                      <a:pt x="169069" y="16669"/>
                    </a:lnTo>
                    <a:lnTo>
                      <a:pt x="135732" y="40482"/>
                    </a:lnTo>
                    <a:lnTo>
                      <a:pt x="66675" y="102394"/>
                    </a:lnTo>
                    <a:lnTo>
                      <a:pt x="76200" y="176213"/>
                    </a:lnTo>
                    <a:lnTo>
                      <a:pt x="0" y="221457"/>
                    </a:lnTo>
                    <a:lnTo>
                      <a:pt x="104775" y="302419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  <p:sp>
            <p:nvSpPr>
              <p:cNvPr id="162" name="Freeform 27">
                <a:extLst>
                  <a:ext uri="{FF2B5EF4-FFF2-40B4-BE49-F238E27FC236}">
                    <a16:creationId xmlns:a16="http://schemas.microsoft.com/office/drawing/2014/main" id="{672ED2BA-17F6-4BD0-8459-13DFCD7434CB}"/>
                  </a:ext>
                </a:extLst>
              </p:cNvPr>
              <p:cNvSpPr/>
              <p:nvPr/>
            </p:nvSpPr>
            <p:spPr>
              <a:xfrm>
                <a:off x="6459538" y="2959100"/>
                <a:ext cx="1119187" cy="736600"/>
              </a:xfrm>
              <a:custGeom>
                <a:avLst/>
                <a:gdLst>
                  <a:gd name="connsiteX0" fmla="*/ 723900 w 1119188"/>
                  <a:gd name="connsiteY0" fmla="*/ 554831 h 735806"/>
                  <a:gd name="connsiteX1" fmla="*/ 716757 w 1119188"/>
                  <a:gd name="connsiteY1" fmla="*/ 497681 h 735806"/>
                  <a:gd name="connsiteX2" fmla="*/ 702469 w 1119188"/>
                  <a:gd name="connsiteY2" fmla="*/ 473869 h 735806"/>
                  <a:gd name="connsiteX3" fmla="*/ 716757 w 1119188"/>
                  <a:gd name="connsiteY3" fmla="*/ 459581 h 735806"/>
                  <a:gd name="connsiteX4" fmla="*/ 766763 w 1119188"/>
                  <a:gd name="connsiteY4" fmla="*/ 461963 h 735806"/>
                  <a:gd name="connsiteX5" fmla="*/ 764382 w 1119188"/>
                  <a:gd name="connsiteY5" fmla="*/ 426244 h 735806"/>
                  <a:gd name="connsiteX6" fmla="*/ 773907 w 1119188"/>
                  <a:gd name="connsiteY6" fmla="*/ 407194 h 735806"/>
                  <a:gd name="connsiteX7" fmla="*/ 819150 w 1119188"/>
                  <a:gd name="connsiteY7" fmla="*/ 376238 h 735806"/>
                  <a:gd name="connsiteX8" fmla="*/ 816769 w 1119188"/>
                  <a:gd name="connsiteY8" fmla="*/ 283369 h 735806"/>
                  <a:gd name="connsiteX9" fmla="*/ 840582 w 1119188"/>
                  <a:gd name="connsiteY9" fmla="*/ 273844 h 735806"/>
                  <a:gd name="connsiteX10" fmla="*/ 881063 w 1119188"/>
                  <a:gd name="connsiteY10" fmla="*/ 321469 h 735806"/>
                  <a:gd name="connsiteX11" fmla="*/ 909638 w 1119188"/>
                  <a:gd name="connsiteY11" fmla="*/ 307181 h 735806"/>
                  <a:gd name="connsiteX12" fmla="*/ 919163 w 1119188"/>
                  <a:gd name="connsiteY12" fmla="*/ 264319 h 735806"/>
                  <a:gd name="connsiteX13" fmla="*/ 952500 w 1119188"/>
                  <a:gd name="connsiteY13" fmla="*/ 259556 h 735806"/>
                  <a:gd name="connsiteX14" fmla="*/ 1004888 w 1119188"/>
                  <a:gd name="connsiteY14" fmla="*/ 204788 h 735806"/>
                  <a:gd name="connsiteX15" fmla="*/ 1035844 w 1119188"/>
                  <a:gd name="connsiteY15" fmla="*/ 180975 h 735806"/>
                  <a:gd name="connsiteX16" fmla="*/ 1104900 w 1119188"/>
                  <a:gd name="connsiteY16" fmla="*/ 157163 h 735806"/>
                  <a:gd name="connsiteX17" fmla="*/ 1116807 w 1119188"/>
                  <a:gd name="connsiteY17" fmla="*/ 83344 h 735806"/>
                  <a:gd name="connsiteX18" fmla="*/ 1116807 w 1119188"/>
                  <a:gd name="connsiteY18" fmla="*/ 57150 h 735806"/>
                  <a:gd name="connsiteX19" fmla="*/ 1119188 w 1119188"/>
                  <a:gd name="connsiteY19" fmla="*/ 35719 h 735806"/>
                  <a:gd name="connsiteX20" fmla="*/ 1104900 w 1119188"/>
                  <a:gd name="connsiteY20" fmla="*/ 0 h 735806"/>
                  <a:gd name="connsiteX21" fmla="*/ 1069182 w 1119188"/>
                  <a:gd name="connsiteY21" fmla="*/ 7144 h 735806"/>
                  <a:gd name="connsiteX22" fmla="*/ 992982 w 1119188"/>
                  <a:gd name="connsiteY22" fmla="*/ 9525 h 735806"/>
                  <a:gd name="connsiteX23" fmla="*/ 954882 w 1119188"/>
                  <a:gd name="connsiteY23" fmla="*/ 38100 h 735806"/>
                  <a:gd name="connsiteX24" fmla="*/ 931069 w 1119188"/>
                  <a:gd name="connsiteY24" fmla="*/ 42863 h 735806"/>
                  <a:gd name="connsiteX25" fmla="*/ 904875 w 1119188"/>
                  <a:gd name="connsiteY25" fmla="*/ 42863 h 735806"/>
                  <a:gd name="connsiteX26" fmla="*/ 831057 w 1119188"/>
                  <a:gd name="connsiteY26" fmla="*/ 85725 h 735806"/>
                  <a:gd name="connsiteX27" fmla="*/ 776288 w 1119188"/>
                  <a:gd name="connsiteY27" fmla="*/ 104775 h 735806"/>
                  <a:gd name="connsiteX28" fmla="*/ 707232 w 1119188"/>
                  <a:gd name="connsiteY28" fmla="*/ 180975 h 735806"/>
                  <a:gd name="connsiteX29" fmla="*/ 692944 w 1119188"/>
                  <a:gd name="connsiteY29" fmla="*/ 195263 h 735806"/>
                  <a:gd name="connsiteX30" fmla="*/ 626269 w 1119188"/>
                  <a:gd name="connsiteY30" fmla="*/ 192881 h 735806"/>
                  <a:gd name="connsiteX31" fmla="*/ 619125 w 1119188"/>
                  <a:gd name="connsiteY31" fmla="*/ 207169 h 735806"/>
                  <a:gd name="connsiteX32" fmla="*/ 519113 w 1119188"/>
                  <a:gd name="connsiteY32" fmla="*/ 211931 h 735806"/>
                  <a:gd name="connsiteX33" fmla="*/ 492919 w 1119188"/>
                  <a:gd name="connsiteY33" fmla="*/ 230981 h 735806"/>
                  <a:gd name="connsiteX34" fmla="*/ 459582 w 1119188"/>
                  <a:gd name="connsiteY34" fmla="*/ 245269 h 735806"/>
                  <a:gd name="connsiteX35" fmla="*/ 433388 w 1119188"/>
                  <a:gd name="connsiteY35" fmla="*/ 271463 h 735806"/>
                  <a:gd name="connsiteX36" fmla="*/ 416719 w 1119188"/>
                  <a:gd name="connsiteY36" fmla="*/ 278606 h 735806"/>
                  <a:gd name="connsiteX37" fmla="*/ 378619 w 1119188"/>
                  <a:gd name="connsiteY37" fmla="*/ 278606 h 735806"/>
                  <a:gd name="connsiteX38" fmla="*/ 335757 w 1119188"/>
                  <a:gd name="connsiteY38" fmla="*/ 250031 h 735806"/>
                  <a:gd name="connsiteX39" fmla="*/ 250032 w 1119188"/>
                  <a:gd name="connsiteY39" fmla="*/ 250031 h 735806"/>
                  <a:gd name="connsiteX40" fmla="*/ 211932 w 1119188"/>
                  <a:gd name="connsiteY40" fmla="*/ 240506 h 735806"/>
                  <a:gd name="connsiteX41" fmla="*/ 188119 w 1119188"/>
                  <a:gd name="connsiteY41" fmla="*/ 221456 h 735806"/>
                  <a:gd name="connsiteX42" fmla="*/ 171450 w 1119188"/>
                  <a:gd name="connsiteY42" fmla="*/ 207169 h 735806"/>
                  <a:gd name="connsiteX43" fmla="*/ 150019 w 1119188"/>
                  <a:gd name="connsiteY43" fmla="*/ 202406 h 735806"/>
                  <a:gd name="connsiteX44" fmla="*/ 126207 w 1119188"/>
                  <a:gd name="connsiteY44" fmla="*/ 209550 h 735806"/>
                  <a:gd name="connsiteX45" fmla="*/ 85725 w 1119188"/>
                  <a:gd name="connsiteY45" fmla="*/ 226219 h 735806"/>
                  <a:gd name="connsiteX46" fmla="*/ 54769 w 1119188"/>
                  <a:gd name="connsiteY46" fmla="*/ 245269 h 735806"/>
                  <a:gd name="connsiteX47" fmla="*/ 16669 w 1119188"/>
                  <a:gd name="connsiteY47" fmla="*/ 254794 h 735806"/>
                  <a:gd name="connsiteX48" fmla="*/ 0 w 1119188"/>
                  <a:gd name="connsiteY48" fmla="*/ 261938 h 735806"/>
                  <a:gd name="connsiteX49" fmla="*/ 28575 w 1119188"/>
                  <a:gd name="connsiteY49" fmla="*/ 278606 h 735806"/>
                  <a:gd name="connsiteX50" fmla="*/ 59532 w 1119188"/>
                  <a:gd name="connsiteY50" fmla="*/ 278606 h 735806"/>
                  <a:gd name="connsiteX51" fmla="*/ 80963 w 1119188"/>
                  <a:gd name="connsiteY51" fmla="*/ 278606 h 735806"/>
                  <a:gd name="connsiteX52" fmla="*/ 88107 w 1119188"/>
                  <a:gd name="connsiteY52" fmla="*/ 276225 h 735806"/>
                  <a:gd name="connsiteX53" fmla="*/ 100013 w 1119188"/>
                  <a:gd name="connsiteY53" fmla="*/ 261938 h 735806"/>
                  <a:gd name="connsiteX54" fmla="*/ 119063 w 1119188"/>
                  <a:gd name="connsiteY54" fmla="*/ 259556 h 735806"/>
                  <a:gd name="connsiteX55" fmla="*/ 142875 w 1119188"/>
                  <a:gd name="connsiteY55" fmla="*/ 257175 h 735806"/>
                  <a:gd name="connsiteX56" fmla="*/ 154782 w 1119188"/>
                  <a:gd name="connsiteY56" fmla="*/ 271463 h 735806"/>
                  <a:gd name="connsiteX57" fmla="*/ 145257 w 1119188"/>
                  <a:gd name="connsiteY57" fmla="*/ 292894 h 735806"/>
                  <a:gd name="connsiteX58" fmla="*/ 114300 w 1119188"/>
                  <a:gd name="connsiteY58" fmla="*/ 304800 h 735806"/>
                  <a:gd name="connsiteX59" fmla="*/ 78582 w 1119188"/>
                  <a:gd name="connsiteY59" fmla="*/ 397669 h 735806"/>
                  <a:gd name="connsiteX60" fmla="*/ 97632 w 1119188"/>
                  <a:gd name="connsiteY60" fmla="*/ 421481 h 735806"/>
                  <a:gd name="connsiteX61" fmla="*/ 102394 w 1119188"/>
                  <a:gd name="connsiteY61" fmla="*/ 464344 h 735806"/>
                  <a:gd name="connsiteX62" fmla="*/ 107157 w 1119188"/>
                  <a:gd name="connsiteY62" fmla="*/ 481013 h 735806"/>
                  <a:gd name="connsiteX63" fmla="*/ 142875 w 1119188"/>
                  <a:gd name="connsiteY63" fmla="*/ 471488 h 735806"/>
                  <a:gd name="connsiteX64" fmla="*/ 178594 w 1119188"/>
                  <a:gd name="connsiteY64" fmla="*/ 459581 h 735806"/>
                  <a:gd name="connsiteX65" fmla="*/ 228600 w 1119188"/>
                  <a:gd name="connsiteY65" fmla="*/ 471488 h 735806"/>
                  <a:gd name="connsiteX66" fmla="*/ 266700 w 1119188"/>
                  <a:gd name="connsiteY66" fmla="*/ 481013 h 735806"/>
                  <a:gd name="connsiteX67" fmla="*/ 319088 w 1119188"/>
                  <a:gd name="connsiteY67" fmla="*/ 478631 h 735806"/>
                  <a:gd name="connsiteX68" fmla="*/ 359569 w 1119188"/>
                  <a:gd name="connsiteY68" fmla="*/ 461963 h 735806"/>
                  <a:gd name="connsiteX69" fmla="*/ 395288 w 1119188"/>
                  <a:gd name="connsiteY69" fmla="*/ 442913 h 735806"/>
                  <a:gd name="connsiteX70" fmla="*/ 433388 w 1119188"/>
                  <a:gd name="connsiteY70" fmla="*/ 450056 h 735806"/>
                  <a:gd name="connsiteX71" fmla="*/ 473869 w 1119188"/>
                  <a:gd name="connsiteY71" fmla="*/ 469106 h 735806"/>
                  <a:gd name="connsiteX72" fmla="*/ 519113 w 1119188"/>
                  <a:gd name="connsiteY72" fmla="*/ 495300 h 735806"/>
                  <a:gd name="connsiteX73" fmla="*/ 550069 w 1119188"/>
                  <a:gd name="connsiteY73" fmla="*/ 521494 h 735806"/>
                  <a:gd name="connsiteX74" fmla="*/ 554832 w 1119188"/>
                  <a:gd name="connsiteY74" fmla="*/ 559594 h 735806"/>
                  <a:gd name="connsiteX75" fmla="*/ 550069 w 1119188"/>
                  <a:gd name="connsiteY75" fmla="*/ 614363 h 735806"/>
                  <a:gd name="connsiteX76" fmla="*/ 545307 w 1119188"/>
                  <a:gd name="connsiteY76" fmla="*/ 645319 h 735806"/>
                  <a:gd name="connsiteX77" fmla="*/ 519113 w 1119188"/>
                  <a:gd name="connsiteY77" fmla="*/ 657225 h 735806"/>
                  <a:gd name="connsiteX78" fmla="*/ 502444 w 1119188"/>
                  <a:gd name="connsiteY78" fmla="*/ 673894 h 735806"/>
                  <a:gd name="connsiteX79" fmla="*/ 504825 w 1119188"/>
                  <a:gd name="connsiteY79" fmla="*/ 707231 h 735806"/>
                  <a:gd name="connsiteX80" fmla="*/ 523875 w 1119188"/>
                  <a:gd name="connsiteY80" fmla="*/ 731044 h 735806"/>
                  <a:gd name="connsiteX81" fmla="*/ 604838 w 1119188"/>
                  <a:gd name="connsiteY81" fmla="*/ 735806 h 735806"/>
                  <a:gd name="connsiteX82" fmla="*/ 671513 w 1119188"/>
                  <a:gd name="connsiteY82" fmla="*/ 685800 h 735806"/>
                  <a:gd name="connsiteX83" fmla="*/ 671513 w 1119188"/>
                  <a:gd name="connsiteY83" fmla="*/ 604838 h 735806"/>
                  <a:gd name="connsiteX84" fmla="*/ 723900 w 1119188"/>
                  <a:gd name="connsiteY84" fmla="*/ 554831 h 735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1119188" h="735806">
                    <a:moveTo>
                      <a:pt x="723900" y="554831"/>
                    </a:moveTo>
                    <a:lnTo>
                      <a:pt x="716757" y="497681"/>
                    </a:lnTo>
                    <a:lnTo>
                      <a:pt x="702469" y="473869"/>
                    </a:lnTo>
                    <a:lnTo>
                      <a:pt x="716757" y="459581"/>
                    </a:lnTo>
                    <a:lnTo>
                      <a:pt x="766763" y="461963"/>
                    </a:lnTo>
                    <a:lnTo>
                      <a:pt x="764382" y="426244"/>
                    </a:lnTo>
                    <a:lnTo>
                      <a:pt x="773907" y="407194"/>
                    </a:lnTo>
                    <a:lnTo>
                      <a:pt x="819150" y="376238"/>
                    </a:lnTo>
                    <a:cubicBezTo>
                      <a:pt x="818356" y="345282"/>
                      <a:pt x="817563" y="314325"/>
                      <a:pt x="816769" y="283369"/>
                    </a:cubicBezTo>
                    <a:lnTo>
                      <a:pt x="840582" y="273844"/>
                    </a:lnTo>
                    <a:lnTo>
                      <a:pt x="881063" y="321469"/>
                    </a:lnTo>
                    <a:lnTo>
                      <a:pt x="909638" y="307181"/>
                    </a:lnTo>
                    <a:lnTo>
                      <a:pt x="919163" y="264319"/>
                    </a:lnTo>
                    <a:lnTo>
                      <a:pt x="952500" y="259556"/>
                    </a:lnTo>
                    <a:lnTo>
                      <a:pt x="1004888" y="204788"/>
                    </a:lnTo>
                    <a:lnTo>
                      <a:pt x="1035844" y="180975"/>
                    </a:lnTo>
                    <a:lnTo>
                      <a:pt x="1104900" y="157163"/>
                    </a:lnTo>
                    <a:lnTo>
                      <a:pt x="1116807" y="83344"/>
                    </a:lnTo>
                    <a:lnTo>
                      <a:pt x="1116807" y="57150"/>
                    </a:lnTo>
                    <a:lnTo>
                      <a:pt x="1119188" y="35719"/>
                    </a:lnTo>
                    <a:lnTo>
                      <a:pt x="1104900" y="0"/>
                    </a:lnTo>
                    <a:lnTo>
                      <a:pt x="1069182" y="7144"/>
                    </a:lnTo>
                    <a:lnTo>
                      <a:pt x="992982" y="9525"/>
                    </a:lnTo>
                    <a:lnTo>
                      <a:pt x="954882" y="38100"/>
                    </a:lnTo>
                    <a:lnTo>
                      <a:pt x="931069" y="42863"/>
                    </a:lnTo>
                    <a:lnTo>
                      <a:pt x="904875" y="42863"/>
                    </a:lnTo>
                    <a:lnTo>
                      <a:pt x="831057" y="85725"/>
                    </a:lnTo>
                    <a:lnTo>
                      <a:pt x="776288" y="104775"/>
                    </a:lnTo>
                    <a:lnTo>
                      <a:pt x="707232" y="180975"/>
                    </a:lnTo>
                    <a:lnTo>
                      <a:pt x="692944" y="195263"/>
                    </a:lnTo>
                    <a:lnTo>
                      <a:pt x="626269" y="192881"/>
                    </a:lnTo>
                    <a:lnTo>
                      <a:pt x="619125" y="207169"/>
                    </a:lnTo>
                    <a:lnTo>
                      <a:pt x="519113" y="211931"/>
                    </a:lnTo>
                    <a:lnTo>
                      <a:pt x="492919" y="230981"/>
                    </a:lnTo>
                    <a:lnTo>
                      <a:pt x="459582" y="245269"/>
                    </a:lnTo>
                    <a:lnTo>
                      <a:pt x="433388" y="271463"/>
                    </a:lnTo>
                    <a:lnTo>
                      <a:pt x="416719" y="278606"/>
                    </a:lnTo>
                    <a:lnTo>
                      <a:pt x="378619" y="278606"/>
                    </a:lnTo>
                    <a:lnTo>
                      <a:pt x="335757" y="250031"/>
                    </a:lnTo>
                    <a:lnTo>
                      <a:pt x="250032" y="250031"/>
                    </a:lnTo>
                    <a:lnTo>
                      <a:pt x="211932" y="240506"/>
                    </a:lnTo>
                    <a:lnTo>
                      <a:pt x="188119" y="221456"/>
                    </a:lnTo>
                    <a:lnTo>
                      <a:pt x="171450" y="207169"/>
                    </a:lnTo>
                    <a:lnTo>
                      <a:pt x="150019" y="202406"/>
                    </a:lnTo>
                    <a:lnTo>
                      <a:pt x="126207" y="209550"/>
                    </a:lnTo>
                    <a:lnTo>
                      <a:pt x="85725" y="226219"/>
                    </a:lnTo>
                    <a:lnTo>
                      <a:pt x="54769" y="245269"/>
                    </a:lnTo>
                    <a:lnTo>
                      <a:pt x="16669" y="254794"/>
                    </a:lnTo>
                    <a:lnTo>
                      <a:pt x="0" y="261938"/>
                    </a:lnTo>
                    <a:lnTo>
                      <a:pt x="28575" y="278606"/>
                    </a:lnTo>
                    <a:lnTo>
                      <a:pt x="59532" y="278606"/>
                    </a:lnTo>
                    <a:lnTo>
                      <a:pt x="80963" y="278606"/>
                    </a:lnTo>
                    <a:lnTo>
                      <a:pt x="88107" y="276225"/>
                    </a:lnTo>
                    <a:lnTo>
                      <a:pt x="100013" y="261938"/>
                    </a:lnTo>
                    <a:lnTo>
                      <a:pt x="119063" y="259556"/>
                    </a:lnTo>
                    <a:lnTo>
                      <a:pt x="142875" y="257175"/>
                    </a:lnTo>
                    <a:lnTo>
                      <a:pt x="154782" y="271463"/>
                    </a:lnTo>
                    <a:lnTo>
                      <a:pt x="145257" y="292894"/>
                    </a:lnTo>
                    <a:lnTo>
                      <a:pt x="114300" y="304800"/>
                    </a:lnTo>
                    <a:lnTo>
                      <a:pt x="78582" y="397669"/>
                    </a:lnTo>
                    <a:lnTo>
                      <a:pt x="97632" y="421481"/>
                    </a:lnTo>
                    <a:lnTo>
                      <a:pt x="102394" y="464344"/>
                    </a:lnTo>
                    <a:lnTo>
                      <a:pt x="107157" y="481013"/>
                    </a:lnTo>
                    <a:lnTo>
                      <a:pt x="142875" y="471488"/>
                    </a:lnTo>
                    <a:lnTo>
                      <a:pt x="178594" y="459581"/>
                    </a:lnTo>
                    <a:lnTo>
                      <a:pt x="228600" y="471488"/>
                    </a:lnTo>
                    <a:lnTo>
                      <a:pt x="266700" y="481013"/>
                    </a:lnTo>
                    <a:lnTo>
                      <a:pt x="319088" y="478631"/>
                    </a:lnTo>
                    <a:lnTo>
                      <a:pt x="359569" y="461963"/>
                    </a:lnTo>
                    <a:lnTo>
                      <a:pt x="395288" y="442913"/>
                    </a:lnTo>
                    <a:lnTo>
                      <a:pt x="433388" y="450056"/>
                    </a:lnTo>
                    <a:lnTo>
                      <a:pt x="473869" y="469106"/>
                    </a:lnTo>
                    <a:lnTo>
                      <a:pt x="519113" y="495300"/>
                    </a:lnTo>
                    <a:lnTo>
                      <a:pt x="550069" y="521494"/>
                    </a:lnTo>
                    <a:lnTo>
                      <a:pt x="554832" y="559594"/>
                    </a:lnTo>
                    <a:lnTo>
                      <a:pt x="550069" y="614363"/>
                    </a:lnTo>
                    <a:lnTo>
                      <a:pt x="545307" y="645319"/>
                    </a:lnTo>
                    <a:lnTo>
                      <a:pt x="519113" y="657225"/>
                    </a:lnTo>
                    <a:lnTo>
                      <a:pt x="502444" y="673894"/>
                    </a:lnTo>
                    <a:lnTo>
                      <a:pt x="504825" y="707231"/>
                    </a:lnTo>
                    <a:lnTo>
                      <a:pt x="523875" y="731044"/>
                    </a:lnTo>
                    <a:lnTo>
                      <a:pt x="604838" y="735806"/>
                    </a:lnTo>
                    <a:lnTo>
                      <a:pt x="671513" y="685800"/>
                    </a:lnTo>
                    <a:lnTo>
                      <a:pt x="671513" y="604838"/>
                    </a:lnTo>
                    <a:lnTo>
                      <a:pt x="723900" y="554831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163" name="Freeform 28">
                <a:extLst>
                  <a:ext uri="{FF2B5EF4-FFF2-40B4-BE49-F238E27FC236}">
                    <a16:creationId xmlns:a16="http://schemas.microsoft.com/office/drawing/2014/main" id="{BB354545-6630-44AE-B0F3-66A178D91426}"/>
                  </a:ext>
                </a:extLst>
              </p:cNvPr>
              <p:cNvSpPr/>
              <p:nvPr/>
            </p:nvSpPr>
            <p:spPr>
              <a:xfrm>
                <a:off x="6556375" y="3402013"/>
                <a:ext cx="460375" cy="212725"/>
              </a:xfrm>
              <a:custGeom>
                <a:avLst/>
                <a:gdLst>
                  <a:gd name="connsiteX0" fmla="*/ 0 w 459581"/>
                  <a:gd name="connsiteY0" fmla="*/ 42862 h 211931"/>
                  <a:gd name="connsiteX1" fmla="*/ 7143 w 459581"/>
                  <a:gd name="connsiteY1" fmla="*/ 104775 h 211931"/>
                  <a:gd name="connsiteX2" fmla="*/ 30956 w 459581"/>
                  <a:gd name="connsiteY2" fmla="*/ 119062 h 211931"/>
                  <a:gd name="connsiteX3" fmla="*/ 33337 w 459581"/>
                  <a:gd name="connsiteY3" fmla="*/ 171450 h 211931"/>
                  <a:gd name="connsiteX4" fmla="*/ 38100 w 459581"/>
                  <a:gd name="connsiteY4" fmla="*/ 188118 h 211931"/>
                  <a:gd name="connsiteX5" fmla="*/ 88106 w 459581"/>
                  <a:gd name="connsiteY5" fmla="*/ 204787 h 211931"/>
                  <a:gd name="connsiteX6" fmla="*/ 88106 w 459581"/>
                  <a:gd name="connsiteY6" fmla="*/ 204787 h 211931"/>
                  <a:gd name="connsiteX7" fmla="*/ 147637 w 459581"/>
                  <a:gd name="connsiteY7" fmla="*/ 211931 h 211931"/>
                  <a:gd name="connsiteX8" fmla="*/ 180975 w 459581"/>
                  <a:gd name="connsiteY8" fmla="*/ 197643 h 211931"/>
                  <a:gd name="connsiteX9" fmla="*/ 214312 w 459581"/>
                  <a:gd name="connsiteY9" fmla="*/ 192881 h 211931"/>
                  <a:gd name="connsiteX10" fmla="*/ 242887 w 459581"/>
                  <a:gd name="connsiteY10" fmla="*/ 204787 h 211931"/>
                  <a:gd name="connsiteX11" fmla="*/ 261937 w 459581"/>
                  <a:gd name="connsiteY11" fmla="*/ 204787 h 211931"/>
                  <a:gd name="connsiteX12" fmla="*/ 321468 w 459581"/>
                  <a:gd name="connsiteY12" fmla="*/ 178593 h 211931"/>
                  <a:gd name="connsiteX13" fmla="*/ 350043 w 459581"/>
                  <a:gd name="connsiteY13" fmla="*/ 180975 h 211931"/>
                  <a:gd name="connsiteX14" fmla="*/ 402431 w 459581"/>
                  <a:gd name="connsiteY14" fmla="*/ 161925 h 211931"/>
                  <a:gd name="connsiteX15" fmla="*/ 457200 w 459581"/>
                  <a:gd name="connsiteY15" fmla="*/ 173831 h 211931"/>
                  <a:gd name="connsiteX16" fmla="*/ 459581 w 459581"/>
                  <a:gd name="connsiteY16" fmla="*/ 128587 h 211931"/>
                  <a:gd name="connsiteX17" fmla="*/ 450056 w 459581"/>
                  <a:gd name="connsiteY17" fmla="*/ 83343 h 211931"/>
                  <a:gd name="connsiteX18" fmla="*/ 423862 w 459581"/>
                  <a:gd name="connsiteY18" fmla="*/ 52387 h 211931"/>
                  <a:gd name="connsiteX19" fmla="*/ 357187 w 459581"/>
                  <a:gd name="connsiteY19" fmla="*/ 19050 h 211931"/>
                  <a:gd name="connsiteX20" fmla="*/ 319087 w 459581"/>
                  <a:gd name="connsiteY20" fmla="*/ 0 h 211931"/>
                  <a:gd name="connsiteX21" fmla="*/ 295275 w 459581"/>
                  <a:gd name="connsiteY21" fmla="*/ 0 h 211931"/>
                  <a:gd name="connsiteX22" fmla="*/ 240506 w 459581"/>
                  <a:gd name="connsiteY22" fmla="*/ 33337 h 211931"/>
                  <a:gd name="connsiteX23" fmla="*/ 176212 w 459581"/>
                  <a:gd name="connsiteY23" fmla="*/ 45243 h 211931"/>
                  <a:gd name="connsiteX24" fmla="*/ 95250 w 459581"/>
                  <a:gd name="connsiteY24" fmla="*/ 19050 h 211931"/>
                  <a:gd name="connsiteX25" fmla="*/ 78581 w 459581"/>
                  <a:gd name="connsiteY25" fmla="*/ 16668 h 211931"/>
                  <a:gd name="connsiteX26" fmla="*/ 0 w 459581"/>
                  <a:gd name="connsiteY26" fmla="*/ 42862 h 2119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59581" h="211931">
                    <a:moveTo>
                      <a:pt x="0" y="42862"/>
                    </a:moveTo>
                    <a:lnTo>
                      <a:pt x="7143" y="104775"/>
                    </a:lnTo>
                    <a:lnTo>
                      <a:pt x="30956" y="119062"/>
                    </a:lnTo>
                    <a:lnTo>
                      <a:pt x="33337" y="171450"/>
                    </a:lnTo>
                    <a:lnTo>
                      <a:pt x="38100" y="188118"/>
                    </a:lnTo>
                    <a:lnTo>
                      <a:pt x="88106" y="204787"/>
                    </a:lnTo>
                    <a:lnTo>
                      <a:pt x="88106" y="204787"/>
                    </a:lnTo>
                    <a:lnTo>
                      <a:pt x="147637" y="211931"/>
                    </a:lnTo>
                    <a:lnTo>
                      <a:pt x="180975" y="197643"/>
                    </a:lnTo>
                    <a:lnTo>
                      <a:pt x="214312" y="192881"/>
                    </a:lnTo>
                    <a:lnTo>
                      <a:pt x="242887" y="204787"/>
                    </a:lnTo>
                    <a:lnTo>
                      <a:pt x="261937" y="204787"/>
                    </a:lnTo>
                    <a:lnTo>
                      <a:pt x="321468" y="178593"/>
                    </a:lnTo>
                    <a:lnTo>
                      <a:pt x="350043" y="180975"/>
                    </a:lnTo>
                    <a:lnTo>
                      <a:pt x="402431" y="161925"/>
                    </a:lnTo>
                    <a:lnTo>
                      <a:pt x="457200" y="173831"/>
                    </a:lnTo>
                    <a:lnTo>
                      <a:pt x="459581" y="128587"/>
                    </a:lnTo>
                    <a:lnTo>
                      <a:pt x="450056" y="83343"/>
                    </a:lnTo>
                    <a:lnTo>
                      <a:pt x="423862" y="52387"/>
                    </a:lnTo>
                    <a:lnTo>
                      <a:pt x="357187" y="19050"/>
                    </a:lnTo>
                    <a:lnTo>
                      <a:pt x="319087" y="0"/>
                    </a:lnTo>
                    <a:lnTo>
                      <a:pt x="295275" y="0"/>
                    </a:lnTo>
                    <a:lnTo>
                      <a:pt x="240506" y="33337"/>
                    </a:lnTo>
                    <a:lnTo>
                      <a:pt x="176212" y="45243"/>
                    </a:lnTo>
                    <a:lnTo>
                      <a:pt x="95250" y="19050"/>
                    </a:lnTo>
                    <a:lnTo>
                      <a:pt x="78581" y="16668"/>
                    </a:lnTo>
                    <a:lnTo>
                      <a:pt x="0" y="42862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164" name="Freeform 29">
                <a:extLst>
                  <a:ext uri="{FF2B5EF4-FFF2-40B4-BE49-F238E27FC236}">
                    <a16:creationId xmlns:a16="http://schemas.microsoft.com/office/drawing/2014/main" id="{1D9A8B37-BD57-41FB-91C6-DD85D7F9933A}"/>
                  </a:ext>
                </a:extLst>
              </p:cNvPr>
              <p:cNvSpPr/>
              <p:nvPr/>
            </p:nvSpPr>
            <p:spPr>
              <a:xfrm>
                <a:off x="6794500" y="2676525"/>
                <a:ext cx="1060450" cy="563563"/>
              </a:xfrm>
              <a:custGeom>
                <a:avLst/>
                <a:gdLst>
                  <a:gd name="connsiteX0" fmla="*/ 697706 w 1059656"/>
                  <a:gd name="connsiteY0" fmla="*/ 531019 h 531019"/>
                  <a:gd name="connsiteX1" fmla="*/ 778668 w 1059656"/>
                  <a:gd name="connsiteY1" fmla="*/ 459581 h 531019"/>
                  <a:gd name="connsiteX2" fmla="*/ 816768 w 1059656"/>
                  <a:gd name="connsiteY2" fmla="*/ 440531 h 531019"/>
                  <a:gd name="connsiteX3" fmla="*/ 852487 w 1059656"/>
                  <a:gd name="connsiteY3" fmla="*/ 438150 h 531019"/>
                  <a:gd name="connsiteX4" fmla="*/ 916781 w 1059656"/>
                  <a:gd name="connsiteY4" fmla="*/ 423862 h 531019"/>
                  <a:gd name="connsiteX5" fmla="*/ 950118 w 1059656"/>
                  <a:gd name="connsiteY5" fmla="*/ 426244 h 531019"/>
                  <a:gd name="connsiteX6" fmla="*/ 988218 w 1059656"/>
                  <a:gd name="connsiteY6" fmla="*/ 442912 h 531019"/>
                  <a:gd name="connsiteX7" fmla="*/ 1019175 w 1059656"/>
                  <a:gd name="connsiteY7" fmla="*/ 411956 h 531019"/>
                  <a:gd name="connsiteX8" fmla="*/ 992981 w 1059656"/>
                  <a:gd name="connsiteY8" fmla="*/ 381000 h 531019"/>
                  <a:gd name="connsiteX9" fmla="*/ 988218 w 1059656"/>
                  <a:gd name="connsiteY9" fmla="*/ 350044 h 531019"/>
                  <a:gd name="connsiteX10" fmla="*/ 995362 w 1059656"/>
                  <a:gd name="connsiteY10" fmla="*/ 311944 h 531019"/>
                  <a:gd name="connsiteX11" fmla="*/ 1023937 w 1059656"/>
                  <a:gd name="connsiteY11" fmla="*/ 271462 h 531019"/>
                  <a:gd name="connsiteX12" fmla="*/ 1052512 w 1059656"/>
                  <a:gd name="connsiteY12" fmla="*/ 261937 h 531019"/>
                  <a:gd name="connsiteX13" fmla="*/ 1059656 w 1059656"/>
                  <a:gd name="connsiteY13" fmla="*/ 233362 h 531019"/>
                  <a:gd name="connsiteX14" fmla="*/ 1047750 w 1059656"/>
                  <a:gd name="connsiteY14" fmla="*/ 204787 h 531019"/>
                  <a:gd name="connsiteX15" fmla="*/ 1019175 w 1059656"/>
                  <a:gd name="connsiteY15" fmla="*/ 195262 h 531019"/>
                  <a:gd name="connsiteX16" fmla="*/ 992981 w 1059656"/>
                  <a:gd name="connsiteY16" fmla="*/ 202406 h 531019"/>
                  <a:gd name="connsiteX17" fmla="*/ 935831 w 1059656"/>
                  <a:gd name="connsiteY17" fmla="*/ 221456 h 531019"/>
                  <a:gd name="connsiteX18" fmla="*/ 900112 w 1059656"/>
                  <a:gd name="connsiteY18" fmla="*/ 226219 h 531019"/>
                  <a:gd name="connsiteX19" fmla="*/ 878681 w 1059656"/>
                  <a:gd name="connsiteY19" fmla="*/ 209550 h 531019"/>
                  <a:gd name="connsiteX20" fmla="*/ 873918 w 1059656"/>
                  <a:gd name="connsiteY20" fmla="*/ 195262 h 531019"/>
                  <a:gd name="connsiteX21" fmla="*/ 881062 w 1059656"/>
                  <a:gd name="connsiteY21" fmla="*/ 152400 h 531019"/>
                  <a:gd name="connsiteX22" fmla="*/ 888206 w 1059656"/>
                  <a:gd name="connsiteY22" fmla="*/ 116681 h 531019"/>
                  <a:gd name="connsiteX23" fmla="*/ 871537 w 1059656"/>
                  <a:gd name="connsiteY23" fmla="*/ 78581 h 531019"/>
                  <a:gd name="connsiteX24" fmla="*/ 840581 w 1059656"/>
                  <a:gd name="connsiteY24" fmla="*/ 61912 h 531019"/>
                  <a:gd name="connsiteX25" fmla="*/ 862012 w 1059656"/>
                  <a:gd name="connsiteY25" fmla="*/ 14287 h 531019"/>
                  <a:gd name="connsiteX26" fmla="*/ 809625 w 1059656"/>
                  <a:gd name="connsiteY26" fmla="*/ 0 h 531019"/>
                  <a:gd name="connsiteX27" fmla="*/ 797718 w 1059656"/>
                  <a:gd name="connsiteY27" fmla="*/ 16669 h 531019"/>
                  <a:gd name="connsiteX28" fmla="*/ 757237 w 1059656"/>
                  <a:gd name="connsiteY28" fmla="*/ 11906 h 531019"/>
                  <a:gd name="connsiteX29" fmla="*/ 735806 w 1059656"/>
                  <a:gd name="connsiteY29" fmla="*/ 16669 h 531019"/>
                  <a:gd name="connsiteX30" fmla="*/ 719137 w 1059656"/>
                  <a:gd name="connsiteY30" fmla="*/ 45244 h 531019"/>
                  <a:gd name="connsiteX31" fmla="*/ 723900 w 1059656"/>
                  <a:gd name="connsiteY31" fmla="*/ 64294 h 531019"/>
                  <a:gd name="connsiteX32" fmla="*/ 707231 w 1059656"/>
                  <a:gd name="connsiteY32" fmla="*/ 78581 h 531019"/>
                  <a:gd name="connsiteX33" fmla="*/ 631031 w 1059656"/>
                  <a:gd name="connsiteY33" fmla="*/ 80962 h 531019"/>
                  <a:gd name="connsiteX34" fmla="*/ 597693 w 1059656"/>
                  <a:gd name="connsiteY34" fmla="*/ 66675 h 531019"/>
                  <a:gd name="connsiteX35" fmla="*/ 569118 w 1059656"/>
                  <a:gd name="connsiteY35" fmla="*/ 38100 h 531019"/>
                  <a:gd name="connsiteX36" fmla="*/ 531018 w 1059656"/>
                  <a:gd name="connsiteY36" fmla="*/ 33337 h 531019"/>
                  <a:gd name="connsiteX37" fmla="*/ 497681 w 1059656"/>
                  <a:gd name="connsiteY37" fmla="*/ 57150 h 531019"/>
                  <a:gd name="connsiteX38" fmla="*/ 481012 w 1059656"/>
                  <a:gd name="connsiteY38" fmla="*/ 76200 h 531019"/>
                  <a:gd name="connsiteX39" fmla="*/ 466725 w 1059656"/>
                  <a:gd name="connsiteY39" fmla="*/ 92869 h 531019"/>
                  <a:gd name="connsiteX40" fmla="*/ 450056 w 1059656"/>
                  <a:gd name="connsiteY40" fmla="*/ 111919 h 531019"/>
                  <a:gd name="connsiteX41" fmla="*/ 454818 w 1059656"/>
                  <a:gd name="connsiteY41" fmla="*/ 138112 h 531019"/>
                  <a:gd name="connsiteX42" fmla="*/ 423862 w 1059656"/>
                  <a:gd name="connsiteY42" fmla="*/ 161925 h 531019"/>
                  <a:gd name="connsiteX43" fmla="*/ 371475 w 1059656"/>
                  <a:gd name="connsiteY43" fmla="*/ 171450 h 531019"/>
                  <a:gd name="connsiteX44" fmla="*/ 330993 w 1059656"/>
                  <a:gd name="connsiteY44" fmla="*/ 190500 h 531019"/>
                  <a:gd name="connsiteX45" fmla="*/ 321468 w 1059656"/>
                  <a:gd name="connsiteY45" fmla="*/ 228600 h 531019"/>
                  <a:gd name="connsiteX46" fmla="*/ 319087 w 1059656"/>
                  <a:gd name="connsiteY46" fmla="*/ 235744 h 531019"/>
                  <a:gd name="connsiteX47" fmla="*/ 266700 w 1059656"/>
                  <a:gd name="connsiteY47" fmla="*/ 252412 h 531019"/>
                  <a:gd name="connsiteX48" fmla="*/ 180975 w 1059656"/>
                  <a:gd name="connsiteY48" fmla="*/ 283369 h 531019"/>
                  <a:gd name="connsiteX49" fmla="*/ 157162 w 1059656"/>
                  <a:gd name="connsiteY49" fmla="*/ 276225 h 531019"/>
                  <a:gd name="connsiteX50" fmla="*/ 128587 w 1059656"/>
                  <a:gd name="connsiteY50" fmla="*/ 266700 h 531019"/>
                  <a:gd name="connsiteX51" fmla="*/ 130968 w 1059656"/>
                  <a:gd name="connsiteY51" fmla="*/ 326231 h 531019"/>
                  <a:gd name="connsiteX52" fmla="*/ 169068 w 1059656"/>
                  <a:gd name="connsiteY52" fmla="*/ 354806 h 531019"/>
                  <a:gd name="connsiteX53" fmla="*/ 185737 w 1059656"/>
                  <a:gd name="connsiteY53" fmla="*/ 378619 h 531019"/>
                  <a:gd name="connsiteX54" fmla="*/ 180975 w 1059656"/>
                  <a:gd name="connsiteY54" fmla="*/ 409575 h 531019"/>
                  <a:gd name="connsiteX55" fmla="*/ 173831 w 1059656"/>
                  <a:gd name="connsiteY55" fmla="*/ 438150 h 531019"/>
                  <a:gd name="connsiteX56" fmla="*/ 130968 w 1059656"/>
                  <a:gd name="connsiteY56" fmla="*/ 440531 h 531019"/>
                  <a:gd name="connsiteX57" fmla="*/ 95250 w 1059656"/>
                  <a:gd name="connsiteY57" fmla="*/ 454819 h 531019"/>
                  <a:gd name="connsiteX58" fmla="*/ 71437 w 1059656"/>
                  <a:gd name="connsiteY58" fmla="*/ 459581 h 531019"/>
                  <a:gd name="connsiteX59" fmla="*/ 50006 w 1059656"/>
                  <a:gd name="connsiteY59" fmla="*/ 471487 h 531019"/>
                  <a:gd name="connsiteX60" fmla="*/ 30956 w 1059656"/>
                  <a:gd name="connsiteY60" fmla="*/ 488156 h 531019"/>
                  <a:gd name="connsiteX61" fmla="*/ 7143 w 1059656"/>
                  <a:gd name="connsiteY61" fmla="*/ 495300 h 531019"/>
                  <a:gd name="connsiteX62" fmla="*/ 0 w 1059656"/>
                  <a:gd name="connsiteY62" fmla="*/ 500062 h 531019"/>
                  <a:gd name="connsiteX63" fmla="*/ 38100 w 1059656"/>
                  <a:gd name="connsiteY63" fmla="*/ 528637 h 531019"/>
                  <a:gd name="connsiteX64" fmla="*/ 80962 w 1059656"/>
                  <a:gd name="connsiteY64" fmla="*/ 526256 h 531019"/>
                  <a:gd name="connsiteX65" fmla="*/ 116681 w 1059656"/>
                  <a:gd name="connsiteY65" fmla="*/ 492919 h 531019"/>
                  <a:gd name="connsiteX66" fmla="*/ 171450 w 1059656"/>
                  <a:gd name="connsiteY66" fmla="*/ 466725 h 531019"/>
                  <a:gd name="connsiteX67" fmla="*/ 278606 w 1059656"/>
                  <a:gd name="connsiteY67" fmla="*/ 459581 h 531019"/>
                  <a:gd name="connsiteX68" fmla="*/ 292893 w 1059656"/>
                  <a:gd name="connsiteY68" fmla="*/ 447675 h 531019"/>
                  <a:gd name="connsiteX69" fmla="*/ 357187 w 1059656"/>
                  <a:gd name="connsiteY69" fmla="*/ 447675 h 531019"/>
                  <a:gd name="connsiteX70" fmla="*/ 433387 w 1059656"/>
                  <a:gd name="connsiteY70" fmla="*/ 354806 h 531019"/>
                  <a:gd name="connsiteX71" fmla="*/ 559593 w 1059656"/>
                  <a:gd name="connsiteY71" fmla="*/ 295275 h 531019"/>
                  <a:gd name="connsiteX72" fmla="*/ 619125 w 1059656"/>
                  <a:gd name="connsiteY72" fmla="*/ 288131 h 531019"/>
                  <a:gd name="connsiteX73" fmla="*/ 654843 w 1059656"/>
                  <a:gd name="connsiteY73" fmla="*/ 261937 h 531019"/>
                  <a:gd name="connsiteX74" fmla="*/ 716756 w 1059656"/>
                  <a:gd name="connsiteY74" fmla="*/ 259556 h 531019"/>
                  <a:gd name="connsiteX75" fmla="*/ 771525 w 1059656"/>
                  <a:gd name="connsiteY75" fmla="*/ 252412 h 531019"/>
                  <a:gd name="connsiteX76" fmla="*/ 781050 w 1059656"/>
                  <a:gd name="connsiteY76" fmla="*/ 290512 h 531019"/>
                  <a:gd name="connsiteX77" fmla="*/ 773906 w 1059656"/>
                  <a:gd name="connsiteY77" fmla="*/ 411956 h 531019"/>
                  <a:gd name="connsiteX78" fmla="*/ 707231 w 1059656"/>
                  <a:gd name="connsiteY78" fmla="*/ 428625 h 531019"/>
                  <a:gd name="connsiteX79" fmla="*/ 652462 w 1059656"/>
                  <a:gd name="connsiteY79" fmla="*/ 481012 h 531019"/>
                  <a:gd name="connsiteX80" fmla="*/ 697706 w 1059656"/>
                  <a:gd name="connsiteY80" fmla="*/ 531019 h 531019"/>
                  <a:gd name="connsiteX0" fmla="*/ 697706 w 1059656"/>
                  <a:gd name="connsiteY0" fmla="*/ 531019 h 531019"/>
                  <a:gd name="connsiteX1" fmla="*/ 778668 w 1059656"/>
                  <a:gd name="connsiteY1" fmla="*/ 459581 h 531019"/>
                  <a:gd name="connsiteX2" fmla="*/ 816768 w 1059656"/>
                  <a:gd name="connsiteY2" fmla="*/ 440531 h 531019"/>
                  <a:gd name="connsiteX3" fmla="*/ 852487 w 1059656"/>
                  <a:gd name="connsiteY3" fmla="*/ 438150 h 531019"/>
                  <a:gd name="connsiteX4" fmla="*/ 916781 w 1059656"/>
                  <a:gd name="connsiteY4" fmla="*/ 423862 h 531019"/>
                  <a:gd name="connsiteX5" fmla="*/ 950118 w 1059656"/>
                  <a:gd name="connsiteY5" fmla="*/ 426244 h 531019"/>
                  <a:gd name="connsiteX6" fmla="*/ 988218 w 1059656"/>
                  <a:gd name="connsiteY6" fmla="*/ 442912 h 531019"/>
                  <a:gd name="connsiteX7" fmla="*/ 1019175 w 1059656"/>
                  <a:gd name="connsiteY7" fmla="*/ 411956 h 531019"/>
                  <a:gd name="connsiteX8" fmla="*/ 992981 w 1059656"/>
                  <a:gd name="connsiteY8" fmla="*/ 381000 h 531019"/>
                  <a:gd name="connsiteX9" fmla="*/ 988218 w 1059656"/>
                  <a:gd name="connsiteY9" fmla="*/ 350044 h 531019"/>
                  <a:gd name="connsiteX10" fmla="*/ 995362 w 1059656"/>
                  <a:gd name="connsiteY10" fmla="*/ 311944 h 531019"/>
                  <a:gd name="connsiteX11" fmla="*/ 1023937 w 1059656"/>
                  <a:gd name="connsiteY11" fmla="*/ 271462 h 531019"/>
                  <a:gd name="connsiteX12" fmla="*/ 1052512 w 1059656"/>
                  <a:gd name="connsiteY12" fmla="*/ 261937 h 531019"/>
                  <a:gd name="connsiteX13" fmla="*/ 1059656 w 1059656"/>
                  <a:gd name="connsiteY13" fmla="*/ 233362 h 531019"/>
                  <a:gd name="connsiteX14" fmla="*/ 1047750 w 1059656"/>
                  <a:gd name="connsiteY14" fmla="*/ 204787 h 531019"/>
                  <a:gd name="connsiteX15" fmla="*/ 1019175 w 1059656"/>
                  <a:gd name="connsiteY15" fmla="*/ 195262 h 531019"/>
                  <a:gd name="connsiteX16" fmla="*/ 992981 w 1059656"/>
                  <a:gd name="connsiteY16" fmla="*/ 202406 h 531019"/>
                  <a:gd name="connsiteX17" fmla="*/ 935831 w 1059656"/>
                  <a:gd name="connsiteY17" fmla="*/ 221456 h 531019"/>
                  <a:gd name="connsiteX18" fmla="*/ 900112 w 1059656"/>
                  <a:gd name="connsiteY18" fmla="*/ 226219 h 531019"/>
                  <a:gd name="connsiteX19" fmla="*/ 878681 w 1059656"/>
                  <a:gd name="connsiteY19" fmla="*/ 209550 h 531019"/>
                  <a:gd name="connsiteX20" fmla="*/ 873918 w 1059656"/>
                  <a:gd name="connsiteY20" fmla="*/ 195262 h 531019"/>
                  <a:gd name="connsiteX21" fmla="*/ 881062 w 1059656"/>
                  <a:gd name="connsiteY21" fmla="*/ 152400 h 531019"/>
                  <a:gd name="connsiteX22" fmla="*/ 888206 w 1059656"/>
                  <a:gd name="connsiteY22" fmla="*/ 116681 h 531019"/>
                  <a:gd name="connsiteX23" fmla="*/ 871537 w 1059656"/>
                  <a:gd name="connsiteY23" fmla="*/ 78581 h 531019"/>
                  <a:gd name="connsiteX24" fmla="*/ 840581 w 1059656"/>
                  <a:gd name="connsiteY24" fmla="*/ 61912 h 531019"/>
                  <a:gd name="connsiteX25" fmla="*/ 862012 w 1059656"/>
                  <a:gd name="connsiteY25" fmla="*/ 14287 h 531019"/>
                  <a:gd name="connsiteX26" fmla="*/ 809625 w 1059656"/>
                  <a:gd name="connsiteY26" fmla="*/ 0 h 531019"/>
                  <a:gd name="connsiteX27" fmla="*/ 797718 w 1059656"/>
                  <a:gd name="connsiteY27" fmla="*/ 16669 h 531019"/>
                  <a:gd name="connsiteX28" fmla="*/ 757237 w 1059656"/>
                  <a:gd name="connsiteY28" fmla="*/ 11906 h 531019"/>
                  <a:gd name="connsiteX29" fmla="*/ 735806 w 1059656"/>
                  <a:gd name="connsiteY29" fmla="*/ 16669 h 531019"/>
                  <a:gd name="connsiteX30" fmla="*/ 719137 w 1059656"/>
                  <a:gd name="connsiteY30" fmla="*/ 45244 h 531019"/>
                  <a:gd name="connsiteX31" fmla="*/ 723900 w 1059656"/>
                  <a:gd name="connsiteY31" fmla="*/ 64294 h 531019"/>
                  <a:gd name="connsiteX32" fmla="*/ 707231 w 1059656"/>
                  <a:gd name="connsiteY32" fmla="*/ 78581 h 531019"/>
                  <a:gd name="connsiteX33" fmla="*/ 631031 w 1059656"/>
                  <a:gd name="connsiteY33" fmla="*/ 80962 h 531019"/>
                  <a:gd name="connsiteX34" fmla="*/ 597693 w 1059656"/>
                  <a:gd name="connsiteY34" fmla="*/ 66675 h 531019"/>
                  <a:gd name="connsiteX35" fmla="*/ 569118 w 1059656"/>
                  <a:gd name="connsiteY35" fmla="*/ 38100 h 531019"/>
                  <a:gd name="connsiteX36" fmla="*/ 531018 w 1059656"/>
                  <a:gd name="connsiteY36" fmla="*/ 33337 h 531019"/>
                  <a:gd name="connsiteX37" fmla="*/ 497681 w 1059656"/>
                  <a:gd name="connsiteY37" fmla="*/ 57150 h 531019"/>
                  <a:gd name="connsiteX38" fmla="*/ 481012 w 1059656"/>
                  <a:gd name="connsiteY38" fmla="*/ 76200 h 531019"/>
                  <a:gd name="connsiteX39" fmla="*/ 466725 w 1059656"/>
                  <a:gd name="connsiteY39" fmla="*/ 92869 h 531019"/>
                  <a:gd name="connsiteX40" fmla="*/ 450056 w 1059656"/>
                  <a:gd name="connsiteY40" fmla="*/ 111919 h 531019"/>
                  <a:gd name="connsiteX41" fmla="*/ 454818 w 1059656"/>
                  <a:gd name="connsiteY41" fmla="*/ 138112 h 531019"/>
                  <a:gd name="connsiteX42" fmla="*/ 423862 w 1059656"/>
                  <a:gd name="connsiteY42" fmla="*/ 161925 h 531019"/>
                  <a:gd name="connsiteX43" fmla="*/ 371475 w 1059656"/>
                  <a:gd name="connsiteY43" fmla="*/ 171450 h 531019"/>
                  <a:gd name="connsiteX44" fmla="*/ 330993 w 1059656"/>
                  <a:gd name="connsiteY44" fmla="*/ 190500 h 531019"/>
                  <a:gd name="connsiteX45" fmla="*/ 321468 w 1059656"/>
                  <a:gd name="connsiteY45" fmla="*/ 228600 h 531019"/>
                  <a:gd name="connsiteX46" fmla="*/ 319087 w 1059656"/>
                  <a:gd name="connsiteY46" fmla="*/ 235744 h 531019"/>
                  <a:gd name="connsiteX47" fmla="*/ 266700 w 1059656"/>
                  <a:gd name="connsiteY47" fmla="*/ 252412 h 531019"/>
                  <a:gd name="connsiteX48" fmla="*/ 180975 w 1059656"/>
                  <a:gd name="connsiteY48" fmla="*/ 283369 h 531019"/>
                  <a:gd name="connsiteX49" fmla="*/ 157162 w 1059656"/>
                  <a:gd name="connsiteY49" fmla="*/ 276225 h 531019"/>
                  <a:gd name="connsiteX50" fmla="*/ 128587 w 1059656"/>
                  <a:gd name="connsiteY50" fmla="*/ 266700 h 531019"/>
                  <a:gd name="connsiteX51" fmla="*/ 130968 w 1059656"/>
                  <a:gd name="connsiteY51" fmla="*/ 326231 h 531019"/>
                  <a:gd name="connsiteX52" fmla="*/ 169068 w 1059656"/>
                  <a:gd name="connsiteY52" fmla="*/ 354806 h 531019"/>
                  <a:gd name="connsiteX53" fmla="*/ 185737 w 1059656"/>
                  <a:gd name="connsiteY53" fmla="*/ 378619 h 531019"/>
                  <a:gd name="connsiteX54" fmla="*/ 180975 w 1059656"/>
                  <a:gd name="connsiteY54" fmla="*/ 409575 h 531019"/>
                  <a:gd name="connsiteX55" fmla="*/ 173831 w 1059656"/>
                  <a:gd name="connsiteY55" fmla="*/ 438150 h 531019"/>
                  <a:gd name="connsiteX56" fmla="*/ 130968 w 1059656"/>
                  <a:gd name="connsiteY56" fmla="*/ 440531 h 531019"/>
                  <a:gd name="connsiteX57" fmla="*/ 95250 w 1059656"/>
                  <a:gd name="connsiteY57" fmla="*/ 454819 h 531019"/>
                  <a:gd name="connsiteX58" fmla="*/ 71437 w 1059656"/>
                  <a:gd name="connsiteY58" fmla="*/ 459581 h 531019"/>
                  <a:gd name="connsiteX59" fmla="*/ 50006 w 1059656"/>
                  <a:gd name="connsiteY59" fmla="*/ 471487 h 531019"/>
                  <a:gd name="connsiteX60" fmla="*/ 30956 w 1059656"/>
                  <a:gd name="connsiteY60" fmla="*/ 488156 h 531019"/>
                  <a:gd name="connsiteX61" fmla="*/ 7143 w 1059656"/>
                  <a:gd name="connsiteY61" fmla="*/ 495300 h 531019"/>
                  <a:gd name="connsiteX62" fmla="*/ 0 w 1059656"/>
                  <a:gd name="connsiteY62" fmla="*/ 500062 h 531019"/>
                  <a:gd name="connsiteX63" fmla="*/ 38100 w 1059656"/>
                  <a:gd name="connsiteY63" fmla="*/ 528637 h 531019"/>
                  <a:gd name="connsiteX64" fmla="*/ 80962 w 1059656"/>
                  <a:gd name="connsiteY64" fmla="*/ 526256 h 531019"/>
                  <a:gd name="connsiteX65" fmla="*/ 116681 w 1059656"/>
                  <a:gd name="connsiteY65" fmla="*/ 492919 h 531019"/>
                  <a:gd name="connsiteX66" fmla="*/ 171450 w 1059656"/>
                  <a:gd name="connsiteY66" fmla="*/ 466725 h 531019"/>
                  <a:gd name="connsiteX67" fmla="*/ 278606 w 1059656"/>
                  <a:gd name="connsiteY67" fmla="*/ 459581 h 531019"/>
                  <a:gd name="connsiteX68" fmla="*/ 292893 w 1059656"/>
                  <a:gd name="connsiteY68" fmla="*/ 447675 h 531019"/>
                  <a:gd name="connsiteX69" fmla="*/ 357187 w 1059656"/>
                  <a:gd name="connsiteY69" fmla="*/ 447675 h 531019"/>
                  <a:gd name="connsiteX70" fmla="*/ 433387 w 1059656"/>
                  <a:gd name="connsiteY70" fmla="*/ 354806 h 531019"/>
                  <a:gd name="connsiteX71" fmla="*/ 559593 w 1059656"/>
                  <a:gd name="connsiteY71" fmla="*/ 295275 h 531019"/>
                  <a:gd name="connsiteX72" fmla="*/ 619125 w 1059656"/>
                  <a:gd name="connsiteY72" fmla="*/ 288131 h 531019"/>
                  <a:gd name="connsiteX73" fmla="*/ 654843 w 1059656"/>
                  <a:gd name="connsiteY73" fmla="*/ 261937 h 531019"/>
                  <a:gd name="connsiteX74" fmla="*/ 716756 w 1059656"/>
                  <a:gd name="connsiteY74" fmla="*/ 259556 h 531019"/>
                  <a:gd name="connsiteX75" fmla="*/ 771525 w 1059656"/>
                  <a:gd name="connsiteY75" fmla="*/ 252412 h 531019"/>
                  <a:gd name="connsiteX76" fmla="*/ 781050 w 1059656"/>
                  <a:gd name="connsiteY76" fmla="*/ 290512 h 531019"/>
                  <a:gd name="connsiteX77" fmla="*/ 773906 w 1059656"/>
                  <a:gd name="connsiteY77" fmla="*/ 411956 h 531019"/>
                  <a:gd name="connsiteX78" fmla="*/ 707231 w 1059656"/>
                  <a:gd name="connsiteY78" fmla="*/ 428625 h 531019"/>
                  <a:gd name="connsiteX79" fmla="*/ 652462 w 1059656"/>
                  <a:gd name="connsiteY79" fmla="*/ 481012 h 531019"/>
                  <a:gd name="connsiteX80" fmla="*/ 676275 w 1059656"/>
                  <a:gd name="connsiteY80" fmla="*/ 500062 h 531019"/>
                  <a:gd name="connsiteX81" fmla="*/ 697706 w 1059656"/>
                  <a:gd name="connsiteY81" fmla="*/ 531019 h 531019"/>
                  <a:gd name="connsiteX0" fmla="*/ 697706 w 1059656"/>
                  <a:gd name="connsiteY0" fmla="*/ 531019 h 531019"/>
                  <a:gd name="connsiteX1" fmla="*/ 778668 w 1059656"/>
                  <a:gd name="connsiteY1" fmla="*/ 459581 h 531019"/>
                  <a:gd name="connsiteX2" fmla="*/ 816768 w 1059656"/>
                  <a:gd name="connsiteY2" fmla="*/ 440531 h 531019"/>
                  <a:gd name="connsiteX3" fmla="*/ 852487 w 1059656"/>
                  <a:gd name="connsiteY3" fmla="*/ 438150 h 531019"/>
                  <a:gd name="connsiteX4" fmla="*/ 916781 w 1059656"/>
                  <a:gd name="connsiteY4" fmla="*/ 423862 h 531019"/>
                  <a:gd name="connsiteX5" fmla="*/ 950118 w 1059656"/>
                  <a:gd name="connsiteY5" fmla="*/ 426244 h 531019"/>
                  <a:gd name="connsiteX6" fmla="*/ 988218 w 1059656"/>
                  <a:gd name="connsiteY6" fmla="*/ 442912 h 531019"/>
                  <a:gd name="connsiteX7" fmla="*/ 1019175 w 1059656"/>
                  <a:gd name="connsiteY7" fmla="*/ 411956 h 531019"/>
                  <a:gd name="connsiteX8" fmla="*/ 992981 w 1059656"/>
                  <a:gd name="connsiteY8" fmla="*/ 381000 h 531019"/>
                  <a:gd name="connsiteX9" fmla="*/ 988218 w 1059656"/>
                  <a:gd name="connsiteY9" fmla="*/ 350044 h 531019"/>
                  <a:gd name="connsiteX10" fmla="*/ 995362 w 1059656"/>
                  <a:gd name="connsiteY10" fmla="*/ 311944 h 531019"/>
                  <a:gd name="connsiteX11" fmla="*/ 1023937 w 1059656"/>
                  <a:gd name="connsiteY11" fmla="*/ 271462 h 531019"/>
                  <a:gd name="connsiteX12" fmla="*/ 1052512 w 1059656"/>
                  <a:gd name="connsiteY12" fmla="*/ 261937 h 531019"/>
                  <a:gd name="connsiteX13" fmla="*/ 1059656 w 1059656"/>
                  <a:gd name="connsiteY13" fmla="*/ 233362 h 531019"/>
                  <a:gd name="connsiteX14" fmla="*/ 1047750 w 1059656"/>
                  <a:gd name="connsiteY14" fmla="*/ 204787 h 531019"/>
                  <a:gd name="connsiteX15" fmla="*/ 1019175 w 1059656"/>
                  <a:gd name="connsiteY15" fmla="*/ 195262 h 531019"/>
                  <a:gd name="connsiteX16" fmla="*/ 992981 w 1059656"/>
                  <a:gd name="connsiteY16" fmla="*/ 202406 h 531019"/>
                  <a:gd name="connsiteX17" fmla="*/ 935831 w 1059656"/>
                  <a:gd name="connsiteY17" fmla="*/ 221456 h 531019"/>
                  <a:gd name="connsiteX18" fmla="*/ 900112 w 1059656"/>
                  <a:gd name="connsiteY18" fmla="*/ 226219 h 531019"/>
                  <a:gd name="connsiteX19" fmla="*/ 878681 w 1059656"/>
                  <a:gd name="connsiteY19" fmla="*/ 209550 h 531019"/>
                  <a:gd name="connsiteX20" fmla="*/ 873918 w 1059656"/>
                  <a:gd name="connsiteY20" fmla="*/ 195262 h 531019"/>
                  <a:gd name="connsiteX21" fmla="*/ 881062 w 1059656"/>
                  <a:gd name="connsiteY21" fmla="*/ 152400 h 531019"/>
                  <a:gd name="connsiteX22" fmla="*/ 888206 w 1059656"/>
                  <a:gd name="connsiteY22" fmla="*/ 116681 h 531019"/>
                  <a:gd name="connsiteX23" fmla="*/ 871537 w 1059656"/>
                  <a:gd name="connsiteY23" fmla="*/ 78581 h 531019"/>
                  <a:gd name="connsiteX24" fmla="*/ 840581 w 1059656"/>
                  <a:gd name="connsiteY24" fmla="*/ 61912 h 531019"/>
                  <a:gd name="connsiteX25" fmla="*/ 862012 w 1059656"/>
                  <a:gd name="connsiteY25" fmla="*/ 14287 h 531019"/>
                  <a:gd name="connsiteX26" fmla="*/ 809625 w 1059656"/>
                  <a:gd name="connsiteY26" fmla="*/ 0 h 531019"/>
                  <a:gd name="connsiteX27" fmla="*/ 797718 w 1059656"/>
                  <a:gd name="connsiteY27" fmla="*/ 16669 h 531019"/>
                  <a:gd name="connsiteX28" fmla="*/ 757237 w 1059656"/>
                  <a:gd name="connsiteY28" fmla="*/ 11906 h 531019"/>
                  <a:gd name="connsiteX29" fmla="*/ 735806 w 1059656"/>
                  <a:gd name="connsiteY29" fmla="*/ 16669 h 531019"/>
                  <a:gd name="connsiteX30" fmla="*/ 719137 w 1059656"/>
                  <a:gd name="connsiteY30" fmla="*/ 45244 h 531019"/>
                  <a:gd name="connsiteX31" fmla="*/ 723900 w 1059656"/>
                  <a:gd name="connsiteY31" fmla="*/ 64294 h 531019"/>
                  <a:gd name="connsiteX32" fmla="*/ 707231 w 1059656"/>
                  <a:gd name="connsiteY32" fmla="*/ 78581 h 531019"/>
                  <a:gd name="connsiteX33" fmla="*/ 631031 w 1059656"/>
                  <a:gd name="connsiteY33" fmla="*/ 80962 h 531019"/>
                  <a:gd name="connsiteX34" fmla="*/ 597693 w 1059656"/>
                  <a:gd name="connsiteY34" fmla="*/ 66675 h 531019"/>
                  <a:gd name="connsiteX35" fmla="*/ 569118 w 1059656"/>
                  <a:gd name="connsiteY35" fmla="*/ 38100 h 531019"/>
                  <a:gd name="connsiteX36" fmla="*/ 531018 w 1059656"/>
                  <a:gd name="connsiteY36" fmla="*/ 33337 h 531019"/>
                  <a:gd name="connsiteX37" fmla="*/ 497681 w 1059656"/>
                  <a:gd name="connsiteY37" fmla="*/ 57150 h 531019"/>
                  <a:gd name="connsiteX38" fmla="*/ 481012 w 1059656"/>
                  <a:gd name="connsiteY38" fmla="*/ 76200 h 531019"/>
                  <a:gd name="connsiteX39" fmla="*/ 466725 w 1059656"/>
                  <a:gd name="connsiteY39" fmla="*/ 92869 h 531019"/>
                  <a:gd name="connsiteX40" fmla="*/ 450056 w 1059656"/>
                  <a:gd name="connsiteY40" fmla="*/ 111919 h 531019"/>
                  <a:gd name="connsiteX41" fmla="*/ 454818 w 1059656"/>
                  <a:gd name="connsiteY41" fmla="*/ 138112 h 531019"/>
                  <a:gd name="connsiteX42" fmla="*/ 423862 w 1059656"/>
                  <a:gd name="connsiteY42" fmla="*/ 161925 h 531019"/>
                  <a:gd name="connsiteX43" fmla="*/ 371475 w 1059656"/>
                  <a:gd name="connsiteY43" fmla="*/ 171450 h 531019"/>
                  <a:gd name="connsiteX44" fmla="*/ 330993 w 1059656"/>
                  <a:gd name="connsiteY44" fmla="*/ 190500 h 531019"/>
                  <a:gd name="connsiteX45" fmla="*/ 321468 w 1059656"/>
                  <a:gd name="connsiteY45" fmla="*/ 228600 h 531019"/>
                  <a:gd name="connsiteX46" fmla="*/ 319087 w 1059656"/>
                  <a:gd name="connsiteY46" fmla="*/ 235744 h 531019"/>
                  <a:gd name="connsiteX47" fmla="*/ 266700 w 1059656"/>
                  <a:gd name="connsiteY47" fmla="*/ 252412 h 531019"/>
                  <a:gd name="connsiteX48" fmla="*/ 180975 w 1059656"/>
                  <a:gd name="connsiteY48" fmla="*/ 283369 h 531019"/>
                  <a:gd name="connsiteX49" fmla="*/ 157162 w 1059656"/>
                  <a:gd name="connsiteY49" fmla="*/ 276225 h 531019"/>
                  <a:gd name="connsiteX50" fmla="*/ 128587 w 1059656"/>
                  <a:gd name="connsiteY50" fmla="*/ 266700 h 531019"/>
                  <a:gd name="connsiteX51" fmla="*/ 130968 w 1059656"/>
                  <a:gd name="connsiteY51" fmla="*/ 326231 h 531019"/>
                  <a:gd name="connsiteX52" fmla="*/ 169068 w 1059656"/>
                  <a:gd name="connsiteY52" fmla="*/ 354806 h 531019"/>
                  <a:gd name="connsiteX53" fmla="*/ 185737 w 1059656"/>
                  <a:gd name="connsiteY53" fmla="*/ 378619 h 531019"/>
                  <a:gd name="connsiteX54" fmla="*/ 180975 w 1059656"/>
                  <a:gd name="connsiteY54" fmla="*/ 409575 h 531019"/>
                  <a:gd name="connsiteX55" fmla="*/ 173831 w 1059656"/>
                  <a:gd name="connsiteY55" fmla="*/ 438150 h 531019"/>
                  <a:gd name="connsiteX56" fmla="*/ 130968 w 1059656"/>
                  <a:gd name="connsiteY56" fmla="*/ 440531 h 531019"/>
                  <a:gd name="connsiteX57" fmla="*/ 95250 w 1059656"/>
                  <a:gd name="connsiteY57" fmla="*/ 454819 h 531019"/>
                  <a:gd name="connsiteX58" fmla="*/ 71437 w 1059656"/>
                  <a:gd name="connsiteY58" fmla="*/ 459581 h 531019"/>
                  <a:gd name="connsiteX59" fmla="*/ 50006 w 1059656"/>
                  <a:gd name="connsiteY59" fmla="*/ 471487 h 531019"/>
                  <a:gd name="connsiteX60" fmla="*/ 30956 w 1059656"/>
                  <a:gd name="connsiteY60" fmla="*/ 488156 h 531019"/>
                  <a:gd name="connsiteX61" fmla="*/ 7143 w 1059656"/>
                  <a:gd name="connsiteY61" fmla="*/ 495300 h 531019"/>
                  <a:gd name="connsiteX62" fmla="*/ 0 w 1059656"/>
                  <a:gd name="connsiteY62" fmla="*/ 500062 h 531019"/>
                  <a:gd name="connsiteX63" fmla="*/ 38100 w 1059656"/>
                  <a:gd name="connsiteY63" fmla="*/ 528637 h 531019"/>
                  <a:gd name="connsiteX64" fmla="*/ 80962 w 1059656"/>
                  <a:gd name="connsiteY64" fmla="*/ 526256 h 531019"/>
                  <a:gd name="connsiteX65" fmla="*/ 116681 w 1059656"/>
                  <a:gd name="connsiteY65" fmla="*/ 492919 h 531019"/>
                  <a:gd name="connsiteX66" fmla="*/ 171450 w 1059656"/>
                  <a:gd name="connsiteY66" fmla="*/ 466725 h 531019"/>
                  <a:gd name="connsiteX67" fmla="*/ 278606 w 1059656"/>
                  <a:gd name="connsiteY67" fmla="*/ 459581 h 531019"/>
                  <a:gd name="connsiteX68" fmla="*/ 292893 w 1059656"/>
                  <a:gd name="connsiteY68" fmla="*/ 447675 h 531019"/>
                  <a:gd name="connsiteX69" fmla="*/ 357187 w 1059656"/>
                  <a:gd name="connsiteY69" fmla="*/ 447675 h 531019"/>
                  <a:gd name="connsiteX70" fmla="*/ 433387 w 1059656"/>
                  <a:gd name="connsiteY70" fmla="*/ 354806 h 531019"/>
                  <a:gd name="connsiteX71" fmla="*/ 559593 w 1059656"/>
                  <a:gd name="connsiteY71" fmla="*/ 295275 h 531019"/>
                  <a:gd name="connsiteX72" fmla="*/ 619125 w 1059656"/>
                  <a:gd name="connsiteY72" fmla="*/ 288131 h 531019"/>
                  <a:gd name="connsiteX73" fmla="*/ 654843 w 1059656"/>
                  <a:gd name="connsiteY73" fmla="*/ 261937 h 531019"/>
                  <a:gd name="connsiteX74" fmla="*/ 716756 w 1059656"/>
                  <a:gd name="connsiteY74" fmla="*/ 259556 h 531019"/>
                  <a:gd name="connsiteX75" fmla="*/ 771525 w 1059656"/>
                  <a:gd name="connsiteY75" fmla="*/ 252412 h 531019"/>
                  <a:gd name="connsiteX76" fmla="*/ 781050 w 1059656"/>
                  <a:gd name="connsiteY76" fmla="*/ 290512 h 531019"/>
                  <a:gd name="connsiteX77" fmla="*/ 773906 w 1059656"/>
                  <a:gd name="connsiteY77" fmla="*/ 411956 h 531019"/>
                  <a:gd name="connsiteX78" fmla="*/ 707231 w 1059656"/>
                  <a:gd name="connsiteY78" fmla="*/ 428625 h 531019"/>
                  <a:gd name="connsiteX79" fmla="*/ 659605 w 1059656"/>
                  <a:gd name="connsiteY79" fmla="*/ 471487 h 531019"/>
                  <a:gd name="connsiteX80" fmla="*/ 676275 w 1059656"/>
                  <a:gd name="connsiteY80" fmla="*/ 500062 h 531019"/>
                  <a:gd name="connsiteX81" fmla="*/ 697706 w 1059656"/>
                  <a:gd name="connsiteY81" fmla="*/ 531019 h 531019"/>
                  <a:gd name="connsiteX0" fmla="*/ 697706 w 1059656"/>
                  <a:gd name="connsiteY0" fmla="*/ 531019 h 531019"/>
                  <a:gd name="connsiteX1" fmla="*/ 778668 w 1059656"/>
                  <a:gd name="connsiteY1" fmla="*/ 459581 h 531019"/>
                  <a:gd name="connsiteX2" fmla="*/ 816768 w 1059656"/>
                  <a:gd name="connsiteY2" fmla="*/ 440531 h 531019"/>
                  <a:gd name="connsiteX3" fmla="*/ 852487 w 1059656"/>
                  <a:gd name="connsiteY3" fmla="*/ 438150 h 531019"/>
                  <a:gd name="connsiteX4" fmla="*/ 916781 w 1059656"/>
                  <a:gd name="connsiteY4" fmla="*/ 423862 h 531019"/>
                  <a:gd name="connsiteX5" fmla="*/ 950118 w 1059656"/>
                  <a:gd name="connsiteY5" fmla="*/ 426244 h 531019"/>
                  <a:gd name="connsiteX6" fmla="*/ 988218 w 1059656"/>
                  <a:gd name="connsiteY6" fmla="*/ 442912 h 531019"/>
                  <a:gd name="connsiteX7" fmla="*/ 1019175 w 1059656"/>
                  <a:gd name="connsiteY7" fmla="*/ 411956 h 531019"/>
                  <a:gd name="connsiteX8" fmla="*/ 992981 w 1059656"/>
                  <a:gd name="connsiteY8" fmla="*/ 381000 h 531019"/>
                  <a:gd name="connsiteX9" fmla="*/ 988218 w 1059656"/>
                  <a:gd name="connsiteY9" fmla="*/ 350044 h 531019"/>
                  <a:gd name="connsiteX10" fmla="*/ 995362 w 1059656"/>
                  <a:gd name="connsiteY10" fmla="*/ 311944 h 531019"/>
                  <a:gd name="connsiteX11" fmla="*/ 1023937 w 1059656"/>
                  <a:gd name="connsiteY11" fmla="*/ 271462 h 531019"/>
                  <a:gd name="connsiteX12" fmla="*/ 1052512 w 1059656"/>
                  <a:gd name="connsiteY12" fmla="*/ 261937 h 531019"/>
                  <a:gd name="connsiteX13" fmla="*/ 1059656 w 1059656"/>
                  <a:gd name="connsiteY13" fmla="*/ 233362 h 531019"/>
                  <a:gd name="connsiteX14" fmla="*/ 1047750 w 1059656"/>
                  <a:gd name="connsiteY14" fmla="*/ 204787 h 531019"/>
                  <a:gd name="connsiteX15" fmla="*/ 1019175 w 1059656"/>
                  <a:gd name="connsiteY15" fmla="*/ 195262 h 531019"/>
                  <a:gd name="connsiteX16" fmla="*/ 992981 w 1059656"/>
                  <a:gd name="connsiteY16" fmla="*/ 202406 h 531019"/>
                  <a:gd name="connsiteX17" fmla="*/ 935831 w 1059656"/>
                  <a:gd name="connsiteY17" fmla="*/ 221456 h 531019"/>
                  <a:gd name="connsiteX18" fmla="*/ 900112 w 1059656"/>
                  <a:gd name="connsiteY18" fmla="*/ 226219 h 531019"/>
                  <a:gd name="connsiteX19" fmla="*/ 878681 w 1059656"/>
                  <a:gd name="connsiteY19" fmla="*/ 209550 h 531019"/>
                  <a:gd name="connsiteX20" fmla="*/ 873918 w 1059656"/>
                  <a:gd name="connsiteY20" fmla="*/ 195262 h 531019"/>
                  <a:gd name="connsiteX21" fmla="*/ 881062 w 1059656"/>
                  <a:gd name="connsiteY21" fmla="*/ 152400 h 531019"/>
                  <a:gd name="connsiteX22" fmla="*/ 888206 w 1059656"/>
                  <a:gd name="connsiteY22" fmla="*/ 116681 h 531019"/>
                  <a:gd name="connsiteX23" fmla="*/ 871537 w 1059656"/>
                  <a:gd name="connsiteY23" fmla="*/ 78581 h 531019"/>
                  <a:gd name="connsiteX24" fmla="*/ 840581 w 1059656"/>
                  <a:gd name="connsiteY24" fmla="*/ 61912 h 531019"/>
                  <a:gd name="connsiteX25" fmla="*/ 862012 w 1059656"/>
                  <a:gd name="connsiteY25" fmla="*/ 14287 h 531019"/>
                  <a:gd name="connsiteX26" fmla="*/ 809625 w 1059656"/>
                  <a:gd name="connsiteY26" fmla="*/ 0 h 531019"/>
                  <a:gd name="connsiteX27" fmla="*/ 797718 w 1059656"/>
                  <a:gd name="connsiteY27" fmla="*/ 16669 h 531019"/>
                  <a:gd name="connsiteX28" fmla="*/ 757237 w 1059656"/>
                  <a:gd name="connsiteY28" fmla="*/ 11906 h 531019"/>
                  <a:gd name="connsiteX29" fmla="*/ 735806 w 1059656"/>
                  <a:gd name="connsiteY29" fmla="*/ 16669 h 531019"/>
                  <a:gd name="connsiteX30" fmla="*/ 719137 w 1059656"/>
                  <a:gd name="connsiteY30" fmla="*/ 45244 h 531019"/>
                  <a:gd name="connsiteX31" fmla="*/ 723900 w 1059656"/>
                  <a:gd name="connsiteY31" fmla="*/ 64294 h 531019"/>
                  <a:gd name="connsiteX32" fmla="*/ 707231 w 1059656"/>
                  <a:gd name="connsiteY32" fmla="*/ 78581 h 531019"/>
                  <a:gd name="connsiteX33" fmla="*/ 631031 w 1059656"/>
                  <a:gd name="connsiteY33" fmla="*/ 80962 h 531019"/>
                  <a:gd name="connsiteX34" fmla="*/ 597693 w 1059656"/>
                  <a:gd name="connsiteY34" fmla="*/ 66675 h 531019"/>
                  <a:gd name="connsiteX35" fmla="*/ 569118 w 1059656"/>
                  <a:gd name="connsiteY35" fmla="*/ 38100 h 531019"/>
                  <a:gd name="connsiteX36" fmla="*/ 531018 w 1059656"/>
                  <a:gd name="connsiteY36" fmla="*/ 33337 h 531019"/>
                  <a:gd name="connsiteX37" fmla="*/ 497681 w 1059656"/>
                  <a:gd name="connsiteY37" fmla="*/ 57150 h 531019"/>
                  <a:gd name="connsiteX38" fmla="*/ 481012 w 1059656"/>
                  <a:gd name="connsiteY38" fmla="*/ 76200 h 531019"/>
                  <a:gd name="connsiteX39" fmla="*/ 466725 w 1059656"/>
                  <a:gd name="connsiteY39" fmla="*/ 92869 h 531019"/>
                  <a:gd name="connsiteX40" fmla="*/ 450056 w 1059656"/>
                  <a:gd name="connsiteY40" fmla="*/ 111919 h 531019"/>
                  <a:gd name="connsiteX41" fmla="*/ 454818 w 1059656"/>
                  <a:gd name="connsiteY41" fmla="*/ 138112 h 531019"/>
                  <a:gd name="connsiteX42" fmla="*/ 423862 w 1059656"/>
                  <a:gd name="connsiteY42" fmla="*/ 161925 h 531019"/>
                  <a:gd name="connsiteX43" fmla="*/ 371475 w 1059656"/>
                  <a:gd name="connsiteY43" fmla="*/ 171450 h 531019"/>
                  <a:gd name="connsiteX44" fmla="*/ 330993 w 1059656"/>
                  <a:gd name="connsiteY44" fmla="*/ 190500 h 531019"/>
                  <a:gd name="connsiteX45" fmla="*/ 321468 w 1059656"/>
                  <a:gd name="connsiteY45" fmla="*/ 228600 h 531019"/>
                  <a:gd name="connsiteX46" fmla="*/ 319087 w 1059656"/>
                  <a:gd name="connsiteY46" fmla="*/ 235744 h 531019"/>
                  <a:gd name="connsiteX47" fmla="*/ 266700 w 1059656"/>
                  <a:gd name="connsiteY47" fmla="*/ 252412 h 531019"/>
                  <a:gd name="connsiteX48" fmla="*/ 180975 w 1059656"/>
                  <a:gd name="connsiteY48" fmla="*/ 283369 h 531019"/>
                  <a:gd name="connsiteX49" fmla="*/ 157162 w 1059656"/>
                  <a:gd name="connsiteY49" fmla="*/ 276225 h 531019"/>
                  <a:gd name="connsiteX50" fmla="*/ 128587 w 1059656"/>
                  <a:gd name="connsiteY50" fmla="*/ 266700 h 531019"/>
                  <a:gd name="connsiteX51" fmla="*/ 130968 w 1059656"/>
                  <a:gd name="connsiteY51" fmla="*/ 326231 h 531019"/>
                  <a:gd name="connsiteX52" fmla="*/ 169068 w 1059656"/>
                  <a:gd name="connsiteY52" fmla="*/ 354806 h 531019"/>
                  <a:gd name="connsiteX53" fmla="*/ 185737 w 1059656"/>
                  <a:gd name="connsiteY53" fmla="*/ 378619 h 531019"/>
                  <a:gd name="connsiteX54" fmla="*/ 180975 w 1059656"/>
                  <a:gd name="connsiteY54" fmla="*/ 409575 h 531019"/>
                  <a:gd name="connsiteX55" fmla="*/ 173831 w 1059656"/>
                  <a:gd name="connsiteY55" fmla="*/ 438150 h 531019"/>
                  <a:gd name="connsiteX56" fmla="*/ 130968 w 1059656"/>
                  <a:gd name="connsiteY56" fmla="*/ 440531 h 531019"/>
                  <a:gd name="connsiteX57" fmla="*/ 95250 w 1059656"/>
                  <a:gd name="connsiteY57" fmla="*/ 454819 h 531019"/>
                  <a:gd name="connsiteX58" fmla="*/ 71437 w 1059656"/>
                  <a:gd name="connsiteY58" fmla="*/ 459581 h 531019"/>
                  <a:gd name="connsiteX59" fmla="*/ 50006 w 1059656"/>
                  <a:gd name="connsiteY59" fmla="*/ 471487 h 531019"/>
                  <a:gd name="connsiteX60" fmla="*/ 30956 w 1059656"/>
                  <a:gd name="connsiteY60" fmla="*/ 488156 h 531019"/>
                  <a:gd name="connsiteX61" fmla="*/ 7143 w 1059656"/>
                  <a:gd name="connsiteY61" fmla="*/ 495300 h 531019"/>
                  <a:gd name="connsiteX62" fmla="*/ 0 w 1059656"/>
                  <a:gd name="connsiteY62" fmla="*/ 500062 h 531019"/>
                  <a:gd name="connsiteX63" fmla="*/ 38100 w 1059656"/>
                  <a:gd name="connsiteY63" fmla="*/ 528637 h 531019"/>
                  <a:gd name="connsiteX64" fmla="*/ 80962 w 1059656"/>
                  <a:gd name="connsiteY64" fmla="*/ 526256 h 531019"/>
                  <a:gd name="connsiteX65" fmla="*/ 116681 w 1059656"/>
                  <a:gd name="connsiteY65" fmla="*/ 492919 h 531019"/>
                  <a:gd name="connsiteX66" fmla="*/ 171450 w 1059656"/>
                  <a:gd name="connsiteY66" fmla="*/ 466725 h 531019"/>
                  <a:gd name="connsiteX67" fmla="*/ 278606 w 1059656"/>
                  <a:gd name="connsiteY67" fmla="*/ 459581 h 531019"/>
                  <a:gd name="connsiteX68" fmla="*/ 292893 w 1059656"/>
                  <a:gd name="connsiteY68" fmla="*/ 447675 h 531019"/>
                  <a:gd name="connsiteX69" fmla="*/ 357187 w 1059656"/>
                  <a:gd name="connsiteY69" fmla="*/ 447675 h 531019"/>
                  <a:gd name="connsiteX70" fmla="*/ 433387 w 1059656"/>
                  <a:gd name="connsiteY70" fmla="*/ 354806 h 531019"/>
                  <a:gd name="connsiteX71" fmla="*/ 559593 w 1059656"/>
                  <a:gd name="connsiteY71" fmla="*/ 295275 h 531019"/>
                  <a:gd name="connsiteX72" fmla="*/ 619125 w 1059656"/>
                  <a:gd name="connsiteY72" fmla="*/ 288131 h 531019"/>
                  <a:gd name="connsiteX73" fmla="*/ 654843 w 1059656"/>
                  <a:gd name="connsiteY73" fmla="*/ 261937 h 531019"/>
                  <a:gd name="connsiteX74" fmla="*/ 716756 w 1059656"/>
                  <a:gd name="connsiteY74" fmla="*/ 259556 h 531019"/>
                  <a:gd name="connsiteX75" fmla="*/ 771525 w 1059656"/>
                  <a:gd name="connsiteY75" fmla="*/ 252412 h 531019"/>
                  <a:gd name="connsiteX76" fmla="*/ 781050 w 1059656"/>
                  <a:gd name="connsiteY76" fmla="*/ 290512 h 531019"/>
                  <a:gd name="connsiteX77" fmla="*/ 773906 w 1059656"/>
                  <a:gd name="connsiteY77" fmla="*/ 411956 h 531019"/>
                  <a:gd name="connsiteX78" fmla="*/ 707231 w 1059656"/>
                  <a:gd name="connsiteY78" fmla="*/ 428625 h 531019"/>
                  <a:gd name="connsiteX79" fmla="*/ 657224 w 1059656"/>
                  <a:gd name="connsiteY79" fmla="*/ 483393 h 531019"/>
                  <a:gd name="connsiteX80" fmla="*/ 676275 w 1059656"/>
                  <a:gd name="connsiteY80" fmla="*/ 500062 h 531019"/>
                  <a:gd name="connsiteX81" fmla="*/ 697706 w 1059656"/>
                  <a:gd name="connsiteY81" fmla="*/ 531019 h 531019"/>
                  <a:gd name="connsiteX0" fmla="*/ 697706 w 1059656"/>
                  <a:gd name="connsiteY0" fmla="*/ 531019 h 531019"/>
                  <a:gd name="connsiteX1" fmla="*/ 778668 w 1059656"/>
                  <a:gd name="connsiteY1" fmla="*/ 459581 h 531019"/>
                  <a:gd name="connsiteX2" fmla="*/ 816768 w 1059656"/>
                  <a:gd name="connsiteY2" fmla="*/ 440531 h 531019"/>
                  <a:gd name="connsiteX3" fmla="*/ 852487 w 1059656"/>
                  <a:gd name="connsiteY3" fmla="*/ 438150 h 531019"/>
                  <a:gd name="connsiteX4" fmla="*/ 916781 w 1059656"/>
                  <a:gd name="connsiteY4" fmla="*/ 423862 h 531019"/>
                  <a:gd name="connsiteX5" fmla="*/ 950118 w 1059656"/>
                  <a:gd name="connsiteY5" fmla="*/ 426244 h 531019"/>
                  <a:gd name="connsiteX6" fmla="*/ 988218 w 1059656"/>
                  <a:gd name="connsiteY6" fmla="*/ 442912 h 531019"/>
                  <a:gd name="connsiteX7" fmla="*/ 1019175 w 1059656"/>
                  <a:gd name="connsiteY7" fmla="*/ 411956 h 531019"/>
                  <a:gd name="connsiteX8" fmla="*/ 992981 w 1059656"/>
                  <a:gd name="connsiteY8" fmla="*/ 381000 h 531019"/>
                  <a:gd name="connsiteX9" fmla="*/ 988218 w 1059656"/>
                  <a:gd name="connsiteY9" fmla="*/ 350044 h 531019"/>
                  <a:gd name="connsiteX10" fmla="*/ 995362 w 1059656"/>
                  <a:gd name="connsiteY10" fmla="*/ 311944 h 531019"/>
                  <a:gd name="connsiteX11" fmla="*/ 1023937 w 1059656"/>
                  <a:gd name="connsiteY11" fmla="*/ 271462 h 531019"/>
                  <a:gd name="connsiteX12" fmla="*/ 1052512 w 1059656"/>
                  <a:gd name="connsiteY12" fmla="*/ 261937 h 531019"/>
                  <a:gd name="connsiteX13" fmla="*/ 1059656 w 1059656"/>
                  <a:gd name="connsiteY13" fmla="*/ 233362 h 531019"/>
                  <a:gd name="connsiteX14" fmla="*/ 1047750 w 1059656"/>
                  <a:gd name="connsiteY14" fmla="*/ 204787 h 531019"/>
                  <a:gd name="connsiteX15" fmla="*/ 1019175 w 1059656"/>
                  <a:gd name="connsiteY15" fmla="*/ 195262 h 531019"/>
                  <a:gd name="connsiteX16" fmla="*/ 992981 w 1059656"/>
                  <a:gd name="connsiteY16" fmla="*/ 202406 h 531019"/>
                  <a:gd name="connsiteX17" fmla="*/ 935831 w 1059656"/>
                  <a:gd name="connsiteY17" fmla="*/ 221456 h 531019"/>
                  <a:gd name="connsiteX18" fmla="*/ 900112 w 1059656"/>
                  <a:gd name="connsiteY18" fmla="*/ 226219 h 531019"/>
                  <a:gd name="connsiteX19" fmla="*/ 878681 w 1059656"/>
                  <a:gd name="connsiteY19" fmla="*/ 209550 h 531019"/>
                  <a:gd name="connsiteX20" fmla="*/ 873918 w 1059656"/>
                  <a:gd name="connsiteY20" fmla="*/ 195262 h 531019"/>
                  <a:gd name="connsiteX21" fmla="*/ 881062 w 1059656"/>
                  <a:gd name="connsiteY21" fmla="*/ 152400 h 531019"/>
                  <a:gd name="connsiteX22" fmla="*/ 888206 w 1059656"/>
                  <a:gd name="connsiteY22" fmla="*/ 116681 h 531019"/>
                  <a:gd name="connsiteX23" fmla="*/ 871537 w 1059656"/>
                  <a:gd name="connsiteY23" fmla="*/ 78581 h 531019"/>
                  <a:gd name="connsiteX24" fmla="*/ 840581 w 1059656"/>
                  <a:gd name="connsiteY24" fmla="*/ 61912 h 531019"/>
                  <a:gd name="connsiteX25" fmla="*/ 862012 w 1059656"/>
                  <a:gd name="connsiteY25" fmla="*/ 14287 h 531019"/>
                  <a:gd name="connsiteX26" fmla="*/ 809625 w 1059656"/>
                  <a:gd name="connsiteY26" fmla="*/ 0 h 531019"/>
                  <a:gd name="connsiteX27" fmla="*/ 797718 w 1059656"/>
                  <a:gd name="connsiteY27" fmla="*/ 16669 h 531019"/>
                  <a:gd name="connsiteX28" fmla="*/ 757237 w 1059656"/>
                  <a:gd name="connsiteY28" fmla="*/ 11906 h 531019"/>
                  <a:gd name="connsiteX29" fmla="*/ 735806 w 1059656"/>
                  <a:gd name="connsiteY29" fmla="*/ 16669 h 531019"/>
                  <a:gd name="connsiteX30" fmla="*/ 719137 w 1059656"/>
                  <a:gd name="connsiteY30" fmla="*/ 45244 h 531019"/>
                  <a:gd name="connsiteX31" fmla="*/ 723900 w 1059656"/>
                  <a:gd name="connsiteY31" fmla="*/ 64294 h 531019"/>
                  <a:gd name="connsiteX32" fmla="*/ 707231 w 1059656"/>
                  <a:gd name="connsiteY32" fmla="*/ 78581 h 531019"/>
                  <a:gd name="connsiteX33" fmla="*/ 631031 w 1059656"/>
                  <a:gd name="connsiteY33" fmla="*/ 80962 h 531019"/>
                  <a:gd name="connsiteX34" fmla="*/ 597693 w 1059656"/>
                  <a:gd name="connsiteY34" fmla="*/ 66675 h 531019"/>
                  <a:gd name="connsiteX35" fmla="*/ 569118 w 1059656"/>
                  <a:gd name="connsiteY35" fmla="*/ 38100 h 531019"/>
                  <a:gd name="connsiteX36" fmla="*/ 531018 w 1059656"/>
                  <a:gd name="connsiteY36" fmla="*/ 33337 h 531019"/>
                  <a:gd name="connsiteX37" fmla="*/ 497681 w 1059656"/>
                  <a:gd name="connsiteY37" fmla="*/ 57150 h 531019"/>
                  <a:gd name="connsiteX38" fmla="*/ 481012 w 1059656"/>
                  <a:gd name="connsiteY38" fmla="*/ 76200 h 531019"/>
                  <a:gd name="connsiteX39" fmla="*/ 466725 w 1059656"/>
                  <a:gd name="connsiteY39" fmla="*/ 92869 h 531019"/>
                  <a:gd name="connsiteX40" fmla="*/ 450056 w 1059656"/>
                  <a:gd name="connsiteY40" fmla="*/ 111919 h 531019"/>
                  <a:gd name="connsiteX41" fmla="*/ 454818 w 1059656"/>
                  <a:gd name="connsiteY41" fmla="*/ 138112 h 531019"/>
                  <a:gd name="connsiteX42" fmla="*/ 423862 w 1059656"/>
                  <a:gd name="connsiteY42" fmla="*/ 161925 h 531019"/>
                  <a:gd name="connsiteX43" fmla="*/ 371475 w 1059656"/>
                  <a:gd name="connsiteY43" fmla="*/ 171450 h 531019"/>
                  <a:gd name="connsiteX44" fmla="*/ 330993 w 1059656"/>
                  <a:gd name="connsiteY44" fmla="*/ 190500 h 531019"/>
                  <a:gd name="connsiteX45" fmla="*/ 321468 w 1059656"/>
                  <a:gd name="connsiteY45" fmla="*/ 228600 h 531019"/>
                  <a:gd name="connsiteX46" fmla="*/ 319087 w 1059656"/>
                  <a:gd name="connsiteY46" fmla="*/ 235744 h 531019"/>
                  <a:gd name="connsiteX47" fmla="*/ 266700 w 1059656"/>
                  <a:gd name="connsiteY47" fmla="*/ 252412 h 531019"/>
                  <a:gd name="connsiteX48" fmla="*/ 180975 w 1059656"/>
                  <a:gd name="connsiteY48" fmla="*/ 283369 h 531019"/>
                  <a:gd name="connsiteX49" fmla="*/ 157162 w 1059656"/>
                  <a:gd name="connsiteY49" fmla="*/ 276225 h 531019"/>
                  <a:gd name="connsiteX50" fmla="*/ 128587 w 1059656"/>
                  <a:gd name="connsiteY50" fmla="*/ 266700 h 531019"/>
                  <a:gd name="connsiteX51" fmla="*/ 130968 w 1059656"/>
                  <a:gd name="connsiteY51" fmla="*/ 326231 h 531019"/>
                  <a:gd name="connsiteX52" fmla="*/ 169068 w 1059656"/>
                  <a:gd name="connsiteY52" fmla="*/ 354806 h 531019"/>
                  <a:gd name="connsiteX53" fmla="*/ 185737 w 1059656"/>
                  <a:gd name="connsiteY53" fmla="*/ 378619 h 531019"/>
                  <a:gd name="connsiteX54" fmla="*/ 180975 w 1059656"/>
                  <a:gd name="connsiteY54" fmla="*/ 409575 h 531019"/>
                  <a:gd name="connsiteX55" fmla="*/ 173831 w 1059656"/>
                  <a:gd name="connsiteY55" fmla="*/ 438150 h 531019"/>
                  <a:gd name="connsiteX56" fmla="*/ 130968 w 1059656"/>
                  <a:gd name="connsiteY56" fmla="*/ 440531 h 531019"/>
                  <a:gd name="connsiteX57" fmla="*/ 95250 w 1059656"/>
                  <a:gd name="connsiteY57" fmla="*/ 454819 h 531019"/>
                  <a:gd name="connsiteX58" fmla="*/ 71437 w 1059656"/>
                  <a:gd name="connsiteY58" fmla="*/ 459581 h 531019"/>
                  <a:gd name="connsiteX59" fmla="*/ 50006 w 1059656"/>
                  <a:gd name="connsiteY59" fmla="*/ 471487 h 531019"/>
                  <a:gd name="connsiteX60" fmla="*/ 30956 w 1059656"/>
                  <a:gd name="connsiteY60" fmla="*/ 488156 h 531019"/>
                  <a:gd name="connsiteX61" fmla="*/ 7143 w 1059656"/>
                  <a:gd name="connsiteY61" fmla="*/ 495300 h 531019"/>
                  <a:gd name="connsiteX62" fmla="*/ 0 w 1059656"/>
                  <a:gd name="connsiteY62" fmla="*/ 500062 h 531019"/>
                  <a:gd name="connsiteX63" fmla="*/ 38100 w 1059656"/>
                  <a:gd name="connsiteY63" fmla="*/ 528637 h 531019"/>
                  <a:gd name="connsiteX64" fmla="*/ 80962 w 1059656"/>
                  <a:gd name="connsiteY64" fmla="*/ 526256 h 531019"/>
                  <a:gd name="connsiteX65" fmla="*/ 116681 w 1059656"/>
                  <a:gd name="connsiteY65" fmla="*/ 492919 h 531019"/>
                  <a:gd name="connsiteX66" fmla="*/ 171450 w 1059656"/>
                  <a:gd name="connsiteY66" fmla="*/ 466725 h 531019"/>
                  <a:gd name="connsiteX67" fmla="*/ 278606 w 1059656"/>
                  <a:gd name="connsiteY67" fmla="*/ 459581 h 531019"/>
                  <a:gd name="connsiteX68" fmla="*/ 292893 w 1059656"/>
                  <a:gd name="connsiteY68" fmla="*/ 447675 h 531019"/>
                  <a:gd name="connsiteX69" fmla="*/ 357187 w 1059656"/>
                  <a:gd name="connsiteY69" fmla="*/ 447675 h 531019"/>
                  <a:gd name="connsiteX70" fmla="*/ 433387 w 1059656"/>
                  <a:gd name="connsiteY70" fmla="*/ 354806 h 531019"/>
                  <a:gd name="connsiteX71" fmla="*/ 559593 w 1059656"/>
                  <a:gd name="connsiteY71" fmla="*/ 295275 h 531019"/>
                  <a:gd name="connsiteX72" fmla="*/ 619125 w 1059656"/>
                  <a:gd name="connsiteY72" fmla="*/ 288131 h 531019"/>
                  <a:gd name="connsiteX73" fmla="*/ 654843 w 1059656"/>
                  <a:gd name="connsiteY73" fmla="*/ 261937 h 531019"/>
                  <a:gd name="connsiteX74" fmla="*/ 716756 w 1059656"/>
                  <a:gd name="connsiteY74" fmla="*/ 259556 h 531019"/>
                  <a:gd name="connsiteX75" fmla="*/ 771525 w 1059656"/>
                  <a:gd name="connsiteY75" fmla="*/ 252412 h 531019"/>
                  <a:gd name="connsiteX76" fmla="*/ 781050 w 1059656"/>
                  <a:gd name="connsiteY76" fmla="*/ 290512 h 531019"/>
                  <a:gd name="connsiteX77" fmla="*/ 773906 w 1059656"/>
                  <a:gd name="connsiteY77" fmla="*/ 411956 h 531019"/>
                  <a:gd name="connsiteX78" fmla="*/ 707231 w 1059656"/>
                  <a:gd name="connsiteY78" fmla="*/ 428625 h 531019"/>
                  <a:gd name="connsiteX79" fmla="*/ 657224 w 1059656"/>
                  <a:gd name="connsiteY79" fmla="*/ 483393 h 531019"/>
                  <a:gd name="connsiteX80" fmla="*/ 654844 w 1059656"/>
                  <a:gd name="connsiteY80" fmla="*/ 495300 h 531019"/>
                  <a:gd name="connsiteX81" fmla="*/ 697706 w 1059656"/>
                  <a:gd name="connsiteY81" fmla="*/ 531019 h 531019"/>
                  <a:gd name="connsiteX0" fmla="*/ 697706 w 1059656"/>
                  <a:gd name="connsiteY0" fmla="*/ 531019 h 531019"/>
                  <a:gd name="connsiteX1" fmla="*/ 778668 w 1059656"/>
                  <a:gd name="connsiteY1" fmla="*/ 459581 h 531019"/>
                  <a:gd name="connsiteX2" fmla="*/ 816768 w 1059656"/>
                  <a:gd name="connsiteY2" fmla="*/ 440531 h 531019"/>
                  <a:gd name="connsiteX3" fmla="*/ 852487 w 1059656"/>
                  <a:gd name="connsiteY3" fmla="*/ 438150 h 531019"/>
                  <a:gd name="connsiteX4" fmla="*/ 916781 w 1059656"/>
                  <a:gd name="connsiteY4" fmla="*/ 423862 h 531019"/>
                  <a:gd name="connsiteX5" fmla="*/ 950118 w 1059656"/>
                  <a:gd name="connsiteY5" fmla="*/ 426244 h 531019"/>
                  <a:gd name="connsiteX6" fmla="*/ 988218 w 1059656"/>
                  <a:gd name="connsiteY6" fmla="*/ 442912 h 531019"/>
                  <a:gd name="connsiteX7" fmla="*/ 1019175 w 1059656"/>
                  <a:gd name="connsiteY7" fmla="*/ 411956 h 531019"/>
                  <a:gd name="connsiteX8" fmla="*/ 992981 w 1059656"/>
                  <a:gd name="connsiteY8" fmla="*/ 381000 h 531019"/>
                  <a:gd name="connsiteX9" fmla="*/ 988218 w 1059656"/>
                  <a:gd name="connsiteY9" fmla="*/ 350044 h 531019"/>
                  <a:gd name="connsiteX10" fmla="*/ 995362 w 1059656"/>
                  <a:gd name="connsiteY10" fmla="*/ 311944 h 531019"/>
                  <a:gd name="connsiteX11" fmla="*/ 1023937 w 1059656"/>
                  <a:gd name="connsiteY11" fmla="*/ 271462 h 531019"/>
                  <a:gd name="connsiteX12" fmla="*/ 1052512 w 1059656"/>
                  <a:gd name="connsiteY12" fmla="*/ 261937 h 531019"/>
                  <a:gd name="connsiteX13" fmla="*/ 1059656 w 1059656"/>
                  <a:gd name="connsiteY13" fmla="*/ 233362 h 531019"/>
                  <a:gd name="connsiteX14" fmla="*/ 1047750 w 1059656"/>
                  <a:gd name="connsiteY14" fmla="*/ 204787 h 531019"/>
                  <a:gd name="connsiteX15" fmla="*/ 1019175 w 1059656"/>
                  <a:gd name="connsiteY15" fmla="*/ 195262 h 531019"/>
                  <a:gd name="connsiteX16" fmla="*/ 992981 w 1059656"/>
                  <a:gd name="connsiteY16" fmla="*/ 202406 h 531019"/>
                  <a:gd name="connsiteX17" fmla="*/ 935831 w 1059656"/>
                  <a:gd name="connsiteY17" fmla="*/ 221456 h 531019"/>
                  <a:gd name="connsiteX18" fmla="*/ 900112 w 1059656"/>
                  <a:gd name="connsiteY18" fmla="*/ 226219 h 531019"/>
                  <a:gd name="connsiteX19" fmla="*/ 878681 w 1059656"/>
                  <a:gd name="connsiteY19" fmla="*/ 209550 h 531019"/>
                  <a:gd name="connsiteX20" fmla="*/ 873918 w 1059656"/>
                  <a:gd name="connsiteY20" fmla="*/ 195262 h 531019"/>
                  <a:gd name="connsiteX21" fmla="*/ 881062 w 1059656"/>
                  <a:gd name="connsiteY21" fmla="*/ 152400 h 531019"/>
                  <a:gd name="connsiteX22" fmla="*/ 888206 w 1059656"/>
                  <a:gd name="connsiteY22" fmla="*/ 116681 h 531019"/>
                  <a:gd name="connsiteX23" fmla="*/ 871537 w 1059656"/>
                  <a:gd name="connsiteY23" fmla="*/ 78581 h 531019"/>
                  <a:gd name="connsiteX24" fmla="*/ 840581 w 1059656"/>
                  <a:gd name="connsiteY24" fmla="*/ 61912 h 531019"/>
                  <a:gd name="connsiteX25" fmla="*/ 862012 w 1059656"/>
                  <a:gd name="connsiteY25" fmla="*/ 14287 h 531019"/>
                  <a:gd name="connsiteX26" fmla="*/ 809625 w 1059656"/>
                  <a:gd name="connsiteY26" fmla="*/ 0 h 531019"/>
                  <a:gd name="connsiteX27" fmla="*/ 797718 w 1059656"/>
                  <a:gd name="connsiteY27" fmla="*/ 16669 h 531019"/>
                  <a:gd name="connsiteX28" fmla="*/ 757237 w 1059656"/>
                  <a:gd name="connsiteY28" fmla="*/ 11906 h 531019"/>
                  <a:gd name="connsiteX29" fmla="*/ 735806 w 1059656"/>
                  <a:gd name="connsiteY29" fmla="*/ 16669 h 531019"/>
                  <a:gd name="connsiteX30" fmla="*/ 719137 w 1059656"/>
                  <a:gd name="connsiteY30" fmla="*/ 45244 h 531019"/>
                  <a:gd name="connsiteX31" fmla="*/ 723900 w 1059656"/>
                  <a:gd name="connsiteY31" fmla="*/ 64294 h 531019"/>
                  <a:gd name="connsiteX32" fmla="*/ 707231 w 1059656"/>
                  <a:gd name="connsiteY32" fmla="*/ 78581 h 531019"/>
                  <a:gd name="connsiteX33" fmla="*/ 631031 w 1059656"/>
                  <a:gd name="connsiteY33" fmla="*/ 80962 h 531019"/>
                  <a:gd name="connsiteX34" fmla="*/ 597693 w 1059656"/>
                  <a:gd name="connsiteY34" fmla="*/ 66675 h 531019"/>
                  <a:gd name="connsiteX35" fmla="*/ 569118 w 1059656"/>
                  <a:gd name="connsiteY35" fmla="*/ 38100 h 531019"/>
                  <a:gd name="connsiteX36" fmla="*/ 531018 w 1059656"/>
                  <a:gd name="connsiteY36" fmla="*/ 33337 h 531019"/>
                  <a:gd name="connsiteX37" fmla="*/ 497681 w 1059656"/>
                  <a:gd name="connsiteY37" fmla="*/ 57150 h 531019"/>
                  <a:gd name="connsiteX38" fmla="*/ 481012 w 1059656"/>
                  <a:gd name="connsiteY38" fmla="*/ 76200 h 531019"/>
                  <a:gd name="connsiteX39" fmla="*/ 466725 w 1059656"/>
                  <a:gd name="connsiteY39" fmla="*/ 92869 h 531019"/>
                  <a:gd name="connsiteX40" fmla="*/ 450056 w 1059656"/>
                  <a:gd name="connsiteY40" fmla="*/ 111919 h 531019"/>
                  <a:gd name="connsiteX41" fmla="*/ 454818 w 1059656"/>
                  <a:gd name="connsiteY41" fmla="*/ 138112 h 531019"/>
                  <a:gd name="connsiteX42" fmla="*/ 423862 w 1059656"/>
                  <a:gd name="connsiteY42" fmla="*/ 161925 h 531019"/>
                  <a:gd name="connsiteX43" fmla="*/ 371475 w 1059656"/>
                  <a:gd name="connsiteY43" fmla="*/ 171450 h 531019"/>
                  <a:gd name="connsiteX44" fmla="*/ 330993 w 1059656"/>
                  <a:gd name="connsiteY44" fmla="*/ 190500 h 531019"/>
                  <a:gd name="connsiteX45" fmla="*/ 321468 w 1059656"/>
                  <a:gd name="connsiteY45" fmla="*/ 228600 h 531019"/>
                  <a:gd name="connsiteX46" fmla="*/ 319087 w 1059656"/>
                  <a:gd name="connsiteY46" fmla="*/ 235744 h 531019"/>
                  <a:gd name="connsiteX47" fmla="*/ 266700 w 1059656"/>
                  <a:gd name="connsiteY47" fmla="*/ 252412 h 531019"/>
                  <a:gd name="connsiteX48" fmla="*/ 180975 w 1059656"/>
                  <a:gd name="connsiteY48" fmla="*/ 283369 h 531019"/>
                  <a:gd name="connsiteX49" fmla="*/ 157162 w 1059656"/>
                  <a:gd name="connsiteY49" fmla="*/ 276225 h 531019"/>
                  <a:gd name="connsiteX50" fmla="*/ 128587 w 1059656"/>
                  <a:gd name="connsiteY50" fmla="*/ 266700 h 531019"/>
                  <a:gd name="connsiteX51" fmla="*/ 130968 w 1059656"/>
                  <a:gd name="connsiteY51" fmla="*/ 326231 h 531019"/>
                  <a:gd name="connsiteX52" fmla="*/ 169068 w 1059656"/>
                  <a:gd name="connsiteY52" fmla="*/ 354806 h 531019"/>
                  <a:gd name="connsiteX53" fmla="*/ 185737 w 1059656"/>
                  <a:gd name="connsiteY53" fmla="*/ 378619 h 531019"/>
                  <a:gd name="connsiteX54" fmla="*/ 180975 w 1059656"/>
                  <a:gd name="connsiteY54" fmla="*/ 409575 h 531019"/>
                  <a:gd name="connsiteX55" fmla="*/ 173831 w 1059656"/>
                  <a:gd name="connsiteY55" fmla="*/ 438150 h 531019"/>
                  <a:gd name="connsiteX56" fmla="*/ 130968 w 1059656"/>
                  <a:gd name="connsiteY56" fmla="*/ 440531 h 531019"/>
                  <a:gd name="connsiteX57" fmla="*/ 95250 w 1059656"/>
                  <a:gd name="connsiteY57" fmla="*/ 454819 h 531019"/>
                  <a:gd name="connsiteX58" fmla="*/ 71437 w 1059656"/>
                  <a:gd name="connsiteY58" fmla="*/ 459581 h 531019"/>
                  <a:gd name="connsiteX59" fmla="*/ 50006 w 1059656"/>
                  <a:gd name="connsiteY59" fmla="*/ 471487 h 531019"/>
                  <a:gd name="connsiteX60" fmla="*/ 30956 w 1059656"/>
                  <a:gd name="connsiteY60" fmla="*/ 488156 h 531019"/>
                  <a:gd name="connsiteX61" fmla="*/ 7143 w 1059656"/>
                  <a:gd name="connsiteY61" fmla="*/ 495300 h 531019"/>
                  <a:gd name="connsiteX62" fmla="*/ 0 w 1059656"/>
                  <a:gd name="connsiteY62" fmla="*/ 500062 h 531019"/>
                  <a:gd name="connsiteX63" fmla="*/ 38100 w 1059656"/>
                  <a:gd name="connsiteY63" fmla="*/ 528637 h 531019"/>
                  <a:gd name="connsiteX64" fmla="*/ 80962 w 1059656"/>
                  <a:gd name="connsiteY64" fmla="*/ 526256 h 531019"/>
                  <a:gd name="connsiteX65" fmla="*/ 116681 w 1059656"/>
                  <a:gd name="connsiteY65" fmla="*/ 492919 h 531019"/>
                  <a:gd name="connsiteX66" fmla="*/ 171450 w 1059656"/>
                  <a:gd name="connsiteY66" fmla="*/ 466725 h 531019"/>
                  <a:gd name="connsiteX67" fmla="*/ 278606 w 1059656"/>
                  <a:gd name="connsiteY67" fmla="*/ 459581 h 531019"/>
                  <a:gd name="connsiteX68" fmla="*/ 292893 w 1059656"/>
                  <a:gd name="connsiteY68" fmla="*/ 447675 h 531019"/>
                  <a:gd name="connsiteX69" fmla="*/ 357187 w 1059656"/>
                  <a:gd name="connsiteY69" fmla="*/ 447675 h 531019"/>
                  <a:gd name="connsiteX70" fmla="*/ 433387 w 1059656"/>
                  <a:gd name="connsiteY70" fmla="*/ 354806 h 531019"/>
                  <a:gd name="connsiteX71" fmla="*/ 559593 w 1059656"/>
                  <a:gd name="connsiteY71" fmla="*/ 295275 h 531019"/>
                  <a:gd name="connsiteX72" fmla="*/ 619125 w 1059656"/>
                  <a:gd name="connsiteY72" fmla="*/ 288131 h 531019"/>
                  <a:gd name="connsiteX73" fmla="*/ 654843 w 1059656"/>
                  <a:gd name="connsiteY73" fmla="*/ 261937 h 531019"/>
                  <a:gd name="connsiteX74" fmla="*/ 716756 w 1059656"/>
                  <a:gd name="connsiteY74" fmla="*/ 259556 h 531019"/>
                  <a:gd name="connsiteX75" fmla="*/ 771525 w 1059656"/>
                  <a:gd name="connsiteY75" fmla="*/ 252412 h 531019"/>
                  <a:gd name="connsiteX76" fmla="*/ 781050 w 1059656"/>
                  <a:gd name="connsiteY76" fmla="*/ 290512 h 531019"/>
                  <a:gd name="connsiteX77" fmla="*/ 773906 w 1059656"/>
                  <a:gd name="connsiteY77" fmla="*/ 411956 h 531019"/>
                  <a:gd name="connsiteX78" fmla="*/ 707231 w 1059656"/>
                  <a:gd name="connsiteY78" fmla="*/ 428625 h 531019"/>
                  <a:gd name="connsiteX79" fmla="*/ 652461 w 1059656"/>
                  <a:gd name="connsiteY79" fmla="*/ 476249 h 531019"/>
                  <a:gd name="connsiteX80" fmla="*/ 654844 w 1059656"/>
                  <a:gd name="connsiteY80" fmla="*/ 495300 h 531019"/>
                  <a:gd name="connsiteX81" fmla="*/ 697706 w 1059656"/>
                  <a:gd name="connsiteY81" fmla="*/ 531019 h 531019"/>
                  <a:gd name="connsiteX0" fmla="*/ 697706 w 1059656"/>
                  <a:gd name="connsiteY0" fmla="*/ 564357 h 564357"/>
                  <a:gd name="connsiteX1" fmla="*/ 778668 w 1059656"/>
                  <a:gd name="connsiteY1" fmla="*/ 492919 h 564357"/>
                  <a:gd name="connsiteX2" fmla="*/ 816768 w 1059656"/>
                  <a:gd name="connsiteY2" fmla="*/ 473869 h 564357"/>
                  <a:gd name="connsiteX3" fmla="*/ 852487 w 1059656"/>
                  <a:gd name="connsiteY3" fmla="*/ 471488 h 564357"/>
                  <a:gd name="connsiteX4" fmla="*/ 916781 w 1059656"/>
                  <a:gd name="connsiteY4" fmla="*/ 457200 h 564357"/>
                  <a:gd name="connsiteX5" fmla="*/ 950118 w 1059656"/>
                  <a:gd name="connsiteY5" fmla="*/ 459582 h 564357"/>
                  <a:gd name="connsiteX6" fmla="*/ 988218 w 1059656"/>
                  <a:gd name="connsiteY6" fmla="*/ 476250 h 564357"/>
                  <a:gd name="connsiteX7" fmla="*/ 1019175 w 1059656"/>
                  <a:gd name="connsiteY7" fmla="*/ 445294 h 564357"/>
                  <a:gd name="connsiteX8" fmla="*/ 992981 w 1059656"/>
                  <a:gd name="connsiteY8" fmla="*/ 414338 h 564357"/>
                  <a:gd name="connsiteX9" fmla="*/ 988218 w 1059656"/>
                  <a:gd name="connsiteY9" fmla="*/ 383382 h 564357"/>
                  <a:gd name="connsiteX10" fmla="*/ 995362 w 1059656"/>
                  <a:gd name="connsiteY10" fmla="*/ 345282 h 564357"/>
                  <a:gd name="connsiteX11" fmla="*/ 1023937 w 1059656"/>
                  <a:gd name="connsiteY11" fmla="*/ 304800 h 564357"/>
                  <a:gd name="connsiteX12" fmla="*/ 1052512 w 1059656"/>
                  <a:gd name="connsiteY12" fmla="*/ 295275 h 564357"/>
                  <a:gd name="connsiteX13" fmla="*/ 1059656 w 1059656"/>
                  <a:gd name="connsiteY13" fmla="*/ 266700 h 564357"/>
                  <a:gd name="connsiteX14" fmla="*/ 1047750 w 1059656"/>
                  <a:gd name="connsiteY14" fmla="*/ 238125 h 564357"/>
                  <a:gd name="connsiteX15" fmla="*/ 1019175 w 1059656"/>
                  <a:gd name="connsiteY15" fmla="*/ 228600 h 564357"/>
                  <a:gd name="connsiteX16" fmla="*/ 992981 w 1059656"/>
                  <a:gd name="connsiteY16" fmla="*/ 235744 h 564357"/>
                  <a:gd name="connsiteX17" fmla="*/ 935831 w 1059656"/>
                  <a:gd name="connsiteY17" fmla="*/ 254794 h 564357"/>
                  <a:gd name="connsiteX18" fmla="*/ 900112 w 1059656"/>
                  <a:gd name="connsiteY18" fmla="*/ 259557 h 564357"/>
                  <a:gd name="connsiteX19" fmla="*/ 878681 w 1059656"/>
                  <a:gd name="connsiteY19" fmla="*/ 242888 h 564357"/>
                  <a:gd name="connsiteX20" fmla="*/ 873918 w 1059656"/>
                  <a:gd name="connsiteY20" fmla="*/ 228600 h 564357"/>
                  <a:gd name="connsiteX21" fmla="*/ 881062 w 1059656"/>
                  <a:gd name="connsiteY21" fmla="*/ 185738 h 564357"/>
                  <a:gd name="connsiteX22" fmla="*/ 888206 w 1059656"/>
                  <a:gd name="connsiteY22" fmla="*/ 150019 h 564357"/>
                  <a:gd name="connsiteX23" fmla="*/ 871537 w 1059656"/>
                  <a:gd name="connsiteY23" fmla="*/ 111919 h 564357"/>
                  <a:gd name="connsiteX24" fmla="*/ 840581 w 1059656"/>
                  <a:gd name="connsiteY24" fmla="*/ 95250 h 564357"/>
                  <a:gd name="connsiteX25" fmla="*/ 833437 w 1059656"/>
                  <a:gd name="connsiteY25" fmla="*/ 0 h 564357"/>
                  <a:gd name="connsiteX26" fmla="*/ 809625 w 1059656"/>
                  <a:gd name="connsiteY26" fmla="*/ 33338 h 564357"/>
                  <a:gd name="connsiteX27" fmla="*/ 797718 w 1059656"/>
                  <a:gd name="connsiteY27" fmla="*/ 50007 h 564357"/>
                  <a:gd name="connsiteX28" fmla="*/ 757237 w 1059656"/>
                  <a:gd name="connsiteY28" fmla="*/ 45244 h 564357"/>
                  <a:gd name="connsiteX29" fmla="*/ 735806 w 1059656"/>
                  <a:gd name="connsiteY29" fmla="*/ 50007 h 564357"/>
                  <a:gd name="connsiteX30" fmla="*/ 719137 w 1059656"/>
                  <a:gd name="connsiteY30" fmla="*/ 78582 h 564357"/>
                  <a:gd name="connsiteX31" fmla="*/ 723900 w 1059656"/>
                  <a:gd name="connsiteY31" fmla="*/ 97632 h 564357"/>
                  <a:gd name="connsiteX32" fmla="*/ 707231 w 1059656"/>
                  <a:gd name="connsiteY32" fmla="*/ 111919 h 564357"/>
                  <a:gd name="connsiteX33" fmla="*/ 631031 w 1059656"/>
                  <a:gd name="connsiteY33" fmla="*/ 114300 h 564357"/>
                  <a:gd name="connsiteX34" fmla="*/ 597693 w 1059656"/>
                  <a:gd name="connsiteY34" fmla="*/ 100013 h 564357"/>
                  <a:gd name="connsiteX35" fmla="*/ 569118 w 1059656"/>
                  <a:gd name="connsiteY35" fmla="*/ 71438 h 564357"/>
                  <a:gd name="connsiteX36" fmla="*/ 531018 w 1059656"/>
                  <a:gd name="connsiteY36" fmla="*/ 66675 h 564357"/>
                  <a:gd name="connsiteX37" fmla="*/ 497681 w 1059656"/>
                  <a:gd name="connsiteY37" fmla="*/ 90488 h 564357"/>
                  <a:gd name="connsiteX38" fmla="*/ 481012 w 1059656"/>
                  <a:gd name="connsiteY38" fmla="*/ 109538 h 564357"/>
                  <a:gd name="connsiteX39" fmla="*/ 466725 w 1059656"/>
                  <a:gd name="connsiteY39" fmla="*/ 126207 h 564357"/>
                  <a:gd name="connsiteX40" fmla="*/ 450056 w 1059656"/>
                  <a:gd name="connsiteY40" fmla="*/ 145257 h 564357"/>
                  <a:gd name="connsiteX41" fmla="*/ 454818 w 1059656"/>
                  <a:gd name="connsiteY41" fmla="*/ 171450 h 564357"/>
                  <a:gd name="connsiteX42" fmla="*/ 423862 w 1059656"/>
                  <a:gd name="connsiteY42" fmla="*/ 195263 h 564357"/>
                  <a:gd name="connsiteX43" fmla="*/ 371475 w 1059656"/>
                  <a:gd name="connsiteY43" fmla="*/ 204788 h 564357"/>
                  <a:gd name="connsiteX44" fmla="*/ 330993 w 1059656"/>
                  <a:gd name="connsiteY44" fmla="*/ 223838 h 564357"/>
                  <a:gd name="connsiteX45" fmla="*/ 321468 w 1059656"/>
                  <a:gd name="connsiteY45" fmla="*/ 261938 h 564357"/>
                  <a:gd name="connsiteX46" fmla="*/ 319087 w 1059656"/>
                  <a:gd name="connsiteY46" fmla="*/ 269082 h 564357"/>
                  <a:gd name="connsiteX47" fmla="*/ 266700 w 1059656"/>
                  <a:gd name="connsiteY47" fmla="*/ 285750 h 564357"/>
                  <a:gd name="connsiteX48" fmla="*/ 180975 w 1059656"/>
                  <a:gd name="connsiteY48" fmla="*/ 316707 h 564357"/>
                  <a:gd name="connsiteX49" fmla="*/ 157162 w 1059656"/>
                  <a:gd name="connsiteY49" fmla="*/ 309563 h 564357"/>
                  <a:gd name="connsiteX50" fmla="*/ 128587 w 1059656"/>
                  <a:gd name="connsiteY50" fmla="*/ 300038 h 564357"/>
                  <a:gd name="connsiteX51" fmla="*/ 130968 w 1059656"/>
                  <a:gd name="connsiteY51" fmla="*/ 359569 h 564357"/>
                  <a:gd name="connsiteX52" fmla="*/ 169068 w 1059656"/>
                  <a:gd name="connsiteY52" fmla="*/ 388144 h 564357"/>
                  <a:gd name="connsiteX53" fmla="*/ 185737 w 1059656"/>
                  <a:gd name="connsiteY53" fmla="*/ 411957 h 564357"/>
                  <a:gd name="connsiteX54" fmla="*/ 180975 w 1059656"/>
                  <a:gd name="connsiteY54" fmla="*/ 442913 h 564357"/>
                  <a:gd name="connsiteX55" fmla="*/ 173831 w 1059656"/>
                  <a:gd name="connsiteY55" fmla="*/ 471488 h 564357"/>
                  <a:gd name="connsiteX56" fmla="*/ 130968 w 1059656"/>
                  <a:gd name="connsiteY56" fmla="*/ 473869 h 564357"/>
                  <a:gd name="connsiteX57" fmla="*/ 95250 w 1059656"/>
                  <a:gd name="connsiteY57" fmla="*/ 488157 h 564357"/>
                  <a:gd name="connsiteX58" fmla="*/ 71437 w 1059656"/>
                  <a:gd name="connsiteY58" fmla="*/ 492919 h 564357"/>
                  <a:gd name="connsiteX59" fmla="*/ 50006 w 1059656"/>
                  <a:gd name="connsiteY59" fmla="*/ 504825 h 564357"/>
                  <a:gd name="connsiteX60" fmla="*/ 30956 w 1059656"/>
                  <a:gd name="connsiteY60" fmla="*/ 521494 h 564357"/>
                  <a:gd name="connsiteX61" fmla="*/ 7143 w 1059656"/>
                  <a:gd name="connsiteY61" fmla="*/ 528638 h 564357"/>
                  <a:gd name="connsiteX62" fmla="*/ 0 w 1059656"/>
                  <a:gd name="connsiteY62" fmla="*/ 533400 h 564357"/>
                  <a:gd name="connsiteX63" fmla="*/ 38100 w 1059656"/>
                  <a:gd name="connsiteY63" fmla="*/ 561975 h 564357"/>
                  <a:gd name="connsiteX64" fmla="*/ 80962 w 1059656"/>
                  <a:gd name="connsiteY64" fmla="*/ 559594 h 564357"/>
                  <a:gd name="connsiteX65" fmla="*/ 116681 w 1059656"/>
                  <a:gd name="connsiteY65" fmla="*/ 526257 h 564357"/>
                  <a:gd name="connsiteX66" fmla="*/ 171450 w 1059656"/>
                  <a:gd name="connsiteY66" fmla="*/ 500063 h 564357"/>
                  <a:gd name="connsiteX67" fmla="*/ 278606 w 1059656"/>
                  <a:gd name="connsiteY67" fmla="*/ 492919 h 564357"/>
                  <a:gd name="connsiteX68" fmla="*/ 292893 w 1059656"/>
                  <a:gd name="connsiteY68" fmla="*/ 481013 h 564357"/>
                  <a:gd name="connsiteX69" fmla="*/ 357187 w 1059656"/>
                  <a:gd name="connsiteY69" fmla="*/ 481013 h 564357"/>
                  <a:gd name="connsiteX70" fmla="*/ 433387 w 1059656"/>
                  <a:gd name="connsiteY70" fmla="*/ 388144 h 564357"/>
                  <a:gd name="connsiteX71" fmla="*/ 559593 w 1059656"/>
                  <a:gd name="connsiteY71" fmla="*/ 328613 h 564357"/>
                  <a:gd name="connsiteX72" fmla="*/ 619125 w 1059656"/>
                  <a:gd name="connsiteY72" fmla="*/ 321469 h 564357"/>
                  <a:gd name="connsiteX73" fmla="*/ 654843 w 1059656"/>
                  <a:gd name="connsiteY73" fmla="*/ 295275 h 564357"/>
                  <a:gd name="connsiteX74" fmla="*/ 716756 w 1059656"/>
                  <a:gd name="connsiteY74" fmla="*/ 292894 h 564357"/>
                  <a:gd name="connsiteX75" fmla="*/ 771525 w 1059656"/>
                  <a:gd name="connsiteY75" fmla="*/ 285750 h 564357"/>
                  <a:gd name="connsiteX76" fmla="*/ 781050 w 1059656"/>
                  <a:gd name="connsiteY76" fmla="*/ 323850 h 564357"/>
                  <a:gd name="connsiteX77" fmla="*/ 773906 w 1059656"/>
                  <a:gd name="connsiteY77" fmla="*/ 445294 h 564357"/>
                  <a:gd name="connsiteX78" fmla="*/ 707231 w 1059656"/>
                  <a:gd name="connsiteY78" fmla="*/ 461963 h 564357"/>
                  <a:gd name="connsiteX79" fmla="*/ 652461 w 1059656"/>
                  <a:gd name="connsiteY79" fmla="*/ 509587 h 564357"/>
                  <a:gd name="connsiteX80" fmla="*/ 654844 w 1059656"/>
                  <a:gd name="connsiteY80" fmla="*/ 528638 h 564357"/>
                  <a:gd name="connsiteX81" fmla="*/ 697706 w 1059656"/>
                  <a:gd name="connsiteY81" fmla="*/ 564357 h 564357"/>
                  <a:gd name="connsiteX0" fmla="*/ 697706 w 1059656"/>
                  <a:gd name="connsiteY0" fmla="*/ 564357 h 564357"/>
                  <a:gd name="connsiteX1" fmla="*/ 778668 w 1059656"/>
                  <a:gd name="connsiteY1" fmla="*/ 492919 h 564357"/>
                  <a:gd name="connsiteX2" fmla="*/ 816768 w 1059656"/>
                  <a:gd name="connsiteY2" fmla="*/ 473869 h 564357"/>
                  <a:gd name="connsiteX3" fmla="*/ 852487 w 1059656"/>
                  <a:gd name="connsiteY3" fmla="*/ 471488 h 564357"/>
                  <a:gd name="connsiteX4" fmla="*/ 916781 w 1059656"/>
                  <a:gd name="connsiteY4" fmla="*/ 457200 h 564357"/>
                  <a:gd name="connsiteX5" fmla="*/ 950118 w 1059656"/>
                  <a:gd name="connsiteY5" fmla="*/ 459582 h 564357"/>
                  <a:gd name="connsiteX6" fmla="*/ 988218 w 1059656"/>
                  <a:gd name="connsiteY6" fmla="*/ 476250 h 564357"/>
                  <a:gd name="connsiteX7" fmla="*/ 1019175 w 1059656"/>
                  <a:gd name="connsiteY7" fmla="*/ 445294 h 564357"/>
                  <a:gd name="connsiteX8" fmla="*/ 992981 w 1059656"/>
                  <a:gd name="connsiteY8" fmla="*/ 414338 h 564357"/>
                  <a:gd name="connsiteX9" fmla="*/ 988218 w 1059656"/>
                  <a:gd name="connsiteY9" fmla="*/ 383382 h 564357"/>
                  <a:gd name="connsiteX10" fmla="*/ 995362 w 1059656"/>
                  <a:gd name="connsiteY10" fmla="*/ 345282 h 564357"/>
                  <a:gd name="connsiteX11" fmla="*/ 1023937 w 1059656"/>
                  <a:gd name="connsiteY11" fmla="*/ 304800 h 564357"/>
                  <a:gd name="connsiteX12" fmla="*/ 1052512 w 1059656"/>
                  <a:gd name="connsiteY12" fmla="*/ 295275 h 564357"/>
                  <a:gd name="connsiteX13" fmla="*/ 1059656 w 1059656"/>
                  <a:gd name="connsiteY13" fmla="*/ 266700 h 564357"/>
                  <a:gd name="connsiteX14" fmla="*/ 1047750 w 1059656"/>
                  <a:gd name="connsiteY14" fmla="*/ 238125 h 564357"/>
                  <a:gd name="connsiteX15" fmla="*/ 1019175 w 1059656"/>
                  <a:gd name="connsiteY15" fmla="*/ 228600 h 564357"/>
                  <a:gd name="connsiteX16" fmla="*/ 992981 w 1059656"/>
                  <a:gd name="connsiteY16" fmla="*/ 235744 h 564357"/>
                  <a:gd name="connsiteX17" fmla="*/ 935831 w 1059656"/>
                  <a:gd name="connsiteY17" fmla="*/ 254794 h 564357"/>
                  <a:gd name="connsiteX18" fmla="*/ 900112 w 1059656"/>
                  <a:gd name="connsiteY18" fmla="*/ 259557 h 564357"/>
                  <a:gd name="connsiteX19" fmla="*/ 878681 w 1059656"/>
                  <a:gd name="connsiteY19" fmla="*/ 242888 h 564357"/>
                  <a:gd name="connsiteX20" fmla="*/ 873918 w 1059656"/>
                  <a:gd name="connsiteY20" fmla="*/ 228600 h 564357"/>
                  <a:gd name="connsiteX21" fmla="*/ 881062 w 1059656"/>
                  <a:gd name="connsiteY21" fmla="*/ 185738 h 564357"/>
                  <a:gd name="connsiteX22" fmla="*/ 888206 w 1059656"/>
                  <a:gd name="connsiteY22" fmla="*/ 150019 h 564357"/>
                  <a:gd name="connsiteX23" fmla="*/ 871537 w 1059656"/>
                  <a:gd name="connsiteY23" fmla="*/ 111919 h 564357"/>
                  <a:gd name="connsiteX24" fmla="*/ 840581 w 1059656"/>
                  <a:gd name="connsiteY24" fmla="*/ 95250 h 564357"/>
                  <a:gd name="connsiteX25" fmla="*/ 835818 w 1059656"/>
                  <a:gd name="connsiteY25" fmla="*/ 52388 h 564357"/>
                  <a:gd name="connsiteX26" fmla="*/ 833437 w 1059656"/>
                  <a:gd name="connsiteY26" fmla="*/ 0 h 564357"/>
                  <a:gd name="connsiteX27" fmla="*/ 809625 w 1059656"/>
                  <a:gd name="connsiteY27" fmla="*/ 33338 h 564357"/>
                  <a:gd name="connsiteX28" fmla="*/ 797718 w 1059656"/>
                  <a:gd name="connsiteY28" fmla="*/ 50007 h 564357"/>
                  <a:gd name="connsiteX29" fmla="*/ 757237 w 1059656"/>
                  <a:gd name="connsiteY29" fmla="*/ 45244 h 564357"/>
                  <a:gd name="connsiteX30" fmla="*/ 735806 w 1059656"/>
                  <a:gd name="connsiteY30" fmla="*/ 50007 h 564357"/>
                  <a:gd name="connsiteX31" fmla="*/ 719137 w 1059656"/>
                  <a:gd name="connsiteY31" fmla="*/ 78582 h 564357"/>
                  <a:gd name="connsiteX32" fmla="*/ 723900 w 1059656"/>
                  <a:gd name="connsiteY32" fmla="*/ 97632 h 564357"/>
                  <a:gd name="connsiteX33" fmla="*/ 707231 w 1059656"/>
                  <a:gd name="connsiteY33" fmla="*/ 111919 h 564357"/>
                  <a:gd name="connsiteX34" fmla="*/ 631031 w 1059656"/>
                  <a:gd name="connsiteY34" fmla="*/ 114300 h 564357"/>
                  <a:gd name="connsiteX35" fmla="*/ 597693 w 1059656"/>
                  <a:gd name="connsiteY35" fmla="*/ 100013 h 564357"/>
                  <a:gd name="connsiteX36" fmla="*/ 569118 w 1059656"/>
                  <a:gd name="connsiteY36" fmla="*/ 71438 h 564357"/>
                  <a:gd name="connsiteX37" fmla="*/ 531018 w 1059656"/>
                  <a:gd name="connsiteY37" fmla="*/ 66675 h 564357"/>
                  <a:gd name="connsiteX38" fmla="*/ 497681 w 1059656"/>
                  <a:gd name="connsiteY38" fmla="*/ 90488 h 564357"/>
                  <a:gd name="connsiteX39" fmla="*/ 481012 w 1059656"/>
                  <a:gd name="connsiteY39" fmla="*/ 109538 h 564357"/>
                  <a:gd name="connsiteX40" fmla="*/ 466725 w 1059656"/>
                  <a:gd name="connsiteY40" fmla="*/ 126207 h 564357"/>
                  <a:gd name="connsiteX41" fmla="*/ 450056 w 1059656"/>
                  <a:gd name="connsiteY41" fmla="*/ 145257 h 564357"/>
                  <a:gd name="connsiteX42" fmla="*/ 454818 w 1059656"/>
                  <a:gd name="connsiteY42" fmla="*/ 171450 h 564357"/>
                  <a:gd name="connsiteX43" fmla="*/ 423862 w 1059656"/>
                  <a:gd name="connsiteY43" fmla="*/ 195263 h 564357"/>
                  <a:gd name="connsiteX44" fmla="*/ 371475 w 1059656"/>
                  <a:gd name="connsiteY44" fmla="*/ 204788 h 564357"/>
                  <a:gd name="connsiteX45" fmla="*/ 330993 w 1059656"/>
                  <a:gd name="connsiteY45" fmla="*/ 223838 h 564357"/>
                  <a:gd name="connsiteX46" fmla="*/ 321468 w 1059656"/>
                  <a:gd name="connsiteY46" fmla="*/ 261938 h 564357"/>
                  <a:gd name="connsiteX47" fmla="*/ 319087 w 1059656"/>
                  <a:gd name="connsiteY47" fmla="*/ 269082 h 564357"/>
                  <a:gd name="connsiteX48" fmla="*/ 266700 w 1059656"/>
                  <a:gd name="connsiteY48" fmla="*/ 285750 h 564357"/>
                  <a:gd name="connsiteX49" fmla="*/ 180975 w 1059656"/>
                  <a:gd name="connsiteY49" fmla="*/ 316707 h 564357"/>
                  <a:gd name="connsiteX50" fmla="*/ 157162 w 1059656"/>
                  <a:gd name="connsiteY50" fmla="*/ 309563 h 564357"/>
                  <a:gd name="connsiteX51" fmla="*/ 128587 w 1059656"/>
                  <a:gd name="connsiteY51" fmla="*/ 300038 h 564357"/>
                  <a:gd name="connsiteX52" fmla="*/ 130968 w 1059656"/>
                  <a:gd name="connsiteY52" fmla="*/ 359569 h 564357"/>
                  <a:gd name="connsiteX53" fmla="*/ 169068 w 1059656"/>
                  <a:gd name="connsiteY53" fmla="*/ 388144 h 564357"/>
                  <a:gd name="connsiteX54" fmla="*/ 185737 w 1059656"/>
                  <a:gd name="connsiteY54" fmla="*/ 411957 h 564357"/>
                  <a:gd name="connsiteX55" fmla="*/ 180975 w 1059656"/>
                  <a:gd name="connsiteY55" fmla="*/ 442913 h 564357"/>
                  <a:gd name="connsiteX56" fmla="*/ 173831 w 1059656"/>
                  <a:gd name="connsiteY56" fmla="*/ 471488 h 564357"/>
                  <a:gd name="connsiteX57" fmla="*/ 130968 w 1059656"/>
                  <a:gd name="connsiteY57" fmla="*/ 473869 h 564357"/>
                  <a:gd name="connsiteX58" fmla="*/ 95250 w 1059656"/>
                  <a:gd name="connsiteY58" fmla="*/ 488157 h 564357"/>
                  <a:gd name="connsiteX59" fmla="*/ 71437 w 1059656"/>
                  <a:gd name="connsiteY59" fmla="*/ 492919 h 564357"/>
                  <a:gd name="connsiteX60" fmla="*/ 50006 w 1059656"/>
                  <a:gd name="connsiteY60" fmla="*/ 504825 h 564357"/>
                  <a:gd name="connsiteX61" fmla="*/ 30956 w 1059656"/>
                  <a:gd name="connsiteY61" fmla="*/ 521494 h 564357"/>
                  <a:gd name="connsiteX62" fmla="*/ 7143 w 1059656"/>
                  <a:gd name="connsiteY62" fmla="*/ 528638 h 564357"/>
                  <a:gd name="connsiteX63" fmla="*/ 0 w 1059656"/>
                  <a:gd name="connsiteY63" fmla="*/ 533400 h 564357"/>
                  <a:gd name="connsiteX64" fmla="*/ 38100 w 1059656"/>
                  <a:gd name="connsiteY64" fmla="*/ 561975 h 564357"/>
                  <a:gd name="connsiteX65" fmla="*/ 80962 w 1059656"/>
                  <a:gd name="connsiteY65" fmla="*/ 559594 h 564357"/>
                  <a:gd name="connsiteX66" fmla="*/ 116681 w 1059656"/>
                  <a:gd name="connsiteY66" fmla="*/ 526257 h 564357"/>
                  <a:gd name="connsiteX67" fmla="*/ 171450 w 1059656"/>
                  <a:gd name="connsiteY67" fmla="*/ 500063 h 564357"/>
                  <a:gd name="connsiteX68" fmla="*/ 278606 w 1059656"/>
                  <a:gd name="connsiteY68" fmla="*/ 492919 h 564357"/>
                  <a:gd name="connsiteX69" fmla="*/ 292893 w 1059656"/>
                  <a:gd name="connsiteY69" fmla="*/ 481013 h 564357"/>
                  <a:gd name="connsiteX70" fmla="*/ 357187 w 1059656"/>
                  <a:gd name="connsiteY70" fmla="*/ 481013 h 564357"/>
                  <a:gd name="connsiteX71" fmla="*/ 433387 w 1059656"/>
                  <a:gd name="connsiteY71" fmla="*/ 388144 h 564357"/>
                  <a:gd name="connsiteX72" fmla="*/ 559593 w 1059656"/>
                  <a:gd name="connsiteY72" fmla="*/ 328613 h 564357"/>
                  <a:gd name="connsiteX73" fmla="*/ 619125 w 1059656"/>
                  <a:gd name="connsiteY73" fmla="*/ 321469 h 564357"/>
                  <a:gd name="connsiteX74" fmla="*/ 654843 w 1059656"/>
                  <a:gd name="connsiteY74" fmla="*/ 295275 h 564357"/>
                  <a:gd name="connsiteX75" fmla="*/ 716756 w 1059656"/>
                  <a:gd name="connsiteY75" fmla="*/ 292894 h 564357"/>
                  <a:gd name="connsiteX76" fmla="*/ 771525 w 1059656"/>
                  <a:gd name="connsiteY76" fmla="*/ 285750 h 564357"/>
                  <a:gd name="connsiteX77" fmla="*/ 781050 w 1059656"/>
                  <a:gd name="connsiteY77" fmla="*/ 323850 h 564357"/>
                  <a:gd name="connsiteX78" fmla="*/ 773906 w 1059656"/>
                  <a:gd name="connsiteY78" fmla="*/ 445294 h 564357"/>
                  <a:gd name="connsiteX79" fmla="*/ 707231 w 1059656"/>
                  <a:gd name="connsiteY79" fmla="*/ 461963 h 564357"/>
                  <a:gd name="connsiteX80" fmla="*/ 652461 w 1059656"/>
                  <a:gd name="connsiteY80" fmla="*/ 509587 h 564357"/>
                  <a:gd name="connsiteX81" fmla="*/ 654844 w 1059656"/>
                  <a:gd name="connsiteY81" fmla="*/ 528638 h 564357"/>
                  <a:gd name="connsiteX82" fmla="*/ 697706 w 1059656"/>
                  <a:gd name="connsiteY82" fmla="*/ 564357 h 564357"/>
                  <a:gd name="connsiteX0" fmla="*/ 697706 w 1059656"/>
                  <a:gd name="connsiteY0" fmla="*/ 564357 h 564357"/>
                  <a:gd name="connsiteX1" fmla="*/ 778668 w 1059656"/>
                  <a:gd name="connsiteY1" fmla="*/ 492919 h 564357"/>
                  <a:gd name="connsiteX2" fmla="*/ 816768 w 1059656"/>
                  <a:gd name="connsiteY2" fmla="*/ 473869 h 564357"/>
                  <a:gd name="connsiteX3" fmla="*/ 852487 w 1059656"/>
                  <a:gd name="connsiteY3" fmla="*/ 471488 h 564357"/>
                  <a:gd name="connsiteX4" fmla="*/ 916781 w 1059656"/>
                  <a:gd name="connsiteY4" fmla="*/ 457200 h 564357"/>
                  <a:gd name="connsiteX5" fmla="*/ 950118 w 1059656"/>
                  <a:gd name="connsiteY5" fmla="*/ 459582 h 564357"/>
                  <a:gd name="connsiteX6" fmla="*/ 988218 w 1059656"/>
                  <a:gd name="connsiteY6" fmla="*/ 476250 h 564357"/>
                  <a:gd name="connsiteX7" fmla="*/ 1019175 w 1059656"/>
                  <a:gd name="connsiteY7" fmla="*/ 445294 h 564357"/>
                  <a:gd name="connsiteX8" fmla="*/ 992981 w 1059656"/>
                  <a:gd name="connsiteY8" fmla="*/ 414338 h 564357"/>
                  <a:gd name="connsiteX9" fmla="*/ 988218 w 1059656"/>
                  <a:gd name="connsiteY9" fmla="*/ 383382 h 564357"/>
                  <a:gd name="connsiteX10" fmla="*/ 995362 w 1059656"/>
                  <a:gd name="connsiteY10" fmla="*/ 345282 h 564357"/>
                  <a:gd name="connsiteX11" fmla="*/ 1023937 w 1059656"/>
                  <a:gd name="connsiteY11" fmla="*/ 304800 h 564357"/>
                  <a:gd name="connsiteX12" fmla="*/ 1052512 w 1059656"/>
                  <a:gd name="connsiteY12" fmla="*/ 295275 h 564357"/>
                  <a:gd name="connsiteX13" fmla="*/ 1059656 w 1059656"/>
                  <a:gd name="connsiteY13" fmla="*/ 266700 h 564357"/>
                  <a:gd name="connsiteX14" fmla="*/ 1047750 w 1059656"/>
                  <a:gd name="connsiteY14" fmla="*/ 238125 h 564357"/>
                  <a:gd name="connsiteX15" fmla="*/ 1019175 w 1059656"/>
                  <a:gd name="connsiteY15" fmla="*/ 228600 h 564357"/>
                  <a:gd name="connsiteX16" fmla="*/ 992981 w 1059656"/>
                  <a:gd name="connsiteY16" fmla="*/ 235744 h 564357"/>
                  <a:gd name="connsiteX17" fmla="*/ 935831 w 1059656"/>
                  <a:gd name="connsiteY17" fmla="*/ 254794 h 564357"/>
                  <a:gd name="connsiteX18" fmla="*/ 900112 w 1059656"/>
                  <a:gd name="connsiteY18" fmla="*/ 259557 h 564357"/>
                  <a:gd name="connsiteX19" fmla="*/ 878681 w 1059656"/>
                  <a:gd name="connsiteY19" fmla="*/ 242888 h 564357"/>
                  <a:gd name="connsiteX20" fmla="*/ 873918 w 1059656"/>
                  <a:gd name="connsiteY20" fmla="*/ 228600 h 564357"/>
                  <a:gd name="connsiteX21" fmla="*/ 881062 w 1059656"/>
                  <a:gd name="connsiteY21" fmla="*/ 185738 h 564357"/>
                  <a:gd name="connsiteX22" fmla="*/ 888206 w 1059656"/>
                  <a:gd name="connsiteY22" fmla="*/ 150019 h 564357"/>
                  <a:gd name="connsiteX23" fmla="*/ 871537 w 1059656"/>
                  <a:gd name="connsiteY23" fmla="*/ 111919 h 564357"/>
                  <a:gd name="connsiteX24" fmla="*/ 840581 w 1059656"/>
                  <a:gd name="connsiteY24" fmla="*/ 95250 h 564357"/>
                  <a:gd name="connsiteX25" fmla="*/ 857249 w 1059656"/>
                  <a:gd name="connsiteY25" fmla="*/ 28576 h 564357"/>
                  <a:gd name="connsiteX26" fmla="*/ 833437 w 1059656"/>
                  <a:gd name="connsiteY26" fmla="*/ 0 h 564357"/>
                  <a:gd name="connsiteX27" fmla="*/ 809625 w 1059656"/>
                  <a:gd name="connsiteY27" fmla="*/ 33338 h 564357"/>
                  <a:gd name="connsiteX28" fmla="*/ 797718 w 1059656"/>
                  <a:gd name="connsiteY28" fmla="*/ 50007 h 564357"/>
                  <a:gd name="connsiteX29" fmla="*/ 757237 w 1059656"/>
                  <a:gd name="connsiteY29" fmla="*/ 45244 h 564357"/>
                  <a:gd name="connsiteX30" fmla="*/ 735806 w 1059656"/>
                  <a:gd name="connsiteY30" fmla="*/ 50007 h 564357"/>
                  <a:gd name="connsiteX31" fmla="*/ 719137 w 1059656"/>
                  <a:gd name="connsiteY31" fmla="*/ 78582 h 564357"/>
                  <a:gd name="connsiteX32" fmla="*/ 723900 w 1059656"/>
                  <a:gd name="connsiteY32" fmla="*/ 97632 h 564357"/>
                  <a:gd name="connsiteX33" fmla="*/ 707231 w 1059656"/>
                  <a:gd name="connsiteY33" fmla="*/ 111919 h 564357"/>
                  <a:gd name="connsiteX34" fmla="*/ 631031 w 1059656"/>
                  <a:gd name="connsiteY34" fmla="*/ 114300 h 564357"/>
                  <a:gd name="connsiteX35" fmla="*/ 597693 w 1059656"/>
                  <a:gd name="connsiteY35" fmla="*/ 100013 h 564357"/>
                  <a:gd name="connsiteX36" fmla="*/ 569118 w 1059656"/>
                  <a:gd name="connsiteY36" fmla="*/ 71438 h 564357"/>
                  <a:gd name="connsiteX37" fmla="*/ 531018 w 1059656"/>
                  <a:gd name="connsiteY37" fmla="*/ 66675 h 564357"/>
                  <a:gd name="connsiteX38" fmla="*/ 497681 w 1059656"/>
                  <a:gd name="connsiteY38" fmla="*/ 90488 h 564357"/>
                  <a:gd name="connsiteX39" fmla="*/ 481012 w 1059656"/>
                  <a:gd name="connsiteY39" fmla="*/ 109538 h 564357"/>
                  <a:gd name="connsiteX40" fmla="*/ 466725 w 1059656"/>
                  <a:gd name="connsiteY40" fmla="*/ 126207 h 564357"/>
                  <a:gd name="connsiteX41" fmla="*/ 450056 w 1059656"/>
                  <a:gd name="connsiteY41" fmla="*/ 145257 h 564357"/>
                  <a:gd name="connsiteX42" fmla="*/ 454818 w 1059656"/>
                  <a:gd name="connsiteY42" fmla="*/ 171450 h 564357"/>
                  <a:gd name="connsiteX43" fmla="*/ 423862 w 1059656"/>
                  <a:gd name="connsiteY43" fmla="*/ 195263 h 564357"/>
                  <a:gd name="connsiteX44" fmla="*/ 371475 w 1059656"/>
                  <a:gd name="connsiteY44" fmla="*/ 204788 h 564357"/>
                  <a:gd name="connsiteX45" fmla="*/ 330993 w 1059656"/>
                  <a:gd name="connsiteY45" fmla="*/ 223838 h 564357"/>
                  <a:gd name="connsiteX46" fmla="*/ 321468 w 1059656"/>
                  <a:gd name="connsiteY46" fmla="*/ 261938 h 564357"/>
                  <a:gd name="connsiteX47" fmla="*/ 319087 w 1059656"/>
                  <a:gd name="connsiteY47" fmla="*/ 269082 h 564357"/>
                  <a:gd name="connsiteX48" fmla="*/ 266700 w 1059656"/>
                  <a:gd name="connsiteY48" fmla="*/ 285750 h 564357"/>
                  <a:gd name="connsiteX49" fmla="*/ 180975 w 1059656"/>
                  <a:gd name="connsiteY49" fmla="*/ 316707 h 564357"/>
                  <a:gd name="connsiteX50" fmla="*/ 157162 w 1059656"/>
                  <a:gd name="connsiteY50" fmla="*/ 309563 h 564357"/>
                  <a:gd name="connsiteX51" fmla="*/ 128587 w 1059656"/>
                  <a:gd name="connsiteY51" fmla="*/ 300038 h 564357"/>
                  <a:gd name="connsiteX52" fmla="*/ 130968 w 1059656"/>
                  <a:gd name="connsiteY52" fmla="*/ 359569 h 564357"/>
                  <a:gd name="connsiteX53" fmla="*/ 169068 w 1059656"/>
                  <a:gd name="connsiteY53" fmla="*/ 388144 h 564357"/>
                  <a:gd name="connsiteX54" fmla="*/ 185737 w 1059656"/>
                  <a:gd name="connsiteY54" fmla="*/ 411957 h 564357"/>
                  <a:gd name="connsiteX55" fmla="*/ 180975 w 1059656"/>
                  <a:gd name="connsiteY55" fmla="*/ 442913 h 564357"/>
                  <a:gd name="connsiteX56" fmla="*/ 173831 w 1059656"/>
                  <a:gd name="connsiteY56" fmla="*/ 471488 h 564357"/>
                  <a:gd name="connsiteX57" fmla="*/ 130968 w 1059656"/>
                  <a:gd name="connsiteY57" fmla="*/ 473869 h 564357"/>
                  <a:gd name="connsiteX58" fmla="*/ 95250 w 1059656"/>
                  <a:gd name="connsiteY58" fmla="*/ 488157 h 564357"/>
                  <a:gd name="connsiteX59" fmla="*/ 71437 w 1059656"/>
                  <a:gd name="connsiteY59" fmla="*/ 492919 h 564357"/>
                  <a:gd name="connsiteX60" fmla="*/ 50006 w 1059656"/>
                  <a:gd name="connsiteY60" fmla="*/ 504825 h 564357"/>
                  <a:gd name="connsiteX61" fmla="*/ 30956 w 1059656"/>
                  <a:gd name="connsiteY61" fmla="*/ 521494 h 564357"/>
                  <a:gd name="connsiteX62" fmla="*/ 7143 w 1059656"/>
                  <a:gd name="connsiteY62" fmla="*/ 528638 h 564357"/>
                  <a:gd name="connsiteX63" fmla="*/ 0 w 1059656"/>
                  <a:gd name="connsiteY63" fmla="*/ 533400 h 564357"/>
                  <a:gd name="connsiteX64" fmla="*/ 38100 w 1059656"/>
                  <a:gd name="connsiteY64" fmla="*/ 561975 h 564357"/>
                  <a:gd name="connsiteX65" fmla="*/ 80962 w 1059656"/>
                  <a:gd name="connsiteY65" fmla="*/ 559594 h 564357"/>
                  <a:gd name="connsiteX66" fmla="*/ 116681 w 1059656"/>
                  <a:gd name="connsiteY66" fmla="*/ 526257 h 564357"/>
                  <a:gd name="connsiteX67" fmla="*/ 171450 w 1059656"/>
                  <a:gd name="connsiteY67" fmla="*/ 500063 h 564357"/>
                  <a:gd name="connsiteX68" fmla="*/ 278606 w 1059656"/>
                  <a:gd name="connsiteY68" fmla="*/ 492919 h 564357"/>
                  <a:gd name="connsiteX69" fmla="*/ 292893 w 1059656"/>
                  <a:gd name="connsiteY69" fmla="*/ 481013 h 564357"/>
                  <a:gd name="connsiteX70" fmla="*/ 357187 w 1059656"/>
                  <a:gd name="connsiteY70" fmla="*/ 481013 h 564357"/>
                  <a:gd name="connsiteX71" fmla="*/ 433387 w 1059656"/>
                  <a:gd name="connsiteY71" fmla="*/ 388144 h 564357"/>
                  <a:gd name="connsiteX72" fmla="*/ 559593 w 1059656"/>
                  <a:gd name="connsiteY72" fmla="*/ 328613 h 564357"/>
                  <a:gd name="connsiteX73" fmla="*/ 619125 w 1059656"/>
                  <a:gd name="connsiteY73" fmla="*/ 321469 h 564357"/>
                  <a:gd name="connsiteX74" fmla="*/ 654843 w 1059656"/>
                  <a:gd name="connsiteY74" fmla="*/ 295275 h 564357"/>
                  <a:gd name="connsiteX75" fmla="*/ 716756 w 1059656"/>
                  <a:gd name="connsiteY75" fmla="*/ 292894 h 564357"/>
                  <a:gd name="connsiteX76" fmla="*/ 771525 w 1059656"/>
                  <a:gd name="connsiteY76" fmla="*/ 285750 h 564357"/>
                  <a:gd name="connsiteX77" fmla="*/ 781050 w 1059656"/>
                  <a:gd name="connsiteY77" fmla="*/ 323850 h 564357"/>
                  <a:gd name="connsiteX78" fmla="*/ 773906 w 1059656"/>
                  <a:gd name="connsiteY78" fmla="*/ 445294 h 564357"/>
                  <a:gd name="connsiteX79" fmla="*/ 707231 w 1059656"/>
                  <a:gd name="connsiteY79" fmla="*/ 461963 h 564357"/>
                  <a:gd name="connsiteX80" fmla="*/ 652461 w 1059656"/>
                  <a:gd name="connsiteY80" fmla="*/ 509587 h 564357"/>
                  <a:gd name="connsiteX81" fmla="*/ 654844 w 1059656"/>
                  <a:gd name="connsiteY81" fmla="*/ 528638 h 564357"/>
                  <a:gd name="connsiteX82" fmla="*/ 697706 w 1059656"/>
                  <a:gd name="connsiteY82" fmla="*/ 564357 h 564357"/>
                  <a:gd name="connsiteX0" fmla="*/ 697706 w 1059656"/>
                  <a:gd name="connsiteY0" fmla="*/ 564357 h 564357"/>
                  <a:gd name="connsiteX1" fmla="*/ 778668 w 1059656"/>
                  <a:gd name="connsiteY1" fmla="*/ 492919 h 564357"/>
                  <a:gd name="connsiteX2" fmla="*/ 816768 w 1059656"/>
                  <a:gd name="connsiteY2" fmla="*/ 473869 h 564357"/>
                  <a:gd name="connsiteX3" fmla="*/ 852487 w 1059656"/>
                  <a:gd name="connsiteY3" fmla="*/ 471488 h 564357"/>
                  <a:gd name="connsiteX4" fmla="*/ 916781 w 1059656"/>
                  <a:gd name="connsiteY4" fmla="*/ 457200 h 564357"/>
                  <a:gd name="connsiteX5" fmla="*/ 950118 w 1059656"/>
                  <a:gd name="connsiteY5" fmla="*/ 459582 h 564357"/>
                  <a:gd name="connsiteX6" fmla="*/ 988218 w 1059656"/>
                  <a:gd name="connsiteY6" fmla="*/ 476250 h 564357"/>
                  <a:gd name="connsiteX7" fmla="*/ 1019175 w 1059656"/>
                  <a:gd name="connsiteY7" fmla="*/ 445294 h 564357"/>
                  <a:gd name="connsiteX8" fmla="*/ 992981 w 1059656"/>
                  <a:gd name="connsiteY8" fmla="*/ 414338 h 564357"/>
                  <a:gd name="connsiteX9" fmla="*/ 988218 w 1059656"/>
                  <a:gd name="connsiteY9" fmla="*/ 383382 h 564357"/>
                  <a:gd name="connsiteX10" fmla="*/ 995362 w 1059656"/>
                  <a:gd name="connsiteY10" fmla="*/ 345282 h 564357"/>
                  <a:gd name="connsiteX11" fmla="*/ 1023937 w 1059656"/>
                  <a:gd name="connsiteY11" fmla="*/ 304800 h 564357"/>
                  <a:gd name="connsiteX12" fmla="*/ 1052512 w 1059656"/>
                  <a:gd name="connsiteY12" fmla="*/ 295275 h 564357"/>
                  <a:gd name="connsiteX13" fmla="*/ 1059656 w 1059656"/>
                  <a:gd name="connsiteY13" fmla="*/ 266700 h 564357"/>
                  <a:gd name="connsiteX14" fmla="*/ 1047750 w 1059656"/>
                  <a:gd name="connsiteY14" fmla="*/ 238125 h 564357"/>
                  <a:gd name="connsiteX15" fmla="*/ 1019175 w 1059656"/>
                  <a:gd name="connsiteY15" fmla="*/ 228600 h 564357"/>
                  <a:gd name="connsiteX16" fmla="*/ 992981 w 1059656"/>
                  <a:gd name="connsiteY16" fmla="*/ 235744 h 564357"/>
                  <a:gd name="connsiteX17" fmla="*/ 935831 w 1059656"/>
                  <a:gd name="connsiteY17" fmla="*/ 254794 h 564357"/>
                  <a:gd name="connsiteX18" fmla="*/ 900112 w 1059656"/>
                  <a:gd name="connsiteY18" fmla="*/ 259557 h 564357"/>
                  <a:gd name="connsiteX19" fmla="*/ 878681 w 1059656"/>
                  <a:gd name="connsiteY19" fmla="*/ 242888 h 564357"/>
                  <a:gd name="connsiteX20" fmla="*/ 873918 w 1059656"/>
                  <a:gd name="connsiteY20" fmla="*/ 228600 h 564357"/>
                  <a:gd name="connsiteX21" fmla="*/ 881062 w 1059656"/>
                  <a:gd name="connsiteY21" fmla="*/ 185738 h 564357"/>
                  <a:gd name="connsiteX22" fmla="*/ 888206 w 1059656"/>
                  <a:gd name="connsiteY22" fmla="*/ 150019 h 564357"/>
                  <a:gd name="connsiteX23" fmla="*/ 871537 w 1059656"/>
                  <a:gd name="connsiteY23" fmla="*/ 111919 h 564357"/>
                  <a:gd name="connsiteX24" fmla="*/ 840581 w 1059656"/>
                  <a:gd name="connsiteY24" fmla="*/ 95250 h 564357"/>
                  <a:gd name="connsiteX25" fmla="*/ 845343 w 1059656"/>
                  <a:gd name="connsiteY25" fmla="*/ 61913 h 564357"/>
                  <a:gd name="connsiteX26" fmla="*/ 857249 w 1059656"/>
                  <a:gd name="connsiteY26" fmla="*/ 28576 h 564357"/>
                  <a:gd name="connsiteX27" fmla="*/ 833437 w 1059656"/>
                  <a:gd name="connsiteY27" fmla="*/ 0 h 564357"/>
                  <a:gd name="connsiteX28" fmla="*/ 809625 w 1059656"/>
                  <a:gd name="connsiteY28" fmla="*/ 33338 h 564357"/>
                  <a:gd name="connsiteX29" fmla="*/ 797718 w 1059656"/>
                  <a:gd name="connsiteY29" fmla="*/ 50007 h 564357"/>
                  <a:gd name="connsiteX30" fmla="*/ 757237 w 1059656"/>
                  <a:gd name="connsiteY30" fmla="*/ 45244 h 564357"/>
                  <a:gd name="connsiteX31" fmla="*/ 735806 w 1059656"/>
                  <a:gd name="connsiteY31" fmla="*/ 50007 h 564357"/>
                  <a:gd name="connsiteX32" fmla="*/ 719137 w 1059656"/>
                  <a:gd name="connsiteY32" fmla="*/ 78582 h 564357"/>
                  <a:gd name="connsiteX33" fmla="*/ 723900 w 1059656"/>
                  <a:gd name="connsiteY33" fmla="*/ 97632 h 564357"/>
                  <a:gd name="connsiteX34" fmla="*/ 707231 w 1059656"/>
                  <a:gd name="connsiteY34" fmla="*/ 111919 h 564357"/>
                  <a:gd name="connsiteX35" fmla="*/ 631031 w 1059656"/>
                  <a:gd name="connsiteY35" fmla="*/ 114300 h 564357"/>
                  <a:gd name="connsiteX36" fmla="*/ 597693 w 1059656"/>
                  <a:gd name="connsiteY36" fmla="*/ 100013 h 564357"/>
                  <a:gd name="connsiteX37" fmla="*/ 569118 w 1059656"/>
                  <a:gd name="connsiteY37" fmla="*/ 71438 h 564357"/>
                  <a:gd name="connsiteX38" fmla="*/ 531018 w 1059656"/>
                  <a:gd name="connsiteY38" fmla="*/ 66675 h 564357"/>
                  <a:gd name="connsiteX39" fmla="*/ 497681 w 1059656"/>
                  <a:gd name="connsiteY39" fmla="*/ 90488 h 564357"/>
                  <a:gd name="connsiteX40" fmla="*/ 481012 w 1059656"/>
                  <a:gd name="connsiteY40" fmla="*/ 109538 h 564357"/>
                  <a:gd name="connsiteX41" fmla="*/ 466725 w 1059656"/>
                  <a:gd name="connsiteY41" fmla="*/ 126207 h 564357"/>
                  <a:gd name="connsiteX42" fmla="*/ 450056 w 1059656"/>
                  <a:gd name="connsiteY42" fmla="*/ 145257 h 564357"/>
                  <a:gd name="connsiteX43" fmla="*/ 454818 w 1059656"/>
                  <a:gd name="connsiteY43" fmla="*/ 171450 h 564357"/>
                  <a:gd name="connsiteX44" fmla="*/ 423862 w 1059656"/>
                  <a:gd name="connsiteY44" fmla="*/ 195263 h 564357"/>
                  <a:gd name="connsiteX45" fmla="*/ 371475 w 1059656"/>
                  <a:gd name="connsiteY45" fmla="*/ 204788 h 564357"/>
                  <a:gd name="connsiteX46" fmla="*/ 330993 w 1059656"/>
                  <a:gd name="connsiteY46" fmla="*/ 223838 h 564357"/>
                  <a:gd name="connsiteX47" fmla="*/ 321468 w 1059656"/>
                  <a:gd name="connsiteY47" fmla="*/ 261938 h 564357"/>
                  <a:gd name="connsiteX48" fmla="*/ 319087 w 1059656"/>
                  <a:gd name="connsiteY48" fmla="*/ 269082 h 564357"/>
                  <a:gd name="connsiteX49" fmla="*/ 266700 w 1059656"/>
                  <a:gd name="connsiteY49" fmla="*/ 285750 h 564357"/>
                  <a:gd name="connsiteX50" fmla="*/ 180975 w 1059656"/>
                  <a:gd name="connsiteY50" fmla="*/ 316707 h 564357"/>
                  <a:gd name="connsiteX51" fmla="*/ 157162 w 1059656"/>
                  <a:gd name="connsiteY51" fmla="*/ 309563 h 564357"/>
                  <a:gd name="connsiteX52" fmla="*/ 128587 w 1059656"/>
                  <a:gd name="connsiteY52" fmla="*/ 300038 h 564357"/>
                  <a:gd name="connsiteX53" fmla="*/ 130968 w 1059656"/>
                  <a:gd name="connsiteY53" fmla="*/ 359569 h 564357"/>
                  <a:gd name="connsiteX54" fmla="*/ 169068 w 1059656"/>
                  <a:gd name="connsiteY54" fmla="*/ 388144 h 564357"/>
                  <a:gd name="connsiteX55" fmla="*/ 185737 w 1059656"/>
                  <a:gd name="connsiteY55" fmla="*/ 411957 h 564357"/>
                  <a:gd name="connsiteX56" fmla="*/ 180975 w 1059656"/>
                  <a:gd name="connsiteY56" fmla="*/ 442913 h 564357"/>
                  <a:gd name="connsiteX57" fmla="*/ 173831 w 1059656"/>
                  <a:gd name="connsiteY57" fmla="*/ 471488 h 564357"/>
                  <a:gd name="connsiteX58" fmla="*/ 130968 w 1059656"/>
                  <a:gd name="connsiteY58" fmla="*/ 473869 h 564357"/>
                  <a:gd name="connsiteX59" fmla="*/ 95250 w 1059656"/>
                  <a:gd name="connsiteY59" fmla="*/ 488157 h 564357"/>
                  <a:gd name="connsiteX60" fmla="*/ 71437 w 1059656"/>
                  <a:gd name="connsiteY60" fmla="*/ 492919 h 564357"/>
                  <a:gd name="connsiteX61" fmla="*/ 50006 w 1059656"/>
                  <a:gd name="connsiteY61" fmla="*/ 504825 h 564357"/>
                  <a:gd name="connsiteX62" fmla="*/ 30956 w 1059656"/>
                  <a:gd name="connsiteY62" fmla="*/ 521494 h 564357"/>
                  <a:gd name="connsiteX63" fmla="*/ 7143 w 1059656"/>
                  <a:gd name="connsiteY63" fmla="*/ 528638 h 564357"/>
                  <a:gd name="connsiteX64" fmla="*/ 0 w 1059656"/>
                  <a:gd name="connsiteY64" fmla="*/ 533400 h 564357"/>
                  <a:gd name="connsiteX65" fmla="*/ 38100 w 1059656"/>
                  <a:gd name="connsiteY65" fmla="*/ 561975 h 564357"/>
                  <a:gd name="connsiteX66" fmla="*/ 80962 w 1059656"/>
                  <a:gd name="connsiteY66" fmla="*/ 559594 h 564357"/>
                  <a:gd name="connsiteX67" fmla="*/ 116681 w 1059656"/>
                  <a:gd name="connsiteY67" fmla="*/ 526257 h 564357"/>
                  <a:gd name="connsiteX68" fmla="*/ 171450 w 1059656"/>
                  <a:gd name="connsiteY68" fmla="*/ 500063 h 564357"/>
                  <a:gd name="connsiteX69" fmla="*/ 278606 w 1059656"/>
                  <a:gd name="connsiteY69" fmla="*/ 492919 h 564357"/>
                  <a:gd name="connsiteX70" fmla="*/ 292893 w 1059656"/>
                  <a:gd name="connsiteY70" fmla="*/ 481013 h 564357"/>
                  <a:gd name="connsiteX71" fmla="*/ 357187 w 1059656"/>
                  <a:gd name="connsiteY71" fmla="*/ 481013 h 564357"/>
                  <a:gd name="connsiteX72" fmla="*/ 433387 w 1059656"/>
                  <a:gd name="connsiteY72" fmla="*/ 388144 h 564357"/>
                  <a:gd name="connsiteX73" fmla="*/ 559593 w 1059656"/>
                  <a:gd name="connsiteY73" fmla="*/ 328613 h 564357"/>
                  <a:gd name="connsiteX74" fmla="*/ 619125 w 1059656"/>
                  <a:gd name="connsiteY74" fmla="*/ 321469 h 564357"/>
                  <a:gd name="connsiteX75" fmla="*/ 654843 w 1059656"/>
                  <a:gd name="connsiteY75" fmla="*/ 295275 h 564357"/>
                  <a:gd name="connsiteX76" fmla="*/ 716756 w 1059656"/>
                  <a:gd name="connsiteY76" fmla="*/ 292894 h 564357"/>
                  <a:gd name="connsiteX77" fmla="*/ 771525 w 1059656"/>
                  <a:gd name="connsiteY77" fmla="*/ 285750 h 564357"/>
                  <a:gd name="connsiteX78" fmla="*/ 781050 w 1059656"/>
                  <a:gd name="connsiteY78" fmla="*/ 323850 h 564357"/>
                  <a:gd name="connsiteX79" fmla="*/ 773906 w 1059656"/>
                  <a:gd name="connsiteY79" fmla="*/ 445294 h 564357"/>
                  <a:gd name="connsiteX80" fmla="*/ 707231 w 1059656"/>
                  <a:gd name="connsiteY80" fmla="*/ 461963 h 564357"/>
                  <a:gd name="connsiteX81" fmla="*/ 652461 w 1059656"/>
                  <a:gd name="connsiteY81" fmla="*/ 509587 h 564357"/>
                  <a:gd name="connsiteX82" fmla="*/ 654844 w 1059656"/>
                  <a:gd name="connsiteY82" fmla="*/ 528638 h 564357"/>
                  <a:gd name="connsiteX83" fmla="*/ 697706 w 1059656"/>
                  <a:gd name="connsiteY83" fmla="*/ 564357 h 564357"/>
                  <a:gd name="connsiteX0" fmla="*/ 697706 w 1059656"/>
                  <a:gd name="connsiteY0" fmla="*/ 564357 h 564357"/>
                  <a:gd name="connsiteX1" fmla="*/ 778668 w 1059656"/>
                  <a:gd name="connsiteY1" fmla="*/ 492919 h 564357"/>
                  <a:gd name="connsiteX2" fmla="*/ 816768 w 1059656"/>
                  <a:gd name="connsiteY2" fmla="*/ 473869 h 564357"/>
                  <a:gd name="connsiteX3" fmla="*/ 852487 w 1059656"/>
                  <a:gd name="connsiteY3" fmla="*/ 471488 h 564357"/>
                  <a:gd name="connsiteX4" fmla="*/ 916781 w 1059656"/>
                  <a:gd name="connsiteY4" fmla="*/ 457200 h 564357"/>
                  <a:gd name="connsiteX5" fmla="*/ 950118 w 1059656"/>
                  <a:gd name="connsiteY5" fmla="*/ 459582 h 564357"/>
                  <a:gd name="connsiteX6" fmla="*/ 988218 w 1059656"/>
                  <a:gd name="connsiteY6" fmla="*/ 476250 h 564357"/>
                  <a:gd name="connsiteX7" fmla="*/ 1019175 w 1059656"/>
                  <a:gd name="connsiteY7" fmla="*/ 445294 h 564357"/>
                  <a:gd name="connsiteX8" fmla="*/ 992981 w 1059656"/>
                  <a:gd name="connsiteY8" fmla="*/ 414338 h 564357"/>
                  <a:gd name="connsiteX9" fmla="*/ 988218 w 1059656"/>
                  <a:gd name="connsiteY9" fmla="*/ 383382 h 564357"/>
                  <a:gd name="connsiteX10" fmla="*/ 995362 w 1059656"/>
                  <a:gd name="connsiteY10" fmla="*/ 345282 h 564357"/>
                  <a:gd name="connsiteX11" fmla="*/ 1023937 w 1059656"/>
                  <a:gd name="connsiteY11" fmla="*/ 304800 h 564357"/>
                  <a:gd name="connsiteX12" fmla="*/ 1052512 w 1059656"/>
                  <a:gd name="connsiteY12" fmla="*/ 295275 h 564357"/>
                  <a:gd name="connsiteX13" fmla="*/ 1059656 w 1059656"/>
                  <a:gd name="connsiteY13" fmla="*/ 266700 h 564357"/>
                  <a:gd name="connsiteX14" fmla="*/ 1047750 w 1059656"/>
                  <a:gd name="connsiteY14" fmla="*/ 238125 h 564357"/>
                  <a:gd name="connsiteX15" fmla="*/ 1019175 w 1059656"/>
                  <a:gd name="connsiteY15" fmla="*/ 228600 h 564357"/>
                  <a:gd name="connsiteX16" fmla="*/ 992981 w 1059656"/>
                  <a:gd name="connsiteY16" fmla="*/ 235744 h 564357"/>
                  <a:gd name="connsiteX17" fmla="*/ 935831 w 1059656"/>
                  <a:gd name="connsiteY17" fmla="*/ 254794 h 564357"/>
                  <a:gd name="connsiteX18" fmla="*/ 900112 w 1059656"/>
                  <a:gd name="connsiteY18" fmla="*/ 259557 h 564357"/>
                  <a:gd name="connsiteX19" fmla="*/ 878681 w 1059656"/>
                  <a:gd name="connsiteY19" fmla="*/ 242888 h 564357"/>
                  <a:gd name="connsiteX20" fmla="*/ 873918 w 1059656"/>
                  <a:gd name="connsiteY20" fmla="*/ 228600 h 564357"/>
                  <a:gd name="connsiteX21" fmla="*/ 881062 w 1059656"/>
                  <a:gd name="connsiteY21" fmla="*/ 185738 h 564357"/>
                  <a:gd name="connsiteX22" fmla="*/ 888206 w 1059656"/>
                  <a:gd name="connsiteY22" fmla="*/ 150019 h 564357"/>
                  <a:gd name="connsiteX23" fmla="*/ 871537 w 1059656"/>
                  <a:gd name="connsiteY23" fmla="*/ 111919 h 564357"/>
                  <a:gd name="connsiteX24" fmla="*/ 840581 w 1059656"/>
                  <a:gd name="connsiteY24" fmla="*/ 95250 h 564357"/>
                  <a:gd name="connsiteX25" fmla="*/ 859630 w 1059656"/>
                  <a:gd name="connsiteY25" fmla="*/ 66676 h 564357"/>
                  <a:gd name="connsiteX26" fmla="*/ 857249 w 1059656"/>
                  <a:gd name="connsiteY26" fmla="*/ 28576 h 564357"/>
                  <a:gd name="connsiteX27" fmla="*/ 833437 w 1059656"/>
                  <a:gd name="connsiteY27" fmla="*/ 0 h 564357"/>
                  <a:gd name="connsiteX28" fmla="*/ 809625 w 1059656"/>
                  <a:gd name="connsiteY28" fmla="*/ 33338 h 564357"/>
                  <a:gd name="connsiteX29" fmla="*/ 797718 w 1059656"/>
                  <a:gd name="connsiteY29" fmla="*/ 50007 h 564357"/>
                  <a:gd name="connsiteX30" fmla="*/ 757237 w 1059656"/>
                  <a:gd name="connsiteY30" fmla="*/ 45244 h 564357"/>
                  <a:gd name="connsiteX31" fmla="*/ 735806 w 1059656"/>
                  <a:gd name="connsiteY31" fmla="*/ 50007 h 564357"/>
                  <a:gd name="connsiteX32" fmla="*/ 719137 w 1059656"/>
                  <a:gd name="connsiteY32" fmla="*/ 78582 h 564357"/>
                  <a:gd name="connsiteX33" fmla="*/ 723900 w 1059656"/>
                  <a:gd name="connsiteY33" fmla="*/ 97632 h 564357"/>
                  <a:gd name="connsiteX34" fmla="*/ 707231 w 1059656"/>
                  <a:gd name="connsiteY34" fmla="*/ 111919 h 564357"/>
                  <a:gd name="connsiteX35" fmla="*/ 631031 w 1059656"/>
                  <a:gd name="connsiteY35" fmla="*/ 114300 h 564357"/>
                  <a:gd name="connsiteX36" fmla="*/ 597693 w 1059656"/>
                  <a:gd name="connsiteY36" fmla="*/ 100013 h 564357"/>
                  <a:gd name="connsiteX37" fmla="*/ 569118 w 1059656"/>
                  <a:gd name="connsiteY37" fmla="*/ 71438 h 564357"/>
                  <a:gd name="connsiteX38" fmla="*/ 531018 w 1059656"/>
                  <a:gd name="connsiteY38" fmla="*/ 66675 h 564357"/>
                  <a:gd name="connsiteX39" fmla="*/ 497681 w 1059656"/>
                  <a:gd name="connsiteY39" fmla="*/ 90488 h 564357"/>
                  <a:gd name="connsiteX40" fmla="*/ 481012 w 1059656"/>
                  <a:gd name="connsiteY40" fmla="*/ 109538 h 564357"/>
                  <a:gd name="connsiteX41" fmla="*/ 466725 w 1059656"/>
                  <a:gd name="connsiteY41" fmla="*/ 126207 h 564357"/>
                  <a:gd name="connsiteX42" fmla="*/ 450056 w 1059656"/>
                  <a:gd name="connsiteY42" fmla="*/ 145257 h 564357"/>
                  <a:gd name="connsiteX43" fmla="*/ 454818 w 1059656"/>
                  <a:gd name="connsiteY43" fmla="*/ 171450 h 564357"/>
                  <a:gd name="connsiteX44" fmla="*/ 423862 w 1059656"/>
                  <a:gd name="connsiteY44" fmla="*/ 195263 h 564357"/>
                  <a:gd name="connsiteX45" fmla="*/ 371475 w 1059656"/>
                  <a:gd name="connsiteY45" fmla="*/ 204788 h 564357"/>
                  <a:gd name="connsiteX46" fmla="*/ 330993 w 1059656"/>
                  <a:gd name="connsiteY46" fmla="*/ 223838 h 564357"/>
                  <a:gd name="connsiteX47" fmla="*/ 321468 w 1059656"/>
                  <a:gd name="connsiteY47" fmla="*/ 261938 h 564357"/>
                  <a:gd name="connsiteX48" fmla="*/ 319087 w 1059656"/>
                  <a:gd name="connsiteY48" fmla="*/ 269082 h 564357"/>
                  <a:gd name="connsiteX49" fmla="*/ 266700 w 1059656"/>
                  <a:gd name="connsiteY49" fmla="*/ 285750 h 564357"/>
                  <a:gd name="connsiteX50" fmla="*/ 180975 w 1059656"/>
                  <a:gd name="connsiteY50" fmla="*/ 316707 h 564357"/>
                  <a:gd name="connsiteX51" fmla="*/ 157162 w 1059656"/>
                  <a:gd name="connsiteY51" fmla="*/ 309563 h 564357"/>
                  <a:gd name="connsiteX52" fmla="*/ 128587 w 1059656"/>
                  <a:gd name="connsiteY52" fmla="*/ 300038 h 564357"/>
                  <a:gd name="connsiteX53" fmla="*/ 130968 w 1059656"/>
                  <a:gd name="connsiteY53" fmla="*/ 359569 h 564357"/>
                  <a:gd name="connsiteX54" fmla="*/ 169068 w 1059656"/>
                  <a:gd name="connsiteY54" fmla="*/ 388144 h 564357"/>
                  <a:gd name="connsiteX55" fmla="*/ 185737 w 1059656"/>
                  <a:gd name="connsiteY55" fmla="*/ 411957 h 564357"/>
                  <a:gd name="connsiteX56" fmla="*/ 180975 w 1059656"/>
                  <a:gd name="connsiteY56" fmla="*/ 442913 h 564357"/>
                  <a:gd name="connsiteX57" fmla="*/ 173831 w 1059656"/>
                  <a:gd name="connsiteY57" fmla="*/ 471488 h 564357"/>
                  <a:gd name="connsiteX58" fmla="*/ 130968 w 1059656"/>
                  <a:gd name="connsiteY58" fmla="*/ 473869 h 564357"/>
                  <a:gd name="connsiteX59" fmla="*/ 95250 w 1059656"/>
                  <a:gd name="connsiteY59" fmla="*/ 488157 h 564357"/>
                  <a:gd name="connsiteX60" fmla="*/ 71437 w 1059656"/>
                  <a:gd name="connsiteY60" fmla="*/ 492919 h 564357"/>
                  <a:gd name="connsiteX61" fmla="*/ 50006 w 1059656"/>
                  <a:gd name="connsiteY61" fmla="*/ 504825 h 564357"/>
                  <a:gd name="connsiteX62" fmla="*/ 30956 w 1059656"/>
                  <a:gd name="connsiteY62" fmla="*/ 521494 h 564357"/>
                  <a:gd name="connsiteX63" fmla="*/ 7143 w 1059656"/>
                  <a:gd name="connsiteY63" fmla="*/ 528638 h 564357"/>
                  <a:gd name="connsiteX64" fmla="*/ 0 w 1059656"/>
                  <a:gd name="connsiteY64" fmla="*/ 533400 h 564357"/>
                  <a:gd name="connsiteX65" fmla="*/ 38100 w 1059656"/>
                  <a:gd name="connsiteY65" fmla="*/ 561975 h 564357"/>
                  <a:gd name="connsiteX66" fmla="*/ 80962 w 1059656"/>
                  <a:gd name="connsiteY66" fmla="*/ 559594 h 564357"/>
                  <a:gd name="connsiteX67" fmla="*/ 116681 w 1059656"/>
                  <a:gd name="connsiteY67" fmla="*/ 526257 h 564357"/>
                  <a:gd name="connsiteX68" fmla="*/ 171450 w 1059656"/>
                  <a:gd name="connsiteY68" fmla="*/ 500063 h 564357"/>
                  <a:gd name="connsiteX69" fmla="*/ 278606 w 1059656"/>
                  <a:gd name="connsiteY69" fmla="*/ 492919 h 564357"/>
                  <a:gd name="connsiteX70" fmla="*/ 292893 w 1059656"/>
                  <a:gd name="connsiteY70" fmla="*/ 481013 h 564357"/>
                  <a:gd name="connsiteX71" fmla="*/ 357187 w 1059656"/>
                  <a:gd name="connsiteY71" fmla="*/ 481013 h 564357"/>
                  <a:gd name="connsiteX72" fmla="*/ 433387 w 1059656"/>
                  <a:gd name="connsiteY72" fmla="*/ 388144 h 564357"/>
                  <a:gd name="connsiteX73" fmla="*/ 559593 w 1059656"/>
                  <a:gd name="connsiteY73" fmla="*/ 328613 h 564357"/>
                  <a:gd name="connsiteX74" fmla="*/ 619125 w 1059656"/>
                  <a:gd name="connsiteY74" fmla="*/ 321469 h 564357"/>
                  <a:gd name="connsiteX75" fmla="*/ 654843 w 1059656"/>
                  <a:gd name="connsiteY75" fmla="*/ 295275 h 564357"/>
                  <a:gd name="connsiteX76" fmla="*/ 716756 w 1059656"/>
                  <a:gd name="connsiteY76" fmla="*/ 292894 h 564357"/>
                  <a:gd name="connsiteX77" fmla="*/ 771525 w 1059656"/>
                  <a:gd name="connsiteY77" fmla="*/ 285750 h 564357"/>
                  <a:gd name="connsiteX78" fmla="*/ 781050 w 1059656"/>
                  <a:gd name="connsiteY78" fmla="*/ 323850 h 564357"/>
                  <a:gd name="connsiteX79" fmla="*/ 773906 w 1059656"/>
                  <a:gd name="connsiteY79" fmla="*/ 445294 h 564357"/>
                  <a:gd name="connsiteX80" fmla="*/ 707231 w 1059656"/>
                  <a:gd name="connsiteY80" fmla="*/ 461963 h 564357"/>
                  <a:gd name="connsiteX81" fmla="*/ 652461 w 1059656"/>
                  <a:gd name="connsiteY81" fmla="*/ 509587 h 564357"/>
                  <a:gd name="connsiteX82" fmla="*/ 654844 w 1059656"/>
                  <a:gd name="connsiteY82" fmla="*/ 528638 h 564357"/>
                  <a:gd name="connsiteX83" fmla="*/ 697706 w 1059656"/>
                  <a:gd name="connsiteY83" fmla="*/ 564357 h 564357"/>
                  <a:gd name="connsiteX0" fmla="*/ 697706 w 1059656"/>
                  <a:gd name="connsiteY0" fmla="*/ 564357 h 564357"/>
                  <a:gd name="connsiteX1" fmla="*/ 778668 w 1059656"/>
                  <a:gd name="connsiteY1" fmla="*/ 492919 h 564357"/>
                  <a:gd name="connsiteX2" fmla="*/ 816768 w 1059656"/>
                  <a:gd name="connsiteY2" fmla="*/ 473869 h 564357"/>
                  <a:gd name="connsiteX3" fmla="*/ 852487 w 1059656"/>
                  <a:gd name="connsiteY3" fmla="*/ 471488 h 564357"/>
                  <a:gd name="connsiteX4" fmla="*/ 916781 w 1059656"/>
                  <a:gd name="connsiteY4" fmla="*/ 457200 h 564357"/>
                  <a:gd name="connsiteX5" fmla="*/ 950118 w 1059656"/>
                  <a:gd name="connsiteY5" fmla="*/ 459582 h 564357"/>
                  <a:gd name="connsiteX6" fmla="*/ 988218 w 1059656"/>
                  <a:gd name="connsiteY6" fmla="*/ 476250 h 564357"/>
                  <a:gd name="connsiteX7" fmla="*/ 1019175 w 1059656"/>
                  <a:gd name="connsiteY7" fmla="*/ 445294 h 564357"/>
                  <a:gd name="connsiteX8" fmla="*/ 992981 w 1059656"/>
                  <a:gd name="connsiteY8" fmla="*/ 414338 h 564357"/>
                  <a:gd name="connsiteX9" fmla="*/ 988218 w 1059656"/>
                  <a:gd name="connsiteY9" fmla="*/ 383382 h 564357"/>
                  <a:gd name="connsiteX10" fmla="*/ 995362 w 1059656"/>
                  <a:gd name="connsiteY10" fmla="*/ 345282 h 564357"/>
                  <a:gd name="connsiteX11" fmla="*/ 1023937 w 1059656"/>
                  <a:gd name="connsiteY11" fmla="*/ 304800 h 564357"/>
                  <a:gd name="connsiteX12" fmla="*/ 1052512 w 1059656"/>
                  <a:gd name="connsiteY12" fmla="*/ 295275 h 564357"/>
                  <a:gd name="connsiteX13" fmla="*/ 1059656 w 1059656"/>
                  <a:gd name="connsiteY13" fmla="*/ 266700 h 564357"/>
                  <a:gd name="connsiteX14" fmla="*/ 1047750 w 1059656"/>
                  <a:gd name="connsiteY14" fmla="*/ 238125 h 564357"/>
                  <a:gd name="connsiteX15" fmla="*/ 1019175 w 1059656"/>
                  <a:gd name="connsiteY15" fmla="*/ 228600 h 564357"/>
                  <a:gd name="connsiteX16" fmla="*/ 992981 w 1059656"/>
                  <a:gd name="connsiteY16" fmla="*/ 235744 h 564357"/>
                  <a:gd name="connsiteX17" fmla="*/ 935831 w 1059656"/>
                  <a:gd name="connsiteY17" fmla="*/ 254794 h 564357"/>
                  <a:gd name="connsiteX18" fmla="*/ 900112 w 1059656"/>
                  <a:gd name="connsiteY18" fmla="*/ 259557 h 564357"/>
                  <a:gd name="connsiteX19" fmla="*/ 878681 w 1059656"/>
                  <a:gd name="connsiteY19" fmla="*/ 242888 h 564357"/>
                  <a:gd name="connsiteX20" fmla="*/ 873918 w 1059656"/>
                  <a:gd name="connsiteY20" fmla="*/ 228600 h 564357"/>
                  <a:gd name="connsiteX21" fmla="*/ 881062 w 1059656"/>
                  <a:gd name="connsiteY21" fmla="*/ 185738 h 564357"/>
                  <a:gd name="connsiteX22" fmla="*/ 888206 w 1059656"/>
                  <a:gd name="connsiteY22" fmla="*/ 150019 h 564357"/>
                  <a:gd name="connsiteX23" fmla="*/ 871537 w 1059656"/>
                  <a:gd name="connsiteY23" fmla="*/ 111919 h 564357"/>
                  <a:gd name="connsiteX24" fmla="*/ 852488 w 1059656"/>
                  <a:gd name="connsiteY24" fmla="*/ 92869 h 564357"/>
                  <a:gd name="connsiteX25" fmla="*/ 859630 w 1059656"/>
                  <a:gd name="connsiteY25" fmla="*/ 66676 h 564357"/>
                  <a:gd name="connsiteX26" fmla="*/ 857249 w 1059656"/>
                  <a:gd name="connsiteY26" fmla="*/ 28576 h 564357"/>
                  <a:gd name="connsiteX27" fmla="*/ 833437 w 1059656"/>
                  <a:gd name="connsiteY27" fmla="*/ 0 h 564357"/>
                  <a:gd name="connsiteX28" fmla="*/ 809625 w 1059656"/>
                  <a:gd name="connsiteY28" fmla="*/ 33338 h 564357"/>
                  <a:gd name="connsiteX29" fmla="*/ 797718 w 1059656"/>
                  <a:gd name="connsiteY29" fmla="*/ 50007 h 564357"/>
                  <a:gd name="connsiteX30" fmla="*/ 757237 w 1059656"/>
                  <a:gd name="connsiteY30" fmla="*/ 45244 h 564357"/>
                  <a:gd name="connsiteX31" fmla="*/ 735806 w 1059656"/>
                  <a:gd name="connsiteY31" fmla="*/ 50007 h 564357"/>
                  <a:gd name="connsiteX32" fmla="*/ 719137 w 1059656"/>
                  <a:gd name="connsiteY32" fmla="*/ 78582 h 564357"/>
                  <a:gd name="connsiteX33" fmla="*/ 723900 w 1059656"/>
                  <a:gd name="connsiteY33" fmla="*/ 97632 h 564357"/>
                  <a:gd name="connsiteX34" fmla="*/ 707231 w 1059656"/>
                  <a:gd name="connsiteY34" fmla="*/ 111919 h 564357"/>
                  <a:gd name="connsiteX35" fmla="*/ 631031 w 1059656"/>
                  <a:gd name="connsiteY35" fmla="*/ 114300 h 564357"/>
                  <a:gd name="connsiteX36" fmla="*/ 597693 w 1059656"/>
                  <a:gd name="connsiteY36" fmla="*/ 100013 h 564357"/>
                  <a:gd name="connsiteX37" fmla="*/ 569118 w 1059656"/>
                  <a:gd name="connsiteY37" fmla="*/ 71438 h 564357"/>
                  <a:gd name="connsiteX38" fmla="*/ 531018 w 1059656"/>
                  <a:gd name="connsiteY38" fmla="*/ 66675 h 564357"/>
                  <a:gd name="connsiteX39" fmla="*/ 497681 w 1059656"/>
                  <a:gd name="connsiteY39" fmla="*/ 90488 h 564357"/>
                  <a:gd name="connsiteX40" fmla="*/ 481012 w 1059656"/>
                  <a:gd name="connsiteY40" fmla="*/ 109538 h 564357"/>
                  <a:gd name="connsiteX41" fmla="*/ 466725 w 1059656"/>
                  <a:gd name="connsiteY41" fmla="*/ 126207 h 564357"/>
                  <a:gd name="connsiteX42" fmla="*/ 450056 w 1059656"/>
                  <a:gd name="connsiteY42" fmla="*/ 145257 h 564357"/>
                  <a:gd name="connsiteX43" fmla="*/ 454818 w 1059656"/>
                  <a:gd name="connsiteY43" fmla="*/ 171450 h 564357"/>
                  <a:gd name="connsiteX44" fmla="*/ 423862 w 1059656"/>
                  <a:gd name="connsiteY44" fmla="*/ 195263 h 564357"/>
                  <a:gd name="connsiteX45" fmla="*/ 371475 w 1059656"/>
                  <a:gd name="connsiteY45" fmla="*/ 204788 h 564357"/>
                  <a:gd name="connsiteX46" fmla="*/ 330993 w 1059656"/>
                  <a:gd name="connsiteY46" fmla="*/ 223838 h 564357"/>
                  <a:gd name="connsiteX47" fmla="*/ 321468 w 1059656"/>
                  <a:gd name="connsiteY47" fmla="*/ 261938 h 564357"/>
                  <a:gd name="connsiteX48" fmla="*/ 319087 w 1059656"/>
                  <a:gd name="connsiteY48" fmla="*/ 269082 h 564357"/>
                  <a:gd name="connsiteX49" fmla="*/ 266700 w 1059656"/>
                  <a:gd name="connsiteY49" fmla="*/ 285750 h 564357"/>
                  <a:gd name="connsiteX50" fmla="*/ 180975 w 1059656"/>
                  <a:gd name="connsiteY50" fmla="*/ 316707 h 564357"/>
                  <a:gd name="connsiteX51" fmla="*/ 157162 w 1059656"/>
                  <a:gd name="connsiteY51" fmla="*/ 309563 h 564357"/>
                  <a:gd name="connsiteX52" fmla="*/ 128587 w 1059656"/>
                  <a:gd name="connsiteY52" fmla="*/ 300038 h 564357"/>
                  <a:gd name="connsiteX53" fmla="*/ 130968 w 1059656"/>
                  <a:gd name="connsiteY53" fmla="*/ 359569 h 564357"/>
                  <a:gd name="connsiteX54" fmla="*/ 169068 w 1059656"/>
                  <a:gd name="connsiteY54" fmla="*/ 388144 h 564357"/>
                  <a:gd name="connsiteX55" fmla="*/ 185737 w 1059656"/>
                  <a:gd name="connsiteY55" fmla="*/ 411957 h 564357"/>
                  <a:gd name="connsiteX56" fmla="*/ 180975 w 1059656"/>
                  <a:gd name="connsiteY56" fmla="*/ 442913 h 564357"/>
                  <a:gd name="connsiteX57" fmla="*/ 173831 w 1059656"/>
                  <a:gd name="connsiteY57" fmla="*/ 471488 h 564357"/>
                  <a:gd name="connsiteX58" fmla="*/ 130968 w 1059656"/>
                  <a:gd name="connsiteY58" fmla="*/ 473869 h 564357"/>
                  <a:gd name="connsiteX59" fmla="*/ 95250 w 1059656"/>
                  <a:gd name="connsiteY59" fmla="*/ 488157 h 564357"/>
                  <a:gd name="connsiteX60" fmla="*/ 71437 w 1059656"/>
                  <a:gd name="connsiteY60" fmla="*/ 492919 h 564357"/>
                  <a:gd name="connsiteX61" fmla="*/ 50006 w 1059656"/>
                  <a:gd name="connsiteY61" fmla="*/ 504825 h 564357"/>
                  <a:gd name="connsiteX62" fmla="*/ 30956 w 1059656"/>
                  <a:gd name="connsiteY62" fmla="*/ 521494 h 564357"/>
                  <a:gd name="connsiteX63" fmla="*/ 7143 w 1059656"/>
                  <a:gd name="connsiteY63" fmla="*/ 528638 h 564357"/>
                  <a:gd name="connsiteX64" fmla="*/ 0 w 1059656"/>
                  <a:gd name="connsiteY64" fmla="*/ 533400 h 564357"/>
                  <a:gd name="connsiteX65" fmla="*/ 38100 w 1059656"/>
                  <a:gd name="connsiteY65" fmla="*/ 561975 h 564357"/>
                  <a:gd name="connsiteX66" fmla="*/ 80962 w 1059656"/>
                  <a:gd name="connsiteY66" fmla="*/ 559594 h 564357"/>
                  <a:gd name="connsiteX67" fmla="*/ 116681 w 1059656"/>
                  <a:gd name="connsiteY67" fmla="*/ 526257 h 564357"/>
                  <a:gd name="connsiteX68" fmla="*/ 171450 w 1059656"/>
                  <a:gd name="connsiteY68" fmla="*/ 500063 h 564357"/>
                  <a:gd name="connsiteX69" fmla="*/ 278606 w 1059656"/>
                  <a:gd name="connsiteY69" fmla="*/ 492919 h 564357"/>
                  <a:gd name="connsiteX70" fmla="*/ 292893 w 1059656"/>
                  <a:gd name="connsiteY70" fmla="*/ 481013 h 564357"/>
                  <a:gd name="connsiteX71" fmla="*/ 357187 w 1059656"/>
                  <a:gd name="connsiteY71" fmla="*/ 481013 h 564357"/>
                  <a:gd name="connsiteX72" fmla="*/ 433387 w 1059656"/>
                  <a:gd name="connsiteY72" fmla="*/ 388144 h 564357"/>
                  <a:gd name="connsiteX73" fmla="*/ 559593 w 1059656"/>
                  <a:gd name="connsiteY73" fmla="*/ 328613 h 564357"/>
                  <a:gd name="connsiteX74" fmla="*/ 619125 w 1059656"/>
                  <a:gd name="connsiteY74" fmla="*/ 321469 h 564357"/>
                  <a:gd name="connsiteX75" fmla="*/ 654843 w 1059656"/>
                  <a:gd name="connsiteY75" fmla="*/ 295275 h 564357"/>
                  <a:gd name="connsiteX76" fmla="*/ 716756 w 1059656"/>
                  <a:gd name="connsiteY76" fmla="*/ 292894 h 564357"/>
                  <a:gd name="connsiteX77" fmla="*/ 771525 w 1059656"/>
                  <a:gd name="connsiteY77" fmla="*/ 285750 h 564357"/>
                  <a:gd name="connsiteX78" fmla="*/ 781050 w 1059656"/>
                  <a:gd name="connsiteY78" fmla="*/ 323850 h 564357"/>
                  <a:gd name="connsiteX79" fmla="*/ 773906 w 1059656"/>
                  <a:gd name="connsiteY79" fmla="*/ 445294 h 564357"/>
                  <a:gd name="connsiteX80" fmla="*/ 707231 w 1059656"/>
                  <a:gd name="connsiteY80" fmla="*/ 461963 h 564357"/>
                  <a:gd name="connsiteX81" fmla="*/ 652461 w 1059656"/>
                  <a:gd name="connsiteY81" fmla="*/ 509587 h 564357"/>
                  <a:gd name="connsiteX82" fmla="*/ 654844 w 1059656"/>
                  <a:gd name="connsiteY82" fmla="*/ 528638 h 564357"/>
                  <a:gd name="connsiteX83" fmla="*/ 697706 w 1059656"/>
                  <a:gd name="connsiteY83" fmla="*/ 564357 h 564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1059656" h="564357">
                    <a:moveTo>
                      <a:pt x="697706" y="564357"/>
                    </a:moveTo>
                    <a:lnTo>
                      <a:pt x="778668" y="492919"/>
                    </a:lnTo>
                    <a:lnTo>
                      <a:pt x="816768" y="473869"/>
                    </a:lnTo>
                    <a:lnTo>
                      <a:pt x="852487" y="471488"/>
                    </a:lnTo>
                    <a:lnTo>
                      <a:pt x="916781" y="457200"/>
                    </a:lnTo>
                    <a:lnTo>
                      <a:pt x="950118" y="459582"/>
                    </a:lnTo>
                    <a:lnTo>
                      <a:pt x="988218" y="476250"/>
                    </a:lnTo>
                    <a:lnTo>
                      <a:pt x="1019175" y="445294"/>
                    </a:lnTo>
                    <a:lnTo>
                      <a:pt x="992981" y="414338"/>
                    </a:lnTo>
                    <a:lnTo>
                      <a:pt x="988218" y="383382"/>
                    </a:lnTo>
                    <a:lnTo>
                      <a:pt x="995362" y="345282"/>
                    </a:lnTo>
                    <a:lnTo>
                      <a:pt x="1023937" y="304800"/>
                    </a:lnTo>
                    <a:lnTo>
                      <a:pt x="1052512" y="295275"/>
                    </a:lnTo>
                    <a:lnTo>
                      <a:pt x="1059656" y="266700"/>
                    </a:lnTo>
                    <a:lnTo>
                      <a:pt x="1047750" y="238125"/>
                    </a:lnTo>
                    <a:lnTo>
                      <a:pt x="1019175" y="228600"/>
                    </a:lnTo>
                    <a:lnTo>
                      <a:pt x="992981" y="235744"/>
                    </a:lnTo>
                    <a:lnTo>
                      <a:pt x="935831" y="254794"/>
                    </a:lnTo>
                    <a:lnTo>
                      <a:pt x="900112" y="259557"/>
                    </a:lnTo>
                    <a:lnTo>
                      <a:pt x="878681" y="242888"/>
                    </a:lnTo>
                    <a:lnTo>
                      <a:pt x="873918" y="228600"/>
                    </a:lnTo>
                    <a:lnTo>
                      <a:pt x="881062" y="185738"/>
                    </a:lnTo>
                    <a:lnTo>
                      <a:pt x="888206" y="150019"/>
                    </a:lnTo>
                    <a:lnTo>
                      <a:pt x="871537" y="111919"/>
                    </a:lnTo>
                    <a:lnTo>
                      <a:pt x="852488" y="92869"/>
                    </a:lnTo>
                    <a:lnTo>
                      <a:pt x="859630" y="66676"/>
                    </a:lnTo>
                    <a:lnTo>
                      <a:pt x="857249" y="28576"/>
                    </a:lnTo>
                    <a:lnTo>
                      <a:pt x="833437" y="0"/>
                    </a:lnTo>
                    <a:lnTo>
                      <a:pt x="809625" y="33338"/>
                    </a:lnTo>
                    <a:lnTo>
                      <a:pt x="797718" y="50007"/>
                    </a:lnTo>
                    <a:lnTo>
                      <a:pt x="757237" y="45244"/>
                    </a:lnTo>
                    <a:lnTo>
                      <a:pt x="735806" y="50007"/>
                    </a:lnTo>
                    <a:lnTo>
                      <a:pt x="719137" y="78582"/>
                    </a:lnTo>
                    <a:lnTo>
                      <a:pt x="723900" y="97632"/>
                    </a:lnTo>
                    <a:lnTo>
                      <a:pt x="707231" y="111919"/>
                    </a:lnTo>
                    <a:lnTo>
                      <a:pt x="631031" y="114300"/>
                    </a:lnTo>
                    <a:lnTo>
                      <a:pt x="597693" y="100013"/>
                    </a:lnTo>
                    <a:lnTo>
                      <a:pt x="569118" y="71438"/>
                    </a:lnTo>
                    <a:lnTo>
                      <a:pt x="531018" y="66675"/>
                    </a:lnTo>
                    <a:lnTo>
                      <a:pt x="497681" y="90488"/>
                    </a:lnTo>
                    <a:lnTo>
                      <a:pt x="481012" y="109538"/>
                    </a:lnTo>
                    <a:lnTo>
                      <a:pt x="466725" y="126207"/>
                    </a:lnTo>
                    <a:lnTo>
                      <a:pt x="450056" y="145257"/>
                    </a:lnTo>
                    <a:lnTo>
                      <a:pt x="454818" y="171450"/>
                    </a:lnTo>
                    <a:lnTo>
                      <a:pt x="423862" y="195263"/>
                    </a:lnTo>
                    <a:lnTo>
                      <a:pt x="371475" y="204788"/>
                    </a:lnTo>
                    <a:lnTo>
                      <a:pt x="330993" y="223838"/>
                    </a:lnTo>
                    <a:lnTo>
                      <a:pt x="321468" y="261938"/>
                    </a:lnTo>
                    <a:lnTo>
                      <a:pt x="319087" y="269082"/>
                    </a:lnTo>
                    <a:lnTo>
                      <a:pt x="266700" y="285750"/>
                    </a:lnTo>
                    <a:lnTo>
                      <a:pt x="180975" y="316707"/>
                    </a:lnTo>
                    <a:lnTo>
                      <a:pt x="157162" y="309563"/>
                    </a:lnTo>
                    <a:lnTo>
                      <a:pt x="128587" y="300038"/>
                    </a:lnTo>
                    <a:cubicBezTo>
                      <a:pt x="129381" y="319882"/>
                      <a:pt x="130174" y="339725"/>
                      <a:pt x="130968" y="359569"/>
                    </a:cubicBezTo>
                    <a:lnTo>
                      <a:pt x="169068" y="388144"/>
                    </a:lnTo>
                    <a:lnTo>
                      <a:pt x="185737" y="411957"/>
                    </a:lnTo>
                    <a:lnTo>
                      <a:pt x="180975" y="442913"/>
                    </a:lnTo>
                    <a:lnTo>
                      <a:pt x="173831" y="471488"/>
                    </a:lnTo>
                    <a:lnTo>
                      <a:pt x="130968" y="473869"/>
                    </a:lnTo>
                    <a:lnTo>
                      <a:pt x="95250" y="488157"/>
                    </a:lnTo>
                    <a:lnTo>
                      <a:pt x="71437" y="492919"/>
                    </a:lnTo>
                    <a:lnTo>
                      <a:pt x="50006" y="504825"/>
                    </a:lnTo>
                    <a:lnTo>
                      <a:pt x="30956" y="521494"/>
                    </a:lnTo>
                    <a:lnTo>
                      <a:pt x="7143" y="528638"/>
                    </a:lnTo>
                    <a:lnTo>
                      <a:pt x="0" y="533400"/>
                    </a:lnTo>
                    <a:lnTo>
                      <a:pt x="38100" y="561975"/>
                    </a:lnTo>
                    <a:lnTo>
                      <a:pt x="80962" y="559594"/>
                    </a:lnTo>
                    <a:lnTo>
                      <a:pt x="116681" y="526257"/>
                    </a:lnTo>
                    <a:lnTo>
                      <a:pt x="171450" y="500063"/>
                    </a:lnTo>
                    <a:lnTo>
                      <a:pt x="278606" y="492919"/>
                    </a:lnTo>
                    <a:lnTo>
                      <a:pt x="292893" y="481013"/>
                    </a:lnTo>
                    <a:lnTo>
                      <a:pt x="357187" y="481013"/>
                    </a:lnTo>
                    <a:lnTo>
                      <a:pt x="433387" y="388144"/>
                    </a:lnTo>
                    <a:lnTo>
                      <a:pt x="559593" y="328613"/>
                    </a:lnTo>
                    <a:lnTo>
                      <a:pt x="619125" y="321469"/>
                    </a:lnTo>
                    <a:lnTo>
                      <a:pt x="654843" y="295275"/>
                    </a:lnTo>
                    <a:lnTo>
                      <a:pt x="716756" y="292894"/>
                    </a:lnTo>
                    <a:lnTo>
                      <a:pt x="771525" y="285750"/>
                    </a:lnTo>
                    <a:lnTo>
                      <a:pt x="781050" y="323850"/>
                    </a:lnTo>
                    <a:lnTo>
                      <a:pt x="773906" y="445294"/>
                    </a:lnTo>
                    <a:lnTo>
                      <a:pt x="707231" y="461963"/>
                    </a:lnTo>
                    <a:lnTo>
                      <a:pt x="652461" y="509587"/>
                    </a:lnTo>
                    <a:lnTo>
                      <a:pt x="654844" y="528638"/>
                    </a:lnTo>
                    <a:lnTo>
                      <a:pt x="697706" y="564357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/>
              </a:p>
            </p:txBody>
          </p:sp>
          <p:sp>
            <p:nvSpPr>
              <p:cNvPr id="165" name="Freeform 30">
                <a:extLst>
                  <a:ext uri="{FF2B5EF4-FFF2-40B4-BE49-F238E27FC236}">
                    <a16:creationId xmlns:a16="http://schemas.microsoft.com/office/drawing/2014/main" id="{324BC743-D6C9-465D-BE18-D88C23C9427A}"/>
                  </a:ext>
                </a:extLst>
              </p:cNvPr>
              <p:cNvSpPr/>
              <p:nvPr/>
            </p:nvSpPr>
            <p:spPr>
              <a:xfrm>
                <a:off x="7169150" y="3186113"/>
                <a:ext cx="320675" cy="330200"/>
              </a:xfrm>
              <a:custGeom>
                <a:avLst/>
                <a:gdLst>
                  <a:gd name="connsiteX0" fmla="*/ 190500 w 314325"/>
                  <a:gd name="connsiteY0" fmla="*/ 302419 h 330994"/>
                  <a:gd name="connsiteX1" fmla="*/ 221456 w 314325"/>
                  <a:gd name="connsiteY1" fmla="*/ 240506 h 330994"/>
                  <a:gd name="connsiteX2" fmla="*/ 250031 w 314325"/>
                  <a:gd name="connsiteY2" fmla="*/ 214312 h 330994"/>
                  <a:gd name="connsiteX3" fmla="*/ 266700 w 314325"/>
                  <a:gd name="connsiteY3" fmla="*/ 169069 h 330994"/>
                  <a:gd name="connsiteX4" fmla="*/ 273844 w 314325"/>
                  <a:gd name="connsiteY4" fmla="*/ 119062 h 330994"/>
                  <a:gd name="connsiteX5" fmla="*/ 314325 w 314325"/>
                  <a:gd name="connsiteY5" fmla="*/ 52387 h 330994"/>
                  <a:gd name="connsiteX6" fmla="*/ 295275 w 314325"/>
                  <a:gd name="connsiteY6" fmla="*/ 14287 h 330994"/>
                  <a:gd name="connsiteX7" fmla="*/ 285750 w 314325"/>
                  <a:gd name="connsiteY7" fmla="*/ 21431 h 330994"/>
                  <a:gd name="connsiteX8" fmla="*/ 273844 w 314325"/>
                  <a:gd name="connsiteY8" fmla="*/ 0 h 330994"/>
                  <a:gd name="connsiteX9" fmla="*/ 245269 w 314325"/>
                  <a:gd name="connsiteY9" fmla="*/ 33337 h 330994"/>
                  <a:gd name="connsiteX10" fmla="*/ 211931 w 314325"/>
                  <a:gd name="connsiteY10" fmla="*/ 45244 h 330994"/>
                  <a:gd name="connsiteX11" fmla="*/ 202406 w 314325"/>
                  <a:gd name="connsiteY11" fmla="*/ 85725 h 330994"/>
                  <a:gd name="connsiteX12" fmla="*/ 178594 w 314325"/>
                  <a:gd name="connsiteY12" fmla="*/ 95250 h 330994"/>
                  <a:gd name="connsiteX13" fmla="*/ 135731 w 314325"/>
                  <a:gd name="connsiteY13" fmla="*/ 47625 h 330994"/>
                  <a:gd name="connsiteX14" fmla="*/ 104775 w 314325"/>
                  <a:gd name="connsiteY14" fmla="*/ 64294 h 330994"/>
                  <a:gd name="connsiteX15" fmla="*/ 109537 w 314325"/>
                  <a:gd name="connsiteY15" fmla="*/ 154781 h 330994"/>
                  <a:gd name="connsiteX16" fmla="*/ 78581 w 314325"/>
                  <a:gd name="connsiteY16" fmla="*/ 176212 h 330994"/>
                  <a:gd name="connsiteX17" fmla="*/ 59531 w 314325"/>
                  <a:gd name="connsiteY17" fmla="*/ 195262 h 330994"/>
                  <a:gd name="connsiteX18" fmla="*/ 59531 w 314325"/>
                  <a:gd name="connsiteY18" fmla="*/ 195262 h 330994"/>
                  <a:gd name="connsiteX19" fmla="*/ 61912 w 314325"/>
                  <a:gd name="connsiteY19" fmla="*/ 240506 h 330994"/>
                  <a:gd name="connsiteX20" fmla="*/ 9525 w 314325"/>
                  <a:gd name="connsiteY20" fmla="*/ 233362 h 330994"/>
                  <a:gd name="connsiteX21" fmla="*/ 0 w 314325"/>
                  <a:gd name="connsiteY21" fmla="*/ 254794 h 330994"/>
                  <a:gd name="connsiteX22" fmla="*/ 14287 w 314325"/>
                  <a:gd name="connsiteY22" fmla="*/ 330994 h 330994"/>
                  <a:gd name="connsiteX23" fmla="*/ 59531 w 314325"/>
                  <a:gd name="connsiteY23" fmla="*/ 302419 h 330994"/>
                  <a:gd name="connsiteX24" fmla="*/ 100012 w 314325"/>
                  <a:gd name="connsiteY24" fmla="*/ 285750 h 330994"/>
                  <a:gd name="connsiteX25" fmla="*/ 126206 w 314325"/>
                  <a:gd name="connsiteY25" fmla="*/ 288131 h 330994"/>
                  <a:gd name="connsiteX26" fmla="*/ 190500 w 314325"/>
                  <a:gd name="connsiteY26" fmla="*/ 302419 h 330994"/>
                  <a:gd name="connsiteX0" fmla="*/ 190500 w 321468"/>
                  <a:gd name="connsiteY0" fmla="*/ 302419 h 330994"/>
                  <a:gd name="connsiteX1" fmla="*/ 221456 w 321468"/>
                  <a:gd name="connsiteY1" fmla="*/ 240506 h 330994"/>
                  <a:gd name="connsiteX2" fmla="*/ 250031 w 321468"/>
                  <a:gd name="connsiteY2" fmla="*/ 214312 h 330994"/>
                  <a:gd name="connsiteX3" fmla="*/ 266700 w 321468"/>
                  <a:gd name="connsiteY3" fmla="*/ 169069 h 330994"/>
                  <a:gd name="connsiteX4" fmla="*/ 273844 w 321468"/>
                  <a:gd name="connsiteY4" fmla="*/ 119062 h 330994"/>
                  <a:gd name="connsiteX5" fmla="*/ 321468 w 321468"/>
                  <a:gd name="connsiteY5" fmla="*/ 61912 h 330994"/>
                  <a:gd name="connsiteX6" fmla="*/ 295275 w 321468"/>
                  <a:gd name="connsiteY6" fmla="*/ 14287 h 330994"/>
                  <a:gd name="connsiteX7" fmla="*/ 285750 w 321468"/>
                  <a:gd name="connsiteY7" fmla="*/ 21431 h 330994"/>
                  <a:gd name="connsiteX8" fmla="*/ 273844 w 321468"/>
                  <a:gd name="connsiteY8" fmla="*/ 0 h 330994"/>
                  <a:gd name="connsiteX9" fmla="*/ 245269 w 321468"/>
                  <a:gd name="connsiteY9" fmla="*/ 33337 h 330994"/>
                  <a:gd name="connsiteX10" fmla="*/ 211931 w 321468"/>
                  <a:gd name="connsiteY10" fmla="*/ 45244 h 330994"/>
                  <a:gd name="connsiteX11" fmla="*/ 202406 w 321468"/>
                  <a:gd name="connsiteY11" fmla="*/ 85725 h 330994"/>
                  <a:gd name="connsiteX12" fmla="*/ 178594 w 321468"/>
                  <a:gd name="connsiteY12" fmla="*/ 95250 h 330994"/>
                  <a:gd name="connsiteX13" fmla="*/ 135731 w 321468"/>
                  <a:gd name="connsiteY13" fmla="*/ 47625 h 330994"/>
                  <a:gd name="connsiteX14" fmla="*/ 104775 w 321468"/>
                  <a:gd name="connsiteY14" fmla="*/ 64294 h 330994"/>
                  <a:gd name="connsiteX15" fmla="*/ 109537 w 321468"/>
                  <a:gd name="connsiteY15" fmla="*/ 154781 h 330994"/>
                  <a:gd name="connsiteX16" fmla="*/ 78581 w 321468"/>
                  <a:gd name="connsiteY16" fmla="*/ 176212 h 330994"/>
                  <a:gd name="connsiteX17" fmla="*/ 59531 w 321468"/>
                  <a:gd name="connsiteY17" fmla="*/ 195262 h 330994"/>
                  <a:gd name="connsiteX18" fmla="*/ 59531 w 321468"/>
                  <a:gd name="connsiteY18" fmla="*/ 195262 h 330994"/>
                  <a:gd name="connsiteX19" fmla="*/ 61912 w 321468"/>
                  <a:gd name="connsiteY19" fmla="*/ 240506 h 330994"/>
                  <a:gd name="connsiteX20" fmla="*/ 9525 w 321468"/>
                  <a:gd name="connsiteY20" fmla="*/ 233362 h 330994"/>
                  <a:gd name="connsiteX21" fmla="*/ 0 w 321468"/>
                  <a:gd name="connsiteY21" fmla="*/ 254794 h 330994"/>
                  <a:gd name="connsiteX22" fmla="*/ 14287 w 321468"/>
                  <a:gd name="connsiteY22" fmla="*/ 330994 h 330994"/>
                  <a:gd name="connsiteX23" fmla="*/ 59531 w 321468"/>
                  <a:gd name="connsiteY23" fmla="*/ 302419 h 330994"/>
                  <a:gd name="connsiteX24" fmla="*/ 100012 w 321468"/>
                  <a:gd name="connsiteY24" fmla="*/ 285750 h 330994"/>
                  <a:gd name="connsiteX25" fmla="*/ 126206 w 321468"/>
                  <a:gd name="connsiteY25" fmla="*/ 288131 h 330994"/>
                  <a:gd name="connsiteX26" fmla="*/ 190500 w 321468"/>
                  <a:gd name="connsiteY26" fmla="*/ 302419 h 330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321468" h="330994">
                    <a:moveTo>
                      <a:pt x="190500" y="302419"/>
                    </a:moveTo>
                    <a:lnTo>
                      <a:pt x="221456" y="240506"/>
                    </a:lnTo>
                    <a:lnTo>
                      <a:pt x="250031" y="214312"/>
                    </a:lnTo>
                    <a:lnTo>
                      <a:pt x="266700" y="169069"/>
                    </a:lnTo>
                    <a:lnTo>
                      <a:pt x="273844" y="119062"/>
                    </a:lnTo>
                    <a:lnTo>
                      <a:pt x="321468" y="61912"/>
                    </a:lnTo>
                    <a:lnTo>
                      <a:pt x="295275" y="14287"/>
                    </a:lnTo>
                    <a:lnTo>
                      <a:pt x="285750" y="21431"/>
                    </a:lnTo>
                    <a:lnTo>
                      <a:pt x="273844" y="0"/>
                    </a:lnTo>
                    <a:lnTo>
                      <a:pt x="245269" y="33337"/>
                    </a:lnTo>
                    <a:lnTo>
                      <a:pt x="211931" y="45244"/>
                    </a:lnTo>
                    <a:lnTo>
                      <a:pt x="202406" y="85725"/>
                    </a:lnTo>
                    <a:lnTo>
                      <a:pt x="178594" y="95250"/>
                    </a:lnTo>
                    <a:lnTo>
                      <a:pt x="135731" y="47625"/>
                    </a:lnTo>
                    <a:lnTo>
                      <a:pt x="104775" y="64294"/>
                    </a:lnTo>
                    <a:lnTo>
                      <a:pt x="109537" y="154781"/>
                    </a:lnTo>
                    <a:lnTo>
                      <a:pt x="78581" y="176212"/>
                    </a:lnTo>
                    <a:lnTo>
                      <a:pt x="59531" y="195262"/>
                    </a:lnTo>
                    <a:lnTo>
                      <a:pt x="59531" y="195262"/>
                    </a:lnTo>
                    <a:lnTo>
                      <a:pt x="61912" y="240506"/>
                    </a:lnTo>
                    <a:lnTo>
                      <a:pt x="9525" y="233362"/>
                    </a:lnTo>
                    <a:lnTo>
                      <a:pt x="0" y="254794"/>
                    </a:lnTo>
                    <a:lnTo>
                      <a:pt x="14287" y="330994"/>
                    </a:lnTo>
                    <a:lnTo>
                      <a:pt x="59531" y="302419"/>
                    </a:lnTo>
                    <a:lnTo>
                      <a:pt x="100012" y="285750"/>
                    </a:lnTo>
                    <a:lnTo>
                      <a:pt x="126206" y="288131"/>
                    </a:lnTo>
                    <a:lnTo>
                      <a:pt x="190500" y="302419"/>
                    </a:ln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12700">
                <a:solidFill>
                  <a:srgbClr val="00B0F0"/>
                </a:solidFill>
              </a:ln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>
                  <a:defRPr/>
                </a:pPr>
                <a:endParaRPr lang="en-GB" dirty="0"/>
              </a:p>
            </p:txBody>
          </p:sp>
        </p:grpSp>
        <p:sp>
          <p:nvSpPr>
            <p:cNvPr id="125" name="Freeform 32">
              <a:extLst>
                <a:ext uri="{FF2B5EF4-FFF2-40B4-BE49-F238E27FC236}">
                  <a16:creationId xmlns:a16="http://schemas.microsoft.com/office/drawing/2014/main" id="{33CFB7E8-572B-4B14-9C11-71047A921FEC}"/>
                </a:ext>
              </a:extLst>
            </p:cNvPr>
            <p:cNvSpPr/>
            <p:nvPr/>
          </p:nvSpPr>
          <p:spPr>
            <a:xfrm>
              <a:off x="2963680" y="1277360"/>
              <a:ext cx="2171458" cy="2830359"/>
            </a:xfrm>
            <a:custGeom>
              <a:avLst/>
              <a:gdLst>
                <a:gd name="connsiteX0" fmla="*/ 638992 w 2374357"/>
                <a:gd name="connsiteY0" fmla="*/ 2819400 h 2830359"/>
                <a:gd name="connsiteX1" fmla="*/ 655925 w 2374357"/>
                <a:gd name="connsiteY1" fmla="*/ 2760133 h 2830359"/>
                <a:gd name="connsiteX2" fmla="*/ 664392 w 2374357"/>
                <a:gd name="connsiteY2" fmla="*/ 2734733 h 2830359"/>
                <a:gd name="connsiteX3" fmla="*/ 681325 w 2374357"/>
                <a:gd name="connsiteY3" fmla="*/ 2709333 h 2830359"/>
                <a:gd name="connsiteX4" fmla="*/ 723658 w 2374357"/>
                <a:gd name="connsiteY4" fmla="*/ 2658533 h 2830359"/>
                <a:gd name="connsiteX5" fmla="*/ 732125 w 2374357"/>
                <a:gd name="connsiteY5" fmla="*/ 2633133 h 2830359"/>
                <a:gd name="connsiteX6" fmla="*/ 757525 w 2374357"/>
                <a:gd name="connsiteY6" fmla="*/ 2607733 h 2830359"/>
                <a:gd name="connsiteX7" fmla="*/ 740592 w 2374357"/>
                <a:gd name="connsiteY7" fmla="*/ 2480733 h 2830359"/>
                <a:gd name="connsiteX8" fmla="*/ 749058 w 2374357"/>
                <a:gd name="connsiteY8" fmla="*/ 2429933 h 2830359"/>
                <a:gd name="connsiteX9" fmla="*/ 791392 w 2374357"/>
                <a:gd name="connsiteY9" fmla="*/ 2404533 h 2830359"/>
                <a:gd name="connsiteX10" fmla="*/ 816792 w 2374357"/>
                <a:gd name="connsiteY10" fmla="*/ 2387600 h 2830359"/>
                <a:gd name="connsiteX11" fmla="*/ 825258 w 2374357"/>
                <a:gd name="connsiteY11" fmla="*/ 2336800 h 2830359"/>
                <a:gd name="connsiteX12" fmla="*/ 850658 w 2374357"/>
                <a:gd name="connsiteY12" fmla="*/ 2328333 h 2830359"/>
                <a:gd name="connsiteX13" fmla="*/ 918392 w 2374357"/>
                <a:gd name="connsiteY13" fmla="*/ 2319867 h 2830359"/>
                <a:gd name="connsiteX14" fmla="*/ 909925 w 2374357"/>
                <a:gd name="connsiteY14" fmla="*/ 2294467 h 2830359"/>
                <a:gd name="connsiteX15" fmla="*/ 859125 w 2374357"/>
                <a:gd name="connsiteY15" fmla="*/ 2286000 h 2830359"/>
                <a:gd name="connsiteX16" fmla="*/ 833725 w 2374357"/>
                <a:gd name="connsiteY16" fmla="*/ 2277533 h 2830359"/>
                <a:gd name="connsiteX17" fmla="*/ 850658 w 2374357"/>
                <a:gd name="connsiteY17" fmla="*/ 2252133 h 2830359"/>
                <a:gd name="connsiteX18" fmla="*/ 859125 w 2374357"/>
                <a:gd name="connsiteY18" fmla="*/ 2218267 h 2830359"/>
                <a:gd name="connsiteX19" fmla="*/ 884525 w 2374357"/>
                <a:gd name="connsiteY19" fmla="*/ 2209800 h 2830359"/>
                <a:gd name="connsiteX20" fmla="*/ 909925 w 2374357"/>
                <a:gd name="connsiteY20" fmla="*/ 2192867 h 2830359"/>
                <a:gd name="connsiteX21" fmla="*/ 926858 w 2374357"/>
                <a:gd name="connsiteY21" fmla="*/ 2142067 h 2830359"/>
                <a:gd name="connsiteX22" fmla="*/ 935325 w 2374357"/>
                <a:gd name="connsiteY22" fmla="*/ 2057400 h 2830359"/>
                <a:gd name="connsiteX23" fmla="*/ 952258 w 2374357"/>
                <a:gd name="connsiteY23" fmla="*/ 2032000 h 2830359"/>
                <a:gd name="connsiteX24" fmla="*/ 1011525 w 2374357"/>
                <a:gd name="connsiteY24" fmla="*/ 2023533 h 2830359"/>
                <a:gd name="connsiteX25" fmla="*/ 1019992 w 2374357"/>
                <a:gd name="connsiteY25" fmla="*/ 1998133 h 2830359"/>
                <a:gd name="connsiteX26" fmla="*/ 1070792 w 2374357"/>
                <a:gd name="connsiteY26" fmla="*/ 1930400 h 2830359"/>
                <a:gd name="connsiteX27" fmla="*/ 1079258 w 2374357"/>
                <a:gd name="connsiteY27" fmla="*/ 1896533 h 2830359"/>
                <a:gd name="connsiteX28" fmla="*/ 1087725 w 2374357"/>
                <a:gd name="connsiteY28" fmla="*/ 1871133 h 2830359"/>
                <a:gd name="connsiteX29" fmla="*/ 1096192 w 2374357"/>
                <a:gd name="connsiteY29" fmla="*/ 1828800 h 2830359"/>
                <a:gd name="connsiteX30" fmla="*/ 1079258 w 2374357"/>
                <a:gd name="connsiteY30" fmla="*/ 1769533 h 2830359"/>
                <a:gd name="connsiteX31" fmla="*/ 1062325 w 2374357"/>
                <a:gd name="connsiteY31" fmla="*/ 1744133 h 2830359"/>
                <a:gd name="connsiteX32" fmla="*/ 1070792 w 2374357"/>
                <a:gd name="connsiteY32" fmla="*/ 1693333 h 2830359"/>
                <a:gd name="connsiteX33" fmla="*/ 1130058 w 2374357"/>
                <a:gd name="connsiteY33" fmla="*/ 1701800 h 2830359"/>
                <a:gd name="connsiteX34" fmla="*/ 1206258 w 2374357"/>
                <a:gd name="connsiteY34" fmla="*/ 1718733 h 2830359"/>
                <a:gd name="connsiteX35" fmla="*/ 1282458 w 2374357"/>
                <a:gd name="connsiteY35" fmla="*/ 1854200 h 2830359"/>
                <a:gd name="connsiteX36" fmla="*/ 1307858 w 2374357"/>
                <a:gd name="connsiteY36" fmla="*/ 1837267 h 2830359"/>
                <a:gd name="connsiteX37" fmla="*/ 1350192 w 2374357"/>
                <a:gd name="connsiteY37" fmla="*/ 1871133 h 2830359"/>
                <a:gd name="connsiteX38" fmla="*/ 1375592 w 2374357"/>
                <a:gd name="connsiteY38" fmla="*/ 1862667 h 2830359"/>
                <a:gd name="connsiteX39" fmla="*/ 1417925 w 2374357"/>
                <a:gd name="connsiteY39" fmla="*/ 1871133 h 2830359"/>
                <a:gd name="connsiteX40" fmla="*/ 1434858 w 2374357"/>
                <a:gd name="connsiteY40" fmla="*/ 1845733 h 2830359"/>
                <a:gd name="connsiteX41" fmla="*/ 1451792 w 2374357"/>
                <a:gd name="connsiteY41" fmla="*/ 1786467 h 2830359"/>
                <a:gd name="connsiteX42" fmla="*/ 1477192 w 2374357"/>
                <a:gd name="connsiteY42" fmla="*/ 1778000 h 2830359"/>
                <a:gd name="connsiteX43" fmla="*/ 1494125 w 2374357"/>
                <a:gd name="connsiteY43" fmla="*/ 1752600 h 2830359"/>
                <a:gd name="connsiteX44" fmla="*/ 1502592 w 2374357"/>
                <a:gd name="connsiteY44" fmla="*/ 1693333 h 2830359"/>
                <a:gd name="connsiteX45" fmla="*/ 1527992 w 2374357"/>
                <a:gd name="connsiteY45" fmla="*/ 1676400 h 2830359"/>
                <a:gd name="connsiteX46" fmla="*/ 1485658 w 2374357"/>
                <a:gd name="connsiteY46" fmla="*/ 1625600 h 2830359"/>
                <a:gd name="connsiteX47" fmla="*/ 1443325 w 2374357"/>
                <a:gd name="connsiteY47" fmla="*/ 1617133 h 2830359"/>
                <a:gd name="connsiteX48" fmla="*/ 1434858 w 2374357"/>
                <a:gd name="connsiteY48" fmla="*/ 1591733 h 2830359"/>
                <a:gd name="connsiteX49" fmla="*/ 1400992 w 2374357"/>
                <a:gd name="connsiteY49" fmla="*/ 1540933 h 2830359"/>
                <a:gd name="connsiteX50" fmla="*/ 1409458 w 2374357"/>
                <a:gd name="connsiteY50" fmla="*/ 1515533 h 2830359"/>
                <a:gd name="connsiteX51" fmla="*/ 1434858 w 2374357"/>
                <a:gd name="connsiteY51" fmla="*/ 1507067 h 2830359"/>
                <a:gd name="connsiteX52" fmla="*/ 1494125 w 2374357"/>
                <a:gd name="connsiteY52" fmla="*/ 1498600 h 2830359"/>
                <a:gd name="connsiteX53" fmla="*/ 1519525 w 2374357"/>
                <a:gd name="connsiteY53" fmla="*/ 1481667 h 2830359"/>
                <a:gd name="connsiteX54" fmla="*/ 1570325 w 2374357"/>
                <a:gd name="connsiteY54" fmla="*/ 1464733 h 2830359"/>
                <a:gd name="connsiteX55" fmla="*/ 1646525 w 2374357"/>
                <a:gd name="connsiteY55" fmla="*/ 1405467 h 2830359"/>
                <a:gd name="connsiteX56" fmla="*/ 1807392 w 2374357"/>
                <a:gd name="connsiteY56" fmla="*/ 1380067 h 2830359"/>
                <a:gd name="connsiteX57" fmla="*/ 1866658 w 2374357"/>
                <a:gd name="connsiteY57" fmla="*/ 1312333 h 2830359"/>
                <a:gd name="connsiteX58" fmla="*/ 1883592 w 2374357"/>
                <a:gd name="connsiteY58" fmla="*/ 1261533 h 2830359"/>
                <a:gd name="connsiteX59" fmla="*/ 1976725 w 2374357"/>
                <a:gd name="connsiteY59" fmla="*/ 1244600 h 2830359"/>
                <a:gd name="connsiteX60" fmla="*/ 2019058 w 2374357"/>
                <a:gd name="connsiteY60" fmla="*/ 1210733 h 2830359"/>
                <a:gd name="connsiteX61" fmla="*/ 2035992 w 2374357"/>
                <a:gd name="connsiteY61" fmla="*/ 1193800 h 2830359"/>
                <a:gd name="connsiteX62" fmla="*/ 2196858 w 2374357"/>
                <a:gd name="connsiteY62" fmla="*/ 1176867 h 2830359"/>
                <a:gd name="connsiteX63" fmla="*/ 2120658 w 2374357"/>
                <a:gd name="connsiteY63" fmla="*/ 1176867 h 2830359"/>
                <a:gd name="connsiteX64" fmla="*/ 2027525 w 2374357"/>
                <a:gd name="connsiteY64" fmla="*/ 1168400 h 2830359"/>
                <a:gd name="connsiteX65" fmla="*/ 2019058 w 2374357"/>
                <a:gd name="connsiteY65" fmla="*/ 1134533 h 2830359"/>
                <a:gd name="connsiteX66" fmla="*/ 2002125 w 2374357"/>
                <a:gd name="connsiteY66" fmla="*/ 1083733 h 2830359"/>
                <a:gd name="connsiteX67" fmla="*/ 2010592 w 2374357"/>
                <a:gd name="connsiteY67" fmla="*/ 1058333 h 2830359"/>
                <a:gd name="connsiteX68" fmla="*/ 2035992 w 2374357"/>
                <a:gd name="connsiteY68" fmla="*/ 1041400 h 2830359"/>
                <a:gd name="connsiteX69" fmla="*/ 2052925 w 2374357"/>
                <a:gd name="connsiteY69" fmla="*/ 1016000 h 2830359"/>
                <a:gd name="connsiteX70" fmla="*/ 2044458 w 2374357"/>
                <a:gd name="connsiteY70" fmla="*/ 982133 h 2830359"/>
                <a:gd name="connsiteX71" fmla="*/ 2044458 w 2374357"/>
                <a:gd name="connsiteY71" fmla="*/ 914400 h 2830359"/>
                <a:gd name="connsiteX72" fmla="*/ 2069858 w 2374357"/>
                <a:gd name="connsiteY72" fmla="*/ 905933 h 2830359"/>
                <a:gd name="connsiteX73" fmla="*/ 2086792 w 2374357"/>
                <a:gd name="connsiteY73" fmla="*/ 889000 h 2830359"/>
                <a:gd name="connsiteX74" fmla="*/ 2103725 w 2374357"/>
                <a:gd name="connsiteY74" fmla="*/ 804333 h 2830359"/>
                <a:gd name="connsiteX75" fmla="*/ 2129125 w 2374357"/>
                <a:gd name="connsiteY75" fmla="*/ 787400 h 2830359"/>
                <a:gd name="connsiteX76" fmla="*/ 2146058 w 2374357"/>
                <a:gd name="connsiteY76" fmla="*/ 762000 h 2830359"/>
                <a:gd name="connsiteX77" fmla="*/ 2162992 w 2374357"/>
                <a:gd name="connsiteY77" fmla="*/ 745067 h 2830359"/>
                <a:gd name="connsiteX78" fmla="*/ 2171458 w 2374357"/>
                <a:gd name="connsiteY78" fmla="*/ 719667 h 2830359"/>
                <a:gd name="connsiteX79" fmla="*/ 2162992 w 2374357"/>
                <a:gd name="connsiteY79" fmla="*/ 694267 h 2830359"/>
                <a:gd name="connsiteX80" fmla="*/ 2120658 w 2374357"/>
                <a:gd name="connsiteY80" fmla="*/ 651933 h 2830359"/>
                <a:gd name="connsiteX81" fmla="*/ 2086792 w 2374357"/>
                <a:gd name="connsiteY81" fmla="*/ 601133 h 2830359"/>
                <a:gd name="connsiteX82" fmla="*/ 1968258 w 2374357"/>
                <a:gd name="connsiteY82" fmla="*/ 592667 h 2830359"/>
                <a:gd name="connsiteX83" fmla="*/ 1959792 w 2374357"/>
                <a:gd name="connsiteY83" fmla="*/ 567267 h 2830359"/>
                <a:gd name="connsiteX84" fmla="*/ 1900525 w 2374357"/>
                <a:gd name="connsiteY84" fmla="*/ 541867 h 2830359"/>
                <a:gd name="connsiteX85" fmla="*/ 1824325 w 2374357"/>
                <a:gd name="connsiteY85" fmla="*/ 533400 h 2830359"/>
                <a:gd name="connsiteX86" fmla="*/ 1773525 w 2374357"/>
                <a:gd name="connsiteY86" fmla="*/ 541867 h 2830359"/>
                <a:gd name="connsiteX87" fmla="*/ 1739658 w 2374357"/>
                <a:gd name="connsiteY87" fmla="*/ 550333 h 2830359"/>
                <a:gd name="connsiteX88" fmla="*/ 1731192 w 2374357"/>
                <a:gd name="connsiteY88" fmla="*/ 575733 h 2830359"/>
                <a:gd name="connsiteX89" fmla="*/ 1688858 w 2374357"/>
                <a:gd name="connsiteY89" fmla="*/ 601133 h 2830359"/>
                <a:gd name="connsiteX90" fmla="*/ 1638058 w 2374357"/>
                <a:gd name="connsiteY90" fmla="*/ 592667 h 2830359"/>
                <a:gd name="connsiteX91" fmla="*/ 1612658 w 2374357"/>
                <a:gd name="connsiteY91" fmla="*/ 584200 h 2830359"/>
                <a:gd name="connsiteX92" fmla="*/ 1578792 w 2374357"/>
                <a:gd name="connsiteY92" fmla="*/ 575733 h 2830359"/>
                <a:gd name="connsiteX93" fmla="*/ 1527992 w 2374357"/>
                <a:gd name="connsiteY93" fmla="*/ 558800 h 2830359"/>
                <a:gd name="connsiteX94" fmla="*/ 1511058 w 2374357"/>
                <a:gd name="connsiteY94" fmla="*/ 508000 h 2830359"/>
                <a:gd name="connsiteX95" fmla="*/ 1485658 w 2374357"/>
                <a:gd name="connsiteY95" fmla="*/ 457200 h 2830359"/>
                <a:gd name="connsiteX96" fmla="*/ 1434858 w 2374357"/>
                <a:gd name="connsiteY96" fmla="*/ 448733 h 2830359"/>
                <a:gd name="connsiteX97" fmla="*/ 1426392 w 2374357"/>
                <a:gd name="connsiteY97" fmla="*/ 423333 h 2830359"/>
                <a:gd name="connsiteX98" fmla="*/ 1417925 w 2374357"/>
                <a:gd name="connsiteY98" fmla="*/ 389467 h 2830359"/>
                <a:gd name="connsiteX99" fmla="*/ 1400992 w 2374357"/>
                <a:gd name="connsiteY99" fmla="*/ 338667 h 2830359"/>
                <a:gd name="connsiteX100" fmla="*/ 1417925 w 2374357"/>
                <a:gd name="connsiteY100" fmla="*/ 287867 h 2830359"/>
                <a:gd name="connsiteX101" fmla="*/ 1426392 w 2374357"/>
                <a:gd name="connsiteY101" fmla="*/ 262467 h 2830359"/>
                <a:gd name="connsiteX102" fmla="*/ 1443325 w 2374357"/>
                <a:gd name="connsiteY102" fmla="*/ 203200 h 2830359"/>
                <a:gd name="connsiteX103" fmla="*/ 1434858 w 2374357"/>
                <a:gd name="connsiteY103" fmla="*/ 160867 h 2830359"/>
                <a:gd name="connsiteX104" fmla="*/ 1417925 w 2374357"/>
                <a:gd name="connsiteY104" fmla="*/ 135467 h 2830359"/>
                <a:gd name="connsiteX105" fmla="*/ 1400992 w 2374357"/>
                <a:gd name="connsiteY105" fmla="*/ 84667 h 2830359"/>
                <a:gd name="connsiteX106" fmla="*/ 1375592 w 2374357"/>
                <a:gd name="connsiteY106" fmla="*/ 76200 h 2830359"/>
                <a:gd name="connsiteX107" fmla="*/ 1324792 w 2374357"/>
                <a:gd name="connsiteY107" fmla="*/ 67733 h 2830359"/>
                <a:gd name="connsiteX108" fmla="*/ 1214725 w 2374357"/>
                <a:gd name="connsiteY108" fmla="*/ 42333 h 2830359"/>
                <a:gd name="connsiteX109" fmla="*/ 1172392 w 2374357"/>
                <a:gd name="connsiteY109" fmla="*/ 16933 h 2830359"/>
                <a:gd name="connsiteX110" fmla="*/ 1070792 w 2374357"/>
                <a:gd name="connsiteY110" fmla="*/ 0 h 2830359"/>
                <a:gd name="connsiteX111" fmla="*/ 1070792 w 2374357"/>
                <a:gd name="connsiteY111" fmla="*/ 135467 h 2830359"/>
                <a:gd name="connsiteX112" fmla="*/ 1079258 w 2374357"/>
                <a:gd name="connsiteY112" fmla="*/ 160867 h 2830359"/>
                <a:gd name="connsiteX113" fmla="*/ 1113125 w 2374357"/>
                <a:gd name="connsiteY113" fmla="*/ 169333 h 2830359"/>
                <a:gd name="connsiteX114" fmla="*/ 1130058 w 2374357"/>
                <a:gd name="connsiteY114" fmla="*/ 186267 h 2830359"/>
                <a:gd name="connsiteX115" fmla="*/ 1138525 w 2374357"/>
                <a:gd name="connsiteY115" fmla="*/ 211667 h 2830359"/>
                <a:gd name="connsiteX116" fmla="*/ 1189325 w 2374357"/>
                <a:gd name="connsiteY116" fmla="*/ 228600 h 2830359"/>
                <a:gd name="connsiteX117" fmla="*/ 1248592 w 2374357"/>
                <a:gd name="connsiteY117" fmla="*/ 270933 h 2830359"/>
                <a:gd name="connsiteX118" fmla="*/ 1273992 w 2374357"/>
                <a:gd name="connsiteY118" fmla="*/ 279400 h 2830359"/>
                <a:gd name="connsiteX119" fmla="*/ 1299392 w 2374357"/>
                <a:gd name="connsiteY119" fmla="*/ 287867 h 2830359"/>
                <a:gd name="connsiteX120" fmla="*/ 1316325 w 2374357"/>
                <a:gd name="connsiteY120" fmla="*/ 313267 h 2830359"/>
                <a:gd name="connsiteX121" fmla="*/ 1282458 w 2374357"/>
                <a:gd name="connsiteY121" fmla="*/ 355600 h 2830359"/>
                <a:gd name="connsiteX122" fmla="*/ 1197792 w 2374357"/>
                <a:gd name="connsiteY122" fmla="*/ 381000 h 2830359"/>
                <a:gd name="connsiteX123" fmla="*/ 1206258 w 2374357"/>
                <a:gd name="connsiteY123" fmla="*/ 457200 h 2830359"/>
                <a:gd name="connsiteX124" fmla="*/ 1214725 w 2374357"/>
                <a:gd name="connsiteY124" fmla="*/ 482600 h 2830359"/>
                <a:gd name="connsiteX125" fmla="*/ 1206258 w 2374357"/>
                <a:gd name="connsiteY125" fmla="*/ 508000 h 2830359"/>
                <a:gd name="connsiteX126" fmla="*/ 1138525 w 2374357"/>
                <a:gd name="connsiteY126" fmla="*/ 533400 h 2830359"/>
                <a:gd name="connsiteX127" fmla="*/ 1121592 w 2374357"/>
                <a:gd name="connsiteY127" fmla="*/ 558800 h 2830359"/>
                <a:gd name="connsiteX128" fmla="*/ 1070792 w 2374357"/>
                <a:gd name="connsiteY128" fmla="*/ 601133 h 2830359"/>
                <a:gd name="connsiteX129" fmla="*/ 1079258 w 2374357"/>
                <a:gd name="connsiteY129" fmla="*/ 626533 h 2830359"/>
                <a:gd name="connsiteX130" fmla="*/ 1036925 w 2374357"/>
                <a:gd name="connsiteY130" fmla="*/ 660400 h 2830359"/>
                <a:gd name="connsiteX131" fmla="*/ 1011525 w 2374357"/>
                <a:gd name="connsiteY131" fmla="*/ 668867 h 2830359"/>
                <a:gd name="connsiteX132" fmla="*/ 1019992 w 2374357"/>
                <a:gd name="connsiteY132" fmla="*/ 702733 h 2830359"/>
                <a:gd name="connsiteX133" fmla="*/ 986125 w 2374357"/>
                <a:gd name="connsiteY133" fmla="*/ 711200 h 2830359"/>
                <a:gd name="connsiteX134" fmla="*/ 960725 w 2374357"/>
                <a:gd name="connsiteY134" fmla="*/ 719667 h 2830359"/>
                <a:gd name="connsiteX135" fmla="*/ 935325 w 2374357"/>
                <a:gd name="connsiteY135" fmla="*/ 770467 h 2830359"/>
                <a:gd name="connsiteX136" fmla="*/ 884525 w 2374357"/>
                <a:gd name="connsiteY136" fmla="*/ 787400 h 2830359"/>
                <a:gd name="connsiteX137" fmla="*/ 859125 w 2374357"/>
                <a:gd name="connsiteY137" fmla="*/ 872067 h 2830359"/>
                <a:gd name="connsiteX138" fmla="*/ 850658 w 2374357"/>
                <a:gd name="connsiteY138" fmla="*/ 897467 h 2830359"/>
                <a:gd name="connsiteX139" fmla="*/ 825258 w 2374357"/>
                <a:gd name="connsiteY139" fmla="*/ 905933 h 2830359"/>
                <a:gd name="connsiteX140" fmla="*/ 808325 w 2374357"/>
                <a:gd name="connsiteY140" fmla="*/ 922867 h 2830359"/>
                <a:gd name="connsiteX141" fmla="*/ 782925 w 2374357"/>
                <a:gd name="connsiteY141" fmla="*/ 939800 h 2830359"/>
                <a:gd name="connsiteX142" fmla="*/ 757525 w 2374357"/>
                <a:gd name="connsiteY142" fmla="*/ 990600 h 2830359"/>
                <a:gd name="connsiteX143" fmla="*/ 732125 w 2374357"/>
                <a:gd name="connsiteY143" fmla="*/ 1016000 h 2830359"/>
                <a:gd name="connsiteX144" fmla="*/ 681325 w 2374357"/>
                <a:gd name="connsiteY144" fmla="*/ 1032933 h 2830359"/>
                <a:gd name="connsiteX145" fmla="*/ 672858 w 2374357"/>
                <a:gd name="connsiteY145" fmla="*/ 1058333 h 2830359"/>
                <a:gd name="connsiteX146" fmla="*/ 613592 w 2374357"/>
                <a:gd name="connsiteY146" fmla="*/ 1066800 h 2830359"/>
                <a:gd name="connsiteX147" fmla="*/ 588192 w 2374357"/>
                <a:gd name="connsiteY147" fmla="*/ 1075267 h 2830359"/>
                <a:gd name="connsiteX148" fmla="*/ 545858 w 2374357"/>
                <a:gd name="connsiteY148" fmla="*/ 1066800 h 2830359"/>
                <a:gd name="connsiteX149" fmla="*/ 537392 w 2374357"/>
                <a:gd name="connsiteY149" fmla="*/ 1032933 h 2830359"/>
                <a:gd name="connsiteX150" fmla="*/ 495058 w 2374357"/>
                <a:gd name="connsiteY150" fmla="*/ 1024467 h 2830359"/>
                <a:gd name="connsiteX151" fmla="*/ 435792 w 2374357"/>
                <a:gd name="connsiteY151" fmla="*/ 1007533 h 2830359"/>
                <a:gd name="connsiteX152" fmla="*/ 401925 w 2374357"/>
                <a:gd name="connsiteY152" fmla="*/ 1075267 h 2830359"/>
                <a:gd name="connsiteX153" fmla="*/ 368058 w 2374357"/>
                <a:gd name="connsiteY153" fmla="*/ 1083733 h 2830359"/>
                <a:gd name="connsiteX154" fmla="*/ 351125 w 2374357"/>
                <a:gd name="connsiteY154" fmla="*/ 1100667 h 2830359"/>
                <a:gd name="connsiteX155" fmla="*/ 342658 w 2374357"/>
                <a:gd name="connsiteY155" fmla="*/ 1126067 h 2830359"/>
                <a:gd name="connsiteX156" fmla="*/ 317258 w 2374357"/>
                <a:gd name="connsiteY156" fmla="*/ 1134533 h 2830359"/>
                <a:gd name="connsiteX157" fmla="*/ 308792 w 2374357"/>
                <a:gd name="connsiteY157" fmla="*/ 1159933 h 2830359"/>
                <a:gd name="connsiteX158" fmla="*/ 266458 w 2374357"/>
                <a:gd name="connsiteY158" fmla="*/ 1168400 h 2830359"/>
                <a:gd name="connsiteX159" fmla="*/ 283392 w 2374357"/>
                <a:gd name="connsiteY159" fmla="*/ 1261533 h 2830359"/>
                <a:gd name="connsiteX160" fmla="*/ 300325 w 2374357"/>
                <a:gd name="connsiteY160" fmla="*/ 1278467 h 2830359"/>
                <a:gd name="connsiteX161" fmla="*/ 334192 w 2374357"/>
                <a:gd name="connsiteY161" fmla="*/ 1397000 h 2830359"/>
                <a:gd name="connsiteX162" fmla="*/ 359592 w 2374357"/>
                <a:gd name="connsiteY162" fmla="*/ 1473200 h 2830359"/>
                <a:gd name="connsiteX163" fmla="*/ 384992 w 2374357"/>
                <a:gd name="connsiteY163" fmla="*/ 1490133 h 2830359"/>
                <a:gd name="connsiteX164" fmla="*/ 393458 w 2374357"/>
                <a:gd name="connsiteY164" fmla="*/ 1515533 h 2830359"/>
                <a:gd name="connsiteX165" fmla="*/ 401925 w 2374357"/>
                <a:gd name="connsiteY165" fmla="*/ 1574800 h 2830359"/>
                <a:gd name="connsiteX166" fmla="*/ 427325 w 2374357"/>
                <a:gd name="connsiteY166" fmla="*/ 1583267 h 2830359"/>
                <a:gd name="connsiteX167" fmla="*/ 427325 w 2374357"/>
                <a:gd name="connsiteY167" fmla="*/ 1634067 h 2830359"/>
                <a:gd name="connsiteX168" fmla="*/ 435792 w 2374357"/>
                <a:gd name="connsiteY168" fmla="*/ 1676400 h 2830359"/>
                <a:gd name="connsiteX169" fmla="*/ 427325 w 2374357"/>
                <a:gd name="connsiteY169" fmla="*/ 1727200 h 2830359"/>
                <a:gd name="connsiteX170" fmla="*/ 401925 w 2374357"/>
                <a:gd name="connsiteY170" fmla="*/ 1735667 h 2830359"/>
                <a:gd name="connsiteX171" fmla="*/ 317258 w 2374357"/>
                <a:gd name="connsiteY171" fmla="*/ 1744133 h 2830359"/>
                <a:gd name="connsiteX172" fmla="*/ 291858 w 2374357"/>
                <a:gd name="connsiteY172" fmla="*/ 1752600 h 2830359"/>
                <a:gd name="connsiteX173" fmla="*/ 241058 w 2374357"/>
                <a:gd name="connsiteY173" fmla="*/ 1710267 h 2830359"/>
                <a:gd name="connsiteX174" fmla="*/ 224125 w 2374357"/>
                <a:gd name="connsiteY174" fmla="*/ 1693333 h 2830359"/>
                <a:gd name="connsiteX175" fmla="*/ 147925 w 2374357"/>
                <a:gd name="connsiteY175" fmla="*/ 1693333 h 2830359"/>
                <a:gd name="connsiteX176" fmla="*/ 54792 w 2374357"/>
                <a:gd name="connsiteY176" fmla="*/ 1701800 h 2830359"/>
                <a:gd name="connsiteX177" fmla="*/ 46325 w 2374357"/>
                <a:gd name="connsiteY177" fmla="*/ 1761067 h 2830359"/>
                <a:gd name="connsiteX178" fmla="*/ 12458 w 2374357"/>
                <a:gd name="connsiteY178" fmla="*/ 1769533 h 2830359"/>
                <a:gd name="connsiteX179" fmla="*/ 54792 w 2374357"/>
                <a:gd name="connsiteY179" fmla="*/ 1862667 h 2830359"/>
                <a:gd name="connsiteX180" fmla="*/ 88658 w 2374357"/>
                <a:gd name="connsiteY180" fmla="*/ 1913467 h 2830359"/>
                <a:gd name="connsiteX181" fmla="*/ 97125 w 2374357"/>
                <a:gd name="connsiteY181" fmla="*/ 1938867 h 2830359"/>
                <a:gd name="connsiteX182" fmla="*/ 122525 w 2374357"/>
                <a:gd name="connsiteY182" fmla="*/ 1947333 h 2830359"/>
                <a:gd name="connsiteX183" fmla="*/ 249525 w 2374357"/>
                <a:gd name="connsiteY183" fmla="*/ 1955800 h 2830359"/>
                <a:gd name="connsiteX184" fmla="*/ 291858 w 2374357"/>
                <a:gd name="connsiteY184" fmla="*/ 1947333 h 2830359"/>
                <a:gd name="connsiteX185" fmla="*/ 291858 w 2374357"/>
                <a:gd name="connsiteY185" fmla="*/ 1998133 h 2830359"/>
                <a:gd name="connsiteX186" fmla="*/ 283392 w 2374357"/>
                <a:gd name="connsiteY186" fmla="*/ 2048933 h 2830359"/>
                <a:gd name="connsiteX187" fmla="*/ 114058 w 2374357"/>
                <a:gd name="connsiteY187" fmla="*/ 2032000 h 2830359"/>
                <a:gd name="connsiteX188" fmla="*/ 130992 w 2374357"/>
                <a:gd name="connsiteY188" fmla="*/ 2015067 h 2830359"/>
                <a:gd name="connsiteX189" fmla="*/ 88658 w 2374357"/>
                <a:gd name="connsiteY189" fmla="*/ 2023533 h 2830359"/>
                <a:gd name="connsiteX190" fmla="*/ 105592 w 2374357"/>
                <a:gd name="connsiteY190" fmla="*/ 2040467 h 2830359"/>
                <a:gd name="connsiteX191" fmla="*/ 97125 w 2374357"/>
                <a:gd name="connsiteY191" fmla="*/ 2065867 h 2830359"/>
                <a:gd name="connsiteX192" fmla="*/ 80192 w 2374357"/>
                <a:gd name="connsiteY192" fmla="*/ 2133600 h 2830359"/>
                <a:gd name="connsiteX193" fmla="*/ 97125 w 2374357"/>
                <a:gd name="connsiteY193" fmla="*/ 2159000 h 2830359"/>
                <a:gd name="connsiteX194" fmla="*/ 147925 w 2374357"/>
                <a:gd name="connsiteY194" fmla="*/ 2175933 h 2830359"/>
                <a:gd name="connsiteX195" fmla="*/ 164858 w 2374357"/>
                <a:gd name="connsiteY195" fmla="*/ 2243667 h 2830359"/>
                <a:gd name="connsiteX196" fmla="*/ 198725 w 2374357"/>
                <a:gd name="connsiteY196" fmla="*/ 2294467 h 2830359"/>
                <a:gd name="connsiteX197" fmla="*/ 224125 w 2374357"/>
                <a:gd name="connsiteY197" fmla="*/ 2345267 h 2830359"/>
                <a:gd name="connsiteX198" fmla="*/ 283392 w 2374357"/>
                <a:gd name="connsiteY198" fmla="*/ 2370667 h 2830359"/>
                <a:gd name="connsiteX199" fmla="*/ 291858 w 2374357"/>
                <a:gd name="connsiteY199" fmla="*/ 2396067 h 2830359"/>
                <a:gd name="connsiteX200" fmla="*/ 317258 w 2374357"/>
                <a:gd name="connsiteY200" fmla="*/ 2404533 h 2830359"/>
                <a:gd name="connsiteX201" fmla="*/ 376525 w 2374357"/>
                <a:gd name="connsiteY201" fmla="*/ 2421467 h 2830359"/>
                <a:gd name="connsiteX202" fmla="*/ 334192 w 2374357"/>
                <a:gd name="connsiteY202" fmla="*/ 2429933 h 2830359"/>
                <a:gd name="connsiteX203" fmla="*/ 401925 w 2374357"/>
                <a:gd name="connsiteY203" fmla="*/ 2421467 h 2830359"/>
                <a:gd name="connsiteX204" fmla="*/ 393458 w 2374357"/>
                <a:gd name="connsiteY204" fmla="*/ 2396067 h 2830359"/>
                <a:gd name="connsiteX205" fmla="*/ 384992 w 2374357"/>
                <a:gd name="connsiteY205" fmla="*/ 2362200 h 2830359"/>
                <a:gd name="connsiteX206" fmla="*/ 537392 w 2374357"/>
                <a:gd name="connsiteY206" fmla="*/ 2353733 h 2830359"/>
                <a:gd name="connsiteX207" fmla="*/ 562792 w 2374357"/>
                <a:gd name="connsiteY207" fmla="*/ 2345267 h 2830359"/>
                <a:gd name="connsiteX208" fmla="*/ 579725 w 2374357"/>
                <a:gd name="connsiteY208" fmla="*/ 2328333 h 2830359"/>
                <a:gd name="connsiteX209" fmla="*/ 588192 w 2374357"/>
                <a:gd name="connsiteY209" fmla="*/ 2302933 h 2830359"/>
                <a:gd name="connsiteX210" fmla="*/ 571258 w 2374357"/>
                <a:gd name="connsiteY210" fmla="*/ 2235200 h 2830359"/>
                <a:gd name="connsiteX211" fmla="*/ 605125 w 2374357"/>
                <a:gd name="connsiteY211" fmla="*/ 2159000 h 2830359"/>
                <a:gd name="connsiteX212" fmla="*/ 630525 w 2374357"/>
                <a:gd name="connsiteY212" fmla="*/ 2142067 h 2830359"/>
                <a:gd name="connsiteX213" fmla="*/ 655925 w 2374357"/>
                <a:gd name="connsiteY213" fmla="*/ 2150533 h 2830359"/>
                <a:gd name="connsiteX214" fmla="*/ 664392 w 2374357"/>
                <a:gd name="connsiteY214" fmla="*/ 2209800 h 2830359"/>
                <a:gd name="connsiteX215" fmla="*/ 672858 w 2374357"/>
                <a:gd name="connsiteY215" fmla="*/ 2235200 h 2830359"/>
                <a:gd name="connsiteX216" fmla="*/ 681325 w 2374357"/>
                <a:gd name="connsiteY216" fmla="*/ 2269067 h 2830359"/>
                <a:gd name="connsiteX217" fmla="*/ 664392 w 2374357"/>
                <a:gd name="connsiteY217" fmla="*/ 2370667 h 2830359"/>
                <a:gd name="connsiteX218" fmla="*/ 647458 w 2374357"/>
                <a:gd name="connsiteY218" fmla="*/ 2387600 h 2830359"/>
                <a:gd name="connsiteX219" fmla="*/ 630525 w 2374357"/>
                <a:gd name="connsiteY219" fmla="*/ 2455333 h 2830359"/>
                <a:gd name="connsiteX220" fmla="*/ 622058 w 2374357"/>
                <a:gd name="connsiteY220" fmla="*/ 2480733 h 2830359"/>
                <a:gd name="connsiteX221" fmla="*/ 613592 w 2374357"/>
                <a:gd name="connsiteY221" fmla="*/ 2514600 h 2830359"/>
                <a:gd name="connsiteX222" fmla="*/ 596658 w 2374357"/>
                <a:gd name="connsiteY222" fmla="*/ 2531533 h 2830359"/>
                <a:gd name="connsiteX223" fmla="*/ 579725 w 2374357"/>
                <a:gd name="connsiteY223" fmla="*/ 2582333 h 2830359"/>
                <a:gd name="connsiteX224" fmla="*/ 596658 w 2374357"/>
                <a:gd name="connsiteY224" fmla="*/ 2709333 h 2830359"/>
                <a:gd name="connsiteX225" fmla="*/ 605125 w 2374357"/>
                <a:gd name="connsiteY225" fmla="*/ 2819400 h 2830359"/>
                <a:gd name="connsiteX226" fmla="*/ 638992 w 2374357"/>
                <a:gd name="connsiteY226" fmla="*/ 2827867 h 2830359"/>
                <a:gd name="connsiteX227" fmla="*/ 638992 w 2374357"/>
                <a:gd name="connsiteY227" fmla="*/ 2819400 h 2830359"/>
                <a:gd name="connsiteX0" fmla="*/ 638992 w 2374357"/>
                <a:gd name="connsiteY0" fmla="*/ 2819400 h 2830359"/>
                <a:gd name="connsiteX1" fmla="*/ 655925 w 2374357"/>
                <a:gd name="connsiteY1" fmla="*/ 2760133 h 2830359"/>
                <a:gd name="connsiteX2" fmla="*/ 664392 w 2374357"/>
                <a:gd name="connsiteY2" fmla="*/ 2734733 h 2830359"/>
                <a:gd name="connsiteX3" fmla="*/ 681325 w 2374357"/>
                <a:gd name="connsiteY3" fmla="*/ 2709333 h 2830359"/>
                <a:gd name="connsiteX4" fmla="*/ 723658 w 2374357"/>
                <a:gd name="connsiteY4" fmla="*/ 2658533 h 2830359"/>
                <a:gd name="connsiteX5" fmla="*/ 732125 w 2374357"/>
                <a:gd name="connsiteY5" fmla="*/ 2633133 h 2830359"/>
                <a:gd name="connsiteX6" fmla="*/ 757525 w 2374357"/>
                <a:gd name="connsiteY6" fmla="*/ 2607733 h 2830359"/>
                <a:gd name="connsiteX7" fmla="*/ 740592 w 2374357"/>
                <a:gd name="connsiteY7" fmla="*/ 2480733 h 2830359"/>
                <a:gd name="connsiteX8" fmla="*/ 749058 w 2374357"/>
                <a:gd name="connsiteY8" fmla="*/ 2429933 h 2830359"/>
                <a:gd name="connsiteX9" fmla="*/ 791392 w 2374357"/>
                <a:gd name="connsiteY9" fmla="*/ 2404533 h 2830359"/>
                <a:gd name="connsiteX10" fmla="*/ 816792 w 2374357"/>
                <a:gd name="connsiteY10" fmla="*/ 2387600 h 2830359"/>
                <a:gd name="connsiteX11" fmla="*/ 825258 w 2374357"/>
                <a:gd name="connsiteY11" fmla="*/ 2336800 h 2830359"/>
                <a:gd name="connsiteX12" fmla="*/ 850658 w 2374357"/>
                <a:gd name="connsiteY12" fmla="*/ 2328333 h 2830359"/>
                <a:gd name="connsiteX13" fmla="*/ 918392 w 2374357"/>
                <a:gd name="connsiteY13" fmla="*/ 2319867 h 2830359"/>
                <a:gd name="connsiteX14" fmla="*/ 909925 w 2374357"/>
                <a:gd name="connsiteY14" fmla="*/ 2294467 h 2830359"/>
                <a:gd name="connsiteX15" fmla="*/ 859125 w 2374357"/>
                <a:gd name="connsiteY15" fmla="*/ 2286000 h 2830359"/>
                <a:gd name="connsiteX16" fmla="*/ 833725 w 2374357"/>
                <a:gd name="connsiteY16" fmla="*/ 2277533 h 2830359"/>
                <a:gd name="connsiteX17" fmla="*/ 850658 w 2374357"/>
                <a:gd name="connsiteY17" fmla="*/ 2252133 h 2830359"/>
                <a:gd name="connsiteX18" fmla="*/ 859125 w 2374357"/>
                <a:gd name="connsiteY18" fmla="*/ 2218267 h 2830359"/>
                <a:gd name="connsiteX19" fmla="*/ 884525 w 2374357"/>
                <a:gd name="connsiteY19" fmla="*/ 2209800 h 2830359"/>
                <a:gd name="connsiteX20" fmla="*/ 909925 w 2374357"/>
                <a:gd name="connsiteY20" fmla="*/ 2192867 h 2830359"/>
                <a:gd name="connsiteX21" fmla="*/ 926858 w 2374357"/>
                <a:gd name="connsiteY21" fmla="*/ 2142067 h 2830359"/>
                <a:gd name="connsiteX22" fmla="*/ 935325 w 2374357"/>
                <a:gd name="connsiteY22" fmla="*/ 2057400 h 2830359"/>
                <a:gd name="connsiteX23" fmla="*/ 952258 w 2374357"/>
                <a:gd name="connsiteY23" fmla="*/ 2032000 h 2830359"/>
                <a:gd name="connsiteX24" fmla="*/ 1011525 w 2374357"/>
                <a:gd name="connsiteY24" fmla="*/ 2023533 h 2830359"/>
                <a:gd name="connsiteX25" fmla="*/ 1019992 w 2374357"/>
                <a:gd name="connsiteY25" fmla="*/ 1998133 h 2830359"/>
                <a:gd name="connsiteX26" fmla="*/ 1070792 w 2374357"/>
                <a:gd name="connsiteY26" fmla="*/ 1930400 h 2830359"/>
                <a:gd name="connsiteX27" fmla="*/ 1079258 w 2374357"/>
                <a:gd name="connsiteY27" fmla="*/ 1896533 h 2830359"/>
                <a:gd name="connsiteX28" fmla="*/ 1087725 w 2374357"/>
                <a:gd name="connsiteY28" fmla="*/ 1871133 h 2830359"/>
                <a:gd name="connsiteX29" fmla="*/ 1096192 w 2374357"/>
                <a:gd name="connsiteY29" fmla="*/ 1828800 h 2830359"/>
                <a:gd name="connsiteX30" fmla="*/ 1079258 w 2374357"/>
                <a:gd name="connsiteY30" fmla="*/ 1769533 h 2830359"/>
                <a:gd name="connsiteX31" fmla="*/ 1062325 w 2374357"/>
                <a:gd name="connsiteY31" fmla="*/ 1744133 h 2830359"/>
                <a:gd name="connsiteX32" fmla="*/ 1070792 w 2374357"/>
                <a:gd name="connsiteY32" fmla="*/ 1693333 h 2830359"/>
                <a:gd name="connsiteX33" fmla="*/ 1130058 w 2374357"/>
                <a:gd name="connsiteY33" fmla="*/ 1701800 h 2830359"/>
                <a:gd name="connsiteX34" fmla="*/ 1206258 w 2374357"/>
                <a:gd name="connsiteY34" fmla="*/ 1718733 h 2830359"/>
                <a:gd name="connsiteX35" fmla="*/ 1282458 w 2374357"/>
                <a:gd name="connsiteY35" fmla="*/ 1854200 h 2830359"/>
                <a:gd name="connsiteX36" fmla="*/ 1307858 w 2374357"/>
                <a:gd name="connsiteY36" fmla="*/ 1837267 h 2830359"/>
                <a:gd name="connsiteX37" fmla="*/ 1350192 w 2374357"/>
                <a:gd name="connsiteY37" fmla="*/ 1871133 h 2830359"/>
                <a:gd name="connsiteX38" fmla="*/ 1375592 w 2374357"/>
                <a:gd name="connsiteY38" fmla="*/ 1862667 h 2830359"/>
                <a:gd name="connsiteX39" fmla="*/ 1417925 w 2374357"/>
                <a:gd name="connsiteY39" fmla="*/ 1871133 h 2830359"/>
                <a:gd name="connsiteX40" fmla="*/ 1434858 w 2374357"/>
                <a:gd name="connsiteY40" fmla="*/ 1845733 h 2830359"/>
                <a:gd name="connsiteX41" fmla="*/ 1451792 w 2374357"/>
                <a:gd name="connsiteY41" fmla="*/ 1786467 h 2830359"/>
                <a:gd name="connsiteX42" fmla="*/ 1477192 w 2374357"/>
                <a:gd name="connsiteY42" fmla="*/ 1778000 h 2830359"/>
                <a:gd name="connsiteX43" fmla="*/ 1494125 w 2374357"/>
                <a:gd name="connsiteY43" fmla="*/ 1752600 h 2830359"/>
                <a:gd name="connsiteX44" fmla="*/ 1502592 w 2374357"/>
                <a:gd name="connsiteY44" fmla="*/ 1693333 h 2830359"/>
                <a:gd name="connsiteX45" fmla="*/ 1527992 w 2374357"/>
                <a:gd name="connsiteY45" fmla="*/ 1676400 h 2830359"/>
                <a:gd name="connsiteX46" fmla="*/ 1485658 w 2374357"/>
                <a:gd name="connsiteY46" fmla="*/ 1625600 h 2830359"/>
                <a:gd name="connsiteX47" fmla="*/ 1443325 w 2374357"/>
                <a:gd name="connsiteY47" fmla="*/ 1617133 h 2830359"/>
                <a:gd name="connsiteX48" fmla="*/ 1434858 w 2374357"/>
                <a:gd name="connsiteY48" fmla="*/ 1591733 h 2830359"/>
                <a:gd name="connsiteX49" fmla="*/ 1400992 w 2374357"/>
                <a:gd name="connsiteY49" fmla="*/ 1540933 h 2830359"/>
                <a:gd name="connsiteX50" fmla="*/ 1409458 w 2374357"/>
                <a:gd name="connsiteY50" fmla="*/ 1515533 h 2830359"/>
                <a:gd name="connsiteX51" fmla="*/ 1434858 w 2374357"/>
                <a:gd name="connsiteY51" fmla="*/ 1507067 h 2830359"/>
                <a:gd name="connsiteX52" fmla="*/ 1494125 w 2374357"/>
                <a:gd name="connsiteY52" fmla="*/ 1498600 h 2830359"/>
                <a:gd name="connsiteX53" fmla="*/ 1519525 w 2374357"/>
                <a:gd name="connsiteY53" fmla="*/ 1481667 h 2830359"/>
                <a:gd name="connsiteX54" fmla="*/ 1570325 w 2374357"/>
                <a:gd name="connsiteY54" fmla="*/ 1464733 h 2830359"/>
                <a:gd name="connsiteX55" fmla="*/ 1646525 w 2374357"/>
                <a:gd name="connsiteY55" fmla="*/ 1405467 h 2830359"/>
                <a:gd name="connsiteX56" fmla="*/ 1807392 w 2374357"/>
                <a:gd name="connsiteY56" fmla="*/ 1380067 h 2830359"/>
                <a:gd name="connsiteX57" fmla="*/ 1866658 w 2374357"/>
                <a:gd name="connsiteY57" fmla="*/ 1312333 h 2830359"/>
                <a:gd name="connsiteX58" fmla="*/ 1883592 w 2374357"/>
                <a:gd name="connsiteY58" fmla="*/ 1261533 h 2830359"/>
                <a:gd name="connsiteX59" fmla="*/ 1976725 w 2374357"/>
                <a:gd name="connsiteY59" fmla="*/ 1244600 h 2830359"/>
                <a:gd name="connsiteX60" fmla="*/ 2019058 w 2374357"/>
                <a:gd name="connsiteY60" fmla="*/ 1210733 h 2830359"/>
                <a:gd name="connsiteX61" fmla="*/ 2035992 w 2374357"/>
                <a:gd name="connsiteY61" fmla="*/ 1193800 h 2830359"/>
                <a:gd name="connsiteX62" fmla="*/ 2196858 w 2374357"/>
                <a:gd name="connsiteY62" fmla="*/ 1176867 h 2830359"/>
                <a:gd name="connsiteX63" fmla="*/ 2120658 w 2374357"/>
                <a:gd name="connsiteY63" fmla="*/ 1176867 h 2830359"/>
                <a:gd name="connsiteX64" fmla="*/ 2027525 w 2374357"/>
                <a:gd name="connsiteY64" fmla="*/ 1168400 h 2830359"/>
                <a:gd name="connsiteX65" fmla="*/ 2019058 w 2374357"/>
                <a:gd name="connsiteY65" fmla="*/ 1134533 h 2830359"/>
                <a:gd name="connsiteX66" fmla="*/ 2002125 w 2374357"/>
                <a:gd name="connsiteY66" fmla="*/ 1083733 h 2830359"/>
                <a:gd name="connsiteX67" fmla="*/ 2010592 w 2374357"/>
                <a:gd name="connsiteY67" fmla="*/ 1058333 h 2830359"/>
                <a:gd name="connsiteX68" fmla="*/ 2035992 w 2374357"/>
                <a:gd name="connsiteY68" fmla="*/ 1041400 h 2830359"/>
                <a:gd name="connsiteX69" fmla="*/ 2052925 w 2374357"/>
                <a:gd name="connsiteY69" fmla="*/ 1016000 h 2830359"/>
                <a:gd name="connsiteX70" fmla="*/ 2044458 w 2374357"/>
                <a:gd name="connsiteY70" fmla="*/ 982133 h 2830359"/>
                <a:gd name="connsiteX71" fmla="*/ 2044458 w 2374357"/>
                <a:gd name="connsiteY71" fmla="*/ 914400 h 2830359"/>
                <a:gd name="connsiteX72" fmla="*/ 2069858 w 2374357"/>
                <a:gd name="connsiteY72" fmla="*/ 905933 h 2830359"/>
                <a:gd name="connsiteX73" fmla="*/ 2086792 w 2374357"/>
                <a:gd name="connsiteY73" fmla="*/ 889000 h 2830359"/>
                <a:gd name="connsiteX74" fmla="*/ 2103725 w 2374357"/>
                <a:gd name="connsiteY74" fmla="*/ 804333 h 2830359"/>
                <a:gd name="connsiteX75" fmla="*/ 2129125 w 2374357"/>
                <a:gd name="connsiteY75" fmla="*/ 787400 h 2830359"/>
                <a:gd name="connsiteX76" fmla="*/ 2146058 w 2374357"/>
                <a:gd name="connsiteY76" fmla="*/ 762000 h 2830359"/>
                <a:gd name="connsiteX77" fmla="*/ 2162992 w 2374357"/>
                <a:gd name="connsiteY77" fmla="*/ 745067 h 2830359"/>
                <a:gd name="connsiteX78" fmla="*/ 2171458 w 2374357"/>
                <a:gd name="connsiteY78" fmla="*/ 719667 h 2830359"/>
                <a:gd name="connsiteX79" fmla="*/ 2162992 w 2374357"/>
                <a:gd name="connsiteY79" fmla="*/ 694267 h 2830359"/>
                <a:gd name="connsiteX80" fmla="*/ 2120658 w 2374357"/>
                <a:gd name="connsiteY80" fmla="*/ 651933 h 2830359"/>
                <a:gd name="connsiteX81" fmla="*/ 2086792 w 2374357"/>
                <a:gd name="connsiteY81" fmla="*/ 601133 h 2830359"/>
                <a:gd name="connsiteX82" fmla="*/ 1968258 w 2374357"/>
                <a:gd name="connsiteY82" fmla="*/ 592667 h 2830359"/>
                <a:gd name="connsiteX83" fmla="*/ 1959792 w 2374357"/>
                <a:gd name="connsiteY83" fmla="*/ 567267 h 2830359"/>
                <a:gd name="connsiteX84" fmla="*/ 1900525 w 2374357"/>
                <a:gd name="connsiteY84" fmla="*/ 541867 h 2830359"/>
                <a:gd name="connsiteX85" fmla="*/ 1824325 w 2374357"/>
                <a:gd name="connsiteY85" fmla="*/ 533400 h 2830359"/>
                <a:gd name="connsiteX86" fmla="*/ 1773525 w 2374357"/>
                <a:gd name="connsiteY86" fmla="*/ 541867 h 2830359"/>
                <a:gd name="connsiteX87" fmla="*/ 1739658 w 2374357"/>
                <a:gd name="connsiteY87" fmla="*/ 550333 h 2830359"/>
                <a:gd name="connsiteX88" fmla="*/ 1731192 w 2374357"/>
                <a:gd name="connsiteY88" fmla="*/ 575733 h 2830359"/>
                <a:gd name="connsiteX89" fmla="*/ 1688858 w 2374357"/>
                <a:gd name="connsiteY89" fmla="*/ 601133 h 2830359"/>
                <a:gd name="connsiteX90" fmla="*/ 1638058 w 2374357"/>
                <a:gd name="connsiteY90" fmla="*/ 592667 h 2830359"/>
                <a:gd name="connsiteX91" fmla="*/ 1612658 w 2374357"/>
                <a:gd name="connsiteY91" fmla="*/ 584200 h 2830359"/>
                <a:gd name="connsiteX92" fmla="*/ 1578792 w 2374357"/>
                <a:gd name="connsiteY92" fmla="*/ 575733 h 2830359"/>
                <a:gd name="connsiteX93" fmla="*/ 1527992 w 2374357"/>
                <a:gd name="connsiteY93" fmla="*/ 558800 h 2830359"/>
                <a:gd name="connsiteX94" fmla="*/ 1511058 w 2374357"/>
                <a:gd name="connsiteY94" fmla="*/ 508000 h 2830359"/>
                <a:gd name="connsiteX95" fmla="*/ 1485658 w 2374357"/>
                <a:gd name="connsiteY95" fmla="*/ 457200 h 2830359"/>
                <a:gd name="connsiteX96" fmla="*/ 1434858 w 2374357"/>
                <a:gd name="connsiteY96" fmla="*/ 448733 h 2830359"/>
                <a:gd name="connsiteX97" fmla="*/ 1426392 w 2374357"/>
                <a:gd name="connsiteY97" fmla="*/ 423333 h 2830359"/>
                <a:gd name="connsiteX98" fmla="*/ 1417925 w 2374357"/>
                <a:gd name="connsiteY98" fmla="*/ 389467 h 2830359"/>
                <a:gd name="connsiteX99" fmla="*/ 1400992 w 2374357"/>
                <a:gd name="connsiteY99" fmla="*/ 338667 h 2830359"/>
                <a:gd name="connsiteX100" fmla="*/ 1417925 w 2374357"/>
                <a:gd name="connsiteY100" fmla="*/ 287867 h 2830359"/>
                <a:gd name="connsiteX101" fmla="*/ 1426392 w 2374357"/>
                <a:gd name="connsiteY101" fmla="*/ 262467 h 2830359"/>
                <a:gd name="connsiteX102" fmla="*/ 1443325 w 2374357"/>
                <a:gd name="connsiteY102" fmla="*/ 203200 h 2830359"/>
                <a:gd name="connsiteX103" fmla="*/ 1434858 w 2374357"/>
                <a:gd name="connsiteY103" fmla="*/ 160867 h 2830359"/>
                <a:gd name="connsiteX104" fmla="*/ 1417925 w 2374357"/>
                <a:gd name="connsiteY104" fmla="*/ 135467 h 2830359"/>
                <a:gd name="connsiteX105" fmla="*/ 1400992 w 2374357"/>
                <a:gd name="connsiteY105" fmla="*/ 84667 h 2830359"/>
                <a:gd name="connsiteX106" fmla="*/ 1375592 w 2374357"/>
                <a:gd name="connsiteY106" fmla="*/ 76200 h 2830359"/>
                <a:gd name="connsiteX107" fmla="*/ 1324792 w 2374357"/>
                <a:gd name="connsiteY107" fmla="*/ 67733 h 2830359"/>
                <a:gd name="connsiteX108" fmla="*/ 1214725 w 2374357"/>
                <a:gd name="connsiteY108" fmla="*/ 42333 h 2830359"/>
                <a:gd name="connsiteX109" fmla="*/ 1172392 w 2374357"/>
                <a:gd name="connsiteY109" fmla="*/ 16933 h 2830359"/>
                <a:gd name="connsiteX110" fmla="*/ 1070792 w 2374357"/>
                <a:gd name="connsiteY110" fmla="*/ 0 h 2830359"/>
                <a:gd name="connsiteX111" fmla="*/ 1070792 w 2374357"/>
                <a:gd name="connsiteY111" fmla="*/ 135467 h 2830359"/>
                <a:gd name="connsiteX112" fmla="*/ 1079258 w 2374357"/>
                <a:gd name="connsiteY112" fmla="*/ 160867 h 2830359"/>
                <a:gd name="connsiteX113" fmla="*/ 1113125 w 2374357"/>
                <a:gd name="connsiteY113" fmla="*/ 169333 h 2830359"/>
                <a:gd name="connsiteX114" fmla="*/ 1130058 w 2374357"/>
                <a:gd name="connsiteY114" fmla="*/ 186267 h 2830359"/>
                <a:gd name="connsiteX115" fmla="*/ 1138525 w 2374357"/>
                <a:gd name="connsiteY115" fmla="*/ 211667 h 2830359"/>
                <a:gd name="connsiteX116" fmla="*/ 1189325 w 2374357"/>
                <a:gd name="connsiteY116" fmla="*/ 228600 h 2830359"/>
                <a:gd name="connsiteX117" fmla="*/ 1248592 w 2374357"/>
                <a:gd name="connsiteY117" fmla="*/ 270933 h 2830359"/>
                <a:gd name="connsiteX118" fmla="*/ 1273992 w 2374357"/>
                <a:gd name="connsiteY118" fmla="*/ 279400 h 2830359"/>
                <a:gd name="connsiteX119" fmla="*/ 1299392 w 2374357"/>
                <a:gd name="connsiteY119" fmla="*/ 287867 h 2830359"/>
                <a:gd name="connsiteX120" fmla="*/ 1316325 w 2374357"/>
                <a:gd name="connsiteY120" fmla="*/ 313267 h 2830359"/>
                <a:gd name="connsiteX121" fmla="*/ 1282458 w 2374357"/>
                <a:gd name="connsiteY121" fmla="*/ 355600 h 2830359"/>
                <a:gd name="connsiteX122" fmla="*/ 1197792 w 2374357"/>
                <a:gd name="connsiteY122" fmla="*/ 381000 h 2830359"/>
                <a:gd name="connsiteX123" fmla="*/ 1206258 w 2374357"/>
                <a:gd name="connsiteY123" fmla="*/ 457200 h 2830359"/>
                <a:gd name="connsiteX124" fmla="*/ 1214725 w 2374357"/>
                <a:gd name="connsiteY124" fmla="*/ 482600 h 2830359"/>
                <a:gd name="connsiteX125" fmla="*/ 1206258 w 2374357"/>
                <a:gd name="connsiteY125" fmla="*/ 508000 h 2830359"/>
                <a:gd name="connsiteX126" fmla="*/ 1138525 w 2374357"/>
                <a:gd name="connsiteY126" fmla="*/ 533400 h 2830359"/>
                <a:gd name="connsiteX127" fmla="*/ 1121592 w 2374357"/>
                <a:gd name="connsiteY127" fmla="*/ 558800 h 2830359"/>
                <a:gd name="connsiteX128" fmla="*/ 1070792 w 2374357"/>
                <a:gd name="connsiteY128" fmla="*/ 601133 h 2830359"/>
                <a:gd name="connsiteX129" fmla="*/ 1079258 w 2374357"/>
                <a:gd name="connsiteY129" fmla="*/ 626533 h 2830359"/>
                <a:gd name="connsiteX130" fmla="*/ 1036925 w 2374357"/>
                <a:gd name="connsiteY130" fmla="*/ 660400 h 2830359"/>
                <a:gd name="connsiteX131" fmla="*/ 1011525 w 2374357"/>
                <a:gd name="connsiteY131" fmla="*/ 668867 h 2830359"/>
                <a:gd name="connsiteX132" fmla="*/ 1019992 w 2374357"/>
                <a:gd name="connsiteY132" fmla="*/ 702733 h 2830359"/>
                <a:gd name="connsiteX133" fmla="*/ 986125 w 2374357"/>
                <a:gd name="connsiteY133" fmla="*/ 711200 h 2830359"/>
                <a:gd name="connsiteX134" fmla="*/ 960725 w 2374357"/>
                <a:gd name="connsiteY134" fmla="*/ 719667 h 2830359"/>
                <a:gd name="connsiteX135" fmla="*/ 935325 w 2374357"/>
                <a:gd name="connsiteY135" fmla="*/ 770467 h 2830359"/>
                <a:gd name="connsiteX136" fmla="*/ 884525 w 2374357"/>
                <a:gd name="connsiteY136" fmla="*/ 787400 h 2830359"/>
                <a:gd name="connsiteX137" fmla="*/ 859125 w 2374357"/>
                <a:gd name="connsiteY137" fmla="*/ 872067 h 2830359"/>
                <a:gd name="connsiteX138" fmla="*/ 850658 w 2374357"/>
                <a:gd name="connsiteY138" fmla="*/ 897467 h 2830359"/>
                <a:gd name="connsiteX139" fmla="*/ 825258 w 2374357"/>
                <a:gd name="connsiteY139" fmla="*/ 905933 h 2830359"/>
                <a:gd name="connsiteX140" fmla="*/ 808325 w 2374357"/>
                <a:gd name="connsiteY140" fmla="*/ 922867 h 2830359"/>
                <a:gd name="connsiteX141" fmla="*/ 782925 w 2374357"/>
                <a:gd name="connsiteY141" fmla="*/ 939800 h 2830359"/>
                <a:gd name="connsiteX142" fmla="*/ 757525 w 2374357"/>
                <a:gd name="connsiteY142" fmla="*/ 990600 h 2830359"/>
                <a:gd name="connsiteX143" fmla="*/ 732125 w 2374357"/>
                <a:gd name="connsiteY143" fmla="*/ 1016000 h 2830359"/>
                <a:gd name="connsiteX144" fmla="*/ 681325 w 2374357"/>
                <a:gd name="connsiteY144" fmla="*/ 1032933 h 2830359"/>
                <a:gd name="connsiteX145" fmla="*/ 672858 w 2374357"/>
                <a:gd name="connsiteY145" fmla="*/ 1058333 h 2830359"/>
                <a:gd name="connsiteX146" fmla="*/ 613592 w 2374357"/>
                <a:gd name="connsiteY146" fmla="*/ 1066800 h 2830359"/>
                <a:gd name="connsiteX147" fmla="*/ 588192 w 2374357"/>
                <a:gd name="connsiteY147" fmla="*/ 1075267 h 2830359"/>
                <a:gd name="connsiteX148" fmla="*/ 545858 w 2374357"/>
                <a:gd name="connsiteY148" fmla="*/ 1066800 h 2830359"/>
                <a:gd name="connsiteX149" fmla="*/ 537392 w 2374357"/>
                <a:gd name="connsiteY149" fmla="*/ 1032933 h 2830359"/>
                <a:gd name="connsiteX150" fmla="*/ 447789 w 2374357"/>
                <a:gd name="connsiteY150" fmla="*/ 1070744 h 2830359"/>
                <a:gd name="connsiteX151" fmla="*/ 435792 w 2374357"/>
                <a:gd name="connsiteY151" fmla="*/ 1007533 h 2830359"/>
                <a:gd name="connsiteX152" fmla="*/ 401925 w 2374357"/>
                <a:gd name="connsiteY152" fmla="*/ 1075267 h 2830359"/>
                <a:gd name="connsiteX153" fmla="*/ 368058 w 2374357"/>
                <a:gd name="connsiteY153" fmla="*/ 1083733 h 2830359"/>
                <a:gd name="connsiteX154" fmla="*/ 351125 w 2374357"/>
                <a:gd name="connsiteY154" fmla="*/ 1100667 h 2830359"/>
                <a:gd name="connsiteX155" fmla="*/ 342658 w 2374357"/>
                <a:gd name="connsiteY155" fmla="*/ 1126067 h 2830359"/>
                <a:gd name="connsiteX156" fmla="*/ 317258 w 2374357"/>
                <a:gd name="connsiteY156" fmla="*/ 1134533 h 2830359"/>
                <a:gd name="connsiteX157" fmla="*/ 308792 w 2374357"/>
                <a:gd name="connsiteY157" fmla="*/ 1159933 h 2830359"/>
                <a:gd name="connsiteX158" fmla="*/ 266458 w 2374357"/>
                <a:gd name="connsiteY158" fmla="*/ 1168400 h 2830359"/>
                <a:gd name="connsiteX159" fmla="*/ 283392 w 2374357"/>
                <a:gd name="connsiteY159" fmla="*/ 1261533 h 2830359"/>
                <a:gd name="connsiteX160" fmla="*/ 300325 w 2374357"/>
                <a:gd name="connsiteY160" fmla="*/ 1278467 h 2830359"/>
                <a:gd name="connsiteX161" fmla="*/ 334192 w 2374357"/>
                <a:gd name="connsiteY161" fmla="*/ 1397000 h 2830359"/>
                <a:gd name="connsiteX162" fmla="*/ 359592 w 2374357"/>
                <a:gd name="connsiteY162" fmla="*/ 1473200 h 2830359"/>
                <a:gd name="connsiteX163" fmla="*/ 384992 w 2374357"/>
                <a:gd name="connsiteY163" fmla="*/ 1490133 h 2830359"/>
                <a:gd name="connsiteX164" fmla="*/ 393458 w 2374357"/>
                <a:gd name="connsiteY164" fmla="*/ 1515533 h 2830359"/>
                <a:gd name="connsiteX165" fmla="*/ 401925 w 2374357"/>
                <a:gd name="connsiteY165" fmla="*/ 1574800 h 2830359"/>
                <a:gd name="connsiteX166" fmla="*/ 427325 w 2374357"/>
                <a:gd name="connsiteY166" fmla="*/ 1583267 h 2830359"/>
                <a:gd name="connsiteX167" fmla="*/ 427325 w 2374357"/>
                <a:gd name="connsiteY167" fmla="*/ 1634067 h 2830359"/>
                <a:gd name="connsiteX168" fmla="*/ 435792 w 2374357"/>
                <a:gd name="connsiteY168" fmla="*/ 1676400 h 2830359"/>
                <a:gd name="connsiteX169" fmla="*/ 427325 w 2374357"/>
                <a:gd name="connsiteY169" fmla="*/ 1727200 h 2830359"/>
                <a:gd name="connsiteX170" fmla="*/ 401925 w 2374357"/>
                <a:gd name="connsiteY170" fmla="*/ 1735667 h 2830359"/>
                <a:gd name="connsiteX171" fmla="*/ 317258 w 2374357"/>
                <a:gd name="connsiteY171" fmla="*/ 1744133 h 2830359"/>
                <a:gd name="connsiteX172" fmla="*/ 291858 w 2374357"/>
                <a:gd name="connsiteY172" fmla="*/ 1752600 h 2830359"/>
                <a:gd name="connsiteX173" fmla="*/ 241058 w 2374357"/>
                <a:gd name="connsiteY173" fmla="*/ 1710267 h 2830359"/>
                <a:gd name="connsiteX174" fmla="*/ 224125 w 2374357"/>
                <a:gd name="connsiteY174" fmla="*/ 1693333 h 2830359"/>
                <a:gd name="connsiteX175" fmla="*/ 147925 w 2374357"/>
                <a:gd name="connsiteY175" fmla="*/ 1693333 h 2830359"/>
                <a:gd name="connsiteX176" fmla="*/ 54792 w 2374357"/>
                <a:gd name="connsiteY176" fmla="*/ 1701800 h 2830359"/>
                <a:gd name="connsiteX177" fmla="*/ 46325 w 2374357"/>
                <a:gd name="connsiteY177" fmla="*/ 1761067 h 2830359"/>
                <a:gd name="connsiteX178" fmla="*/ 12458 w 2374357"/>
                <a:gd name="connsiteY178" fmla="*/ 1769533 h 2830359"/>
                <a:gd name="connsiteX179" fmla="*/ 54792 w 2374357"/>
                <a:gd name="connsiteY179" fmla="*/ 1862667 h 2830359"/>
                <a:gd name="connsiteX180" fmla="*/ 88658 w 2374357"/>
                <a:gd name="connsiteY180" fmla="*/ 1913467 h 2830359"/>
                <a:gd name="connsiteX181" fmla="*/ 97125 w 2374357"/>
                <a:gd name="connsiteY181" fmla="*/ 1938867 h 2830359"/>
                <a:gd name="connsiteX182" fmla="*/ 122525 w 2374357"/>
                <a:gd name="connsiteY182" fmla="*/ 1947333 h 2830359"/>
                <a:gd name="connsiteX183" fmla="*/ 249525 w 2374357"/>
                <a:gd name="connsiteY183" fmla="*/ 1955800 h 2830359"/>
                <a:gd name="connsiteX184" fmla="*/ 291858 w 2374357"/>
                <a:gd name="connsiteY184" fmla="*/ 1947333 h 2830359"/>
                <a:gd name="connsiteX185" fmla="*/ 291858 w 2374357"/>
                <a:gd name="connsiteY185" fmla="*/ 1998133 h 2830359"/>
                <a:gd name="connsiteX186" fmla="*/ 283392 w 2374357"/>
                <a:gd name="connsiteY186" fmla="*/ 2048933 h 2830359"/>
                <a:gd name="connsiteX187" fmla="*/ 114058 w 2374357"/>
                <a:gd name="connsiteY187" fmla="*/ 2032000 h 2830359"/>
                <a:gd name="connsiteX188" fmla="*/ 130992 w 2374357"/>
                <a:gd name="connsiteY188" fmla="*/ 2015067 h 2830359"/>
                <a:gd name="connsiteX189" fmla="*/ 88658 w 2374357"/>
                <a:gd name="connsiteY189" fmla="*/ 2023533 h 2830359"/>
                <a:gd name="connsiteX190" fmla="*/ 105592 w 2374357"/>
                <a:gd name="connsiteY190" fmla="*/ 2040467 h 2830359"/>
                <a:gd name="connsiteX191" fmla="*/ 97125 w 2374357"/>
                <a:gd name="connsiteY191" fmla="*/ 2065867 h 2830359"/>
                <a:gd name="connsiteX192" fmla="*/ 80192 w 2374357"/>
                <a:gd name="connsiteY192" fmla="*/ 2133600 h 2830359"/>
                <a:gd name="connsiteX193" fmla="*/ 97125 w 2374357"/>
                <a:gd name="connsiteY193" fmla="*/ 2159000 h 2830359"/>
                <a:gd name="connsiteX194" fmla="*/ 147925 w 2374357"/>
                <a:gd name="connsiteY194" fmla="*/ 2175933 h 2830359"/>
                <a:gd name="connsiteX195" fmla="*/ 164858 w 2374357"/>
                <a:gd name="connsiteY195" fmla="*/ 2243667 h 2830359"/>
                <a:gd name="connsiteX196" fmla="*/ 198725 w 2374357"/>
                <a:gd name="connsiteY196" fmla="*/ 2294467 h 2830359"/>
                <a:gd name="connsiteX197" fmla="*/ 224125 w 2374357"/>
                <a:gd name="connsiteY197" fmla="*/ 2345267 h 2830359"/>
                <a:gd name="connsiteX198" fmla="*/ 283392 w 2374357"/>
                <a:gd name="connsiteY198" fmla="*/ 2370667 h 2830359"/>
                <a:gd name="connsiteX199" fmla="*/ 291858 w 2374357"/>
                <a:gd name="connsiteY199" fmla="*/ 2396067 h 2830359"/>
                <a:gd name="connsiteX200" fmla="*/ 317258 w 2374357"/>
                <a:gd name="connsiteY200" fmla="*/ 2404533 h 2830359"/>
                <a:gd name="connsiteX201" fmla="*/ 376525 w 2374357"/>
                <a:gd name="connsiteY201" fmla="*/ 2421467 h 2830359"/>
                <a:gd name="connsiteX202" fmla="*/ 334192 w 2374357"/>
                <a:gd name="connsiteY202" fmla="*/ 2429933 h 2830359"/>
                <a:gd name="connsiteX203" fmla="*/ 401925 w 2374357"/>
                <a:gd name="connsiteY203" fmla="*/ 2421467 h 2830359"/>
                <a:gd name="connsiteX204" fmla="*/ 393458 w 2374357"/>
                <a:gd name="connsiteY204" fmla="*/ 2396067 h 2830359"/>
                <a:gd name="connsiteX205" fmla="*/ 384992 w 2374357"/>
                <a:gd name="connsiteY205" fmla="*/ 2362200 h 2830359"/>
                <a:gd name="connsiteX206" fmla="*/ 537392 w 2374357"/>
                <a:gd name="connsiteY206" fmla="*/ 2353733 h 2830359"/>
                <a:gd name="connsiteX207" fmla="*/ 562792 w 2374357"/>
                <a:gd name="connsiteY207" fmla="*/ 2345267 h 2830359"/>
                <a:gd name="connsiteX208" fmla="*/ 579725 w 2374357"/>
                <a:gd name="connsiteY208" fmla="*/ 2328333 h 2830359"/>
                <a:gd name="connsiteX209" fmla="*/ 588192 w 2374357"/>
                <a:gd name="connsiteY209" fmla="*/ 2302933 h 2830359"/>
                <a:gd name="connsiteX210" fmla="*/ 571258 w 2374357"/>
                <a:gd name="connsiteY210" fmla="*/ 2235200 h 2830359"/>
                <a:gd name="connsiteX211" fmla="*/ 605125 w 2374357"/>
                <a:gd name="connsiteY211" fmla="*/ 2159000 h 2830359"/>
                <a:gd name="connsiteX212" fmla="*/ 630525 w 2374357"/>
                <a:gd name="connsiteY212" fmla="*/ 2142067 h 2830359"/>
                <a:gd name="connsiteX213" fmla="*/ 655925 w 2374357"/>
                <a:gd name="connsiteY213" fmla="*/ 2150533 h 2830359"/>
                <a:gd name="connsiteX214" fmla="*/ 664392 w 2374357"/>
                <a:gd name="connsiteY214" fmla="*/ 2209800 h 2830359"/>
                <a:gd name="connsiteX215" fmla="*/ 672858 w 2374357"/>
                <a:gd name="connsiteY215" fmla="*/ 2235200 h 2830359"/>
                <a:gd name="connsiteX216" fmla="*/ 681325 w 2374357"/>
                <a:gd name="connsiteY216" fmla="*/ 2269067 h 2830359"/>
                <a:gd name="connsiteX217" fmla="*/ 664392 w 2374357"/>
                <a:gd name="connsiteY217" fmla="*/ 2370667 h 2830359"/>
                <a:gd name="connsiteX218" fmla="*/ 647458 w 2374357"/>
                <a:gd name="connsiteY218" fmla="*/ 2387600 h 2830359"/>
                <a:gd name="connsiteX219" fmla="*/ 630525 w 2374357"/>
                <a:gd name="connsiteY219" fmla="*/ 2455333 h 2830359"/>
                <a:gd name="connsiteX220" fmla="*/ 622058 w 2374357"/>
                <a:gd name="connsiteY220" fmla="*/ 2480733 h 2830359"/>
                <a:gd name="connsiteX221" fmla="*/ 613592 w 2374357"/>
                <a:gd name="connsiteY221" fmla="*/ 2514600 h 2830359"/>
                <a:gd name="connsiteX222" fmla="*/ 596658 w 2374357"/>
                <a:gd name="connsiteY222" fmla="*/ 2531533 h 2830359"/>
                <a:gd name="connsiteX223" fmla="*/ 579725 w 2374357"/>
                <a:gd name="connsiteY223" fmla="*/ 2582333 h 2830359"/>
                <a:gd name="connsiteX224" fmla="*/ 596658 w 2374357"/>
                <a:gd name="connsiteY224" fmla="*/ 2709333 h 2830359"/>
                <a:gd name="connsiteX225" fmla="*/ 605125 w 2374357"/>
                <a:gd name="connsiteY225" fmla="*/ 2819400 h 2830359"/>
                <a:gd name="connsiteX226" fmla="*/ 638992 w 2374357"/>
                <a:gd name="connsiteY226" fmla="*/ 2827867 h 2830359"/>
                <a:gd name="connsiteX227" fmla="*/ 638992 w 2374357"/>
                <a:gd name="connsiteY227" fmla="*/ 2819400 h 2830359"/>
                <a:gd name="connsiteX0" fmla="*/ 638992 w 2374357"/>
                <a:gd name="connsiteY0" fmla="*/ 2819400 h 2830359"/>
                <a:gd name="connsiteX1" fmla="*/ 655925 w 2374357"/>
                <a:gd name="connsiteY1" fmla="*/ 2760133 h 2830359"/>
                <a:gd name="connsiteX2" fmla="*/ 664392 w 2374357"/>
                <a:gd name="connsiteY2" fmla="*/ 2734733 h 2830359"/>
                <a:gd name="connsiteX3" fmla="*/ 681325 w 2374357"/>
                <a:gd name="connsiteY3" fmla="*/ 2709333 h 2830359"/>
                <a:gd name="connsiteX4" fmla="*/ 723658 w 2374357"/>
                <a:gd name="connsiteY4" fmla="*/ 2658533 h 2830359"/>
                <a:gd name="connsiteX5" fmla="*/ 732125 w 2374357"/>
                <a:gd name="connsiteY5" fmla="*/ 2633133 h 2830359"/>
                <a:gd name="connsiteX6" fmla="*/ 757525 w 2374357"/>
                <a:gd name="connsiteY6" fmla="*/ 2607733 h 2830359"/>
                <a:gd name="connsiteX7" fmla="*/ 740592 w 2374357"/>
                <a:gd name="connsiteY7" fmla="*/ 2480733 h 2830359"/>
                <a:gd name="connsiteX8" fmla="*/ 749058 w 2374357"/>
                <a:gd name="connsiteY8" fmla="*/ 2429933 h 2830359"/>
                <a:gd name="connsiteX9" fmla="*/ 791392 w 2374357"/>
                <a:gd name="connsiteY9" fmla="*/ 2404533 h 2830359"/>
                <a:gd name="connsiteX10" fmla="*/ 816792 w 2374357"/>
                <a:gd name="connsiteY10" fmla="*/ 2387600 h 2830359"/>
                <a:gd name="connsiteX11" fmla="*/ 825258 w 2374357"/>
                <a:gd name="connsiteY11" fmla="*/ 2336800 h 2830359"/>
                <a:gd name="connsiteX12" fmla="*/ 850658 w 2374357"/>
                <a:gd name="connsiteY12" fmla="*/ 2328333 h 2830359"/>
                <a:gd name="connsiteX13" fmla="*/ 918392 w 2374357"/>
                <a:gd name="connsiteY13" fmla="*/ 2319867 h 2830359"/>
                <a:gd name="connsiteX14" fmla="*/ 909925 w 2374357"/>
                <a:gd name="connsiteY14" fmla="*/ 2294467 h 2830359"/>
                <a:gd name="connsiteX15" fmla="*/ 859125 w 2374357"/>
                <a:gd name="connsiteY15" fmla="*/ 2286000 h 2830359"/>
                <a:gd name="connsiteX16" fmla="*/ 833725 w 2374357"/>
                <a:gd name="connsiteY16" fmla="*/ 2277533 h 2830359"/>
                <a:gd name="connsiteX17" fmla="*/ 850658 w 2374357"/>
                <a:gd name="connsiteY17" fmla="*/ 2252133 h 2830359"/>
                <a:gd name="connsiteX18" fmla="*/ 859125 w 2374357"/>
                <a:gd name="connsiteY18" fmla="*/ 2218267 h 2830359"/>
                <a:gd name="connsiteX19" fmla="*/ 884525 w 2374357"/>
                <a:gd name="connsiteY19" fmla="*/ 2209800 h 2830359"/>
                <a:gd name="connsiteX20" fmla="*/ 909925 w 2374357"/>
                <a:gd name="connsiteY20" fmla="*/ 2192867 h 2830359"/>
                <a:gd name="connsiteX21" fmla="*/ 926858 w 2374357"/>
                <a:gd name="connsiteY21" fmla="*/ 2142067 h 2830359"/>
                <a:gd name="connsiteX22" fmla="*/ 935325 w 2374357"/>
                <a:gd name="connsiteY22" fmla="*/ 2057400 h 2830359"/>
                <a:gd name="connsiteX23" fmla="*/ 952258 w 2374357"/>
                <a:gd name="connsiteY23" fmla="*/ 2032000 h 2830359"/>
                <a:gd name="connsiteX24" fmla="*/ 1011525 w 2374357"/>
                <a:gd name="connsiteY24" fmla="*/ 2023533 h 2830359"/>
                <a:gd name="connsiteX25" fmla="*/ 1019992 w 2374357"/>
                <a:gd name="connsiteY25" fmla="*/ 1998133 h 2830359"/>
                <a:gd name="connsiteX26" fmla="*/ 1070792 w 2374357"/>
                <a:gd name="connsiteY26" fmla="*/ 1930400 h 2830359"/>
                <a:gd name="connsiteX27" fmla="*/ 1079258 w 2374357"/>
                <a:gd name="connsiteY27" fmla="*/ 1896533 h 2830359"/>
                <a:gd name="connsiteX28" fmla="*/ 1087725 w 2374357"/>
                <a:gd name="connsiteY28" fmla="*/ 1871133 h 2830359"/>
                <a:gd name="connsiteX29" fmla="*/ 1096192 w 2374357"/>
                <a:gd name="connsiteY29" fmla="*/ 1828800 h 2830359"/>
                <a:gd name="connsiteX30" fmla="*/ 1079258 w 2374357"/>
                <a:gd name="connsiteY30" fmla="*/ 1769533 h 2830359"/>
                <a:gd name="connsiteX31" fmla="*/ 1062325 w 2374357"/>
                <a:gd name="connsiteY31" fmla="*/ 1744133 h 2830359"/>
                <a:gd name="connsiteX32" fmla="*/ 1070792 w 2374357"/>
                <a:gd name="connsiteY32" fmla="*/ 1693333 h 2830359"/>
                <a:gd name="connsiteX33" fmla="*/ 1130058 w 2374357"/>
                <a:gd name="connsiteY33" fmla="*/ 1701800 h 2830359"/>
                <a:gd name="connsiteX34" fmla="*/ 1206258 w 2374357"/>
                <a:gd name="connsiteY34" fmla="*/ 1718733 h 2830359"/>
                <a:gd name="connsiteX35" fmla="*/ 1282458 w 2374357"/>
                <a:gd name="connsiteY35" fmla="*/ 1854200 h 2830359"/>
                <a:gd name="connsiteX36" fmla="*/ 1307858 w 2374357"/>
                <a:gd name="connsiteY36" fmla="*/ 1837267 h 2830359"/>
                <a:gd name="connsiteX37" fmla="*/ 1350192 w 2374357"/>
                <a:gd name="connsiteY37" fmla="*/ 1871133 h 2830359"/>
                <a:gd name="connsiteX38" fmla="*/ 1375592 w 2374357"/>
                <a:gd name="connsiteY38" fmla="*/ 1862667 h 2830359"/>
                <a:gd name="connsiteX39" fmla="*/ 1417925 w 2374357"/>
                <a:gd name="connsiteY39" fmla="*/ 1871133 h 2830359"/>
                <a:gd name="connsiteX40" fmla="*/ 1434858 w 2374357"/>
                <a:gd name="connsiteY40" fmla="*/ 1845733 h 2830359"/>
                <a:gd name="connsiteX41" fmla="*/ 1451792 w 2374357"/>
                <a:gd name="connsiteY41" fmla="*/ 1786467 h 2830359"/>
                <a:gd name="connsiteX42" fmla="*/ 1477192 w 2374357"/>
                <a:gd name="connsiteY42" fmla="*/ 1778000 h 2830359"/>
                <a:gd name="connsiteX43" fmla="*/ 1494125 w 2374357"/>
                <a:gd name="connsiteY43" fmla="*/ 1752600 h 2830359"/>
                <a:gd name="connsiteX44" fmla="*/ 1502592 w 2374357"/>
                <a:gd name="connsiteY44" fmla="*/ 1693333 h 2830359"/>
                <a:gd name="connsiteX45" fmla="*/ 1527992 w 2374357"/>
                <a:gd name="connsiteY45" fmla="*/ 1676400 h 2830359"/>
                <a:gd name="connsiteX46" fmla="*/ 1485658 w 2374357"/>
                <a:gd name="connsiteY46" fmla="*/ 1625600 h 2830359"/>
                <a:gd name="connsiteX47" fmla="*/ 1443325 w 2374357"/>
                <a:gd name="connsiteY47" fmla="*/ 1617133 h 2830359"/>
                <a:gd name="connsiteX48" fmla="*/ 1434858 w 2374357"/>
                <a:gd name="connsiteY48" fmla="*/ 1591733 h 2830359"/>
                <a:gd name="connsiteX49" fmla="*/ 1400992 w 2374357"/>
                <a:gd name="connsiteY49" fmla="*/ 1540933 h 2830359"/>
                <a:gd name="connsiteX50" fmla="*/ 1409458 w 2374357"/>
                <a:gd name="connsiteY50" fmla="*/ 1515533 h 2830359"/>
                <a:gd name="connsiteX51" fmla="*/ 1434858 w 2374357"/>
                <a:gd name="connsiteY51" fmla="*/ 1507067 h 2830359"/>
                <a:gd name="connsiteX52" fmla="*/ 1494125 w 2374357"/>
                <a:gd name="connsiteY52" fmla="*/ 1498600 h 2830359"/>
                <a:gd name="connsiteX53" fmla="*/ 1519525 w 2374357"/>
                <a:gd name="connsiteY53" fmla="*/ 1481667 h 2830359"/>
                <a:gd name="connsiteX54" fmla="*/ 1570325 w 2374357"/>
                <a:gd name="connsiteY54" fmla="*/ 1464733 h 2830359"/>
                <a:gd name="connsiteX55" fmla="*/ 1646525 w 2374357"/>
                <a:gd name="connsiteY55" fmla="*/ 1405467 h 2830359"/>
                <a:gd name="connsiteX56" fmla="*/ 1807392 w 2374357"/>
                <a:gd name="connsiteY56" fmla="*/ 1380067 h 2830359"/>
                <a:gd name="connsiteX57" fmla="*/ 1866658 w 2374357"/>
                <a:gd name="connsiteY57" fmla="*/ 1312333 h 2830359"/>
                <a:gd name="connsiteX58" fmla="*/ 1883592 w 2374357"/>
                <a:gd name="connsiteY58" fmla="*/ 1261533 h 2830359"/>
                <a:gd name="connsiteX59" fmla="*/ 1976725 w 2374357"/>
                <a:gd name="connsiteY59" fmla="*/ 1244600 h 2830359"/>
                <a:gd name="connsiteX60" fmla="*/ 2019058 w 2374357"/>
                <a:gd name="connsiteY60" fmla="*/ 1210733 h 2830359"/>
                <a:gd name="connsiteX61" fmla="*/ 2035992 w 2374357"/>
                <a:gd name="connsiteY61" fmla="*/ 1193800 h 2830359"/>
                <a:gd name="connsiteX62" fmla="*/ 2196858 w 2374357"/>
                <a:gd name="connsiteY62" fmla="*/ 1176867 h 2830359"/>
                <a:gd name="connsiteX63" fmla="*/ 2120658 w 2374357"/>
                <a:gd name="connsiteY63" fmla="*/ 1176867 h 2830359"/>
                <a:gd name="connsiteX64" fmla="*/ 2027525 w 2374357"/>
                <a:gd name="connsiteY64" fmla="*/ 1168400 h 2830359"/>
                <a:gd name="connsiteX65" fmla="*/ 2019058 w 2374357"/>
                <a:gd name="connsiteY65" fmla="*/ 1134533 h 2830359"/>
                <a:gd name="connsiteX66" fmla="*/ 2002125 w 2374357"/>
                <a:gd name="connsiteY66" fmla="*/ 1083733 h 2830359"/>
                <a:gd name="connsiteX67" fmla="*/ 2010592 w 2374357"/>
                <a:gd name="connsiteY67" fmla="*/ 1058333 h 2830359"/>
                <a:gd name="connsiteX68" fmla="*/ 2035992 w 2374357"/>
                <a:gd name="connsiteY68" fmla="*/ 1041400 h 2830359"/>
                <a:gd name="connsiteX69" fmla="*/ 2052925 w 2374357"/>
                <a:gd name="connsiteY69" fmla="*/ 1016000 h 2830359"/>
                <a:gd name="connsiteX70" fmla="*/ 2044458 w 2374357"/>
                <a:gd name="connsiteY70" fmla="*/ 982133 h 2830359"/>
                <a:gd name="connsiteX71" fmla="*/ 2044458 w 2374357"/>
                <a:gd name="connsiteY71" fmla="*/ 914400 h 2830359"/>
                <a:gd name="connsiteX72" fmla="*/ 2069858 w 2374357"/>
                <a:gd name="connsiteY72" fmla="*/ 905933 h 2830359"/>
                <a:gd name="connsiteX73" fmla="*/ 2086792 w 2374357"/>
                <a:gd name="connsiteY73" fmla="*/ 889000 h 2830359"/>
                <a:gd name="connsiteX74" fmla="*/ 2103725 w 2374357"/>
                <a:gd name="connsiteY74" fmla="*/ 804333 h 2830359"/>
                <a:gd name="connsiteX75" fmla="*/ 2129125 w 2374357"/>
                <a:gd name="connsiteY75" fmla="*/ 787400 h 2830359"/>
                <a:gd name="connsiteX76" fmla="*/ 2146058 w 2374357"/>
                <a:gd name="connsiteY76" fmla="*/ 762000 h 2830359"/>
                <a:gd name="connsiteX77" fmla="*/ 2162992 w 2374357"/>
                <a:gd name="connsiteY77" fmla="*/ 745067 h 2830359"/>
                <a:gd name="connsiteX78" fmla="*/ 2171458 w 2374357"/>
                <a:gd name="connsiteY78" fmla="*/ 719667 h 2830359"/>
                <a:gd name="connsiteX79" fmla="*/ 2162992 w 2374357"/>
                <a:gd name="connsiteY79" fmla="*/ 694267 h 2830359"/>
                <a:gd name="connsiteX80" fmla="*/ 2120658 w 2374357"/>
                <a:gd name="connsiteY80" fmla="*/ 651933 h 2830359"/>
                <a:gd name="connsiteX81" fmla="*/ 2086792 w 2374357"/>
                <a:gd name="connsiteY81" fmla="*/ 601133 h 2830359"/>
                <a:gd name="connsiteX82" fmla="*/ 1968258 w 2374357"/>
                <a:gd name="connsiteY82" fmla="*/ 592667 h 2830359"/>
                <a:gd name="connsiteX83" fmla="*/ 1959792 w 2374357"/>
                <a:gd name="connsiteY83" fmla="*/ 567267 h 2830359"/>
                <a:gd name="connsiteX84" fmla="*/ 1900525 w 2374357"/>
                <a:gd name="connsiteY84" fmla="*/ 541867 h 2830359"/>
                <a:gd name="connsiteX85" fmla="*/ 1824325 w 2374357"/>
                <a:gd name="connsiteY85" fmla="*/ 533400 h 2830359"/>
                <a:gd name="connsiteX86" fmla="*/ 1773525 w 2374357"/>
                <a:gd name="connsiteY86" fmla="*/ 541867 h 2830359"/>
                <a:gd name="connsiteX87" fmla="*/ 1739658 w 2374357"/>
                <a:gd name="connsiteY87" fmla="*/ 550333 h 2830359"/>
                <a:gd name="connsiteX88" fmla="*/ 1731192 w 2374357"/>
                <a:gd name="connsiteY88" fmla="*/ 575733 h 2830359"/>
                <a:gd name="connsiteX89" fmla="*/ 1688858 w 2374357"/>
                <a:gd name="connsiteY89" fmla="*/ 601133 h 2830359"/>
                <a:gd name="connsiteX90" fmla="*/ 1638058 w 2374357"/>
                <a:gd name="connsiteY90" fmla="*/ 592667 h 2830359"/>
                <a:gd name="connsiteX91" fmla="*/ 1612658 w 2374357"/>
                <a:gd name="connsiteY91" fmla="*/ 584200 h 2830359"/>
                <a:gd name="connsiteX92" fmla="*/ 1578792 w 2374357"/>
                <a:gd name="connsiteY92" fmla="*/ 575733 h 2830359"/>
                <a:gd name="connsiteX93" fmla="*/ 1527992 w 2374357"/>
                <a:gd name="connsiteY93" fmla="*/ 558800 h 2830359"/>
                <a:gd name="connsiteX94" fmla="*/ 1511058 w 2374357"/>
                <a:gd name="connsiteY94" fmla="*/ 508000 h 2830359"/>
                <a:gd name="connsiteX95" fmla="*/ 1485658 w 2374357"/>
                <a:gd name="connsiteY95" fmla="*/ 457200 h 2830359"/>
                <a:gd name="connsiteX96" fmla="*/ 1434858 w 2374357"/>
                <a:gd name="connsiteY96" fmla="*/ 448733 h 2830359"/>
                <a:gd name="connsiteX97" fmla="*/ 1426392 w 2374357"/>
                <a:gd name="connsiteY97" fmla="*/ 423333 h 2830359"/>
                <a:gd name="connsiteX98" fmla="*/ 1417925 w 2374357"/>
                <a:gd name="connsiteY98" fmla="*/ 389467 h 2830359"/>
                <a:gd name="connsiteX99" fmla="*/ 1400992 w 2374357"/>
                <a:gd name="connsiteY99" fmla="*/ 338667 h 2830359"/>
                <a:gd name="connsiteX100" fmla="*/ 1417925 w 2374357"/>
                <a:gd name="connsiteY100" fmla="*/ 287867 h 2830359"/>
                <a:gd name="connsiteX101" fmla="*/ 1426392 w 2374357"/>
                <a:gd name="connsiteY101" fmla="*/ 262467 h 2830359"/>
                <a:gd name="connsiteX102" fmla="*/ 1443325 w 2374357"/>
                <a:gd name="connsiteY102" fmla="*/ 203200 h 2830359"/>
                <a:gd name="connsiteX103" fmla="*/ 1434858 w 2374357"/>
                <a:gd name="connsiteY103" fmla="*/ 160867 h 2830359"/>
                <a:gd name="connsiteX104" fmla="*/ 1417925 w 2374357"/>
                <a:gd name="connsiteY104" fmla="*/ 135467 h 2830359"/>
                <a:gd name="connsiteX105" fmla="*/ 1400992 w 2374357"/>
                <a:gd name="connsiteY105" fmla="*/ 84667 h 2830359"/>
                <a:gd name="connsiteX106" fmla="*/ 1375592 w 2374357"/>
                <a:gd name="connsiteY106" fmla="*/ 76200 h 2830359"/>
                <a:gd name="connsiteX107" fmla="*/ 1324792 w 2374357"/>
                <a:gd name="connsiteY107" fmla="*/ 67733 h 2830359"/>
                <a:gd name="connsiteX108" fmla="*/ 1214725 w 2374357"/>
                <a:gd name="connsiteY108" fmla="*/ 42333 h 2830359"/>
                <a:gd name="connsiteX109" fmla="*/ 1172392 w 2374357"/>
                <a:gd name="connsiteY109" fmla="*/ 16933 h 2830359"/>
                <a:gd name="connsiteX110" fmla="*/ 1070792 w 2374357"/>
                <a:gd name="connsiteY110" fmla="*/ 0 h 2830359"/>
                <a:gd name="connsiteX111" fmla="*/ 1070792 w 2374357"/>
                <a:gd name="connsiteY111" fmla="*/ 135467 h 2830359"/>
                <a:gd name="connsiteX112" fmla="*/ 1079258 w 2374357"/>
                <a:gd name="connsiteY112" fmla="*/ 160867 h 2830359"/>
                <a:gd name="connsiteX113" fmla="*/ 1113125 w 2374357"/>
                <a:gd name="connsiteY113" fmla="*/ 169333 h 2830359"/>
                <a:gd name="connsiteX114" fmla="*/ 1130058 w 2374357"/>
                <a:gd name="connsiteY114" fmla="*/ 186267 h 2830359"/>
                <a:gd name="connsiteX115" fmla="*/ 1138525 w 2374357"/>
                <a:gd name="connsiteY115" fmla="*/ 211667 h 2830359"/>
                <a:gd name="connsiteX116" fmla="*/ 1189325 w 2374357"/>
                <a:gd name="connsiteY116" fmla="*/ 228600 h 2830359"/>
                <a:gd name="connsiteX117" fmla="*/ 1248592 w 2374357"/>
                <a:gd name="connsiteY117" fmla="*/ 270933 h 2830359"/>
                <a:gd name="connsiteX118" fmla="*/ 1273992 w 2374357"/>
                <a:gd name="connsiteY118" fmla="*/ 279400 h 2830359"/>
                <a:gd name="connsiteX119" fmla="*/ 1299392 w 2374357"/>
                <a:gd name="connsiteY119" fmla="*/ 287867 h 2830359"/>
                <a:gd name="connsiteX120" fmla="*/ 1316325 w 2374357"/>
                <a:gd name="connsiteY120" fmla="*/ 313267 h 2830359"/>
                <a:gd name="connsiteX121" fmla="*/ 1282458 w 2374357"/>
                <a:gd name="connsiteY121" fmla="*/ 355600 h 2830359"/>
                <a:gd name="connsiteX122" fmla="*/ 1197792 w 2374357"/>
                <a:gd name="connsiteY122" fmla="*/ 381000 h 2830359"/>
                <a:gd name="connsiteX123" fmla="*/ 1206258 w 2374357"/>
                <a:gd name="connsiteY123" fmla="*/ 457200 h 2830359"/>
                <a:gd name="connsiteX124" fmla="*/ 1214725 w 2374357"/>
                <a:gd name="connsiteY124" fmla="*/ 482600 h 2830359"/>
                <a:gd name="connsiteX125" fmla="*/ 1206258 w 2374357"/>
                <a:gd name="connsiteY125" fmla="*/ 508000 h 2830359"/>
                <a:gd name="connsiteX126" fmla="*/ 1138525 w 2374357"/>
                <a:gd name="connsiteY126" fmla="*/ 533400 h 2830359"/>
                <a:gd name="connsiteX127" fmla="*/ 1121592 w 2374357"/>
                <a:gd name="connsiteY127" fmla="*/ 558800 h 2830359"/>
                <a:gd name="connsiteX128" fmla="*/ 1070792 w 2374357"/>
                <a:gd name="connsiteY128" fmla="*/ 601133 h 2830359"/>
                <a:gd name="connsiteX129" fmla="*/ 1079258 w 2374357"/>
                <a:gd name="connsiteY129" fmla="*/ 626533 h 2830359"/>
                <a:gd name="connsiteX130" fmla="*/ 1036925 w 2374357"/>
                <a:gd name="connsiteY130" fmla="*/ 660400 h 2830359"/>
                <a:gd name="connsiteX131" fmla="*/ 1011525 w 2374357"/>
                <a:gd name="connsiteY131" fmla="*/ 668867 h 2830359"/>
                <a:gd name="connsiteX132" fmla="*/ 1019992 w 2374357"/>
                <a:gd name="connsiteY132" fmla="*/ 702733 h 2830359"/>
                <a:gd name="connsiteX133" fmla="*/ 986125 w 2374357"/>
                <a:gd name="connsiteY133" fmla="*/ 711200 h 2830359"/>
                <a:gd name="connsiteX134" fmla="*/ 960725 w 2374357"/>
                <a:gd name="connsiteY134" fmla="*/ 719667 h 2830359"/>
                <a:gd name="connsiteX135" fmla="*/ 935325 w 2374357"/>
                <a:gd name="connsiteY135" fmla="*/ 770467 h 2830359"/>
                <a:gd name="connsiteX136" fmla="*/ 884525 w 2374357"/>
                <a:gd name="connsiteY136" fmla="*/ 787400 h 2830359"/>
                <a:gd name="connsiteX137" fmla="*/ 859125 w 2374357"/>
                <a:gd name="connsiteY137" fmla="*/ 872067 h 2830359"/>
                <a:gd name="connsiteX138" fmla="*/ 850658 w 2374357"/>
                <a:gd name="connsiteY138" fmla="*/ 897467 h 2830359"/>
                <a:gd name="connsiteX139" fmla="*/ 825258 w 2374357"/>
                <a:gd name="connsiteY139" fmla="*/ 905933 h 2830359"/>
                <a:gd name="connsiteX140" fmla="*/ 808325 w 2374357"/>
                <a:gd name="connsiteY140" fmla="*/ 922867 h 2830359"/>
                <a:gd name="connsiteX141" fmla="*/ 782925 w 2374357"/>
                <a:gd name="connsiteY141" fmla="*/ 939800 h 2830359"/>
                <a:gd name="connsiteX142" fmla="*/ 757525 w 2374357"/>
                <a:gd name="connsiteY142" fmla="*/ 990600 h 2830359"/>
                <a:gd name="connsiteX143" fmla="*/ 732125 w 2374357"/>
                <a:gd name="connsiteY143" fmla="*/ 1016000 h 2830359"/>
                <a:gd name="connsiteX144" fmla="*/ 681325 w 2374357"/>
                <a:gd name="connsiteY144" fmla="*/ 1032933 h 2830359"/>
                <a:gd name="connsiteX145" fmla="*/ 672858 w 2374357"/>
                <a:gd name="connsiteY145" fmla="*/ 1058333 h 2830359"/>
                <a:gd name="connsiteX146" fmla="*/ 613592 w 2374357"/>
                <a:gd name="connsiteY146" fmla="*/ 1066800 h 2830359"/>
                <a:gd name="connsiteX147" fmla="*/ 588192 w 2374357"/>
                <a:gd name="connsiteY147" fmla="*/ 1075267 h 2830359"/>
                <a:gd name="connsiteX148" fmla="*/ 545858 w 2374357"/>
                <a:gd name="connsiteY148" fmla="*/ 1066800 h 2830359"/>
                <a:gd name="connsiteX149" fmla="*/ 519797 w 2374357"/>
                <a:gd name="connsiteY149" fmla="*/ 1070744 h 2830359"/>
                <a:gd name="connsiteX150" fmla="*/ 447789 w 2374357"/>
                <a:gd name="connsiteY150" fmla="*/ 1070744 h 2830359"/>
                <a:gd name="connsiteX151" fmla="*/ 435792 w 2374357"/>
                <a:gd name="connsiteY151" fmla="*/ 1007533 h 2830359"/>
                <a:gd name="connsiteX152" fmla="*/ 401925 w 2374357"/>
                <a:gd name="connsiteY152" fmla="*/ 1075267 h 2830359"/>
                <a:gd name="connsiteX153" fmla="*/ 368058 w 2374357"/>
                <a:gd name="connsiteY153" fmla="*/ 1083733 h 2830359"/>
                <a:gd name="connsiteX154" fmla="*/ 351125 w 2374357"/>
                <a:gd name="connsiteY154" fmla="*/ 1100667 h 2830359"/>
                <a:gd name="connsiteX155" fmla="*/ 342658 w 2374357"/>
                <a:gd name="connsiteY155" fmla="*/ 1126067 h 2830359"/>
                <a:gd name="connsiteX156" fmla="*/ 317258 w 2374357"/>
                <a:gd name="connsiteY156" fmla="*/ 1134533 h 2830359"/>
                <a:gd name="connsiteX157" fmla="*/ 308792 w 2374357"/>
                <a:gd name="connsiteY157" fmla="*/ 1159933 h 2830359"/>
                <a:gd name="connsiteX158" fmla="*/ 266458 w 2374357"/>
                <a:gd name="connsiteY158" fmla="*/ 1168400 h 2830359"/>
                <a:gd name="connsiteX159" fmla="*/ 283392 w 2374357"/>
                <a:gd name="connsiteY159" fmla="*/ 1261533 h 2830359"/>
                <a:gd name="connsiteX160" fmla="*/ 300325 w 2374357"/>
                <a:gd name="connsiteY160" fmla="*/ 1278467 h 2830359"/>
                <a:gd name="connsiteX161" fmla="*/ 334192 w 2374357"/>
                <a:gd name="connsiteY161" fmla="*/ 1397000 h 2830359"/>
                <a:gd name="connsiteX162" fmla="*/ 359592 w 2374357"/>
                <a:gd name="connsiteY162" fmla="*/ 1473200 h 2830359"/>
                <a:gd name="connsiteX163" fmla="*/ 384992 w 2374357"/>
                <a:gd name="connsiteY163" fmla="*/ 1490133 h 2830359"/>
                <a:gd name="connsiteX164" fmla="*/ 393458 w 2374357"/>
                <a:gd name="connsiteY164" fmla="*/ 1515533 h 2830359"/>
                <a:gd name="connsiteX165" fmla="*/ 401925 w 2374357"/>
                <a:gd name="connsiteY165" fmla="*/ 1574800 h 2830359"/>
                <a:gd name="connsiteX166" fmla="*/ 427325 w 2374357"/>
                <a:gd name="connsiteY166" fmla="*/ 1583267 h 2830359"/>
                <a:gd name="connsiteX167" fmla="*/ 427325 w 2374357"/>
                <a:gd name="connsiteY167" fmla="*/ 1634067 h 2830359"/>
                <a:gd name="connsiteX168" fmla="*/ 435792 w 2374357"/>
                <a:gd name="connsiteY168" fmla="*/ 1676400 h 2830359"/>
                <a:gd name="connsiteX169" fmla="*/ 427325 w 2374357"/>
                <a:gd name="connsiteY169" fmla="*/ 1727200 h 2830359"/>
                <a:gd name="connsiteX170" fmla="*/ 401925 w 2374357"/>
                <a:gd name="connsiteY170" fmla="*/ 1735667 h 2830359"/>
                <a:gd name="connsiteX171" fmla="*/ 317258 w 2374357"/>
                <a:gd name="connsiteY171" fmla="*/ 1744133 h 2830359"/>
                <a:gd name="connsiteX172" fmla="*/ 291858 w 2374357"/>
                <a:gd name="connsiteY172" fmla="*/ 1752600 h 2830359"/>
                <a:gd name="connsiteX173" fmla="*/ 241058 w 2374357"/>
                <a:gd name="connsiteY173" fmla="*/ 1710267 h 2830359"/>
                <a:gd name="connsiteX174" fmla="*/ 224125 w 2374357"/>
                <a:gd name="connsiteY174" fmla="*/ 1693333 h 2830359"/>
                <a:gd name="connsiteX175" fmla="*/ 147925 w 2374357"/>
                <a:gd name="connsiteY175" fmla="*/ 1693333 h 2830359"/>
                <a:gd name="connsiteX176" fmla="*/ 54792 w 2374357"/>
                <a:gd name="connsiteY176" fmla="*/ 1701800 h 2830359"/>
                <a:gd name="connsiteX177" fmla="*/ 46325 w 2374357"/>
                <a:gd name="connsiteY177" fmla="*/ 1761067 h 2830359"/>
                <a:gd name="connsiteX178" fmla="*/ 12458 w 2374357"/>
                <a:gd name="connsiteY178" fmla="*/ 1769533 h 2830359"/>
                <a:gd name="connsiteX179" fmla="*/ 54792 w 2374357"/>
                <a:gd name="connsiteY179" fmla="*/ 1862667 h 2830359"/>
                <a:gd name="connsiteX180" fmla="*/ 88658 w 2374357"/>
                <a:gd name="connsiteY180" fmla="*/ 1913467 h 2830359"/>
                <a:gd name="connsiteX181" fmla="*/ 97125 w 2374357"/>
                <a:gd name="connsiteY181" fmla="*/ 1938867 h 2830359"/>
                <a:gd name="connsiteX182" fmla="*/ 122525 w 2374357"/>
                <a:gd name="connsiteY182" fmla="*/ 1947333 h 2830359"/>
                <a:gd name="connsiteX183" fmla="*/ 249525 w 2374357"/>
                <a:gd name="connsiteY183" fmla="*/ 1955800 h 2830359"/>
                <a:gd name="connsiteX184" fmla="*/ 291858 w 2374357"/>
                <a:gd name="connsiteY184" fmla="*/ 1947333 h 2830359"/>
                <a:gd name="connsiteX185" fmla="*/ 291858 w 2374357"/>
                <a:gd name="connsiteY185" fmla="*/ 1998133 h 2830359"/>
                <a:gd name="connsiteX186" fmla="*/ 283392 w 2374357"/>
                <a:gd name="connsiteY186" fmla="*/ 2048933 h 2830359"/>
                <a:gd name="connsiteX187" fmla="*/ 114058 w 2374357"/>
                <a:gd name="connsiteY187" fmla="*/ 2032000 h 2830359"/>
                <a:gd name="connsiteX188" fmla="*/ 130992 w 2374357"/>
                <a:gd name="connsiteY188" fmla="*/ 2015067 h 2830359"/>
                <a:gd name="connsiteX189" fmla="*/ 88658 w 2374357"/>
                <a:gd name="connsiteY189" fmla="*/ 2023533 h 2830359"/>
                <a:gd name="connsiteX190" fmla="*/ 105592 w 2374357"/>
                <a:gd name="connsiteY190" fmla="*/ 2040467 h 2830359"/>
                <a:gd name="connsiteX191" fmla="*/ 97125 w 2374357"/>
                <a:gd name="connsiteY191" fmla="*/ 2065867 h 2830359"/>
                <a:gd name="connsiteX192" fmla="*/ 80192 w 2374357"/>
                <a:gd name="connsiteY192" fmla="*/ 2133600 h 2830359"/>
                <a:gd name="connsiteX193" fmla="*/ 97125 w 2374357"/>
                <a:gd name="connsiteY193" fmla="*/ 2159000 h 2830359"/>
                <a:gd name="connsiteX194" fmla="*/ 147925 w 2374357"/>
                <a:gd name="connsiteY194" fmla="*/ 2175933 h 2830359"/>
                <a:gd name="connsiteX195" fmla="*/ 164858 w 2374357"/>
                <a:gd name="connsiteY195" fmla="*/ 2243667 h 2830359"/>
                <a:gd name="connsiteX196" fmla="*/ 198725 w 2374357"/>
                <a:gd name="connsiteY196" fmla="*/ 2294467 h 2830359"/>
                <a:gd name="connsiteX197" fmla="*/ 224125 w 2374357"/>
                <a:gd name="connsiteY197" fmla="*/ 2345267 h 2830359"/>
                <a:gd name="connsiteX198" fmla="*/ 283392 w 2374357"/>
                <a:gd name="connsiteY198" fmla="*/ 2370667 h 2830359"/>
                <a:gd name="connsiteX199" fmla="*/ 291858 w 2374357"/>
                <a:gd name="connsiteY199" fmla="*/ 2396067 h 2830359"/>
                <a:gd name="connsiteX200" fmla="*/ 317258 w 2374357"/>
                <a:gd name="connsiteY200" fmla="*/ 2404533 h 2830359"/>
                <a:gd name="connsiteX201" fmla="*/ 376525 w 2374357"/>
                <a:gd name="connsiteY201" fmla="*/ 2421467 h 2830359"/>
                <a:gd name="connsiteX202" fmla="*/ 334192 w 2374357"/>
                <a:gd name="connsiteY202" fmla="*/ 2429933 h 2830359"/>
                <a:gd name="connsiteX203" fmla="*/ 401925 w 2374357"/>
                <a:gd name="connsiteY203" fmla="*/ 2421467 h 2830359"/>
                <a:gd name="connsiteX204" fmla="*/ 393458 w 2374357"/>
                <a:gd name="connsiteY204" fmla="*/ 2396067 h 2830359"/>
                <a:gd name="connsiteX205" fmla="*/ 384992 w 2374357"/>
                <a:gd name="connsiteY205" fmla="*/ 2362200 h 2830359"/>
                <a:gd name="connsiteX206" fmla="*/ 537392 w 2374357"/>
                <a:gd name="connsiteY206" fmla="*/ 2353733 h 2830359"/>
                <a:gd name="connsiteX207" fmla="*/ 562792 w 2374357"/>
                <a:gd name="connsiteY207" fmla="*/ 2345267 h 2830359"/>
                <a:gd name="connsiteX208" fmla="*/ 579725 w 2374357"/>
                <a:gd name="connsiteY208" fmla="*/ 2328333 h 2830359"/>
                <a:gd name="connsiteX209" fmla="*/ 588192 w 2374357"/>
                <a:gd name="connsiteY209" fmla="*/ 2302933 h 2830359"/>
                <a:gd name="connsiteX210" fmla="*/ 571258 w 2374357"/>
                <a:gd name="connsiteY210" fmla="*/ 2235200 h 2830359"/>
                <a:gd name="connsiteX211" fmla="*/ 605125 w 2374357"/>
                <a:gd name="connsiteY211" fmla="*/ 2159000 h 2830359"/>
                <a:gd name="connsiteX212" fmla="*/ 630525 w 2374357"/>
                <a:gd name="connsiteY212" fmla="*/ 2142067 h 2830359"/>
                <a:gd name="connsiteX213" fmla="*/ 655925 w 2374357"/>
                <a:gd name="connsiteY213" fmla="*/ 2150533 h 2830359"/>
                <a:gd name="connsiteX214" fmla="*/ 664392 w 2374357"/>
                <a:gd name="connsiteY214" fmla="*/ 2209800 h 2830359"/>
                <a:gd name="connsiteX215" fmla="*/ 672858 w 2374357"/>
                <a:gd name="connsiteY215" fmla="*/ 2235200 h 2830359"/>
                <a:gd name="connsiteX216" fmla="*/ 681325 w 2374357"/>
                <a:gd name="connsiteY216" fmla="*/ 2269067 h 2830359"/>
                <a:gd name="connsiteX217" fmla="*/ 664392 w 2374357"/>
                <a:gd name="connsiteY217" fmla="*/ 2370667 h 2830359"/>
                <a:gd name="connsiteX218" fmla="*/ 647458 w 2374357"/>
                <a:gd name="connsiteY218" fmla="*/ 2387600 h 2830359"/>
                <a:gd name="connsiteX219" fmla="*/ 630525 w 2374357"/>
                <a:gd name="connsiteY219" fmla="*/ 2455333 h 2830359"/>
                <a:gd name="connsiteX220" fmla="*/ 622058 w 2374357"/>
                <a:gd name="connsiteY220" fmla="*/ 2480733 h 2830359"/>
                <a:gd name="connsiteX221" fmla="*/ 613592 w 2374357"/>
                <a:gd name="connsiteY221" fmla="*/ 2514600 h 2830359"/>
                <a:gd name="connsiteX222" fmla="*/ 596658 w 2374357"/>
                <a:gd name="connsiteY222" fmla="*/ 2531533 h 2830359"/>
                <a:gd name="connsiteX223" fmla="*/ 579725 w 2374357"/>
                <a:gd name="connsiteY223" fmla="*/ 2582333 h 2830359"/>
                <a:gd name="connsiteX224" fmla="*/ 596658 w 2374357"/>
                <a:gd name="connsiteY224" fmla="*/ 2709333 h 2830359"/>
                <a:gd name="connsiteX225" fmla="*/ 605125 w 2374357"/>
                <a:gd name="connsiteY225" fmla="*/ 2819400 h 2830359"/>
                <a:gd name="connsiteX226" fmla="*/ 638992 w 2374357"/>
                <a:gd name="connsiteY226" fmla="*/ 2827867 h 2830359"/>
                <a:gd name="connsiteX227" fmla="*/ 638992 w 2374357"/>
                <a:gd name="connsiteY227" fmla="*/ 2819400 h 2830359"/>
                <a:gd name="connsiteX0" fmla="*/ 638992 w 2209464"/>
                <a:gd name="connsiteY0" fmla="*/ 2819400 h 2830359"/>
                <a:gd name="connsiteX1" fmla="*/ 655925 w 2209464"/>
                <a:gd name="connsiteY1" fmla="*/ 2760133 h 2830359"/>
                <a:gd name="connsiteX2" fmla="*/ 664392 w 2209464"/>
                <a:gd name="connsiteY2" fmla="*/ 2734733 h 2830359"/>
                <a:gd name="connsiteX3" fmla="*/ 681325 w 2209464"/>
                <a:gd name="connsiteY3" fmla="*/ 2709333 h 2830359"/>
                <a:gd name="connsiteX4" fmla="*/ 723658 w 2209464"/>
                <a:gd name="connsiteY4" fmla="*/ 2658533 h 2830359"/>
                <a:gd name="connsiteX5" fmla="*/ 732125 w 2209464"/>
                <a:gd name="connsiteY5" fmla="*/ 2633133 h 2830359"/>
                <a:gd name="connsiteX6" fmla="*/ 757525 w 2209464"/>
                <a:gd name="connsiteY6" fmla="*/ 2607733 h 2830359"/>
                <a:gd name="connsiteX7" fmla="*/ 740592 w 2209464"/>
                <a:gd name="connsiteY7" fmla="*/ 2480733 h 2830359"/>
                <a:gd name="connsiteX8" fmla="*/ 749058 w 2209464"/>
                <a:gd name="connsiteY8" fmla="*/ 2429933 h 2830359"/>
                <a:gd name="connsiteX9" fmla="*/ 791392 w 2209464"/>
                <a:gd name="connsiteY9" fmla="*/ 2404533 h 2830359"/>
                <a:gd name="connsiteX10" fmla="*/ 816792 w 2209464"/>
                <a:gd name="connsiteY10" fmla="*/ 2387600 h 2830359"/>
                <a:gd name="connsiteX11" fmla="*/ 825258 w 2209464"/>
                <a:gd name="connsiteY11" fmla="*/ 2336800 h 2830359"/>
                <a:gd name="connsiteX12" fmla="*/ 850658 w 2209464"/>
                <a:gd name="connsiteY12" fmla="*/ 2328333 h 2830359"/>
                <a:gd name="connsiteX13" fmla="*/ 918392 w 2209464"/>
                <a:gd name="connsiteY13" fmla="*/ 2319867 h 2830359"/>
                <a:gd name="connsiteX14" fmla="*/ 909925 w 2209464"/>
                <a:gd name="connsiteY14" fmla="*/ 2294467 h 2830359"/>
                <a:gd name="connsiteX15" fmla="*/ 859125 w 2209464"/>
                <a:gd name="connsiteY15" fmla="*/ 2286000 h 2830359"/>
                <a:gd name="connsiteX16" fmla="*/ 833725 w 2209464"/>
                <a:gd name="connsiteY16" fmla="*/ 2277533 h 2830359"/>
                <a:gd name="connsiteX17" fmla="*/ 850658 w 2209464"/>
                <a:gd name="connsiteY17" fmla="*/ 2252133 h 2830359"/>
                <a:gd name="connsiteX18" fmla="*/ 859125 w 2209464"/>
                <a:gd name="connsiteY18" fmla="*/ 2218267 h 2830359"/>
                <a:gd name="connsiteX19" fmla="*/ 884525 w 2209464"/>
                <a:gd name="connsiteY19" fmla="*/ 2209800 h 2830359"/>
                <a:gd name="connsiteX20" fmla="*/ 909925 w 2209464"/>
                <a:gd name="connsiteY20" fmla="*/ 2192867 h 2830359"/>
                <a:gd name="connsiteX21" fmla="*/ 926858 w 2209464"/>
                <a:gd name="connsiteY21" fmla="*/ 2142067 h 2830359"/>
                <a:gd name="connsiteX22" fmla="*/ 935325 w 2209464"/>
                <a:gd name="connsiteY22" fmla="*/ 2057400 h 2830359"/>
                <a:gd name="connsiteX23" fmla="*/ 952258 w 2209464"/>
                <a:gd name="connsiteY23" fmla="*/ 2032000 h 2830359"/>
                <a:gd name="connsiteX24" fmla="*/ 1011525 w 2209464"/>
                <a:gd name="connsiteY24" fmla="*/ 2023533 h 2830359"/>
                <a:gd name="connsiteX25" fmla="*/ 1019992 w 2209464"/>
                <a:gd name="connsiteY25" fmla="*/ 1998133 h 2830359"/>
                <a:gd name="connsiteX26" fmla="*/ 1070792 w 2209464"/>
                <a:gd name="connsiteY26" fmla="*/ 1930400 h 2830359"/>
                <a:gd name="connsiteX27" fmla="*/ 1079258 w 2209464"/>
                <a:gd name="connsiteY27" fmla="*/ 1896533 h 2830359"/>
                <a:gd name="connsiteX28" fmla="*/ 1087725 w 2209464"/>
                <a:gd name="connsiteY28" fmla="*/ 1871133 h 2830359"/>
                <a:gd name="connsiteX29" fmla="*/ 1096192 w 2209464"/>
                <a:gd name="connsiteY29" fmla="*/ 1828800 h 2830359"/>
                <a:gd name="connsiteX30" fmla="*/ 1079258 w 2209464"/>
                <a:gd name="connsiteY30" fmla="*/ 1769533 h 2830359"/>
                <a:gd name="connsiteX31" fmla="*/ 1062325 w 2209464"/>
                <a:gd name="connsiteY31" fmla="*/ 1744133 h 2830359"/>
                <a:gd name="connsiteX32" fmla="*/ 1070792 w 2209464"/>
                <a:gd name="connsiteY32" fmla="*/ 1693333 h 2830359"/>
                <a:gd name="connsiteX33" fmla="*/ 1130058 w 2209464"/>
                <a:gd name="connsiteY33" fmla="*/ 1701800 h 2830359"/>
                <a:gd name="connsiteX34" fmla="*/ 1206258 w 2209464"/>
                <a:gd name="connsiteY34" fmla="*/ 1718733 h 2830359"/>
                <a:gd name="connsiteX35" fmla="*/ 1282458 w 2209464"/>
                <a:gd name="connsiteY35" fmla="*/ 1854200 h 2830359"/>
                <a:gd name="connsiteX36" fmla="*/ 1307858 w 2209464"/>
                <a:gd name="connsiteY36" fmla="*/ 1837267 h 2830359"/>
                <a:gd name="connsiteX37" fmla="*/ 1350192 w 2209464"/>
                <a:gd name="connsiteY37" fmla="*/ 1871133 h 2830359"/>
                <a:gd name="connsiteX38" fmla="*/ 1375592 w 2209464"/>
                <a:gd name="connsiteY38" fmla="*/ 1862667 h 2830359"/>
                <a:gd name="connsiteX39" fmla="*/ 1417925 w 2209464"/>
                <a:gd name="connsiteY39" fmla="*/ 1871133 h 2830359"/>
                <a:gd name="connsiteX40" fmla="*/ 1434858 w 2209464"/>
                <a:gd name="connsiteY40" fmla="*/ 1845733 h 2830359"/>
                <a:gd name="connsiteX41" fmla="*/ 1451792 w 2209464"/>
                <a:gd name="connsiteY41" fmla="*/ 1786467 h 2830359"/>
                <a:gd name="connsiteX42" fmla="*/ 1477192 w 2209464"/>
                <a:gd name="connsiteY42" fmla="*/ 1778000 h 2830359"/>
                <a:gd name="connsiteX43" fmla="*/ 1494125 w 2209464"/>
                <a:gd name="connsiteY43" fmla="*/ 1752600 h 2830359"/>
                <a:gd name="connsiteX44" fmla="*/ 1502592 w 2209464"/>
                <a:gd name="connsiteY44" fmla="*/ 1693333 h 2830359"/>
                <a:gd name="connsiteX45" fmla="*/ 1527992 w 2209464"/>
                <a:gd name="connsiteY45" fmla="*/ 1676400 h 2830359"/>
                <a:gd name="connsiteX46" fmla="*/ 1485658 w 2209464"/>
                <a:gd name="connsiteY46" fmla="*/ 1625600 h 2830359"/>
                <a:gd name="connsiteX47" fmla="*/ 1443325 w 2209464"/>
                <a:gd name="connsiteY47" fmla="*/ 1617133 h 2830359"/>
                <a:gd name="connsiteX48" fmla="*/ 1434858 w 2209464"/>
                <a:gd name="connsiteY48" fmla="*/ 1591733 h 2830359"/>
                <a:gd name="connsiteX49" fmla="*/ 1400992 w 2209464"/>
                <a:gd name="connsiteY49" fmla="*/ 1540933 h 2830359"/>
                <a:gd name="connsiteX50" fmla="*/ 1409458 w 2209464"/>
                <a:gd name="connsiteY50" fmla="*/ 1515533 h 2830359"/>
                <a:gd name="connsiteX51" fmla="*/ 1434858 w 2209464"/>
                <a:gd name="connsiteY51" fmla="*/ 1507067 h 2830359"/>
                <a:gd name="connsiteX52" fmla="*/ 1494125 w 2209464"/>
                <a:gd name="connsiteY52" fmla="*/ 1498600 h 2830359"/>
                <a:gd name="connsiteX53" fmla="*/ 1519525 w 2209464"/>
                <a:gd name="connsiteY53" fmla="*/ 1481667 h 2830359"/>
                <a:gd name="connsiteX54" fmla="*/ 1570325 w 2209464"/>
                <a:gd name="connsiteY54" fmla="*/ 1464733 h 2830359"/>
                <a:gd name="connsiteX55" fmla="*/ 1646525 w 2209464"/>
                <a:gd name="connsiteY55" fmla="*/ 1405467 h 2830359"/>
                <a:gd name="connsiteX56" fmla="*/ 1807392 w 2209464"/>
                <a:gd name="connsiteY56" fmla="*/ 1380067 h 2830359"/>
                <a:gd name="connsiteX57" fmla="*/ 1866658 w 2209464"/>
                <a:gd name="connsiteY57" fmla="*/ 1312333 h 2830359"/>
                <a:gd name="connsiteX58" fmla="*/ 1883592 w 2209464"/>
                <a:gd name="connsiteY58" fmla="*/ 1261533 h 2830359"/>
                <a:gd name="connsiteX59" fmla="*/ 1976725 w 2209464"/>
                <a:gd name="connsiteY59" fmla="*/ 1244600 h 2830359"/>
                <a:gd name="connsiteX60" fmla="*/ 2019058 w 2209464"/>
                <a:gd name="connsiteY60" fmla="*/ 1210733 h 2830359"/>
                <a:gd name="connsiteX61" fmla="*/ 2035992 w 2209464"/>
                <a:gd name="connsiteY61" fmla="*/ 1193800 h 2830359"/>
                <a:gd name="connsiteX62" fmla="*/ 2031965 w 2209464"/>
                <a:gd name="connsiteY62" fmla="*/ 1214760 h 2830359"/>
                <a:gd name="connsiteX63" fmla="*/ 2120658 w 2209464"/>
                <a:gd name="connsiteY63" fmla="*/ 1176867 h 2830359"/>
                <a:gd name="connsiteX64" fmla="*/ 2027525 w 2209464"/>
                <a:gd name="connsiteY64" fmla="*/ 1168400 h 2830359"/>
                <a:gd name="connsiteX65" fmla="*/ 2019058 w 2209464"/>
                <a:gd name="connsiteY65" fmla="*/ 1134533 h 2830359"/>
                <a:gd name="connsiteX66" fmla="*/ 2002125 w 2209464"/>
                <a:gd name="connsiteY66" fmla="*/ 1083733 h 2830359"/>
                <a:gd name="connsiteX67" fmla="*/ 2010592 w 2209464"/>
                <a:gd name="connsiteY67" fmla="*/ 1058333 h 2830359"/>
                <a:gd name="connsiteX68" fmla="*/ 2035992 w 2209464"/>
                <a:gd name="connsiteY68" fmla="*/ 1041400 h 2830359"/>
                <a:gd name="connsiteX69" fmla="*/ 2052925 w 2209464"/>
                <a:gd name="connsiteY69" fmla="*/ 1016000 h 2830359"/>
                <a:gd name="connsiteX70" fmla="*/ 2044458 w 2209464"/>
                <a:gd name="connsiteY70" fmla="*/ 982133 h 2830359"/>
                <a:gd name="connsiteX71" fmla="*/ 2044458 w 2209464"/>
                <a:gd name="connsiteY71" fmla="*/ 914400 h 2830359"/>
                <a:gd name="connsiteX72" fmla="*/ 2069858 w 2209464"/>
                <a:gd name="connsiteY72" fmla="*/ 905933 h 2830359"/>
                <a:gd name="connsiteX73" fmla="*/ 2086792 w 2209464"/>
                <a:gd name="connsiteY73" fmla="*/ 889000 h 2830359"/>
                <a:gd name="connsiteX74" fmla="*/ 2103725 w 2209464"/>
                <a:gd name="connsiteY74" fmla="*/ 804333 h 2830359"/>
                <a:gd name="connsiteX75" fmla="*/ 2129125 w 2209464"/>
                <a:gd name="connsiteY75" fmla="*/ 787400 h 2830359"/>
                <a:gd name="connsiteX76" fmla="*/ 2146058 w 2209464"/>
                <a:gd name="connsiteY76" fmla="*/ 762000 h 2830359"/>
                <a:gd name="connsiteX77" fmla="*/ 2162992 w 2209464"/>
                <a:gd name="connsiteY77" fmla="*/ 745067 h 2830359"/>
                <a:gd name="connsiteX78" fmla="*/ 2171458 w 2209464"/>
                <a:gd name="connsiteY78" fmla="*/ 719667 h 2830359"/>
                <a:gd name="connsiteX79" fmla="*/ 2162992 w 2209464"/>
                <a:gd name="connsiteY79" fmla="*/ 694267 h 2830359"/>
                <a:gd name="connsiteX80" fmla="*/ 2120658 w 2209464"/>
                <a:gd name="connsiteY80" fmla="*/ 651933 h 2830359"/>
                <a:gd name="connsiteX81" fmla="*/ 2086792 w 2209464"/>
                <a:gd name="connsiteY81" fmla="*/ 601133 h 2830359"/>
                <a:gd name="connsiteX82" fmla="*/ 1968258 w 2209464"/>
                <a:gd name="connsiteY82" fmla="*/ 592667 h 2830359"/>
                <a:gd name="connsiteX83" fmla="*/ 1959792 w 2209464"/>
                <a:gd name="connsiteY83" fmla="*/ 567267 h 2830359"/>
                <a:gd name="connsiteX84" fmla="*/ 1900525 w 2209464"/>
                <a:gd name="connsiteY84" fmla="*/ 541867 h 2830359"/>
                <a:gd name="connsiteX85" fmla="*/ 1824325 w 2209464"/>
                <a:gd name="connsiteY85" fmla="*/ 533400 h 2830359"/>
                <a:gd name="connsiteX86" fmla="*/ 1773525 w 2209464"/>
                <a:gd name="connsiteY86" fmla="*/ 541867 h 2830359"/>
                <a:gd name="connsiteX87" fmla="*/ 1739658 w 2209464"/>
                <a:gd name="connsiteY87" fmla="*/ 550333 h 2830359"/>
                <a:gd name="connsiteX88" fmla="*/ 1731192 w 2209464"/>
                <a:gd name="connsiteY88" fmla="*/ 575733 h 2830359"/>
                <a:gd name="connsiteX89" fmla="*/ 1688858 w 2209464"/>
                <a:gd name="connsiteY89" fmla="*/ 601133 h 2830359"/>
                <a:gd name="connsiteX90" fmla="*/ 1638058 w 2209464"/>
                <a:gd name="connsiteY90" fmla="*/ 592667 h 2830359"/>
                <a:gd name="connsiteX91" fmla="*/ 1612658 w 2209464"/>
                <a:gd name="connsiteY91" fmla="*/ 584200 h 2830359"/>
                <a:gd name="connsiteX92" fmla="*/ 1578792 w 2209464"/>
                <a:gd name="connsiteY92" fmla="*/ 575733 h 2830359"/>
                <a:gd name="connsiteX93" fmla="*/ 1527992 w 2209464"/>
                <a:gd name="connsiteY93" fmla="*/ 558800 h 2830359"/>
                <a:gd name="connsiteX94" fmla="*/ 1511058 w 2209464"/>
                <a:gd name="connsiteY94" fmla="*/ 508000 h 2830359"/>
                <a:gd name="connsiteX95" fmla="*/ 1485658 w 2209464"/>
                <a:gd name="connsiteY95" fmla="*/ 457200 h 2830359"/>
                <a:gd name="connsiteX96" fmla="*/ 1434858 w 2209464"/>
                <a:gd name="connsiteY96" fmla="*/ 448733 h 2830359"/>
                <a:gd name="connsiteX97" fmla="*/ 1426392 w 2209464"/>
                <a:gd name="connsiteY97" fmla="*/ 423333 h 2830359"/>
                <a:gd name="connsiteX98" fmla="*/ 1417925 w 2209464"/>
                <a:gd name="connsiteY98" fmla="*/ 389467 h 2830359"/>
                <a:gd name="connsiteX99" fmla="*/ 1400992 w 2209464"/>
                <a:gd name="connsiteY99" fmla="*/ 338667 h 2830359"/>
                <a:gd name="connsiteX100" fmla="*/ 1417925 w 2209464"/>
                <a:gd name="connsiteY100" fmla="*/ 287867 h 2830359"/>
                <a:gd name="connsiteX101" fmla="*/ 1426392 w 2209464"/>
                <a:gd name="connsiteY101" fmla="*/ 262467 h 2830359"/>
                <a:gd name="connsiteX102" fmla="*/ 1443325 w 2209464"/>
                <a:gd name="connsiteY102" fmla="*/ 203200 h 2830359"/>
                <a:gd name="connsiteX103" fmla="*/ 1434858 w 2209464"/>
                <a:gd name="connsiteY103" fmla="*/ 160867 h 2830359"/>
                <a:gd name="connsiteX104" fmla="*/ 1417925 w 2209464"/>
                <a:gd name="connsiteY104" fmla="*/ 135467 h 2830359"/>
                <a:gd name="connsiteX105" fmla="*/ 1400992 w 2209464"/>
                <a:gd name="connsiteY105" fmla="*/ 84667 h 2830359"/>
                <a:gd name="connsiteX106" fmla="*/ 1375592 w 2209464"/>
                <a:gd name="connsiteY106" fmla="*/ 76200 h 2830359"/>
                <a:gd name="connsiteX107" fmla="*/ 1324792 w 2209464"/>
                <a:gd name="connsiteY107" fmla="*/ 67733 h 2830359"/>
                <a:gd name="connsiteX108" fmla="*/ 1214725 w 2209464"/>
                <a:gd name="connsiteY108" fmla="*/ 42333 h 2830359"/>
                <a:gd name="connsiteX109" fmla="*/ 1172392 w 2209464"/>
                <a:gd name="connsiteY109" fmla="*/ 16933 h 2830359"/>
                <a:gd name="connsiteX110" fmla="*/ 1070792 w 2209464"/>
                <a:gd name="connsiteY110" fmla="*/ 0 h 2830359"/>
                <a:gd name="connsiteX111" fmla="*/ 1070792 w 2209464"/>
                <a:gd name="connsiteY111" fmla="*/ 135467 h 2830359"/>
                <a:gd name="connsiteX112" fmla="*/ 1079258 w 2209464"/>
                <a:gd name="connsiteY112" fmla="*/ 160867 h 2830359"/>
                <a:gd name="connsiteX113" fmla="*/ 1113125 w 2209464"/>
                <a:gd name="connsiteY113" fmla="*/ 169333 h 2830359"/>
                <a:gd name="connsiteX114" fmla="*/ 1130058 w 2209464"/>
                <a:gd name="connsiteY114" fmla="*/ 186267 h 2830359"/>
                <a:gd name="connsiteX115" fmla="*/ 1138525 w 2209464"/>
                <a:gd name="connsiteY115" fmla="*/ 211667 h 2830359"/>
                <a:gd name="connsiteX116" fmla="*/ 1189325 w 2209464"/>
                <a:gd name="connsiteY116" fmla="*/ 228600 h 2830359"/>
                <a:gd name="connsiteX117" fmla="*/ 1248592 w 2209464"/>
                <a:gd name="connsiteY117" fmla="*/ 270933 h 2830359"/>
                <a:gd name="connsiteX118" fmla="*/ 1273992 w 2209464"/>
                <a:gd name="connsiteY118" fmla="*/ 279400 h 2830359"/>
                <a:gd name="connsiteX119" fmla="*/ 1299392 w 2209464"/>
                <a:gd name="connsiteY119" fmla="*/ 287867 h 2830359"/>
                <a:gd name="connsiteX120" fmla="*/ 1316325 w 2209464"/>
                <a:gd name="connsiteY120" fmla="*/ 313267 h 2830359"/>
                <a:gd name="connsiteX121" fmla="*/ 1282458 w 2209464"/>
                <a:gd name="connsiteY121" fmla="*/ 355600 h 2830359"/>
                <a:gd name="connsiteX122" fmla="*/ 1197792 w 2209464"/>
                <a:gd name="connsiteY122" fmla="*/ 381000 h 2830359"/>
                <a:gd name="connsiteX123" fmla="*/ 1206258 w 2209464"/>
                <a:gd name="connsiteY123" fmla="*/ 457200 h 2830359"/>
                <a:gd name="connsiteX124" fmla="*/ 1214725 w 2209464"/>
                <a:gd name="connsiteY124" fmla="*/ 482600 h 2830359"/>
                <a:gd name="connsiteX125" fmla="*/ 1206258 w 2209464"/>
                <a:gd name="connsiteY125" fmla="*/ 508000 h 2830359"/>
                <a:gd name="connsiteX126" fmla="*/ 1138525 w 2209464"/>
                <a:gd name="connsiteY126" fmla="*/ 533400 h 2830359"/>
                <a:gd name="connsiteX127" fmla="*/ 1121592 w 2209464"/>
                <a:gd name="connsiteY127" fmla="*/ 558800 h 2830359"/>
                <a:gd name="connsiteX128" fmla="*/ 1070792 w 2209464"/>
                <a:gd name="connsiteY128" fmla="*/ 601133 h 2830359"/>
                <a:gd name="connsiteX129" fmla="*/ 1079258 w 2209464"/>
                <a:gd name="connsiteY129" fmla="*/ 626533 h 2830359"/>
                <a:gd name="connsiteX130" fmla="*/ 1036925 w 2209464"/>
                <a:gd name="connsiteY130" fmla="*/ 660400 h 2830359"/>
                <a:gd name="connsiteX131" fmla="*/ 1011525 w 2209464"/>
                <a:gd name="connsiteY131" fmla="*/ 668867 h 2830359"/>
                <a:gd name="connsiteX132" fmla="*/ 1019992 w 2209464"/>
                <a:gd name="connsiteY132" fmla="*/ 702733 h 2830359"/>
                <a:gd name="connsiteX133" fmla="*/ 986125 w 2209464"/>
                <a:gd name="connsiteY133" fmla="*/ 711200 h 2830359"/>
                <a:gd name="connsiteX134" fmla="*/ 960725 w 2209464"/>
                <a:gd name="connsiteY134" fmla="*/ 719667 h 2830359"/>
                <a:gd name="connsiteX135" fmla="*/ 935325 w 2209464"/>
                <a:gd name="connsiteY135" fmla="*/ 770467 h 2830359"/>
                <a:gd name="connsiteX136" fmla="*/ 884525 w 2209464"/>
                <a:gd name="connsiteY136" fmla="*/ 787400 h 2830359"/>
                <a:gd name="connsiteX137" fmla="*/ 859125 w 2209464"/>
                <a:gd name="connsiteY137" fmla="*/ 872067 h 2830359"/>
                <a:gd name="connsiteX138" fmla="*/ 850658 w 2209464"/>
                <a:gd name="connsiteY138" fmla="*/ 897467 h 2830359"/>
                <a:gd name="connsiteX139" fmla="*/ 825258 w 2209464"/>
                <a:gd name="connsiteY139" fmla="*/ 905933 h 2830359"/>
                <a:gd name="connsiteX140" fmla="*/ 808325 w 2209464"/>
                <a:gd name="connsiteY140" fmla="*/ 922867 h 2830359"/>
                <a:gd name="connsiteX141" fmla="*/ 782925 w 2209464"/>
                <a:gd name="connsiteY141" fmla="*/ 939800 h 2830359"/>
                <a:gd name="connsiteX142" fmla="*/ 757525 w 2209464"/>
                <a:gd name="connsiteY142" fmla="*/ 990600 h 2830359"/>
                <a:gd name="connsiteX143" fmla="*/ 732125 w 2209464"/>
                <a:gd name="connsiteY143" fmla="*/ 1016000 h 2830359"/>
                <a:gd name="connsiteX144" fmla="*/ 681325 w 2209464"/>
                <a:gd name="connsiteY144" fmla="*/ 1032933 h 2830359"/>
                <a:gd name="connsiteX145" fmla="*/ 672858 w 2209464"/>
                <a:gd name="connsiteY145" fmla="*/ 1058333 h 2830359"/>
                <a:gd name="connsiteX146" fmla="*/ 613592 w 2209464"/>
                <a:gd name="connsiteY146" fmla="*/ 1066800 h 2830359"/>
                <a:gd name="connsiteX147" fmla="*/ 588192 w 2209464"/>
                <a:gd name="connsiteY147" fmla="*/ 1075267 h 2830359"/>
                <a:gd name="connsiteX148" fmla="*/ 545858 w 2209464"/>
                <a:gd name="connsiteY148" fmla="*/ 1066800 h 2830359"/>
                <a:gd name="connsiteX149" fmla="*/ 519797 w 2209464"/>
                <a:gd name="connsiteY149" fmla="*/ 1070744 h 2830359"/>
                <a:gd name="connsiteX150" fmla="*/ 447789 w 2209464"/>
                <a:gd name="connsiteY150" fmla="*/ 1070744 h 2830359"/>
                <a:gd name="connsiteX151" fmla="*/ 435792 w 2209464"/>
                <a:gd name="connsiteY151" fmla="*/ 1007533 h 2830359"/>
                <a:gd name="connsiteX152" fmla="*/ 401925 w 2209464"/>
                <a:gd name="connsiteY152" fmla="*/ 1075267 h 2830359"/>
                <a:gd name="connsiteX153" fmla="*/ 368058 w 2209464"/>
                <a:gd name="connsiteY153" fmla="*/ 1083733 h 2830359"/>
                <a:gd name="connsiteX154" fmla="*/ 351125 w 2209464"/>
                <a:gd name="connsiteY154" fmla="*/ 1100667 h 2830359"/>
                <a:gd name="connsiteX155" fmla="*/ 342658 w 2209464"/>
                <a:gd name="connsiteY155" fmla="*/ 1126067 h 2830359"/>
                <a:gd name="connsiteX156" fmla="*/ 317258 w 2209464"/>
                <a:gd name="connsiteY156" fmla="*/ 1134533 h 2830359"/>
                <a:gd name="connsiteX157" fmla="*/ 308792 w 2209464"/>
                <a:gd name="connsiteY157" fmla="*/ 1159933 h 2830359"/>
                <a:gd name="connsiteX158" fmla="*/ 266458 w 2209464"/>
                <a:gd name="connsiteY158" fmla="*/ 1168400 h 2830359"/>
                <a:gd name="connsiteX159" fmla="*/ 283392 w 2209464"/>
                <a:gd name="connsiteY159" fmla="*/ 1261533 h 2830359"/>
                <a:gd name="connsiteX160" fmla="*/ 300325 w 2209464"/>
                <a:gd name="connsiteY160" fmla="*/ 1278467 h 2830359"/>
                <a:gd name="connsiteX161" fmla="*/ 334192 w 2209464"/>
                <a:gd name="connsiteY161" fmla="*/ 1397000 h 2830359"/>
                <a:gd name="connsiteX162" fmla="*/ 359592 w 2209464"/>
                <a:gd name="connsiteY162" fmla="*/ 1473200 h 2830359"/>
                <a:gd name="connsiteX163" fmla="*/ 384992 w 2209464"/>
                <a:gd name="connsiteY163" fmla="*/ 1490133 h 2830359"/>
                <a:gd name="connsiteX164" fmla="*/ 393458 w 2209464"/>
                <a:gd name="connsiteY164" fmla="*/ 1515533 h 2830359"/>
                <a:gd name="connsiteX165" fmla="*/ 401925 w 2209464"/>
                <a:gd name="connsiteY165" fmla="*/ 1574800 h 2830359"/>
                <a:gd name="connsiteX166" fmla="*/ 427325 w 2209464"/>
                <a:gd name="connsiteY166" fmla="*/ 1583267 h 2830359"/>
                <a:gd name="connsiteX167" fmla="*/ 427325 w 2209464"/>
                <a:gd name="connsiteY167" fmla="*/ 1634067 h 2830359"/>
                <a:gd name="connsiteX168" fmla="*/ 435792 w 2209464"/>
                <a:gd name="connsiteY168" fmla="*/ 1676400 h 2830359"/>
                <a:gd name="connsiteX169" fmla="*/ 427325 w 2209464"/>
                <a:gd name="connsiteY169" fmla="*/ 1727200 h 2830359"/>
                <a:gd name="connsiteX170" fmla="*/ 401925 w 2209464"/>
                <a:gd name="connsiteY170" fmla="*/ 1735667 h 2830359"/>
                <a:gd name="connsiteX171" fmla="*/ 317258 w 2209464"/>
                <a:gd name="connsiteY171" fmla="*/ 1744133 h 2830359"/>
                <a:gd name="connsiteX172" fmla="*/ 291858 w 2209464"/>
                <a:gd name="connsiteY172" fmla="*/ 1752600 h 2830359"/>
                <a:gd name="connsiteX173" fmla="*/ 241058 w 2209464"/>
                <a:gd name="connsiteY173" fmla="*/ 1710267 h 2830359"/>
                <a:gd name="connsiteX174" fmla="*/ 224125 w 2209464"/>
                <a:gd name="connsiteY174" fmla="*/ 1693333 h 2830359"/>
                <a:gd name="connsiteX175" fmla="*/ 147925 w 2209464"/>
                <a:gd name="connsiteY175" fmla="*/ 1693333 h 2830359"/>
                <a:gd name="connsiteX176" fmla="*/ 54792 w 2209464"/>
                <a:gd name="connsiteY176" fmla="*/ 1701800 h 2830359"/>
                <a:gd name="connsiteX177" fmla="*/ 46325 w 2209464"/>
                <a:gd name="connsiteY177" fmla="*/ 1761067 h 2830359"/>
                <a:gd name="connsiteX178" fmla="*/ 12458 w 2209464"/>
                <a:gd name="connsiteY178" fmla="*/ 1769533 h 2830359"/>
                <a:gd name="connsiteX179" fmla="*/ 54792 w 2209464"/>
                <a:gd name="connsiteY179" fmla="*/ 1862667 h 2830359"/>
                <a:gd name="connsiteX180" fmla="*/ 88658 w 2209464"/>
                <a:gd name="connsiteY180" fmla="*/ 1913467 h 2830359"/>
                <a:gd name="connsiteX181" fmla="*/ 97125 w 2209464"/>
                <a:gd name="connsiteY181" fmla="*/ 1938867 h 2830359"/>
                <a:gd name="connsiteX182" fmla="*/ 122525 w 2209464"/>
                <a:gd name="connsiteY182" fmla="*/ 1947333 h 2830359"/>
                <a:gd name="connsiteX183" fmla="*/ 249525 w 2209464"/>
                <a:gd name="connsiteY183" fmla="*/ 1955800 h 2830359"/>
                <a:gd name="connsiteX184" fmla="*/ 291858 w 2209464"/>
                <a:gd name="connsiteY184" fmla="*/ 1947333 h 2830359"/>
                <a:gd name="connsiteX185" fmla="*/ 291858 w 2209464"/>
                <a:gd name="connsiteY185" fmla="*/ 1998133 h 2830359"/>
                <a:gd name="connsiteX186" fmla="*/ 283392 w 2209464"/>
                <a:gd name="connsiteY186" fmla="*/ 2048933 h 2830359"/>
                <a:gd name="connsiteX187" fmla="*/ 114058 w 2209464"/>
                <a:gd name="connsiteY187" fmla="*/ 2032000 h 2830359"/>
                <a:gd name="connsiteX188" fmla="*/ 130992 w 2209464"/>
                <a:gd name="connsiteY188" fmla="*/ 2015067 h 2830359"/>
                <a:gd name="connsiteX189" fmla="*/ 88658 w 2209464"/>
                <a:gd name="connsiteY189" fmla="*/ 2023533 h 2830359"/>
                <a:gd name="connsiteX190" fmla="*/ 105592 w 2209464"/>
                <a:gd name="connsiteY190" fmla="*/ 2040467 h 2830359"/>
                <a:gd name="connsiteX191" fmla="*/ 97125 w 2209464"/>
                <a:gd name="connsiteY191" fmla="*/ 2065867 h 2830359"/>
                <a:gd name="connsiteX192" fmla="*/ 80192 w 2209464"/>
                <a:gd name="connsiteY192" fmla="*/ 2133600 h 2830359"/>
                <a:gd name="connsiteX193" fmla="*/ 97125 w 2209464"/>
                <a:gd name="connsiteY193" fmla="*/ 2159000 h 2830359"/>
                <a:gd name="connsiteX194" fmla="*/ 147925 w 2209464"/>
                <a:gd name="connsiteY194" fmla="*/ 2175933 h 2830359"/>
                <a:gd name="connsiteX195" fmla="*/ 164858 w 2209464"/>
                <a:gd name="connsiteY195" fmla="*/ 2243667 h 2830359"/>
                <a:gd name="connsiteX196" fmla="*/ 198725 w 2209464"/>
                <a:gd name="connsiteY196" fmla="*/ 2294467 h 2830359"/>
                <a:gd name="connsiteX197" fmla="*/ 224125 w 2209464"/>
                <a:gd name="connsiteY197" fmla="*/ 2345267 h 2830359"/>
                <a:gd name="connsiteX198" fmla="*/ 283392 w 2209464"/>
                <a:gd name="connsiteY198" fmla="*/ 2370667 h 2830359"/>
                <a:gd name="connsiteX199" fmla="*/ 291858 w 2209464"/>
                <a:gd name="connsiteY199" fmla="*/ 2396067 h 2830359"/>
                <a:gd name="connsiteX200" fmla="*/ 317258 w 2209464"/>
                <a:gd name="connsiteY200" fmla="*/ 2404533 h 2830359"/>
                <a:gd name="connsiteX201" fmla="*/ 376525 w 2209464"/>
                <a:gd name="connsiteY201" fmla="*/ 2421467 h 2830359"/>
                <a:gd name="connsiteX202" fmla="*/ 334192 w 2209464"/>
                <a:gd name="connsiteY202" fmla="*/ 2429933 h 2830359"/>
                <a:gd name="connsiteX203" fmla="*/ 401925 w 2209464"/>
                <a:gd name="connsiteY203" fmla="*/ 2421467 h 2830359"/>
                <a:gd name="connsiteX204" fmla="*/ 393458 w 2209464"/>
                <a:gd name="connsiteY204" fmla="*/ 2396067 h 2830359"/>
                <a:gd name="connsiteX205" fmla="*/ 384992 w 2209464"/>
                <a:gd name="connsiteY205" fmla="*/ 2362200 h 2830359"/>
                <a:gd name="connsiteX206" fmla="*/ 537392 w 2209464"/>
                <a:gd name="connsiteY206" fmla="*/ 2353733 h 2830359"/>
                <a:gd name="connsiteX207" fmla="*/ 562792 w 2209464"/>
                <a:gd name="connsiteY207" fmla="*/ 2345267 h 2830359"/>
                <a:gd name="connsiteX208" fmla="*/ 579725 w 2209464"/>
                <a:gd name="connsiteY208" fmla="*/ 2328333 h 2830359"/>
                <a:gd name="connsiteX209" fmla="*/ 588192 w 2209464"/>
                <a:gd name="connsiteY209" fmla="*/ 2302933 h 2830359"/>
                <a:gd name="connsiteX210" fmla="*/ 571258 w 2209464"/>
                <a:gd name="connsiteY210" fmla="*/ 2235200 h 2830359"/>
                <a:gd name="connsiteX211" fmla="*/ 605125 w 2209464"/>
                <a:gd name="connsiteY211" fmla="*/ 2159000 h 2830359"/>
                <a:gd name="connsiteX212" fmla="*/ 630525 w 2209464"/>
                <a:gd name="connsiteY212" fmla="*/ 2142067 h 2830359"/>
                <a:gd name="connsiteX213" fmla="*/ 655925 w 2209464"/>
                <a:gd name="connsiteY213" fmla="*/ 2150533 h 2830359"/>
                <a:gd name="connsiteX214" fmla="*/ 664392 w 2209464"/>
                <a:gd name="connsiteY214" fmla="*/ 2209800 h 2830359"/>
                <a:gd name="connsiteX215" fmla="*/ 672858 w 2209464"/>
                <a:gd name="connsiteY215" fmla="*/ 2235200 h 2830359"/>
                <a:gd name="connsiteX216" fmla="*/ 681325 w 2209464"/>
                <a:gd name="connsiteY216" fmla="*/ 2269067 h 2830359"/>
                <a:gd name="connsiteX217" fmla="*/ 664392 w 2209464"/>
                <a:gd name="connsiteY217" fmla="*/ 2370667 h 2830359"/>
                <a:gd name="connsiteX218" fmla="*/ 647458 w 2209464"/>
                <a:gd name="connsiteY218" fmla="*/ 2387600 h 2830359"/>
                <a:gd name="connsiteX219" fmla="*/ 630525 w 2209464"/>
                <a:gd name="connsiteY219" fmla="*/ 2455333 h 2830359"/>
                <a:gd name="connsiteX220" fmla="*/ 622058 w 2209464"/>
                <a:gd name="connsiteY220" fmla="*/ 2480733 h 2830359"/>
                <a:gd name="connsiteX221" fmla="*/ 613592 w 2209464"/>
                <a:gd name="connsiteY221" fmla="*/ 2514600 h 2830359"/>
                <a:gd name="connsiteX222" fmla="*/ 596658 w 2209464"/>
                <a:gd name="connsiteY222" fmla="*/ 2531533 h 2830359"/>
                <a:gd name="connsiteX223" fmla="*/ 579725 w 2209464"/>
                <a:gd name="connsiteY223" fmla="*/ 2582333 h 2830359"/>
                <a:gd name="connsiteX224" fmla="*/ 596658 w 2209464"/>
                <a:gd name="connsiteY224" fmla="*/ 2709333 h 2830359"/>
                <a:gd name="connsiteX225" fmla="*/ 605125 w 2209464"/>
                <a:gd name="connsiteY225" fmla="*/ 2819400 h 2830359"/>
                <a:gd name="connsiteX226" fmla="*/ 638992 w 2209464"/>
                <a:gd name="connsiteY226" fmla="*/ 2827867 h 2830359"/>
                <a:gd name="connsiteX227" fmla="*/ 638992 w 2209464"/>
                <a:gd name="connsiteY227" fmla="*/ 2819400 h 2830359"/>
                <a:gd name="connsiteX0" fmla="*/ 638992 w 2197576"/>
                <a:gd name="connsiteY0" fmla="*/ 2819400 h 2830359"/>
                <a:gd name="connsiteX1" fmla="*/ 655925 w 2197576"/>
                <a:gd name="connsiteY1" fmla="*/ 2760133 h 2830359"/>
                <a:gd name="connsiteX2" fmla="*/ 664392 w 2197576"/>
                <a:gd name="connsiteY2" fmla="*/ 2734733 h 2830359"/>
                <a:gd name="connsiteX3" fmla="*/ 681325 w 2197576"/>
                <a:gd name="connsiteY3" fmla="*/ 2709333 h 2830359"/>
                <a:gd name="connsiteX4" fmla="*/ 723658 w 2197576"/>
                <a:gd name="connsiteY4" fmla="*/ 2658533 h 2830359"/>
                <a:gd name="connsiteX5" fmla="*/ 732125 w 2197576"/>
                <a:gd name="connsiteY5" fmla="*/ 2633133 h 2830359"/>
                <a:gd name="connsiteX6" fmla="*/ 757525 w 2197576"/>
                <a:gd name="connsiteY6" fmla="*/ 2607733 h 2830359"/>
                <a:gd name="connsiteX7" fmla="*/ 740592 w 2197576"/>
                <a:gd name="connsiteY7" fmla="*/ 2480733 h 2830359"/>
                <a:gd name="connsiteX8" fmla="*/ 749058 w 2197576"/>
                <a:gd name="connsiteY8" fmla="*/ 2429933 h 2830359"/>
                <a:gd name="connsiteX9" fmla="*/ 791392 w 2197576"/>
                <a:gd name="connsiteY9" fmla="*/ 2404533 h 2830359"/>
                <a:gd name="connsiteX10" fmla="*/ 816792 w 2197576"/>
                <a:gd name="connsiteY10" fmla="*/ 2387600 h 2830359"/>
                <a:gd name="connsiteX11" fmla="*/ 825258 w 2197576"/>
                <a:gd name="connsiteY11" fmla="*/ 2336800 h 2830359"/>
                <a:gd name="connsiteX12" fmla="*/ 850658 w 2197576"/>
                <a:gd name="connsiteY12" fmla="*/ 2328333 h 2830359"/>
                <a:gd name="connsiteX13" fmla="*/ 918392 w 2197576"/>
                <a:gd name="connsiteY13" fmla="*/ 2319867 h 2830359"/>
                <a:gd name="connsiteX14" fmla="*/ 909925 w 2197576"/>
                <a:gd name="connsiteY14" fmla="*/ 2294467 h 2830359"/>
                <a:gd name="connsiteX15" fmla="*/ 859125 w 2197576"/>
                <a:gd name="connsiteY15" fmla="*/ 2286000 h 2830359"/>
                <a:gd name="connsiteX16" fmla="*/ 833725 w 2197576"/>
                <a:gd name="connsiteY16" fmla="*/ 2277533 h 2830359"/>
                <a:gd name="connsiteX17" fmla="*/ 850658 w 2197576"/>
                <a:gd name="connsiteY17" fmla="*/ 2252133 h 2830359"/>
                <a:gd name="connsiteX18" fmla="*/ 859125 w 2197576"/>
                <a:gd name="connsiteY18" fmla="*/ 2218267 h 2830359"/>
                <a:gd name="connsiteX19" fmla="*/ 884525 w 2197576"/>
                <a:gd name="connsiteY19" fmla="*/ 2209800 h 2830359"/>
                <a:gd name="connsiteX20" fmla="*/ 909925 w 2197576"/>
                <a:gd name="connsiteY20" fmla="*/ 2192867 h 2830359"/>
                <a:gd name="connsiteX21" fmla="*/ 926858 w 2197576"/>
                <a:gd name="connsiteY21" fmla="*/ 2142067 h 2830359"/>
                <a:gd name="connsiteX22" fmla="*/ 935325 w 2197576"/>
                <a:gd name="connsiteY22" fmla="*/ 2057400 h 2830359"/>
                <a:gd name="connsiteX23" fmla="*/ 952258 w 2197576"/>
                <a:gd name="connsiteY23" fmla="*/ 2032000 h 2830359"/>
                <a:gd name="connsiteX24" fmla="*/ 1011525 w 2197576"/>
                <a:gd name="connsiteY24" fmla="*/ 2023533 h 2830359"/>
                <a:gd name="connsiteX25" fmla="*/ 1019992 w 2197576"/>
                <a:gd name="connsiteY25" fmla="*/ 1998133 h 2830359"/>
                <a:gd name="connsiteX26" fmla="*/ 1070792 w 2197576"/>
                <a:gd name="connsiteY26" fmla="*/ 1930400 h 2830359"/>
                <a:gd name="connsiteX27" fmla="*/ 1079258 w 2197576"/>
                <a:gd name="connsiteY27" fmla="*/ 1896533 h 2830359"/>
                <a:gd name="connsiteX28" fmla="*/ 1087725 w 2197576"/>
                <a:gd name="connsiteY28" fmla="*/ 1871133 h 2830359"/>
                <a:gd name="connsiteX29" fmla="*/ 1096192 w 2197576"/>
                <a:gd name="connsiteY29" fmla="*/ 1828800 h 2830359"/>
                <a:gd name="connsiteX30" fmla="*/ 1079258 w 2197576"/>
                <a:gd name="connsiteY30" fmla="*/ 1769533 h 2830359"/>
                <a:gd name="connsiteX31" fmla="*/ 1062325 w 2197576"/>
                <a:gd name="connsiteY31" fmla="*/ 1744133 h 2830359"/>
                <a:gd name="connsiteX32" fmla="*/ 1070792 w 2197576"/>
                <a:gd name="connsiteY32" fmla="*/ 1693333 h 2830359"/>
                <a:gd name="connsiteX33" fmla="*/ 1130058 w 2197576"/>
                <a:gd name="connsiteY33" fmla="*/ 1701800 h 2830359"/>
                <a:gd name="connsiteX34" fmla="*/ 1206258 w 2197576"/>
                <a:gd name="connsiteY34" fmla="*/ 1718733 h 2830359"/>
                <a:gd name="connsiteX35" fmla="*/ 1282458 w 2197576"/>
                <a:gd name="connsiteY35" fmla="*/ 1854200 h 2830359"/>
                <a:gd name="connsiteX36" fmla="*/ 1307858 w 2197576"/>
                <a:gd name="connsiteY36" fmla="*/ 1837267 h 2830359"/>
                <a:gd name="connsiteX37" fmla="*/ 1350192 w 2197576"/>
                <a:gd name="connsiteY37" fmla="*/ 1871133 h 2830359"/>
                <a:gd name="connsiteX38" fmla="*/ 1375592 w 2197576"/>
                <a:gd name="connsiteY38" fmla="*/ 1862667 h 2830359"/>
                <a:gd name="connsiteX39" fmla="*/ 1417925 w 2197576"/>
                <a:gd name="connsiteY39" fmla="*/ 1871133 h 2830359"/>
                <a:gd name="connsiteX40" fmla="*/ 1434858 w 2197576"/>
                <a:gd name="connsiteY40" fmla="*/ 1845733 h 2830359"/>
                <a:gd name="connsiteX41" fmla="*/ 1451792 w 2197576"/>
                <a:gd name="connsiteY41" fmla="*/ 1786467 h 2830359"/>
                <a:gd name="connsiteX42" fmla="*/ 1477192 w 2197576"/>
                <a:gd name="connsiteY42" fmla="*/ 1778000 h 2830359"/>
                <a:gd name="connsiteX43" fmla="*/ 1494125 w 2197576"/>
                <a:gd name="connsiteY43" fmla="*/ 1752600 h 2830359"/>
                <a:gd name="connsiteX44" fmla="*/ 1502592 w 2197576"/>
                <a:gd name="connsiteY44" fmla="*/ 1693333 h 2830359"/>
                <a:gd name="connsiteX45" fmla="*/ 1527992 w 2197576"/>
                <a:gd name="connsiteY45" fmla="*/ 1676400 h 2830359"/>
                <a:gd name="connsiteX46" fmla="*/ 1485658 w 2197576"/>
                <a:gd name="connsiteY46" fmla="*/ 1625600 h 2830359"/>
                <a:gd name="connsiteX47" fmla="*/ 1443325 w 2197576"/>
                <a:gd name="connsiteY47" fmla="*/ 1617133 h 2830359"/>
                <a:gd name="connsiteX48" fmla="*/ 1434858 w 2197576"/>
                <a:gd name="connsiteY48" fmla="*/ 1591733 h 2830359"/>
                <a:gd name="connsiteX49" fmla="*/ 1400992 w 2197576"/>
                <a:gd name="connsiteY49" fmla="*/ 1540933 h 2830359"/>
                <a:gd name="connsiteX50" fmla="*/ 1409458 w 2197576"/>
                <a:gd name="connsiteY50" fmla="*/ 1515533 h 2830359"/>
                <a:gd name="connsiteX51" fmla="*/ 1434858 w 2197576"/>
                <a:gd name="connsiteY51" fmla="*/ 1507067 h 2830359"/>
                <a:gd name="connsiteX52" fmla="*/ 1494125 w 2197576"/>
                <a:gd name="connsiteY52" fmla="*/ 1498600 h 2830359"/>
                <a:gd name="connsiteX53" fmla="*/ 1519525 w 2197576"/>
                <a:gd name="connsiteY53" fmla="*/ 1481667 h 2830359"/>
                <a:gd name="connsiteX54" fmla="*/ 1570325 w 2197576"/>
                <a:gd name="connsiteY54" fmla="*/ 1464733 h 2830359"/>
                <a:gd name="connsiteX55" fmla="*/ 1646525 w 2197576"/>
                <a:gd name="connsiteY55" fmla="*/ 1405467 h 2830359"/>
                <a:gd name="connsiteX56" fmla="*/ 1807392 w 2197576"/>
                <a:gd name="connsiteY56" fmla="*/ 1380067 h 2830359"/>
                <a:gd name="connsiteX57" fmla="*/ 1866658 w 2197576"/>
                <a:gd name="connsiteY57" fmla="*/ 1312333 h 2830359"/>
                <a:gd name="connsiteX58" fmla="*/ 1883592 w 2197576"/>
                <a:gd name="connsiteY58" fmla="*/ 1261533 h 2830359"/>
                <a:gd name="connsiteX59" fmla="*/ 1976725 w 2197576"/>
                <a:gd name="connsiteY59" fmla="*/ 1244600 h 2830359"/>
                <a:gd name="connsiteX60" fmla="*/ 2019058 w 2197576"/>
                <a:gd name="connsiteY60" fmla="*/ 1210733 h 2830359"/>
                <a:gd name="connsiteX61" fmla="*/ 2035992 w 2197576"/>
                <a:gd name="connsiteY61" fmla="*/ 1193800 h 2830359"/>
                <a:gd name="connsiteX62" fmla="*/ 2031965 w 2197576"/>
                <a:gd name="connsiteY62" fmla="*/ 1214760 h 2830359"/>
                <a:gd name="connsiteX63" fmla="*/ 2120658 w 2197576"/>
                <a:gd name="connsiteY63" fmla="*/ 1176867 h 2830359"/>
                <a:gd name="connsiteX64" fmla="*/ 2027525 w 2197576"/>
                <a:gd name="connsiteY64" fmla="*/ 1168400 h 2830359"/>
                <a:gd name="connsiteX65" fmla="*/ 2019058 w 2197576"/>
                <a:gd name="connsiteY65" fmla="*/ 1134533 h 2830359"/>
                <a:gd name="connsiteX66" fmla="*/ 2002125 w 2197576"/>
                <a:gd name="connsiteY66" fmla="*/ 1083733 h 2830359"/>
                <a:gd name="connsiteX67" fmla="*/ 2010592 w 2197576"/>
                <a:gd name="connsiteY67" fmla="*/ 1058333 h 2830359"/>
                <a:gd name="connsiteX68" fmla="*/ 2035992 w 2197576"/>
                <a:gd name="connsiteY68" fmla="*/ 1041400 h 2830359"/>
                <a:gd name="connsiteX69" fmla="*/ 2052925 w 2197576"/>
                <a:gd name="connsiteY69" fmla="*/ 1016000 h 2830359"/>
                <a:gd name="connsiteX70" fmla="*/ 2044458 w 2197576"/>
                <a:gd name="connsiteY70" fmla="*/ 982133 h 2830359"/>
                <a:gd name="connsiteX71" fmla="*/ 2044458 w 2197576"/>
                <a:gd name="connsiteY71" fmla="*/ 914400 h 2830359"/>
                <a:gd name="connsiteX72" fmla="*/ 2069858 w 2197576"/>
                <a:gd name="connsiteY72" fmla="*/ 905933 h 2830359"/>
                <a:gd name="connsiteX73" fmla="*/ 2086792 w 2197576"/>
                <a:gd name="connsiteY73" fmla="*/ 889000 h 2830359"/>
                <a:gd name="connsiteX74" fmla="*/ 2103725 w 2197576"/>
                <a:gd name="connsiteY74" fmla="*/ 804333 h 2830359"/>
                <a:gd name="connsiteX75" fmla="*/ 2129125 w 2197576"/>
                <a:gd name="connsiteY75" fmla="*/ 787400 h 2830359"/>
                <a:gd name="connsiteX76" fmla="*/ 2146058 w 2197576"/>
                <a:gd name="connsiteY76" fmla="*/ 762000 h 2830359"/>
                <a:gd name="connsiteX77" fmla="*/ 2162992 w 2197576"/>
                <a:gd name="connsiteY77" fmla="*/ 745067 h 2830359"/>
                <a:gd name="connsiteX78" fmla="*/ 2171458 w 2197576"/>
                <a:gd name="connsiteY78" fmla="*/ 719667 h 2830359"/>
                <a:gd name="connsiteX79" fmla="*/ 2162992 w 2197576"/>
                <a:gd name="connsiteY79" fmla="*/ 694267 h 2830359"/>
                <a:gd name="connsiteX80" fmla="*/ 2120658 w 2197576"/>
                <a:gd name="connsiteY80" fmla="*/ 651933 h 2830359"/>
                <a:gd name="connsiteX81" fmla="*/ 2086792 w 2197576"/>
                <a:gd name="connsiteY81" fmla="*/ 601133 h 2830359"/>
                <a:gd name="connsiteX82" fmla="*/ 1968258 w 2197576"/>
                <a:gd name="connsiteY82" fmla="*/ 592667 h 2830359"/>
                <a:gd name="connsiteX83" fmla="*/ 1959792 w 2197576"/>
                <a:gd name="connsiteY83" fmla="*/ 567267 h 2830359"/>
                <a:gd name="connsiteX84" fmla="*/ 1900525 w 2197576"/>
                <a:gd name="connsiteY84" fmla="*/ 541867 h 2830359"/>
                <a:gd name="connsiteX85" fmla="*/ 1824325 w 2197576"/>
                <a:gd name="connsiteY85" fmla="*/ 533400 h 2830359"/>
                <a:gd name="connsiteX86" fmla="*/ 1773525 w 2197576"/>
                <a:gd name="connsiteY86" fmla="*/ 541867 h 2830359"/>
                <a:gd name="connsiteX87" fmla="*/ 1739658 w 2197576"/>
                <a:gd name="connsiteY87" fmla="*/ 550333 h 2830359"/>
                <a:gd name="connsiteX88" fmla="*/ 1731192 w 2197576"/>
                <a:gd name="connsiteY88" fmla="*/ 575733 h 2830359"/>
                <a:gd name="connsiteX89" fmla="*/ 1688858 w 2197576"/>
                <a:gd name="connsiteY89" fmla="*/ 601133 h 2830359"/>
                <a:gd name="connsiteX90" fmla="*/ 1638058 w 2197576"/>
                <a:gd name="connsiteY90" fmla="*/ 592667 h 2830359"/>
                <a:gd name="connsiteX91" fmla="*/ 1612658 w 2197576"/>
                <a:gd name="connsiteY91" fmla="*/ 584200 h 2830359"/>
                <a:gd name="connsiteX92" fmla="*/ 1578792 w 2197576"/>
                <a:gd name="connsiteY92" fmla="*/ 575733 h 2830359"/>
                <a:gd name="connsiteX93" fmla="*/ 1527992 w 2197576"/>
                <a:gd name="connsiteY93" fmla="*/ 558800 h 2830359"/>
                <a:gd name="connsiteX94" fmla="*/ 1511058 w 2197576"/>
                <a:gd name="connsiteY94" fmla="*/ 508000 h 2830359"/>
                <a:gd name="connsiteX95" fmla="*/ 1485658 w 2197576"/>
                <a:gd name="connsiteY95" fmla="*/ 457200 h 2830359"/>
                <a:gd name="connsiteX96" fmla="*/ 1434858 w 2197576"/>
                <a:gd name="connsiteY96" fmla="*/ 448733 h 2830359"/>
                <a:gd name="connsiteX97" fmla="*/ 1426392 w 2197576"/>
                <a:gd name="connsiteY97" fmla="*/ 423333 h 2830359"/>
                <a:gd name="connsiteX98" fmla="*/ 1417925 w 2197576"/>
                <a:gd name="connsiteY98" fmla="*/ 389467 h 2830359"/>
                <a:gd name="connsiteX99" fmla="*/ 1400992 w 2197576"/>
                <a:gd name="connsiteY99" fmla="*/ 338667 h 2830359"/>
                <a:gd name="connsiteX100" fmla="*/ 1417925 w 2197576"/>
                <a:gd name="connsiteY100" fmla="*/ 287867 h 2830359"/>
                <a:gd name="connsiteX101" fmla="*/ 1426392 w 2197576"/>
                <a:gd name="connsiteY101" fmla="*/ 262467 h 2830359"/>
                <a:gd name="connsiteX102" fmla="*/ 1443325 w 2197576"/>
                <a:gd name="connsiteY102" fmla="*/ 203200 h 2830359"/>
                <a:gd name="connsiteX103" fmla="*/ 1434858 w 2197576"/>
                <a:gd name="connsiteY103" fmla="*/ 160867 h 2830359"/>
                <a:gd name="connsiteX104" fmla="*/ 1417925 w 2197576"/>
                <a:gd name="connsiteY104" fmla="*/ 135467 h 2830359"/>
                <a:gd name="connsiteX105" fmla="*/ 1400992 w 2197576"/>
                <a:gd name="connsiteY105" fmla="*/ 84667 h 2830359"/>
                <a:gd name="connsiteX106" fmla="*/ 1375592 w 2197576"/>
                <a:gd name="connsiteY106" fmla="*/ 76200 h 2830359"/>
                <a:gd name="connsiteX107" fmla="*/ 1324792 w 2197576"/>
                <a:gd name="connsiteY107" fmla="*/ 67733 h 2830359"/>
                <a:gd name="connsiteX108" fmla="*/ 1214725 w 2197576"/>
                <a:gd name="connsiteY108" fmla="*/ 42333 h 2830359"/>
                <a:gd name="connsiteX109" fmla="*/ 1172392 w 2197576"/>
                <a:gd name="connsiteY109" fmla="*/ 16933 h 2830359"/>
                <a:gd name="connsiteX110" fmla="*/ 1070792 w 2197576"/>
                <a:gd name="connsiteY110" fmla="*/ 0 h 2830359"/>
                <a:gd name="connsiteX111" fmla="*/ 1070792 w 2197576"/>
                <a:gd name="connsiteY111" fmla="*/ 135467 h 2830359"/>
                <a:gd name="connsiteX112" fmla="*/ 1079258 w 2197576"/>
                <a:gd name="connsiteY112" fmla="*/ 160867 h 2830359"/>
                <a:gd name="connsiteX113" fmla="*/ 1113125 w 2197576"/>
                <a:gd name="connsiteY113" fmla="*/ 169333 h 2830359"/>
                <a:gd name="connsiteX114" fmla="*/ 1130058 w 2197576"/>
                <a:gd name="connsiteY114" fmla="*/ 186267 h 2830359"/>
                <a:gd name="connsiteX115" fmla="*/ 1138525 w 2197576"/>
                <a:gd name="connsiteY115" fmla="*/ 211667 h 2830359"/>
                <a:gd name="connsiteX116" fmla="*/ 1189325 w 2197576"/>
                <a:gd name="connsiteY116" fmla="*/ 228600 h 2830359"/>
                <a:gd name="connsiteX117" fmla="*/ 1248592 w 2197576"/>
                <a:gd name="connsiteY117" fmla="*/ 270933 h 2830359"/>
                <a:gd name="connsiteX118" fmla="*/ 1273992 w 2197576"/>
                <a:gd name="connsiteY118" fmla="*/ 279400 h 2830359"/>
                <a:gd name="connsiteX119" fmla="*/ 1299392 w 2197576"/>
                <a:gd name="connsiteY119" fmla="*/ 287867 h 2830359"/>
                <a:gd name="connsiteX120" fmla="*/ 1316325 w 2197576"/>
                <a:gd name="connsiteY120" fmla="*/ 313267 h 2830359"/>
                <a:gd name="connsiteX121" fmla="*/ 1282458 w 2197576"/>
                <a:gd name="connsiteY121" fmla="*/ 355600 h 2830359"/>
                <a:gd name="connsiteX122" fmla="*/ 1197792 w 2197576"/>
                <a:gd name="connsiteY122" fmla="*/ 381000 h 2830359"/>
                <a:gd name="connsiteX123" fmla="*/ 1206258 w 2197576"/>
                <a:gd name="connsiteY123" fmla="*/ 457200 h 2830359"/>
                <a:gd name="connsiteX124" fmla="*/ 1214725 w 2197576"/>
                <a:gd name="connsiteY124" fmla="*/ 482600 h 2830359"/>
                <a:gd name="connsiteX125" fmla="*/ 1206258 w 2197576"/>
                <a:gd name="connsiteY125" fmla="*/ 508000 h 2830359"/>
                <a:gd name="connsiteX126" fmla="*/ 1138525 w 2197576"/>
                <a:gd name="connsiteY126" fmla="*/ 533400 h 2830359"/>
                <a:gd name="connsiteX127" fmla="*/ 1121592 w 2197576"/>
                <a:gd name="connsiteY127" fmla="*/ 558800 h 2830359"/>
                <a:gd name="connsiteX128" fmla="*/ 1070792 w 2197576"/>
                <a:gd name="connsiteY128" fmla="*/ 601133 h 2830359"/>
                <a:gd name="connsiteX129" fmla="*/ 1079258 w 2197576"/>
                <a:gd name="connsiteY129" fmla="*/ 626533 h 2830359"/>
                <a:gd name="connsiteX130" fmla="*/ 1036925 w 2197576"/>
                <a:gd name="connsiteY130" fmla="*/ 660400 h 2830359"/>
                <a:gd name="connsiteX131" fmla="*/ 1011525 w 2197576"/>
                <a:gd name="connsiteY131" fmla="*/ 668867 h 2830359"/>
                <a:gd name="connsiteX132" fmla="*/ 1019992 w 2197576"/>
                <a:gd name="connsiteY132" fmla="*/ 702733 h 2830359"/>
                <a:gd name="connsiteX133" fmla="*/ 986125 w 2197576"/>
                <a:gd name="connsiteY133" fmla="*/ 711200 h 2830359"/>
                <a:gd name="connsiteX134" fmla="*/ 960725 w 2197576"/>
                <a:gd name="connsiteY134" fmla="*/ 719667 h 2830359"/>
                <a:gd name="connsiteX135" fmla="*/ 935325 w 2197576"/>
                <a:gd name="connsiteY135" fmla="*/ 770467 h 2830359"/>
                <a:gd name="connsiteX136" fmla="*/ 884525 w 2197576"/>
                <a:gd name="connsiteY136" fmla="*/ 787400 h 2830359"/>
                <a:gd name="connsiteX137" fmla="*/ 859125 w 2197576"/>
                <a:gd name="connsiteY137" fmla="*/ 872067 h 2830359"/>
                <a:gd name="connsiteX138" fmla="*/ 850658 w 2197576"/>
                <a:gd name="connsiteY138" fmla="*/ 897467 h 2830359"/>
                <a:gd name="connsiteX139" fmla="*/ 825258 w 2197576"/>
                <a:gd name="connsiteY139" fmla="*/ 905933 h 2830359"/>
                <a:gd name="connsiteX140" fmla="*/ 808325 w 2197576"/>
                <a:gd name="connsiteY140" fmla="*/ 922867 h 2830359"/>
                <a:gd name="connsiteX141" fmla="*/ 782925 w 2197576"/>
                <a:gd name="connsiteY141" fmla="*/ 939800 h 2830359"/>
                <a:gd name="connsiteX142" fmla="*/ 757525 w 2197576"/>
                <a:gd name="connsiteY142" fmla="*/ 990600 h 2830359"/>
                <a:gd name="connsiteX143" fmla="*/ 732125 w 2197576"/>
                <a:gd name="connsiteY143" fmla="*/ 1016000 h 2830359"/>
                <a:gd name="connsiteX144" fmla="*/ 681325 w 2197576"/>
                <a:gd name="connsiteY144" fmla="*/ 1032933 h 2830359"/>
                <a:gd name="connsiteX145" fmla="*/ 672858 w 2197576"/>
                <a:gd name="connsiteY145" fmla="*/ 1058333 h 2830359"/>
                <a:gd name="connsiteX146" fmla="*/ 613592 w 2197576"/>
                <a:gd name="connsiteY146" fmla="*/ 1066800 h 2830359"/>
                <a:gd name="connsiteX147" fmla="*/ 588192 w 2197576"/>
                <a:gd name="connsiteY147" fmla="*/ 1075267 h 2830359"/>
                <a:gd name="connsiteX148" fmla="*/ 545858 w 2197576"/>
                <a:gd name="connsiteY148" fmla="*/ 1066800 h 2830359"/>
                <a:gd name="connsiteX149" fmla="*/ 519797 w 2197576"/>
                <a:gd name="connsiteY149" fmla="*/ 1070744 h 2830359"/>
                <a:gd name="connsiteX150" fmla="*/ 447789 w 2197576"/>
                <a:gd name="connsiteY150" fmla="*/ 1070744 h 2830359"/>
                <a:gd name="connsiteX151" fmla="*/ 435792 w 2197576"/>
                <a:gd name="connsiteY151" fmla="*/ 1007533 h 2830359"/>
                <a:gd name="connsiteX152" fmla="*/ 401925 w 2197576"/>
                <a:gd name="connsiteY152" fmla="*/ 1075267 h 2830359"/>
                <a:gd name="connsiteX153" fmla="*/ 368058 w 2197576"/>
                <a:gd name="connsiteY153" fmla="*/ 1083733 h 2830359"/>
                <a:gd name="connsiteX154" fmla="*/ 351125 w 2197576"/>
                <a:gd name="connsiteY154" fmla="*/ 1100667 h 2830359"/>
                <a:gd name="connsiteX155" fmla="*/ 342658 w 2197576"/>
                <a:gd name="connsiteY155" fmla="*/ 1126067 h 2830359"/>
                <a:gd name="connsiteX156" fmla="*/ 317258 w 2197576"/>
                <a:gd name="connsiteY156" fmla="*/ 1134533 h 2830359"/>
                <a:gd name="connsiteX157" fmla="*/ 308792 w 2197576"/>
                <a:gd name="connsiteY157" fmla="*/ 1159933 h 2830359"/>
                <a:gd name="connsiteX158" fmla="*/ 266458 w 2197576"/>
                <a:gd name="connsiteY158" fmla="*/ 1168400 h 2830359"/>
                <a:gd name="connsiteX159" fmla="*/ 283392 w 2197576"/>
                <a:gd name="connsiteY159" fmla="*/ 1261533 h 2830359"/>
                <a:gd name="connsiteX160" fmla="*/ 300325 w 2197576"/>
                <a:gd name="connsiteY160" fmla="*/ 1278467 h 2830359"/>
                <a:gd name="connsiteX161" fmla="*/ 334192 w 2197576"/>
                <a:gd name="connsiteY161" fmla="*/ 1397000 h 2830359"/>
                <a:gd name="connsiteX162" fmla="*/ 359592 w 2197576"/>
                <a:gd name="connsiteY162" fmla="*/ 1473200 h 2830359"/>
                <a:gd name="connsiteX163" fmla="*/ 384992 w 2197576"/>
                <a:gd name="connsiteY163" fmla="*/ 1490133 h 2830359"/>
                <a:gd name="connsiteX164" fmla="*/ 393458 w 2197576"/>
                <a:gd name="connsiteY164" fmla="*/ 1515533 h 2830359"/>
                <a:gd name="connsiteX165" fmla="*/ 401925 w 2197576"/>
                <a:gd name="connsiteY165" fmla="*/ 1574800 h 2830359"/>
                <a:gd name="connsiteX166" fmla="*/ 427325 w 2197576"/>
                <a:gd name="connsiteY166" fmla="*/ 1583267 h 2830359"/>
                <a:gd name="connsiteX167" fmla="*/ 427325 w 2197576"/>
                <a:gd name="connsiteY167" fmla="*/ 1634067 h 2830359"/>
                <a:gd name="connsiteX168" fmla="*/ 435792 w 2197576"/>
                <a:gd name="connsiteY168" fmla="*/ 1676400 h 2830359"/>
                <a:gd name="connsiteX169" fmla="*/ 427325 w 2197576"/>
                <a:gd name="connsiteY169" fmla="*/ 1727200 h 2830359"/>
                <a:gd name="connsiteX170" fmla="*/ 401925 w 2197576"/>
                <a:gd name="connsiteY170" fmla="*/ 1735667 h 2830359"/>
                <a:gd name="connsiteX171" fmla="*/ 317258 w 2197576"/>
                <a:gd name="connsiteY171" fmla="*/ 1744133 h 2830359"/>
                <a:gd name="connsiteX172" fmla="*/ 291858 w 2197576"/>
                <a:gd name="connsiteY172" fmla="*/ 1752600 h 2830359"/>
                <a:gd name="connsiteX173" fmla="*/ 241058 w 2197576"/>
                <a:gd name="connsiteY173" fmla="*/ 1710267 h 2830359"/>
                <a:gd name="connsiteX174" fmla="*/ 224125 w 2197576"/>
                <a:gd name="connsiteY174" fmla="*/ 1693333 h 2830359"/>
                <a:gd name="connsiteX175" fmla="*/ 147925 w 2197576"/>
                <a:gd name="connsiteY175" fmla="*/ 1693333 h 2830359"/>
                <a:gd name="connsiteX176" fmla="*/ 54792 w 2197576"/>
                <a:gd name="connsiteY176" fmla="*/ 1701800 h 2830359"/>
                <a:gd name="connsiteX177" fmla="*/ 46325 w 2197576"/>
                <a:gd name="connsiteY177" fmla="*/ 1761067 h 2830359"/>
                <a:gd name="connsiteX178" fmla="*/ 12458 w 2197576"/>
                <a:gd name="connsiteY178" fmla="*/ 1769533 h 2830359"/>
                <a:gd name="connsiteX179" fmla="*/ 54792 w 2197576"/>
                <a:gd name="connsiteY179" fmla="*/ 1862667 h 2830359"/>
                <a:gd name="connsiteX180" fmla="*/ 88658 w 2197576"/>
                <a:gd name="connsiteY180" fmla="*/ 1913467 h 2830359"/>
                <a:gd name="connsiteX181" fmla="*/ 97125 w 2197576"/>
                <a:gd name="connsiteY181" fmla="*/ 1938867 h 2830359"/>
                <a:gd name="connsiteX182" fmla="*/ 122525 w 2197576"/>
                <a:gd name="connsiteY182" fmla="*/ 1947333 h 2830359"/>
                <a:gd name="connsiteX183" fmla="*/ 249525 w 2197576"/>
                <a:gd name="connsiteY183" fmla="*/ 1955800 h 2830359"/>
                <a:gd name="connsiteX184" fmla="*/ 291858 w 2197576"/>
                <a:gd name="connsiteY184" fmla="*/ 1947333 h 2830359"/>
                <a:gd name="connsiteX185" fmla="*/ 291858 w 2197576"/>
                <a:gd name="connsiteY185" fmla="*/ 1998133 h 2830359"/>
                <a:gd name="connsiteX186" fmla="*/ 283392 w 2197576"/>
                <a:gd name="connsiteY186" fmla="*/ 2048933 h 2830359"/>
                <a:gd name="connsiteX187" fmla="*/ 114058 w 2197576"/>
                <a:gd name="connsiteY187" fmla="*/ 2032000 h 2830359"/>
                <a:gd name="connsiteX188" fmla="*/ 130992 w 2197576"/>
                <a:gd name="connsiteY188" fmla="*/ 2015067 h 2830359"/>
                <a:gd name="connsiteX189" fmla="*/ 88658 w 2197576"/>
                <a:gd name="connsiteY189" fmla="*/ 2023533 h 2830359"/>
                <a:gd name="connsiteX190" fmla="*/ 105592 w 2197576"/>
                <a:gd name="connsiteY190" fmla="*/ 2040467 h 2830359"/>
                <a:gd name="connsiteX191" fmla="*/ 97125 w 2197576"/>
                <a:gd name="connsiteY191" fmla="*/ 2065867 h 2830359"/>
                <a:gd name="connsiteX192" fmla="*/ 80192 w 2197576"/>
                <a:gd name="connsiteY192" fmla="*/ 2133600 h 2830359"/>
                <a:gd name="connsiteX193" fmla="*/ 97125 w 2197576"/>
                <a:gd name="connsiteY193" fmla="*/ 2159000 h 2830359"/>
                <a:gd name="connsiteX194" fmla="*/ 147925 w 2197576"/>
                <a:gd name="connsiteY194" fmla="*/ 2175933 h 2830359"/>
                <a:gd name="connsiteX195" fmla="*/ 164858 w 2197576"/>
                <a:gd name="connsiteY195" fmla="*/ 2243667 h 2830359"/>
                <a:gd name="connsiteX196" fmla="*/ 198725 w 2197576"/>
                <a:gd name="connsiteY196" fmla="*/ 2294467 h 2830359"/>
                <a:gd name="connsiteX197" fmla="*/ 224125 w 2197576"/>
                <a:gd name="connsiteY197" fmla="*/ 2345267 h 2830359"/>
                <a:gd name="connsiteX198" fmla="*/ 283392 w 2197576"/>
                <a:gd name="connsiteY198" fmla="*/ 2370667 h 2830359"/>
                <a:gd name="connsiteX199" fmla="*/ 291858 w 2197576"/>
                <a:gd name="connsiteY199" fmla="*/ 2396067 h 2830359"/>
                <a:gd name="connsiteX200" fmla="*/ 317258 w 2197576"/>
                <a:gd name="connsiteY200" fmla="*/ 2404533 h 2830359"/>
                <a:gd name="connsiteX201" fmla="*/ 376525 w 2197576"/>
                <a:gd name="connsiteY201" fmla="*/ 2421467 h 2830359"/>
                <a:gd name="connsiteX202" fmla="*/ 334192 w 2197576"/>
                <a:gd name="connsiteY202" fmla="*/ 2429933 h 2830359"/>
                <a:gd name="connsiteX203" fmla="*/ 401925 w 2197576"/>
                <a:gd name="connsiteY203" fmla="*/ 2421467 h 2830359"/>
                <a:gd name="connsiteX204" fmla="*/ 393458 w 2197576"/>
                <a:gd name="connsiteY204" fmla="*/ 2396067 h 2830359"/>
                <a:gd name="connsiteX205" fmla="*/ 384992 w 2197576"/>
                <a:gd name="connsiteY205" fmla="*/ 2362200 h 2830359"/>
                <a:gd name="connsiteX206" fmla="*/ 537392 w 2197576"/>
                <a:gd name="connsiteY206" fmla="*/ 2353733 h 2830359"/>
                <a:gd name="connsiteX207" fmla="*/ 562792 w 2197576"/>
                <a:gd name="connsiteY207" fmla="*/ 2345267 h 2830359"/>
                <a:gd name="connsiteX208" fmla="*/ 579725 w 2197576"/>
                <a:gd name="connsiteY208" fmla="*/ 2328333 h 2830359"/>
                <a:gd name="connsiteX209" fmla="*/ 588192 w 2197576"/>
                <a:gd name="connsiteY209" fmla="*/ 2302933 h 2830359"/>
                <a:gd name="connsiteX210" fmla="*/ 571258 w 2197576"/>
                <a:gd name="connsiteY210" fmla="*/ 2235200 h 2830359"/>
                <a:gd name="connsiteX211" fmla="*/ 605125 w 2197576"/>
                <a:gd name="connsiteY211" fmla="*/ 2159000 h 2830359"/>
                <a:gd name="connsiteX212" fmla="*/ 630525 w 2197576"/>
                <a:gd name="connsiteY212" fmla="*/ 2142067 h 2830359"/>
                <a:gd name="connsiteX213" fmla="*/ 655925 w 2197576"/>
                <a:gd name="connsiteY213" fmla="*/ 2150533 h 2830359"/>
                <a:gd name="connsiteX214" fmla="*/ 664392 w 2197576"/>
                <a:gd name="connsiteY214" fmla="*/ 2209800 h 2830359"/>
                <a:gd name="connsiteX215" fmla="*/ 672858 w 2197576"/>
                <a:gd name="connsiteY215" fmla="*/ 2235200 h 2830359"/>
                <a:gd name="connsiteX216" fmla="*/ 681325 w 2197576"/>
                <a:gd name="connsiteY216" fmla="*/ 2269067 h 2830359"/>
                <a:gd name="connsiteX217" fmla="*/ 664392 w 2197576"/>
                <a:gd name="connsiteY217" fmla="*/ 2370667 h 2830359"/>
                <a:gd name="connsiteX218" fmla="*/ 647458 w 2197576"/>
                <a:gd name="connsiteY218" fmla="*/ 2387600 h 2830359"/>
                <a:gd name="connsiteX219" fmla="*/ 630525 w 2197576"/>
                <a:gd name="connsiteY219" fmla="*/ 2455333 h 2830359"/>
                <a:gd name="connsiteX220" fmla="*/ 622058 w 2197576"/>
                <a:gd name="connsiteY220" fmla="*/ 2480733 h 2830359"/>
                <a:gd name="connsiteX221" fmla="*/ 613592 w 2197576"/>
                <a:gd name="connsiteY221" fmla="*/ 2514600 h 2830359"/>
                <a:gd name="connsiteX222" fmla="*/ 596658 w 2197576"/>
                <a:gd name="connsiteY222" fmla="*/ 2531533 h 2830359"/>
                <a:gd name="connsiteX223" fmla="*/ 579725 w 2197576"/>
                <a:gd name="connsiteY223" fmla="*/ 2582333 h 2830359"/>
                <a:gd name="connsiteX224" fmla="*/ 596658 w 2197576"/>
                <a:gd name="connsiteY224" fmla="*/ 2709333 h 2830359"/>
                <a:gd name="connsiteX225" fmla="*/ 605125 w 2197576"/>
                <a:gd name="connsiteY225" fmla="*/ 2819400 h 2830359"/>
                <a:gd name="connsiteX226" fmla="*/ 638992 w 2197576"/>
                <a:gd name="connsiteY226" fmla="*/ 2827867 h 2830359"/>
                <a:gd name="connsiteX227" fmla="*/ 638992 w 2197576"/>
                <a:gd name="connsiteY227" fmla="*/ 2819400 h 2830359"/>
                <a:gd name="connsiteX0" fmla="*/ 638992 w 2171458"/>
                <a:gd name="connsiteY0" fmla="*/ 2819400 h 2830359"/>
                <a:gd name="connsiteX1" fmla="*/ 655925 w 2171458"/>
                <a:gd name="connsiteY1" fmla="*/ 2760133 h 2830359"/>
                <a:gd name="connsiteX2" fmla="*/ 664392 w 2171458"/>
                <a:gd name="connsiteY2" fmla="*/ 2734733 h 2830359"/>
                <a:gd name="connsiteX3" fmla="*/ 681325 w 2171458"/>
                <a:gd name="connsiteY3" fmla="*/ 2709333 h 2830359"/>
                <a:gd name="connsiteX4" fmla="*/ 723658 w 2171458"/>
                <a:gd name="connsiteY4" fmla="*/ 2658533 h 2830359"/>
                <a:gd name="connsiteX5" fmla="*/ 732125 w 2171458"/>
                <a:gd name="connsiteY5" fmla="*/ 2633133 h 2830359"/>
                <a:gd name="connsiteX6" fmla="*/ 757525 w 2171458"/>
                <a:gd name="connsiteY6" fmla="*/ 2607733 h 2830359"/>
                <a:gd name="connsiteX7" fmla="*/ 740592 w 2171458"/>
                <a:gd name="connsiteY7" fmla="*/ 2480733 h 2830359"/>
                <a:gd name="connsiteX8" fmla="*/ 749058 w 2171458"/>
                <a:gd name="connsiteY8" fmla="*/ 2429933 h 2830359"/>
                <a:gd name="connsiteX9" fmla="*/ 791392 w 2171458"/>
                <a:gd name="connsiteY9" fmla="*/ 2404533 h 2830359"/>
                <a:gd name="connsiteX10" fmla="*/ 816792 w 2171458"/>
                <a:gd name="connsiteY10" fmla="*/ 2387600 h 2830359"/>
                <a:gd name="connsiteX11" fmla="*/ 825258 w 2171458"/>
                <a:gd name="connsiteY11" fmla="*/ 2336800 h 2830359"/>
                <a:gd name="connsiteX12" fmla="*/ 850658 w 2171458"/>
                <a:gd name="connsiteY12" fmla="*/ 2328333 h 2830359"/>
                <a:gd name="connsiteX13" fmla="*/ 918392 w 2171458"/>
                <a:gd name="connsiteY13" fmla="*/ 2319867 h 2830359"/>
                <a:gd name="connsiteX14" fmla="*/ 909925 w 2171458"/>
                <a:gd name="connsiteY14" fmla="*/ 2294467 h 2830359"/>
                <a:gd name="connsiteX15" fmla="*/ 859125 w 2171458"/>
                <a:gd name="connsiteY15" fmla="*/ 2286000 h 2830359"/>
                <a:gd name="connsiteX16" fmla="*/ 833725 w 2171458"/>
                <a:gd name="connsiteY16" fmla="*/ 2277533 h 2830359"/>
                <a:gd name="connsiteX17" fmla="*/ 850658 w 2171458"/>
                <a:gd name="connsiteY17" fmla="*/ 2252133 h 2830359"/>
                <a:gd name="connsiteX18" fmla="*/ 859125 w 2171458"/>
                <a:gd name="connsiteY18" fmla="*/ 2218267 h 2830359"/>
                <a:gd name="connsiteX19" fmla="*/ 884525 w 2171458"/>
                <a:gd name="connsiteY19" fmla="*/ 2209800 h 2830359"/>
                <a:gd name="connsiteX20" fmla="*/ 909925 w 2171458"/>
                <a:gd name="connsiteY20" fmla="*/ 2192867 h 2830359"/>
                <a:gd name="connsiteX21" fmla="*/ 926858 w 2171458"/>
                <a:gd name="connsiteY21" fmla="*/ 2142067 h 2830359"/>
                <a:gd name="connsiteX22" fmla="*/ 935325 w 2171458"/>
                <a:gd name="connsiteY22" fmla="*/ 2057400 h 2830359"/>
                <a:gd name="connsiteX23" fmla="*/ 952258 w 2171458"/>
                <a:gd name="connsiteY23" fmla="*/ 2032000 h 2830359"/>
                <a:gd name="connsiteX24" fmla="*/ 1011525 w 2171458"/>
                <a:gd name="connsiteY24" fmla="*/ 2023533 h 2830359"/>
                <a:gd name="connsiteX25" fmla="*/ 1019992 w 2171458"/>
                <a:gd name="connsiteY25" fmla="*/ 1998133 h 2830359"/>
                <a:gd name="connsiteX26" fmla="*/ 1070792 w 2171458"/>
                <a:gd name="connsiteY26" fmla="*/ 1930400 h 2830359"/>
                <a:gd name="connsiteX27" fmla="*/ 1079258 w 2171458"/>
                <a:gd name="connsiteY27" fmla="*/ 1896533 h 2830359"/>
                <a:gd name="connsiteX28" fmla="*/ 1087725 w 2171458"/>
                <a:gd name="connsiteY28" fmla="*/ 1871133 h 2830359"/>
                <a:gd name="connsiteX29" fmla="*/ 1096192 w 2171458"/>
                <a:gd name="connsiteY29" fmla="*/ 1828800 h 2830359"/>
                <a:gd name="connsiteX30" fmla="*/ 1079258 w 2171458"/>
                <a:gd name="connsiteY30" fmla="*/ 1769533 h 2830359"/>
                <a:gd name="connsiteX31" fmla="*/ 1062325 w 2171458"/>
                <a:gd name="connsiteY31" fmla="*/ 1744133 h 2830359"/>
                <a:gd name="connsiteX32" fmla="*/ 1070792 w 2171458"/>
                <a:gd name="connsiteY32" fmla="*/ 1693333 h 2830359"/>
                <a:gd name="connsiteX33" fmla="*/ 1130058 w 2171458"/>
                <a:gd name="connsiteY33" fmla="*/ 1701800 h 2830359"/>
                <a:gd name="connsiteX34" fmla="*/ 1206258 w 2171458"/>
                <a:gd name="connsiteY34" fmla="*/ 1718733 h 2830359"/>
                <a:gd name="connsiteX35" fmla="*/ 1282458 w 2171458"/>
                <a:gd name="connsiteY35" fmla="*/ 1854200 h 2830359"/>
                <a:gd name="connsiteX36" fmla="*/ 1307858 w 2171458"/>
                <a:gd name="connsiteY36" fmla="*/ 1837267 h 2830359"/>
                <a:gd name="connsiteX37" fmla="*/ 1350192 w 2171458"/>
                <a:gd name="connsiteY37" fmla="*/ 1871133 h 2830359"/>
                <a:gd name="connsiteX38" fmla="*/ 1375592 w 2171458"/>
                <a:gd name="connsiteY38" fmla="*/ 1862667 h 2830359"/>
                <a:gd name="connsiteX39" fmla="*/ 1417925 w 2171458"/>
                <a:gd name="connsiteY39" fmla="*/ 1871133 h 2830359"/>
                <a:gd name="connsiteX40" fmla="*/ 1434858 w 2171458"/>
                <a:gd name="connsiteY40" fmla="*/ 1845733 h 2830359"/>
                <a:gd name="connsiteX41" fmla="*/ 1451792 w 2171458"/>
                <a:gd name="connsiteY41" fmla="*/ 1786467 h 2830359"/>
                <a:gd name="connsiteX42" fmla="*/ 1477192 w 2171458"/>
                <a:gd name="connsiteY42" fmla="*/ 1778000 h 2830359"/>
                <a:gd name="connsiteX43" fmla="*/ 1494125 w 2171458"/>
                <a:gd name="connsiteY43" fmla="*/ 1752600 h 2830359"/>
                <a:gd name="connsiteX44" fmla="*/ 1502592 w 2171458"/>
                <a:gd name="connsiteY44" fmla="*/ 1693333 h 2830359"/>
                <a:gd name="connsiteX45" fmla="*/ 1527992 w 2171458"/>
                <a:gd name="connsiteY45" fmla="*/ 1676400 h 2830359"/>
                <a:gd name="connsiteX46" fmla="*/ 1485658 w 2171458"/>
                <a:gd name="connsiteY46" fmla="*/ 1625600 h 2830359"/>
                <a:gd name="connsiteX47" fmla="*/ 1443325 w 2171458"/>
                <a:gd name="connsiteY47" fmla="*/ 1617133 h 2830359"/>
                <a:gd name="connsiteX48" fmla="*/ 1434858 w 2171458"/>
                <a:gd name="connsiteY48" fmla="*/ 1591733 h 2830359"/>
                <a:gd name="connsiteX49" fmla="*/ 1400992 w 2171458"/>
                <a:gd name="connsiteY49" fmla="*/ 1540933 h 2830359"/>
                <a:gd name="connsiteX50" fmla="*/ 1409458 w 2171458"/>
                <a:gd name="connsiteY50" fmla="*/ 1515533 h 2830359"/>
                <a:gd name="connsiteX51" fmla="*/ 1434858 w 2171458"/>
                <a:gd name="connsiteY51" fmla="*/ 1507067 h 2830359"/>
                <a:gd name="connsiteX52" fmla="*/ 1494125 w 2171458"/>
                <a:gd name="connsiteY52" fmla="*/ 1498600 h 2830359"/>
                <a:gd name="connsiteX53" fmla="*/ 1519525 w 2171458"/>
                <a:gd name="connsiteY53" fmla="*/ 1481667 h 2830359"/>
                <a:gd name="connsiteX54" fmla="*/ 1570325 w 2171458"/>
                <a:gd name="connsiteY54" fmla="*/ 1464733 h 2830359"/>
                <a:gd name="connsiteX55" fmla="*/ 1646525 w 2171458"/>
                <a:gd name="connsiteY55" fmla="*/ 1405467 h 2830359"/>
                <a:gd name="connsiteX56" fmla="*/ 1807392 w 2171458"/>
                <a:gd name="connsiteY56" fmla="*/ 1380067 h 2830359"/>
                <a:gd name="connsiteX57" fmla="*/ 1866658 w 2171458"/>
                <a:gd name="connsiteY57" fmla="*/ 1312333 h 2830359"/>
                <a:gd name="connsiteX58" fmla="*/ 1883592 w 2171458"/>
                <a:gd name="connsiteY58" fmla="*/ 1261533 h 2830359"/>
                <a:gd name="connsiteX59" fmla="*/ 1976725 w 2171458"/>
                <a:gd name="connsiteY59" fmla="*/ 1244600 h 2830359"/>
                <a:gd name="connsiteX60" fmla="*/ 2019058 w 2171458"/>
                <a:gd name="connsiteY60" fmla="*/ 1210733 h 2830359"/>
                <a:gd name="connsiteX61" fmla="*/ 2035992 w 2171458"/>
                <a:gd name="connsiteY61" fmla="*/ 1193800 h 2830359"/>
                <a:gd name="connsiteX62" fmla="*/ 2031965 w 2171458"/>
                <a:gd name="connsiteY62" fmla="*/ 1214760 h 2830359"/>
                <a:gd name="connsiteX63" fmla="*/ 2031965 w 2171458"/>
                <a:gd name="connsiteY63" fmla="*/ 1214760 h 2830359"/>
                <a:gd name="connsiteX64" fmla="*/ 2027525 w 2171458"/>
                <a:gd name="connsiteY64" fmla="*/ 1168400 h 2830359"/>
                <a:gd name="connsiteX65" fmla="*/ 2019058 w 2171458"/>
                <a:gd name="connsiteY65" fmla="*/ 1134533 h 2830359"/>
                <a:gd name="connsiteX66" fmla="*/ 2002125 w 2171458"/>
                <a:gd name="connsiteY66" fmla="*/ 1083733 h 2830359"/>
                <a:gd name="connsiteX67" fmla="*/ 2010592 w 2171458"/>
                <a:gd name="connsiteY67" fmla="*/ 1058333 h 2830359"/>
                <a:gd name="connsiteX68" fmla="*/ 2035992 w 2171458"/>
                <a:gd name="connsiteY68" fmla="*/ 1041400 h 2830359"/>
                <a:gd name="connsiteX69" fmla="*/ 2052925 w 2171458"/>
                <a:gd name="connsiteY69" fmla="*/ 1016000 h 2830359"/>
                <a:gd name="connsiteX70" fmla="*/ 2044458 w 2171458"/>
                <a:gd name="connsiteY70" fmla="*/ 982133 h 2830359"/>
                <a:gd name="connsiteX71" fmla="*/ 2044458 w 2171458"/>
                <a:gd name="connsiteY71" fmla="*/ 914400 h 2830359"/>
                <a:gd name="connsiteX72" fmla="*/ 2069858 w 2171458"/>
                <a:gd name="connsiteY72" fmla="*/ 905933 h 2830359"/>
                <a:gd name="connsiteX73" fmla="*/ 2086792 w 2171458"/>
                <a:gd name="connsiteY73" fmla="*/ 889000 h 2830359"/>
                <a:gd name="connsiteX74" fmla="*/ 2103725 w 2171458"/>
                <a:gd name="connsiteY74" fmla="*/ 804333 h 2830359"/>
                <a:gd name="connsiteX75" fmla="*/ 2129125 w 2171458"/>
                <a:gd name="connsiteY75" fmla="*/ 787400 h 2830359"/>
                <a:gd name="connsiteX76" fmla="*/ 2146058 w 2171458"/>
                <a:gd name="connsiteY76" fmla="*/ 762000 h 2830359"/>
                <a:gd name="connsiteX77" fmla="*/ 2162992 w 2171458"/>
                <a:gd name="connsiteY77" fmla="*/ 745067 h 2830359"/>
                <a:gd name="connsiteX78" fmla="*/ 2171458 w 2171458"/>
                <a:gd name="connsiteY78" fmla="*/ 719667 h 2830359"/>
                <a:gd name="connsiteX79" fmla="*/ 2162992 w 2171458"/>
                <a:gd name="connsiteY79" fmla="*/ 694267 h 2830359"/>
                <a:gd name="connsiteX80" fmla="*/ 2120658 w 2171458"/>
                <a:gd name="connsiteY80" fmla="*/ 651933 h 2830359"/>
                <a:gd name="connsiteX81" fmla="*/ 2086792 w 2171458"/>
                <a:gd name="connsiteY81" fmla="*/ 601133 h 2830359"/>
                <a:gd name="connsiteX82" fmla="*/ 1968258 w 2171458"/>
                <a:gd name="connsiteY82" fmla="*/ 592667 h 2830359"/>
                <a:gd name="connsiteX83" fmla="*/ 1959792 w 2171458"/>
                <a:gd name="connsiteY83" fmla="*/ 567267 h 2830359"/>
                <a:gd name="connsiteX84" fmla="*/ 1900525 w 2171458"/>
                <a:gd name="connsiteY84" fmla="*/ 541867 h 2830359"/>
                <a:gd name="connsiteX85" fmla="*/ 1824325 w 2171458"/>
                <a:gd name="connsiteY85" fmla="*/ 533400 h 2830359"/>
                <a:gd name="connsiteX86" fmla="*/ 1773525 w 2171458"/>
                <a:gd name="connsiteY86" fmla="*/ 541867 h 2830359"/>
                <a:gd name="connsiteX87" fmla="*/ 1739658 w 2171458"/>
                <a:gd name="connsiteY87" fmla="*/ 550333 h 2830359"/>
                <a:gd name="connsiteX88" fmla="*/ 1731192 w 2171458"/>
                <a:gd name="connsiteY88" fmla="*/ 575733 h 2830359"/>
                <a:gd name="connsiteX89" fmla="*/ 1688858 w 2171458"/>
                <a:gd name="connsiteY89" fmla="*/ 601133 h 2830359"/>
                <a:gd name="connsiteX90" fmla="*/ 1638058 w 2171458"/>
                <a:gd name="connsiteY90" fmla="*/ 592667 h 2830359"/>
                <a:gd name="connsiteX91" fmla="*/ 1612658 w 2171458"/>
                <a:gd name="connsiteY91" fmla="*/ 584200 h 2830359"/>
                <a:gd name="connsiteX92" fmla="*/ 1578792 w 2171458"/>
                <a:gd name="connsiteY92" fmla="*/ 575733 h 2830359"/>
                <a:gd name="connsiteX93" fmla="*/ 1527992 w 2171458"/>
                <a:gd name="connsiteY93" fmla="*/ 558800 h 2830359"/>
                <a:gd name="connsiteX94" fmla="*/ 1511058 w 2171458"/>
                <a:gd name="connsiteY94" fmla="*/ 508000 h 2830359"/>
                <a:gd name="connsiteX95" fmla="*/ 1485658 w 2171458"/>
                <a:gd name="connsiteY95" fmla="*/ 457200 h 2830359"/>
                <a:gd name="connsiteX96" fmla="*/ 1434858 w 2171458"/>
                <a:gd name="connsiteY96" fmla="*/ 448733 h 2830359"/>
                <a:gd name="connsiteX97" fmla="*/ 1426392 w 2171458"/>
                <a:gd name="connsiteY97" fmla="*/ 423333 h 2830359"/>
                <a:gd name="connsiteX98" fmla="*/ 1417925 w 2171458"/>
                <a:gd name="connsiteY98" fmla="*/ 389467 h 2830359"/>
                <a:gd name="connsiteX99" fmla="*/ 1400992 w 2171458"/>
                <a:gd name="connsiteY99" fmla="*/ 338667 h 2830359"/>
                <a:gd name="connsiteX100" fmla="*/ 1417925 w 2171458"/>
                <a:gd name="connsiteY100" fmla="*/ 287867 h 2830359"/>
                <a:gd name="connsiteX101" fmla="*/ 1426392 w 2171458"/>
                <a:gd name="connsiteY101" fmla="*/ 262467 h 2830359"/>
                <a:gd name="connsiteX102" fmla="*/ 1443325 w 2171458"/>
                <a:gd name="connsiteY102" fmla="*/ 203200 h 2830359"/>
                <a:gd name="connsiteX103" fmla="*/ 1434858 w 2171458"/>
                <a:gd name="connsiteY103" fmla="*/ 160867 h 2830359"/>
                <a:gd name="connsiteX104" fmla="*/ 1417925 w 2171458"/>
                <a:gd name="connsiteY104" fmla="*/ 135467 h 2830359"/>
                <a:gd name="connsiteX105" fmla="*/ 1400992 w 2171458"/>
                <a:gd name="connsiteY105" fmla="*/ 84667 h 2830359"/>
                <a:gd name="connsiteX106" fmla="*/ 1375592 w 2171458"/>
                <a:gd name="connsiteY106" fmla="*/ 76200 h 2830359"/>
                <a:gd name="connsiteX107" fmla="*/ 1324792 w 2171458"/>
                <a:gd name="connsiteY107" fmla="*/ 67733 h 2830359"/>
                <a:gd name="connsiteX108" fmla="*/ 1214725 w 2171458"/>
                <a:gd name="connsiteY108" fmla="*/ 42333 h 2830359"/>
                <a:gd name="connsiteX109" fmla="*/ 1172392 w 2171458"/>
                <a:gd name="connsiteY109" fmla="*/ 16933 h 2830359"/>
                <a:gd name="connsiteX110" fmla="*/ 1070792 w 2171458"/>
                <a:gd name="connsiteY110" fmla="*/ 0 h 2830359"/>
                <a:gd name="connsiteX111" fmla="*/ 1070792 w 2171458"/>
                <a:gd name="connsiteY111" fmla="*/ 135467 h 2830359"/>
                <a:gd name="connsiteX112" fmla="*/ 1079258 w 2171458"/>
                <a:gd name="connsiteY112" fmla="*/ 160867 h 2830359"/>
                <a:gd name="connsiteX113" fmla="*/ 1113125 w 2171458"/>
                <a:gd name="connsiteY113" fmla="*/ 169333 h 2830359"/>
                <a:gd name="connsiteX114" fmla="*/ 1130058 w 2171458"/>
                <a:gd name="connsiteY114" fmla="*/ 186267 h 2830359"/>
                <a:gd name="connsiteX115" fmla="*/ 1138525 w 2171458"/>
                <a:gd name="connsiteY115" fmla="*/ 211667 h 2830359"/>
                <a:gd name="connsiteX116" fmla="*/ 1189325 w 2171458"/>
                <a:gd name="connsiteY116" fmla="*/ 228600 h 2830359"/>
                <a:gd name="connsiteX117" fmla="*/ 1248592 w 2171458"/>
                <a:gd name="connsiteY117" fmla="*/ 270933 h 2830359"/>
                <a:gd name="connsiteX118" fmla="*/ 1273992 w 2171458"/>
                <a:gd name="connsiteY118" fmla="*/ 279400 h 2830359"/>
                <a:gd name="connsiteX119" fmla="*/ 1299392 w 2171458"/>
                <a:gd name="connsiteY119" fmla="*/ 287867 h 2830359"/>
                <a:gd name="connsiteX120" fmla="*/ 1316325 w 2171458"/>
                <a:gd name="connsiteY120" fmla="*/ 313267 h 2830359"/>
                <a:gd name="connsiteX121" fmla="*/ 1282458 w 2171458"/>
                <a:gd name="connsiteY121" fmla="*/ 355600 h 2830359"/>
                <a:gd name="connsiteX122" fmla="*/ 1197792 w 2171458"/>
                <a:gd name="connsiteY122" fmla="*/ 381000 h 2830359"/>
                <a:gd name="connsiteX123" fmla="*/ 1206258 w 2171458"/>
                <a:gd name="connsiteY123" fmla="*/ 457200 h 2830359"/>
                <a:gd name="connsiteX124" fmla="*/ 1214725 w 2171458"/>
                <a:gd name="connsiteY124" fmla="*/ 482600 h 2830359"/>
                <a:gd name="connsiteX125" fmla="*/ 1206258 w 2171458"/>
                <a:gd name="connsiteY125" fmla="*/ 508000 h 2830359"/>
                <a:gd name="connsiteX126" fmla="*/ 1138525 w 2171458"/>
                <a:gd name="connsiteY126" fmla="*/ 533400 h 2830359"/>
                <a:gd name="connsiteX127" fmla="*/ 1121592 w 2171458"/>
                <a:gd name="connsiteY127" fmla="*/ 558800 h 2830359"/>
                <a:gd name="connsiteX128" fmla="*/ 1070792 w 2171458"/>
                <a:gd name="connsiteY128" fmla="*/ 601133 h 2830359"/>
                <a:gd name="connsiteX129" fmla="*/ 1079258 w 2171458"/>
                <a:gd name="connsiteY129" fmla="*/ 626533 h 2830359"/>
                <a:gd name="connsiteX130" fmla="*/ 1036925 w 2171458"/>
                <a:gd name="connsiteY130" fmla="*/ 660400 h 2830359"/>
                <a:gd name="connsiteX131" fmla="*/ 1011525 w 2171458"/>
                <a:gd name="connsiteY131" fmla="*/ 668867 h 2830359"/>
                <a:gd name="connsiteX132" fmla="*/ 1019992 w 2171458"/>
                <a:gd name="connsiteY132" fmla="*/ 702733 h 2830359"/>
                <a:gd name="connsiteX133" fmla="*/ 986125 w 2171458"/>
                <a:gd name="connsiteY133" fmla="*/ 711200 h 2830359"/>
                <a:gd name="connsiteX134" fmla="*/ 960725 w 2171458"/>
                <a:gd name="connsiteY134" fmla="*/ 719667 h 2830359"/>
                <a:gd name="connsiteX135" fmla="*/ 935325 w 2171458"/>
                <a:gd name="connsiteY135" fmla="*/ 770467 h 2830359"/>
                <a:gd name="connsiteX136" fmla="*/ 884525 w 2171458"/>
                <a:gd name="connsiteY136" fmla="*/ 787400 h 2830359"/>
                <a:gd name="connsiteX137" fmla="*/ 859125 w 2171458"/>
                <a:gd name="connsiteY137" fmla="*/ 872067 h 2830359"/>
                <a:gd name="connsiteX138" fmla="*/ 850658 w 2171458"/>
                <a:gd name="connsiteY138" fmla="*/ 897467 h 2830359"/>
                <a:gd name="connsiteX139" fmla="*/ 825258 w 2171458"/>
                <a:gd name="connsiteY139" fmla="*/ 905933 h 2830359"/>
                <a:gd name="connsiteX140" fmla="*/ 808325 w 2171458"/>
                <a:gd name="connsiteY140" fmla="*/ 922867 h 2830359"/>
                <a:gd name="connsiteX141" fmla="*/ 782925 w 2171458"/>
                <a:gd name="connsiteY141" fmla="*/ 939800 h 2830359"/>
                <a:gd name="connsiteX142" fmla="*/ 757525 w 2171458"/>
                <a:gd name="connsiteY142" fmla="*/ 990600 h 2830359"/>
                <a:gd name="connsiteX143" fmla="*/ 732125 w 2171458"/>
                <a:gd name="connsiteY143" fmla="*/ 1016000 h 2830359"/>
                <a:gd name="connsiteX144" fmla="*/ 681325 w 2171458"/>
                <a:gd name="connsiteY144" fmla="*/ 1032933 h 2830359"/>
                <a:gd name="connsiteX145" fmla="*/ 672858 w 2171458"/>
                <a:gd name="connsiteY145" fmla="*/ 1058333 h 2830359"/>
                <a:gd name="connsiteX146" fmla="*/ 613592 w 2171458"/>
                <a:gd name="connsiteY146" fmla="*/ 1066800 h 2830359"/>
                <a:gd name="connsiteX147" fmla="*/ 588192 w 2171458"/>
                <a:gd name="connsiteY147" fmla="*/ 1075267 h 2830359"/>
                <a:gd name="connsiteX148" fmla="*/ 545858 w 2171458"/>
                <a:gd name="connsiteY148" fmla="*/ 1066800 h 2830359"/>
                <a:gd name="connsiteX149" fmla="*/ 519797 w 2171458"/>
                <a:gd name="connsiteY149" fmla="*/ 1070744 h 2830359"/>
                <a:gd name="connsiteX150" fmla="*/ 447789 w 2171458"/>
                <a:gd name="connsiteY150" fmla="*/ 1070744 h 2830359"/>
                <a:gd name="connsiteX151" fmla="*/ 435792 w 2171458"/>
                <a:gd name="connsiteY151" fmla="*/ 1007533 h 2830359"/>
                <a:gd name="connsiteX152" fmla="*/ 401925 w 2171458"/>
                <a:gd name="connsiteY152" fmla="*/ 1075267 h 2830359"/>
                <a:gd name="connsiteX153" fmla="*/ 368058 w 2171458"/>
                <a:gd name="connsiteY153" fmla="*/ 1083733 h 2830359"/>
                <a:gd name="connsiteX154" fmla="*/ 351125 w 2171458"/>
                <a:gd name="connsiteY154" fmla="*/ 1100667 h 2830359"/>
                <a:gd name="connsiteX155" fmla="*/ 342658 w 2171458"/>
                <a:gd name="connsiteY155" fmla="*/ 1126067 h 2830359"/>
                <a:gd name="connsiteX156" fmla="*/ 317258 w 2171458"/>
                <a:gd name="connsiteY156" fmla="*/ 1134533 h 2830359"/>
                <a:gd name="connsiteX157" fmla="*/ 308792 w 2171458"/>
                <a:gd name="connsiteY157" fmla="*/ 1159933 h 2830359"/>
                <a:gd name="connsiteX158" fmla="*/ 266458 w 2171458"/>
                <a:gd name="connsiteY158" fmla="*/ 1168400 h 2830359"/>
                <a:gd name="connsiteX159" fmla="*/ 283392 w 2171458"/>
                <a:gd name="connsiteY159" fmla="*/ 1261533 h 2830359"/>
                <a:gd name="connsiteX160" fmla="*/ 300325 w 2171458"/>
                <a:gd name="connsiteY160" fmla="*/ 1278467 h 2830359"/>
                <a:gd name="connsiteX161" fmla="*/ 334192 w 2171458"/>
                <a:gd name="connsiteY161" fmla="*/ 1397000 h 2830359"/>
                <a:gd name="connsiteX162" fmla="*/ 359592 w 2171458"/>
                <a:gd name="connsiteY162" fmla="*/ 1473200 h 2830359"/>
                <a:gd name="connsiteX163" fmla="*/ 384992 w 2171458"/>
                <a:gd name="connsiteY163" fmla="*/ 1490133 h 2830359"/>
                <a:gd name="connsiteX164" fmla="*/ 393458 w 2171458"/>
                <a:gd name="connsiteY164" fmla="*/ 1515533 h 2830359"/>
                <a:gd name="connsiteX165" fmla="*/ 401925 w 2171458"/>
                <a:gd name="connsiteY165" fmla="*/ 1574800 h 2830359"/>
                <a:gd name="connsiteX166" fmla="*/ 427325 w 2171458"/>
                <a:gd name="connsiteY166" fmla="*/ 1583267 h 2830359"/>
                <a:gd name="connsiteX167" fmla="*/ 427325 w 2171458"/>
                <a:gd name="connsiteY167" fmla="*/ 1634067 h 2830359"/>
                <a:gd name="connsiteX168" fmla="*/ 435792 w 2171458"/>
                <a:gd name="connsiteY168" fmla="*/ 1676400 h 2830359"/>
                <a:gd name="connsiteX169" fmla="*/ 427325 w 2171458"/>
                <a:gd name="connsiteY169" fmla="*/ 1727200 h 2830359"/>
                <a:gd name="connsiteX170" fmla="*/ 401925 w 2171458"/>
                <a:gd name="connsiteY170" fmla="*/ 1735667 h 2830359"/>
                <a:gd name="connsiteX171" fmla="*/ 317258 w 2171458"/>
                <a:gd name="connsiteY171" fmla="*/ 1744133 h 2830359"/>
                <a:gd name="connsiteX172" fmla="*/ 291858 w 2171458"/>
                <a:gd name="connsiteY172" fmla="*/ 1752600 h 2830359"/>
                <a:gd name="connsiteX173" fmla="*/ 241058 w 2171458"/>
                <a:gd name="connsiteY173" fmla="*/ 1710267 h 2830359"/>
                <a:gd name="connsiteX174" fmla="*/ 224125 w 2171458"/>
                <a:gd name="connsiteY174" fmla="*/ 1693333 h 2830359"/>
                <a:gd name="connsiteX175" fmla="*/ 147925 w 2171458"/>
                <a:gd name="connsiteY175" fmla="*/ 1693333 h 2830359"/>
                <a:gd name="connsiteX176" fmla="*/ 54792 w 2171458"/>
                <a:gd name="connsiteY176" fmla="*/ 1701800 h 2830359"/>
                <a:gd name="connsiteX177" fmla="*/ 46325 w 2171458"/>
                <a:gd name="connsiteY177" fmla="*/ 1761067 h 2830359"/>
                <a:gd name="connsiteX178" fmla="*/ 12458 w 2171458"/>
                <a:gd name="connsiteY178" fmla="*/ 1769533 h 2830359"/>
                <a:gd name="connsiteX179" fmla="*/ 54792 w 2171458"/>
                <a:gd name="connsiteY179" fmla="*/ 1862667 h 2830359"/>
                <a:gd name="connsiteX180" fmla="*/ 88658 w 2171458"/>
                <a:gd name="connsiteY180" fmla="*/ 1913467 h 2830359"/>
                <a:gd name="connsiteX181" fmla="*/ 97125 w 2171458"/>
                <a:gd name="connsiteY181" fmla="*/ 1938867 h 2830359"/>
                <a:gd name="connsiteX182" fmla="*/ 122525 w 2171458"/>
                <a:gd name="connsiteY182" fmla="*/ 1947333 h 2830359"/>
                <a:gd name="connsiteX183" fmla="*/ 249525 w 2171458"/>
                <a:gd name="connsiteY183" fmla="*/ 1955800 h 2830359"/>
                <a:gd name="connsiteX184" fmla="*/ 291858 w 2171458"/>
                <a:gd name="connsiteY184" fmla="*/ 1947333 h 2830359"/>
                <a:gd name="connsiteX185" fmla="*/ 291858 w 2171458"/>
                <a:gd name="connsiteY185" fmla="*/ 1998133 h 2830359"/>
                <a:gd name="connsiteX186" fmla="*/ 283392 w 2171458"/>
                <a:gd name="connsiteY186" fmla="*/ 2048933 h 2830359"/>
                <a:gd name="connsiteX187" fmla="*/ 114058 w 2171458"/>
                <a:gd name="connsiteY187" fmla="*/ 2032000 h 2830359"/>
                <a:gd name="connsiteX188" fmla="*/ 130992 w 2171458"/>
                <a:gd name="connsiteY188" fmla="*/ 2015067 h 2830359"/>
                <a:gd name="connsiteX189" fmla="*/ 88658 w 2171458"/>
                <a:gd name="connsiteY189" fmla="*/ 2023533 h 2830359"/>
                <a:gd name="connsiteX190" fmla="*/ 105592 w 2171458"/>
                <a:gd name="connsiteY190" fmla="*/ 2040467 h 2830359"/>
                <a:gd name="connsiteX191" fmla="*/ 97125 w 2171458"/>
                <a:gd name="connsiteY191" fmla="*/ 2065867 h 2830359"/>
                <a:gd name="connsiteX192" fmla="*/ 80192 w 2171458"/>
                <a:gd name="connsiteY192" fmla="*/ 2133600 h 2830359"/>
                <a:gd name="connsiteX193" fmla="*/ 97125 w 2171458"/>
                <a:gd name="connsiteY193" fmla="*/ 2159000 h 2830359"/>
                <a:gd name="connsiteX194" fmla="*/ 147925 w 2171458"/>
                <a:gd name="connsiteY194" fmla="*/ 2175933 h 2830359"/>
                <a:gd name="connsiteX195" fmla="*/ 164858 w 2171458"/>
                <a:gd name="connsiteY195" fmla="*/ 2243667 h 2830359"/>
                <a:gd name="connsiteX196" fmla="*/ 198725 w 2171458"/>
                <a:gd name="connsiteY196" fmla="*/ 2294467 h 2830359"/>
                <a:gd name="connsiteX197" fmla="*/ 224125 w 2171458"/>
                <a:gd name="connsiteY197" fmla="*/ 2345267 h 2830359"/>
                <a:gd name="connsiteX198" fmla="*/ 283392 w 2171458"/>
                <a:gd name="connsiteY198" fmla="*/ 2370667 h 2830359"/>
                <a:gd name="connsiteX199" fmla="*/ 291858 w 2171458"/>
                <a:gd name="connsiteY199" fmla="*/ 2396067 h 2830359"/>
                <a:gd name="connsiteX200" fmla="*/ 317258 w 2171458"/>
                <a:gd name="connsiteY200" fmla="*/ 2404533 h 2830359"/>
                <a:gd name="connsiteX201" fmla="*/ 376525 w 2171458"/>
                <a:gd name="connsiteY201" fmla="*/ 2421467 h 2830359"/>
                <a:gd name="connsiteX202" fmla="*/ 334192 w 2171458"/>
                <a:gd name="connsiteY202" fmla="*/ 2429933 h 2830359"/>
                <a:gd name="connsiteX203" fmla="*/ 401925 w 2171458"/>
                <a:gd name="connsiteY203" fmla="*/ 2421467 h 2830359"/>
                <a:gd name="connsiteX204" fmla="*/ 393458 w 2171458"/>
                <a:gd name="connsiteY204" fmla="*/ 2396067 h 2830359"/>
                <a:gd name="connsiteX205" fmla="*/ 384992 w 2171458"/>
                <a:gd name="connsiteY205" fmla="*/ 2362200 h 2830359"/>
                <a:gd name="connsiteX206" fmla="*/ 537392 w 2171458"/>
                <a:gd name="connsiteY206" fmla="*/ 2353733 h 2830359"/>
                <a:gd name="connsiteX207" fmla="*/ 562792 w 2171458"/>
                <a:gd name="connsiteY207" fmla="*/ 2345267 h 2830359"/>
                <a:gd name="connsiteX208" fmla="*/ 579725 w 2171458"/>
                <a:gd name="connsiteY208" fmla="*/ 2328333 h 2830359"/>
                <a:gd name="connsiteX209" fmla="*/ 588192 w 2171458"/>
                <a:gd name="connsiteY209" fmla="*/ 2302933 h 2830359"/>
                <a:gd name="connsiteX210" fmla="*/ 571258 w 2171458"/>
                <a:gd name="connsiteY210" fmla="*/ 2235200 h 2830359"/>
                <a:gd name="connsiteX211" fmla="*/ 605125 w 2171458"/>
                <a:gd name="connsiteY211" fmla="*/ 2159000 h 2830359"/>
                <a:gd name="connsiteX212" fmla="*/ 630525 w 2171458"/>
                <a:gd name="connsiteY212" fmla="*/ 2142067 h 2830359"/>
                <a:gd name="connsiteX213" fmla="*/ 655925 w 2171458"/>
                <a:gd name="connsiteY213" fmla="*/ 2150533 h 2830359"/>
                <a:gd name="connsiteX214" fmla="*/ 664392 w 2171458"/>
                <a:gd name="connsiteY214" fmla="*/ 2209800 h 2830359"/>
                <a:gd name="connsiteX215" fmla="*/ 672858 w 2171458"/>
                <a:gd name="connsiteY215" fmla="*/ 2235200 h 2830359"/>
                <a:gd name="connsiteX216" fmla="*/ 681325 w 2171458"/>
                <a:gd name="connsiteY216" fmla="*/ 2269067 h 2830359"/>
                <a:gd name="connsiteX217" fmla="*/ 664392 w 2171458"/>
                <a:gd name="connsiteY217" fmla="*/ 2370667 h 2830359"/>
                <a:gd name="connsiteX218" fmla="*/ 647458 w 2171458"/>
                <a:gd name="connsiteY218" fmla="*/ 2387600 h 2830359"/>
                <a:gd name="connsiteX219" fmla="*/ 630525 w 2171458"/>
                <a:gd name="connsiteY219" fmla="*/ 2455333 h 2830359"/>
                <a:gd name="connsiteX220" fmla="*/ 622058 w 2171458"/>
                <a:gd name="connsiteY220" fmla="*/ 2480733 h 2830359"/>
                <a:gd name="connsiteX221" fmla="*/ 613592 w 2171458"/>
                <a:gd name="connsiteY221" fmla="*/ 2514600 h 2830359"/>
                <a:gd name="connsiteX222" fmla="*/ 596658 w 2171458"/>
                <a:gd name="connsiteY222" fmla="*/ 2531533 h 2830359"/>
                <a:gd name="connsiteX223" fmla="*/ 579725 w 2171458"/>
                <a:gd name="connsiteY223" fmla="*/ 2582333 h 2830359"/>
                <a:gd name="connsiteX224" fmla="*/ 596658 w 2171458"/>
                <a:gd name="connsiteY224" fmla="*/ 2709333 h 2830359"/>
                <a:gd name="connsiteX225" fmla="*/ 605125 w 2171458"/>
                <a:gd name="connsiteY225" fmla="*/ 2819400 h 2830359"/>
                <a:gd name="connsiteX226" fmla="*/ 638992 w 2171458"/>
                <a:gd name="connsiteY226" fmla="*/ 2827867 h 2830359"/>
                <a:gd name="connsiteX227" fmla="*/ 638992 w 2171458"/>
                <a:gd name="connsiteY227" fmla="*/ 2819400 h 2830359"/>
                <a:gd name="connsiteX0" fmla="*/ 638992 w 2171458"/>
                <a:gd name="connsiteY0" fmla="*/ 2819400 h 2830359"/>
                <a:gd name="connsiteX1" fmla="*/ 655925 w 2171458"/>
                <a:gd name="connsiteY1" fmla="*/ 2760133 h 2830359"/>
                <a:gd name="connsiteX2" fmla="*/ 664392 w 2171458"/>
                <a:gd name="connsiteY2" fmla="*/ 2734733 h 2830359"/>
                <a:gd name="connsiteX3" fmla="*/ 681325 w 2171458"/>
                <a:gd name="connsiteY3" fmla="*/ 2709333 h 2830359"/>
                <a:gd name="connsiteX4" fmla="*/ 723658 w 2171458"/>
                <a:gd name="connsiteY4" fmla="*/ 2658533 h 2830359"/>
                <a:gd name="connsiteX5" fmla="*/ 732125 w 2171458"/>
                <a:gd name="connsiteY5" fmla="*/ 2633133 h 2830359"/>
                <a:gd name="connsiteX6" fmla="*/ 757525 w 2171458"/>
                <a:gd name="connsiteY6" fmla="*/ 2607733 h 2830359"/>
                <a:gd name="connsiteX7" fmla="*/ 740592 w 2171458"/>
                <a:gd name="connsiteY7" fmla="*/ 2480733 h 2830359"/>
                <a:gd name="connsiteX8" fmla="*/ 749058 w 2171458"/>
                <a:gd name="connsiteY8" fmla="*/ 2429933 h 2830359"/>
                <a:gd name="connsiteX9" fmla="*/ 791392 w 2171458"/>
                <a:gd name="connsiteY9" fmla="*/ 2404533 h 2830359"/>
                <a:gd name="connsiteX10" fmla="*/ 816792 w 2171458"/>
                <a:gd name="connsiteY10" fmla="*/ 2387600 h 2830359"/>
                <a:gd name="connsiteX11" fmla="*/ 825258 w 2171458"/>
                <a:gd name="connsiteY11" fmla="*/ 2336800 h 2830359"/>
                <a:gd name="connsiteX12" fmla="*/ 850658 w 2171458"/>
                <a:gd name="connsiteY12" fmla="*/ 2328333 h 2830359"/>
                <a:gd name="connsiteX13" fmla="*/ 918392 w 2171458"/>
                <a:gd name="connsiteY13" fmla="*/ 2319867 h 2830359"/>
                <a:gd name="connsiteX14" fmla="*/ 909925 w 2171458"/>
                <a:gd name="connsiteY14" fmla="*/ 2294467 h 2830359"/>
                <a:gd name="connsiteX15" fmla="*/ 859125 w 2171458"/>
                <a:gd name="connsiteY15" fmla="*/ 2286000 h 2830359"/>
                <a:gd name="connsiteX16" fmla="*/ 833725 w 2171458"/>
                <a:gd name="connsiteY16" fmla="*/ 2277533 h 2830359"/>
                <a:gd name="connsiteX17" fmla="*/ 850658 w 2171458"/>
                <a:gd name="connsiteY17" fmla="*/ 2252133 h 2830359"/>
                <a:gd name="connsiteX18" fmla="*/ 859125 w 2171458"/>
                <a:gd name="connsiteY18" fmla="*/ 2218267 h 2830359"/>
                <a:gd name="connsiteX19" fmla="*/ 884525 w 2171458"/>
                <a:gd name="connsiteY19" fmla="*/ 2209800 h 2830359"/>
                <a:gd name="connsiteX20" fmla="*/ 909925 w 2171458"/>
                <a:gd name="connsiteY20" fmla="*/ 2192867 h 2830359"/>
                <a:gd name="connsiteX21" fmla="*/ 926858 w 2171458"/>
                <a:gd name="connsiteY21" fmla="*/ 2142067 h 2830359"/>
                <a:gd name="connsiteX22" fmla="*/ 935325 w 2171458"/>
                <a:gd name="connsiteY22" fmla="*/ 2057400 h 2830359"/>
                <a:gd name="connsiteX23" fmla="*/ 952258 w 2171458"/>
                <a:gd name="connsiteY23" fmla="*/ 2032000 h 2830359"/>
                <a:gd name="connsiteX24" fmla="*/ 1011525 w 2171458"/>
                <a:gd name="connsiteY24" fmla="*/ 2023533 h 2830359"/>
                <a:gd name="connsiteX25" fmla="*/ 1019992 w 2171458"/>
                <a:gd name="connsiteY25" fmla="*/ 1998133 h 2830359"/>
                <a:gd name="connsiteX26" fmla="*/ 1070792 w 2171458"/>
                <a:gd name="connsiteY26" fmla="*/ 1930400 h 2830359"/>
                <a:gd name="connsiteX27" fmla="*/ 1079258 w 2171458"/>
                <a:gd name="connsiteY27" fmla="*/ 1896533 h 2830359"/>
                <a:gd name="connsiteX28" fmla="*/ 1087725 w 2171458"/>
                <a:gd name="connsiteY28" fmla="*/ 1871133 h 2830359"/>
                <a:gd name="connsiteX29" fmla="*/ 1096192 w 2171458"/>
                <a:gd name="connsiteY29" fmla="*/ 1828800 h 2830359"/>
                <a:gd name="connsiteX30" fmla="*/ 1079258 w 2171458"/>
                <a:gd name="connsiteY30" fmla="*/ 1769533 h 2830359"/>
                <a:gd name="connsiteX31" fmla="*/ 1062325 w 2171458"/>
                <a:gd name="connsiteY31" fmla="*/ 1744133 h 2830359"/>
                <a:gd name="connsiteX32" fmla="*/ 1070792 w 2171458"/>
                <a:gd name="connsiteY32" fmla="*/ 1693333 h 2830359"/>
                <a:gd name="connsiteX33" fmla="*/ 1130058 w 2171458"/>
                <a:gd name="connsiteY33" fmla="*/ 1701800 h 2830359"/>
                <a:gd name="connsiteX34" fmla="*/ 1206258 w 2171458"/>
                <a:gd name="connsiteY34" fmla="*/ 1718733 h 2830359"/>
                <a:gd name="connsiteX35" fmla="*/ 1282458 w 2171458"/>
                <a:gd name="connsiteY35" fmla="*/ 1854200 h 2830359"/>
                <a:gd name="connsiteX36" fmla="*/ 1307858 w 2171458"/>
                <a:gd name="connsiteY36" fmla="*/ 1837267 h 2830359"/>
                <a:gd name="connsiteX37" fmla="*/ 1350192 w 2171458"/>
                <a:gd name="connsiteY37" fmla="*/ 1871133 h 2830359"/>
                <a:gd name="connsiteX38" fmla="*/ 1375592 w 2171458"/>
                <a:gd name="connsiteY38" fmla="*/ 1862667 h 2830359"/>
                <a:gd name="connsiteX39" fmla="*/ 1417925 w 2171458"/>
                <a:gd name="connsiteY39" fmla="*/ 1871133 h 2830359"/>
                <a:gd name="connsiteX40" fmla="*/ 1434858 w 2171458"/>
                <a:gd name="connsiteY40" fmla="*/ 1845733 h 2830359"/>
                <a:gd name="connsiteX41" fmla="*/ 1451792 w 2171458"/>
                <a:gd name="connsiteY41" fmla="*/ 1786467 h 2830359"/>
                <a:gd name="connsiteX42" fmla="*/ 1477192 w 2171458"/>
                <a:gd name="connsiteY42" fmla="*/ 1778000 h 2830359"/>
                <a:gd name="connsiteX43" fmla="*/ 1494125 w 2171458"/>
                <a:gd name="connsiteY43" fmla="*/ 1752600 h 2830359"/>
                <a:gd name="connsiteX44" fmla="*/ 1502592 w 2171458"/>
                <a:gd name="connsiteY44" fmla="*/ 1693333 h 2830359"/>
                <a:gd name="connsiteX45" fmla="*/ 1527992 w 2171458"/>
                <a:gd name="connsiteY45" fmla="*/ 1676400 h 2830359"/>
                <a:gd name="connsiteX46" fmla="*/ 1485658 w 2171458"/>
                <a:gd name="connsiteY46" fmla="*/ 1625600 h 2830359"/>
                <a:gd name="connsiteX47" fmla="*/ 1443325 w 2171458"/>
                <a:gd name="connsiteY47" fmla="*/ 1617133 h 2830359"/>
                <a:gd name="connsiteX48" fmla="*/ 1434858 w 2171458"/>
                <a:gd name="connsiteY48" fmla="*/ 1591733 h 2830359"/>
                <a:gd name="connsiteX49" fmla="*/ 1400992 w 2171458"/>
                <a:gd name="connsiteY49" fmla="*/ 1540933 h 2830359"/>
                <a:gd name="connsiteX50" fmla="*/ 1409458 w 2171458"/>
                <a:gd name="connsiteY50" fmla="*/ 1515533 h 2830359"/>
                <a:gd name="connsiteX51" fmla="*/ 1434858 w 2171458"/>
                <a:gd name="connsiteY51" fmla="*/ 1507067 h 2830359"/>
                <a:gd name="connsiteX52" fmla="*/ 1494125 w 2171458"/>
                <a:gd name="connsiteY52" fmla="*/ 1498600 h 2830359"/>
                <a:gd name="connsiteX53" fmla="*/ 1519525 w 2171458"/>
                <a:gd name="connsiteY53" fmla="*/ 1481667 h 2830359"/>
                <a:gd name="connsiteX54" fmla="*/ 1570325 w 2171458"/>
                <a:gd name="connsiteY54" fmla="*/ 1464733 h 2830359"/>
                <a:gd name="connsiteX55" fmla="*/ 1646525 w 2171458"/>
                <a:gd name="connsiteY55" fmla="*/ 1405467 h 2830359"/>
                <a:gd name="connsiteX56" fmla="*/ 1807392 w 2171458"/>
                <a:gd name="connsiteY56" fmla="*/ 1380067 h 2830359"/>
                <a:gd name="connsiteX57" fmla="*/ 1866658 w 2171458"/>
                <a:gd name="connsiteY57" fmla="*/ 1312333 h 2830359"/>
                <a:gd name="connsiteX58" fmla="*/ 1883592 w 2171458"/>
                <a:gd name="connsiteY58" fmla="*/ 1261533 h 2830359"/>
                <a:gd name="connsiteX59" fmla="*/ 1976725 w 2171458"/>
                <a:gd name="connsiteY59" fmla="*/ 1244600 h 2830359"/>
                <a:gd name="connsiteX60" fmla="*/ 2019058 w 2171458"/>
                <a:gd name="connsiteY60" fmla="*/ 1210733 h 2830359"/>
                <a:gd name="connsiteX61" fmla="*/ 2035992 w 2171458"/>
                <a:gd name="connsiteY61" fmla="*/ 1193800 h 2830359"/>
                <a:gd name="connsiteX62" fmla="*/ 2031965 w 2171458"/>
                <a:gd name="connsiteY62" fmla="*/ 1214760 h 2830359"/>
                <a:gd name="connsiteX63" fmla="*/ 2031965 w 2171458"/>
                <a:gd name="connsiteY63" fmla="*/ 1214760 h 2830359"/>
                <a:gd name="connsiteX64" fmla="*/ 2027525 w 2171458"/>
                <a:gd name="connsiteY64" fmla="*/ 1168400 h 2830359"/>
                <a:gd name="connsiteX65" fmla="*/ 2019058 w 2171458"/>
                <a:gd name="connsiteY65" fmla="*/ 1134533 h 2830359"/>
                <a:gd name="connsiteX66" fmla="*/ 2002125 w 2171458"/>
                <a:gd name="connsiteY66" fmla="*/ 1083733 h 2830359"/>
                <a:gd name="connsiteX67" fmla="*/ 2010592 w 2171458"/>
                <a:gd name="connsiteY67" fmla="*/ 1058333 h 2830359"/>
                <a:gd name="connsiteX68" fmla="*/ 2035992 w 2171458"/>
                <a:gd name="connsiteY68" fmla="*/ 1041400 h 2830359"/>
                <a:gd name="connsiteX69" fmla="*/ 2052925 w 2171458"/>
                <a:gd name="connsiteY69" fmla="*/ 1016000 h 2830359"/>
                <a:gd name="connsiteX70" fmla="*/ 2044458 w 2171458"/>
                <a:gd name="connsiteY70" fmla="*/ 982133 h 2830359"/>
                <a:gd name="connsiteX71" fmla="*/ 2044458 w 2171458"/>
                <a:gd name="connsiteY71" fmla="*/ 914400 h 2830359"/>
                <a:gd name="connsiteX72" fmla="*/ 2069858 w 2171458"/>
                <a:gd name="connsiteY72" fmla="*/ 905933 h 2830359"/>
                <a:gd name="connsiteX73" fmla="*/ 2086792 w 2171458"/>
                <a:gd name="connsiteY73" fmla="*/ 889000 h 2830359"/>
                <a:gd name="connsiteX74" fmla="*/ 2103725 w 2171458"/>
                <a:gd name="connsiteY74" fmla="*/ 804333 h 2830359"/>
                <a:gd name="connsiteX75" fmla="*/ 2129125 w 2171458"/>
                <a:gd name="connsiteY75" fmla="*/ 787400 h 2830359"/>
                <a:gd name="connsiteX76" fmla="*/ 2146058 w 2171458"/>
                <a:gd name="connsiteY76" fmla="*/ 762000 h 2830359"/>
                <a:gd name="connsiteX77" fmla="*/ 2162992 w 2171458"/>
                <a:gd name="connsiteY77" fmla="*/ 745067 h 2830359"/>
                <a:gd name="connsiteX78" fmla="*/ 2171458 w 2171458"/>
                <a:gd name="connsiteY78" fmla="*/ 719667 h 2830359"/>
                <a:gd name="connsiteX79" fmla="*/ 2162992 w 2171458"/>
                <a:gd name="connsiteY79" fmla="*/ 694267 h 2830359"/>
                <a:gd name="connsiteX80" fmla="*/ 2120658 w 2171458"/>
                <a:gd name="connsiteY80" fmla="*/ 651933 h 2830359"/>
                <a:gd name="connsiteX81" fmla="*/ 2086792 w 2171458"/>
                <a:gd name="connsiteY81" fmla="*/ 601133 h 2830359"/>
                <a:gd name="connsiteX82" fmla="*/ 1968258 w 2171458"/>
                <a:gd name="connsiteY82" fmla="*/ 592667 h 2830359"/>
                <a:gd name="connsiteX83" fmla="*/ 1959792 w 2171458"/>
                <a:gd name="connsiteY83" fmla="*/ 567267 h 2830359"/>
                <a:gd name="connsiteX84" fmla="*/ 1900525 w 2171458"/>
                <a:gd name="connsiteY84" fmla="*/ 541867 h 2830359"/>
                <a:gd name="connsiteX85" fmla="*/ 1824325 w 2171458"/>
                <a:gd name="connsiteY85" fmla="*/ 533400 h 2830359"/>
                <a:gd name="connsiteX86" fmla="*/ 1773525 w 2171458"/>
                <a:gd name="connsiteY86" fmla="*/ 541867 h 2830359"/>
                <a:gd name="connsiteX87" fmla="*/ 1739658 w 2171458"/>
                <a:gd name="connsiteY87" fmla="*/ 550333 h 2830359"/>
                <a:gd name="connsiteX88" fmla="*/ 1731192 w 2171458"/>
                <a:gd name="connsiteY88" fmla="*/ 575733 h 2830359"/>
                <a:gd name="connsiteX89" fmla="*/ 1688858 w 2171458"/>
                <a:gd name="connsiteY89" fmla="*/ 601133 h 2830359"/>
                <a:gd name="connsiteX90" fmla="*/ 1638058 w 2171458"/>
                <a:gd name="connsiteY90" fmla="*/ 592667 h 2830359"/>
                <a:gd name="connsiteX91" fmla="*/ 1612658 w 2171458"/>
                <a:gd name="connsiteY91" fmla="*/ 584200 h 2830359"/>
                <a:gd name="connsiteX92" fmla="*/ 1578792 w 2171458"/>
                <a:gd name="connsiteY92" fmla="*/ 575733 h 2830359"/>
                <a:gd name="connsiteX93" fmla="*/ 1527992 w 2171458"/>
                <a:gd name="connsiteY93" fmla="*/ 558800 h 2830359"/>
                <a:gd name="connsiteX94" fmla="*/ 1511058 w 2171458"/>
                <a:gd name="connsiteY94" fmla="*/ 508000 h 2830359"/>
                <a:gd name="connsiteX95" fmla="*/ 1485658 w 2171458"/>
                <a:gd name="connsiteY95" fmla="*/ 457200 h 2830359"/>
                <a:gd name="connsiteX96" fmla="*/ 1434858 w 2171458"/>
                <a:gd name="connsiteY96" fmla="*/ 448733 h 2830359"/>
                <a:gd name="connsiteX97" fmla="*/ 1426392 w 2171458"/>
                <a:gd name="connsiteY97" fmla="*/ 423333 h 2830359"/>
                <a:gd name="connsiteX98" fmla="*/ 1417925 w 2171458"/>
                <a:gd name="connsiteY98" fmla="*/ 389467 h 2830359"/>
                <a:gd name="connsiteX99" fmla="*/ 1400992 w 2171458"/>
                <a:gd name="connsiteY99" fmla="*/ 338667 h 2830359"/>
                <a:gd name="connsiteX100" fmla="*/ 1417925 w 2171458"/>
                <a:gd name="connsiteY100" fmla="*/ 287867 h 2830359"/>
                <a:gd name="connsiteX101" fmla="*/ 1426392 w 2171458"/>
                <a:gd name="connsiteY101" fmla="*/ 262467 h 2830359"/>
                <a:gd name="connsiteX102" fmla="*/ 1443325 w 2171458"/>
                <a:gd name="connsiteY102" fmla="*/ 203200 h 2830359"/>
                <a:gd name="connsiteX103" fmla="*/ 1434858 w 2171458"/>
                <a:gd name="connsiteY103" fmla="*/ 160867 h 2830359"/>
                <a:gd name="connsiteX104" fmla="*/ 1417925 w 2171458"/>
                <a:gd name="connsiteY104" fmla="*/ 135467 h 2830359"/>
                <a:gd name="connsiteX105" fmla="*/ 1400992 w 2171458"/>
                <a:gd name="connsiteY105" fmla="*/ 84667 h 2830359"/>
                <a:gd name="connsiteX106" fmla="*/ 1375592 w 2171458"/>
                <a:gd name="connsiteY106" fmla="*/ 76200 h 2830359"/>
                <a:gd name="connsiteX107" fmla="*/ 1324792 w 2171458"/>
                <a:gd name="connsiteY107" fmla="*/ 67733 h 2830359"/>
                <a:gd name="connsiteX108" fmla="*/ 1214725 w 2171458"/>
                <a:gd name="connsiteY108" fmla="*/ 42333 h 2830359"/>
                <a:gd name="connsiteX109" fmla="*/ 1172392 w 2171458"/>
                <a:gd name="connsiteY109" fmla="*/ 16933 h 2830359"/>
                <a:gd name="connsiteX110" fmla="*/ 1070792 w 2171458"/>
                <a:gd name="connsiteY110" fmla="*/ 0 h 2830359"/>
                <a:gd name="connsiteX111" fmla="*/ 1070792 w 2171458"/>
                <a:gd name="connsiteY111" fmla="*/ 135467 h 2830359"/>
                <a:gd name="connsiteX112" fmla="*/ 1079258 w 2171458"/>
                <a:gd name="connsiteY112" fmla="*/ 160867 h 2830359"/>
                <a:gd name="connsiteX113" fmla="*/ 1113125 w 2171458"/>
                <a:gd name="connsiteY113" fmla="*/ 169333 h 2830359"/>
                <a:gd name="connsiteX114" fmla="*/ 1130058 w 2171458"/>
                <a:gd name="connsiteY114" fmla="*/ 186267 h 2830359"/>
                <a:gd name="connsiteX115" fmla="*/ 1138525 w 2171458"/>
                <a:gd name="connsiteY115" fmla="*/ 211667 h 2830359"/>
                <a:gd name="connsiteX116" fmla="*/ 1189325 w 2171458"/>
                <a:gd name="connsiteY116" fmla="*/ 228600 h 2830359"/>
                <a:gd name="connsiteX117" fmla="*/ 1248592 w 2171458"/>
                <a:gd name="connsiteY117" fmla="*/ 270933 h 2830359"/>
                <a:gd name="connsiteX118" fmla="*/ 1273992 w 2171458"/>
                <a:gd name="connsiteY118" fmla="*/ 279400 h 2830359"/>
                <a:gd name="connsiteX119" fmla="*/ 1299392 w 2171458"/>
                <a:gd name="connsiteY119" fmla="*/ 287867 h 2830359"/>
                <a:gd name="connsiteX120" fmla="*/ 1316325 w 2171458"/>
                <a:gd name="connsiteY120" fmla="*/ 313267 h 2830359"/>
                <a:gd name="connsiteX121" fmla="*/ 1282458 w 2171458"/>
                <a:gd name="connsiteY121" fmla="*/ 355600 h 2830359"/>
                <a:gd name="connsiteX122" fmla="*/ 1197792 w 2171458"/>
                <a:gd name="connsiteY122" fmla="*/ 381000 h 2830359"/>
                <a:gd name="connsiteX123" fmla="*/ 1206258 w 2171458"/>
                <a:gd name="connsiteY123" fmla="*/ 457200 h 2830359"/>
                <a:gd name="connsiteX124" fmla="*/ 1214725 w 2171458"/>
                <a:gd name="connsiteY124" fmla="*/ 482600 h 2830359"/>
                <a:gd name="connsiteX125" fmla="*/ 1206258 w 2171458"/>
                <a:gd name="connsiteY125" fmla="*/ 508000 h 2830359"/>
                <a:gd name="connsiteX126" fmla="*/ 1138525 w 2171458"/>
                <a:gd name="connsiteY126" fmla="*/ 533400 h 2830359"/>
                <a:gd name="connsiteX127" fmla="*/ 1121592 w 2171458"/>
                <a:gd name="connsiteY127" fmla="*/ 558800 h 2830359"/>
                <a:gd name="connsiteX128" fmla="*/ 1070792 w 2171458"/>
                <a:gd name="connsiteY128" fmla="*/ 601133 h 2830359"/>
                <a:gd name="connsiteX129" fmla="*/ 1079258 w 2171458"/>
                <a:gd name="connsiteY129" fmla="*/ 626533 h 2830359"/>
                <a:gd name="connsiteX130" fmla="*/ 1036925 w 2171458"/>
                <a:gd name="connsiteY130" fmla="*/ 660400 h 2830359"/>
                <a:gd name="connsiteX131" fmla="*/ 1011525 w 2171458"/>
                <a:gd name="connsiteY131" fmla="*/ 668867 h 2830359"/>
                <a:gd name="connsiteX132" fmla="*/ 1019992 w 2171458"/>
                <a:gd name="connsiteY132" fmla="*/ 702733 h 2830359"/>
                <a:gd name="connsiteX133" fmla="*/ 986125 w 2171458"/>
                <a:gd name="connsiteY133" fmla="*/ 711200 h 2830359"/>
                <a:gd name="connsiteX134" fmla="*/ 960725 w 2171458"/>
                <a:gd name="connsiteY134" fmla="*/ 719667 h 2830359"/>
                <a:gd name="connsiteX135" fmla="*/ 935325 w 2171458"/>
                <a:gd name="connsiteY135" fmla="*/ 770467 h 2830359"/>
                <a:gd name="connsiteX136" fmla="*/ 884525 w 2171458"/>
                <a:gd name="connsiteY136" fmla="*/ 787400 h 2830359"/>
                <a:gd name="connsiteX137" fmla="*/ 859125 w 2171458"/>
                <a:gd name="connsiteY137" fmla="*/ 872067 h 2830359"/>
                <a:gd name="connsiteX138" fmla="*/ 850658 w 2171458"/>
                <a:gd name="connsiteY138" fmla="*/ 897467 h 2830359"/>
                <a:gd name="connsiteX139" fmla="*/ 825258 w 2171458"/>
                <a:gd name="connsiteY139" fmla="*/ 905933 h 2830359"/>
                <a:gd name="connsiteX140" fmla="*/ 808325 w 2171458"/>
                <a:gd name="connsiteY140" fmla="*/ 922867 h 2830359"/>
                <a:gd name="connsiteX141" fmla="*/ 782925 w 2171458"/>
                <a:gd name="connsiteY141" fmla="*/ 939800 h 2830359"/>
                <a:gd name="connsiteX142" fmla="*/ 757525 w 2171458"/>
                <a:gd name="connsiteY142" fmla="*/ 990600 h 2830359"/>
                <a:gd name="connsiteX143" fmla="*/ 732125 w 2171458"/>
                <a:gd name="connsiteY143" fmla="*/ 1016000 h 2830359"/>
                <a:gd name="connsiteX144" fmla="*/ 681325 w 2171458"/>
                <a:gd name="connsiteY144" fmla="*/ 1032933 h 2830359"/>
                <a:gd name="connsiteX145" fmla="*/ 672858 w 2171458"/>
                <a:gd name="connsiteY145" fmla="*/ 1058333 h 2830359"/>
                <a:gd name="connsiteX146" fmla="*/ 613592 w 2171458"/>
                <a:gd name="connsiteY146" fmla="*/ 1066800 h 2830359"/>
                <a:gd name="connsiteX147" fmla="*/ 588192 w 2171458"/>
                <a:gd name="connsiteY147" fmla="*/ 1075267 h 2830359"/>
                <a:gd name="connsiteX148" fmla="*/ 545858 w 2171458"/>
                <a:gd name="connsiteY148" fmla="*/ 1066800 h 2830359"/>
                <a:gd name="connsiteX149" fmla="*/ 519797 w 2171458"/>
                <a:gd name="connsiteY149" fmla="*/ 1070744 h 2830359"/>
                <a:gd name="connsiteX150" fmla="*/ 447789 w 2171458"/>
                <a:gd name="connsiteY150" fmla="*/ 1070744 h 2830359"/>
                <a:gd name="connsiteX151" fmla="*/ 447789 w 2171458"/>
                <a:gd name="connsiteY151" fmla="*/ 1070744 h 2830359"/>
                <a:gd name="connsiteX152" fmla="*/ 401925 w 2171458"/>
                <a:gd name="connsiteY152" fmla="*/ 1075267 h 2830359"/>
                <a:gd name="connsiteX153" fmla="*/ 368058 w 2171458"/>
                <a:gd name="connsiteY153" fmla="*/ 1083733 h 2830359"/>
                <a:gd name="connsiteX154" fmla="*/ 351125 w 2171458"/>
                <a:gd name="connsiteY154" fmla="*/ 1100667 h 2830359"/>
                <a:gd name="connsiteX155" fmla="*/ 342658 w 2171458"/>
                <a:gd name="connsiteY155" fmla="*/ 1126067 h 2830359"/>
                <a:gd name="connsiteX156" fmla="*/ 317258 w 2171458"/>
                <a:gd name="connsiteY156" fmla="*/ 1134533 h 2830359"/>
                <a:gd name="connsiteX157" fmla="*/ 308792 w 2171458"/>
                <a:gd name="connsiteY157" fmla="*/ 1159933 h 2830359"/>
                <a:gd name="connsiteX158" fmla="*/ 266458 w 2171458"/>
                <a:gd name="connsiteY158" fmla="*/ 1168400 h 2830359"/>
                <a:gd name="connsiteX159" fmla="*/ 283392 w 2171458"/>
                <a:gd name="connsiteY159" fmla="*/ 1261533 h 2830359"/>
                <a:gd name="connsiteX160" fmla="*/ 300325 w 2171458"/>
                <a:gd name="connsiteY160" fmla="*/ 1278467 h 2830359"/>
                <a:gd name="connsiteX161" fmla="*/ 334192 w 2171458"/>
                <a:gd name="connsiteY161" fmla="*/ 1397000 h 2830359"/>
                <a:gd name="connsiteX162" fmla="*/ 359592 w 2171458"/>
                <a:gd name="connsiteY162" fmla="*/ 1473200 h 2830359"/>
                <a:gd name="connsiteX163" fmla="*/ 384992 w 2171458"/>
                <a:gd name="connsiteY163" fmla="*/ 1490133 h 2830359"/>
                <a:gd name="connsiteX164" fmla="*/ 393458 w 2171458"/>
                <a:gd name="connsiteY164" fmla="*/ 1515533 h 2830359"/>
                <a:gd name="connsiteX165" fmla="*/ 401925 w 2171458"/>
                <a:gd name="connsiteY165" fmla="*/ 1574800 h 2830359"/>
                <a:gd name="connsiteX166" fmla="*/ 427325 w 2171458"/>
                <a:gd name="connsiteY166" fmla="*/ 1583267 h 2830359"/>
                <a:gd name="connsiteX167" fmla="*/ 427325 w 2171458"/>
                <a:gd name="connsiteY167" fmla="*/ 1634067 h 2830359"/>
                <a:gd name="connsiteX168" fmla="*/ 435792 w 2171458"/>
                <a:gd name="connsiteY168" fmla="*/ 1676400 h 2830359"/>
                <a:gd name="connsiteX169" fmla="*/ 427325 w 2171458"/>
                <a:gd name="connsiteY169" fmla="*/ 1727200 h 2830359"/>
                <a:gd name="connsiteX170" fmla="*/ 401925 w 2171458"/>
                <a:gd name="connsiteY170" fmla="*/ 1735667 h 2830359"/>
                <a:gd name="connsiteX171" fmla="*/ 317258 w 2171458"/>
                <a:gd name="connsiteY171" fmla="*/ 1744133 h 2830359"/>
                <a:gd name="connsiteX172" fmla="*/ 291858 w 2171458"/>
                <a:gd name="connsiteY172" fmla="*/ 1752600 h 2830359"/>
                <a:gd name="connsiteX173" fmla="*/ 241058 w 2171458"/>
                <a:gd name="connsiteY173" fmla="*/ 1710267 h 2830359"/>
                <a:gd name="connsiteX174" fmla="*/ 224125 w 2171458"/>
                <a:gd name="connsiteY174" fmla="*/ 1693333 h 2830359"/>
                <a:gd name="connsiteX175" fmla="*/ 147925 w 2171458"/>
                <a:gd name="connsiteY175" fmla="*/ 1693333 h 2830359"/>
                <a:gd name="connsiteX176" fmla="*/ 54792 w 2171458"/>
                <a:gd name="connsiteY176" fmla="*/ 1701800 h 2830359"/>
                <a:gd name="connsiteX177" fmla="*/ 46325 w 2171458"/>
                <a:gd name="connsiteY177" fmla="*/ 1761067 h 2830359"/>
                <a:gd name="connsiteX178" fmla="*/ 12458 w 2171458"/>
                <a:gd name="connsiteY178" fmla="*/ 1769533 h 2830359"/>
                <a:gd name="connsiteX179" fmla="*/ 54792 w 2171458"/>
                <a:gd name="connsiteY179" fmla="*/ 1862667 h 2830359"/>
                <a:gd name="connsiteX180" fmla="*/ 88658 w 2171458"/>
                <a:gd name="connsiteY180" fmla="*/ 1913467 h 2830359"/>
                <a:gd name="connsiteX181" fmla="*/ 97125 w 2171458"/>
                <a:gd name="connsiteY181" fmla="*/ 1938867 h 2830359"/>
                <a:gd name="connsiteX182" fmla="*/ 122525 w 2171458"/>
                <a:gd name="connsiteY182" fmla="*/ 1947333 h 2830359"/>
                <a:gd name="connsiteX183" fmla="*/ 249525 w 2171458"/>
                <a:gd name="connsiteY183" fmla="*/ 1955800 h 2830359"/>
                <a:gd name="connsiteX184" fmla="*/ 291858 w 2171458"/>
                <a:gd name="connsiteY184" fmla="*/ 1947333 h 2830359"/>
                <a:gd name="connsiteX185" fmla="*/ 291858 w 2171458"/>
                <a:gd name="connsiteY185" fmla="*/ 1998133 h 2830359"/>
                <a:gd name="connsiteX186" fmla="*/ 283392 w 2171458"/>
                <a:gd name="connsiteY186" fmla="*/ 2048933 h 2830359"/>
                <a:gd name="connsiteX187" fmla="*/ 114058 w 2171458"/>
                <a:gd name="connsiteY187" fmla="*/ 2032000 h 2830359"/>
                <a:gd name="connsiteX188" fmla="*/ 130992 w 2171458"/>
                <a:gd name="connsiteY188" fmla="*/ 2015067 h 2830359"/>
                <a:gd name="connsiteX189" fmla="*/ 88658 w 2171458"/>
                <a:gd name="connsiteY189" fmla="*/ 2023533 h 2830359"/>
                <a:gd name="connsiteX190" fmla="*/ 105592 w 2171458"/>
                <a:gd name="connsiteY190" fmla="*/ 2040467 h 2830359"/>
                <a:gd name="connsiteX191" fmla="*/ 97125 w 2171458"/>
                <a:gd name="connsiteY191" fmla="*/ 2065867 h 2830359"/>
                <a:gd name="connsiteX192" fmla="*/ 80192 w 2171458"/>
                <a:gd name="connsiteY192" fmla="*/ 2133600 h 2830359"/>
                <a:gd name="connsiteX193" fmla="*/ 97125 w 2171458"/>
                <a:gd name="connsiteY193" fmla="*/ 2159000 h 2830359"/>
                <a:gd name="connsiteX194" fmla="*/ 147925 w 2171458"/>
                <a:gd name="connsiteY194" fmla="*/ 2175933 h 2830359"/>
                <a:gd name="connsiteX195" fmla="*/ 164858 w 2171458"/>
                <a:gd name="connsiteY195" fmla="*/ 2243667 h 2830359"/>
                <a:gd name="connsiteX196" fmla="*/ 198725 w 2171458"/>
                <a:gd name="connsiteY196" fmla="*/ 2294467 h 2830359"/>
                <a:gd name="connsiteX197" fmla="*/ 224125 w 2171458"/>
                <a:gd name="connsiteY197" fmla="*/ 2345267 h 2830359"/>
                <a:gd name="connsiteX198" fmla="*/ 283392 w 2171458"/>
                <a:gd name="connsiteY198" fmla="*/ 2370667 h 2830359"/>
                <a:gd name="connsiteX199" fmla="*/ 291858 w 2171458"/>
                <a:gd name="connsiteY199" fmla="*/ 2396067 h 2830359"/>
                <a:gd name="connsiteX200" fmla="*/ 317258 w 2171458"/>
                <a:gd name="connsiteY200" fmla="*/ 2404533 h 2830359"/>
                <a:gd name="connsiteX201" fmla="*/ 376525 w 2171458"/>
                <a:gd name="connsiteY201" fmla="*/ 2421467 h 2830359"/>
                <a:gd name="connsiteX202" fmla="*/ 334192 w 2171458"/>
                <a:gd name="connsiteY202" fmla="*/ 2429933 h 2830359"/>
                <a:gd name="connsiteX203" fmla="*/ 401925 w 2171458"/>
                <a:gd name="connsiteY203" fmla="*/ 2421467 h 2830359"/>
                <a:gd name="connsiteX204" fmla="*/ 393458 w 2171458"/>
                <a:gd name="connsiteY204" fmla="*/ 2396067 h 2830359"/>
                <a:gd name="connsiteX205" fmla="*/ 384992 w 2171458"/>
                <a:gd name="connsiteY205" fmla="*/ 2362200 h 2830359"/>
                <a:gd name="connsiteX206" fmla="*/ 537392 w 2171458"/>
                <a:gd name="connsiteY206" fmla="*/ 2353733 h 2830359"/>
                <a:gd name="connsiteX207" fmla="*/ 562792 w 2171458"/>
                <a:gd name="connsiteY207" fmla="*/ 2345267 h 2830359"/>
                <a:gd name="connsiteX208" fmla="*/ 579725 w 2171458"/>
                <a:gd name="connsiteY208" fmla="*/ 2328333 h 2830359"/>
                <a:gd name="connsiteX209" fmla="*/ 588192 w 2171458"/>
                <a:gd name="connsiteY209" fmla="*/ 2302933 h 2830359"/>
                <a:gd name="connsiteX210" fmla="*/ 571258 w 2171458"/>
                <a:gd name="connsiteY210" fmla="*/ 2235200 h 2830359"/>
                <a:gd name="connsiteX211" fmla="*/ 605125 w 2171458"/>
                <a:gd name="connsiteY211" fmla="*/ 2159000 h 2830359"/>
                <a:gd name="connsiteX212" fmla="*/ 630525 w 2171458"/>
                <a:gd name="connsiteY212" fmla="*/ 2142067 h 2830359"/>
                <a:gd name="connsiteX213" fmla="*/ 655925 w 2171458"/>
                <a:gd name="connsiteY213" fmla="*/ 2150533 h 2830359"/>
                <a:gd name="connsiteX214" fmla="*/ 664392 w 2171458"/>
                <a:gd name="connsiteY214" fmla="*/ 2209800 h 2830359"/>
                <a:gd name="connsiteX215" fmla="*/ 672858 w 2171458"/>
                <a:gd name="connsiteY215" fmla="*/ 2235200 h 2830359"/>
                <a:gd name="connsiteX216" fmla="*/ 681325 w 2171458"/>
                <a:gd name="connsiteY216" fmla="*/ 2269067 h 2830359"/>
                <a:gd name="connsiteX217" fmla="*/ 664392 w 2171458"/>
                <a:gd name="connsiteY217" fmla="*/ 2370667 h 2830359"/>
                <a:gd name="connsiteX218" fmla="*/ 647458 w 2171458"/>
                <a:gd name="connsiteY218" fmla="*/ 2387600 h 2830359"/>
                <a:gd name="connsiteX219" fmla="*/ 630525 w 2171458"/>
                <a:gd name="connsiteY219" fmla="*/ 2455333 h 2830359"/>
                <a:gd name="connsiteX220" fmla="*/ 622058 w 2171458"/>
                <a:gd name="connsiteY220" fmla="*/ 2480733 h 2830359"/>
                <a:gd name="connsiteX221" fmla="*/ 613592 w 2171458"/>
                <a:gd name="connsiteY221" fmla="*/ 2514600 h 2830359"/>
                <a:gd name="connsiteX222" fmla="*/ 596658 w 2171458"/>
                <a:gd name="connsiteY222" fmla="*/ 2531533 h 2830359"/>
                <a:gd name="connsiteX223" fmla="*/ 579725 w 2171458"/>
                <a:gd name="connsiteY223" fmla="*/ 2582333 h 2830359"/>
                <a:gd name="connsiteX224" fmla="*/ 596658 w 2171458"/>
                <a:gd name="connsiteY224" fmla="*/ 2709333 h 2830359"/>
                <a:gd name="connsiteX225" fmla="*/ 605125 w 2171458"/>
                <a:gd name="connsiteY225" fmla="*/ 2819400 h 2830359"/>
                <a:gd name="connsiteX226" fmla="*/ 638992 w 2171458"/>
                <a:gd name="connsiteY226" fmla="*/ 2827867 h 2830359"/>
                <a:gd name="connsiteX227" fmla="*/ 638992 w 2171458"/>
                <a:gd name="connsiteY227" fmla="*/ 2819400 h 2830359"/>
                <a:gd name="connsiteX0" fmla="*/ 638992 w 2171458"/>
                <a:gd name="connsiteY0" fmla="*/ 2819400 h 2830359"/>
                <a:gd name="connsiteX1" fmla="*/ 655925 w 2171458"/>
                <a:gd name="connsiteY1" fmla="*/ 2760133 h 2830359"/>
                <a:gd name="connsiteX2" fmla="*/ 664392 w 2171458"/>
                <a:gd name="connsiteY2" fmla="*/ 2734733 h 2830359"/>
                <a:gd name="connsiteX3" fmla="*/ 681325 w 2171458"/>
                <a:gd name="connsiteY3" fmla="*/ 2709333 h 2830359"/>
                <a:gd name="connsiteX4" fmla="*/ 723658 w 2171458"/>
                <a:gd name="connsiteY4" fmla="*/ 2658533 h 2830359"/>
                <a:gd name="connsiteX5" fmla="*/ 732125 w 2171458"/>
                <a:gd name="connsiteY5" fmla="*/ 2633133 h 2830359"/>
                <a:gd name="connsiteX6" fmla="*/ 757525 w 2171458"/>
                <a:gd name="connsiteY6" fmla="*/ 2607733 h 2830359"/>
                <a:gd name="connsiteX7" fmla="*/ 740592 w 2171458"/>
                <a:gd name="connsiteY7" fmla="*/ 2480733 h 2830359"/>
                <a:gd name="connsiteX8" fmla="*/ 749058 w 2171458"/>
                <a:gd name="connsiteY8" fmla="*/ 2429933 h 2830359"/>
                <a:gd name="connsiteX9" fmla="*/ 791392 w 2171458"/>
                <a:gd name="connsiteY9" fmla="*/ 2404533 h 2830359"/>
                <a:gd name="connsiteX10" fmla="*/ 816792 w 2171458"/>
                <a:gd name="connsiteY10" fmla="*/ 2387600 h 2830359"/>
                <a:gd name="connsiteX11" fmla="*/ 825258 w 2171458"/>
                <a:gd name="connsiteY11" fmla="*/ 2336800 h 2830359"/>
                <a:gd name="connsiteX12" fmla="*/ 850658 w 2171458"/>
                <a:gd name="connsiteY12" fmla="*/ 2328333 h 2830359"/>
                <a:gd name="connsiteX13" fmla="*/ 918392 w 2171458"/>
                <a:gd name="connsiteY13" fmla="*/ 2319867 h 2830359"/>
                <a:gd name="connsiteX14" fmla="*/ 909925 w 2171458"/>
                <a:gd name="connsiteY14" fmla="*/ 2294467 h 2830359"/>
                <a:gd name="connsiteX15" fmla="*/ 859125 w 2171458"/>
                <a:gd name="connsiteY15" fmla="*/ 2286000 h 2830359"/>
                <a:gd name="connsiteX16" fmla="*/ 833725 w 2171458"/>
                <a:gd name="connsiteY16" fmla="*/ 2277533 h 2830359"/>
                <a:gd name="connsiteX17" fmla="*/ 850658 w 2171458"/>
                <a:gd name="connsiteY17" fmla="*/ 2252133 h 2830359"/>
                <a:gd name="connsiteX18" fmla="*/ 859125 w 2171458"/>
                <a:gd name="connsiteY18" fmla="*/ 2218267 h 2830359"/>
                <a:gd name="connsiteX19" fmla="*/ 884525 w 2171458"/>
                <a:gd name="connsiteY19" fmla="*/ 2209800 h 2830359"/>
                <a:gd name="connsiteX20" fmla="*/ 909925 w 2171458"/>
                <a:gd name="connsiteY20" fmla="*/ 2192867 h 2830359"/>
                <a:gd name="connsiteX21" fmla="*/ 926858 w 2171458"/>
                <a:gd name="connsiteY21" fmla="*/ 2142067 h 2830359"/>
                <a:gd name="connsiteX22" fmla="*/ 935325 w 2171458"/>
                <a:gd name="connsiteY22" fmla="*/ 2057400 h 2830359"/>
                <a:gd name="connsiteX23" fmla="*/ 952258 w 2171458"/>
                <a:gd name="connsiteY23" fmla="*/ 2032000 h 2830359"/>
                <a:gd name="connsiteX24" fmla="*/ 1011525 w 2171458"/>
                <a:gd name="connsiteY24" fmla="*/ 2023533 h 2830359"/>
                <a:gd name="connsiteX25" fmla="*/ 1019992 w 2171458"/>
                <a:gd name="connsiteY25" fmla="*/ 1998133 h 2830359"/>
                <a:gd name="connsiteX26" fmla="*/ 1070792 w 2171458"/>
                <a:gd name="connsiteY26" fmla="*/ 1930400 h 2830359"/>
                <a:gd name="connsiteX27" fmla="*/ 1079258 w 2171458"/>
                <a:gd name="connsiteY27" fmla="*/ 1896533 h 2830359"/>
                <a:gd name="connsiteX28" fmla="*/ 1087725 w 2171458"/>
                <a:gd name="connsiteY28" fmla="*/ 1871133 h 2830359"/>
                <a:gd name="connsiteX29" fmla="*/ 1096192 w 2171458"/>
                <a:gd name="connsiteY29" fmla="*/ 1828800 h 2830359"/>
                <a:gd name="connsiteX30" fmla="*/ 1079258 w 2171458"/>
                <a:gd name="connsiteY30" fmla="*/ 1769533 h 2830359"/>
                <a:gd name="connsiteX31" fmla="*/ 1062325 w 2171458"/>
                <a:gd name="connsiteY31" fmla="*/ 1744133 h 2830359"/>
                <a:gd name="connsiteX32" fmla="*/ 1070792 w 2171458"/>
                <a:gd name="connsiteY32" fmla="*/ 1693333 h 2830359"/>
                <a:gd name="connsiteX33" fmla="*/ 1130058 w 2171458"/>
                <a:gd name="connsiteY33" fmla="*/ 1701800 h 2830359"/>
                <a:gd name="connsiteX34" fmla="*/ 1206258 w 2171458"/>
                <a:gd name="connsiteY34" fmla="*/ 1718733 h 2830359"/>
                <a:gd name="connsiteX35" fmla="*/ 1282458 w 2171458"/>
                <a:gd name="connsiteY35" fmla="*/ 1854200 h 2830359"/>
                <a:gd name="connsiteX36" fmla="*/ 1307858 w 2171458"/>
                <a:gd name="connsiteY36" fmla="*/ 1837267 h 2830359"/>
                <a:gd name="connsiteX37" fmla="*/ 1350192 w 2171458"/>
                <a:gd name="connsiteY37" fmla="*/ 1871133 h 2830359"/>
                <a:gd name="connsiteX38" fmla="*/ 1375592 w 2171458"/>
                <a:gd name="connsiteY38" fmla="*/ 1862667 h 2830359"/>
                <a:gd name="connsiteX39" fmla="*/ 1417925 w 2171458"/>
                <a:gd name="connsiteY39" fmla="*/ 1871133 h 2830359"/>
                <a:gd name="connsiteX40" fmla="*/ 1434858 w 2171458"/>
                <a:gd name="connsiteY40" fmla="*/ 1845733 h 2830359"/>
                <a:gd name="connsiteX41" fmla="*/ 1451792 w 2171458"/>
                <a:gd name="connsiteY41" fmla="*/ 1786467 h 2830359"/>
                <a:gd name="connsiteX42" fmla="*/ 1477192 w 2171458"/>
                <a:gd name="connsiteY42" fmla="*/ 1778000 h 2830359"/>
                <a:gd name="connsiteX43" fmla="*/ 1494125 w 2171458"/>
                <a:gd name="connsiteY43" fmla="*/ 1752600 h 2830359"/>
                <a:gd name="connsiteX44" fmla="*/ 1502592 w 2171458"/>
                <a:gd name="connsiteY44" fmla="*/ 1693333 h 2830359"/>
                <a:gd name="connsiteX45" fmla="*/ 1527992 w 2171458"/>
                <a:gd name="connsiteY45" fmla="*/ 1676400 h 2830359"/>
                <a:gd name="connsiteX46" fmla="*/ 1485658 w 2171458"/>
                <a:gd name="connsiteY46" fmla="*/ 1625600 h 2830359"/>
                <a:gd name="connsiteX47" fmla="*/ 1443325 w 2171458"/>
                <a:gd name="connsiteY47" fmla="*/ 1617133 h 2830359"/>
                <a:gd name="connsiteX48" fmla="*/ 1434858 w 2171458"/>
                <a:gd name="connsiteY48" fmla="*/ 1591733 h 2830359"/>
                <a:gd name="connsiteX49" fmla="*/ 1400992 w 2171458"/>
                <a:gd name="connsiteY49" fmla="*/ 1540933 h 2830359"/>
                <a:gd name="connsiteX50" fmla="*/ 1409458 w 2171458"/>
                <a:gd name="connsiteY50" fmla="*/ 1515533 h 2830359"/>
                <a:gd name="connsiteX51" fmla="*/ 1434858 w 2171458"/>
                <a:gd name="connsiteY51" fmla="*/ 1507067 h 2830359"/>
                <a:gd name="connsiteX52" fmla="*/ 1494125 w 2171458"/>
                <a:gd name="connsiteY52" fmla="*/ 1498600 h 2830359"/>
                <a:gd name="connsiteX53" fmla="*/ 1519525 w 2171458"/>
                <a:gd name="connsiteY53" fmla="*/ 1481667 h 2830359"/>
                <a:gd name="connsiteX54" fmla="*/ 1570325 w 2171458"/>
                <a:gd name="connsiteY54" fmla="*/ 1464733 h 2830359"/>
                <a:gd name="connsiteX55" fmla="*/ 1646525 w 2171458"/>
                <a:gd name="connsiteY55" fmla="*/ 1405467 h 2830359"/>
                <a:gd name="connsiteX56" fmla="*/ 1807392 w 2171458"/>
                <a:gd name="connsiteY56" fmla="*/ 1380067 h 2830359"/>
                <a:gd name="connsiteX57" fmla="*/ 1866658 w 2171458"/>
                <a:gd name="connsiteY57" fmla="*/ 1312333 h 2830359"/>
                <a:gd name="connsiteX58" fmla="*/ 1883592 w 2171458"/>
                <a:gd name="connsiteY58" fmla="*/ 1261533 h 2830359"/>
                <a:gd name="connsiteX59" fmla="*/ 1976725 w 2171458"/>
                <a:gd name="connsiteY59" fmla="*/ 1244600 h 2830359"/>
                <a:gd name="connsiteX60" fmla="*/ 2019058 w 2171458"/>
                <a:gd name="connsiteY60" fmla="*/ 1210733 h 2830359"/>
                <a:gd name="connsiteX61" fmla="*/ 2035992 w 2171458"/>
                <a:gd name="connsiteY61" fmla="*/ 1193800 h 2830359"/>
                <a:gd name="connsiteX62" fmla="*/ 2031965 w 2171458"/>
                <a:gd name="connsiteY62" fmla="*/ 1214760 h 2830359"/>
                <a:gd name="connsiteX63" fmla="*/ 2031965 w 2171458"/>
                <a:gd name="connsiteY63" fmla="*/ 1214760 h 2830359"/>
                <a:gd name="connsiteX64" fmla="*/ 2027525 w 2171458"/>
                <a:gd name="connsiteY64" fmla="*/ 1168400 h 2830359"/>
                <a:gd name="connsiteX65" fmla="*/ 2019058 w 2171458"/>
                <a:gd name="connsiteY65" fmla="*/ 1134533 h 2830359"/>
                <a:gd name="connsiteX66" fmla="*/ 2002125 w 2171458"/>
                <a:gd name="connsiteY66" fmla="*/ 1083733 h 2830359"/>
                <a:gd name="connsiteX67" fmla="*/ 2010592 w 2171458"/>
                <a:gd name="connsiteY67" fmla="*/ 1058333 h 2830359"/>
                <a:gd name="connsiteX68" fmla="*/ 2035992 w 2171458"/>
                <a:gd name="connsiteY68" fmla="*/ 1041400 h 2830359"/>
                <a:gd name="connsiteX69" fmla="*/ 2052925 w 2171458"/>
                <a:gd name="connsiteY69" fmla="*/ 1016000 h 2830359"/>
                <a:gd name="connsiteX70" fmla="*/ 2044458 w 2171458"/>
                <a:gd name="connsiteY70" fmla="*/ 982133 h 2830359"/>
                <a:gd name="connsiteX71" fmla="*/ 2044458 w 2171458"/>
                <a:gd name="connsiteY71" fmla="*/ 914400 h 2830359"/>
                <a:gd name="connsiteX72" fmla="*/ 2069858 w 2171458"/>
                <a:gd name="connsiteY72" fmla="*/ 905933 h 2830359"/>
                <a:gd name="connsiteX73" fmla="*/ 2086792 w 2171458"/>
                <a:gd name="connsiteY73" fmla="*/ 889000 h 2830359"/>
                <a:gd name="connsiteX74" fmla="*/ 2103725 w 2171458"/>
                <a:gd name="connsiteY74" fmla="*/ 804333 h 2830359"/>
                <a:gd name="connsiteX75" fmla="*/ 2129125 w 2171458"/>
                <a:gd name="connsiteY75" fmla="*/ 787400 h 2830359"/>
                <a:gd name="connsiteX76" fmla="*/ 2146058 w 2171458"/>
                <a:gd name="connsiteY76" fmla="*/ 762000 h 2830359"/>
                <a:gd name="connsiteX77" fmla="*/ 2162992 w 2171458"/>
                <a:gd name="connsiteY77" fmla="*/ 745067 h 2830359"/>
                <a:gd name="connsiteX78" fmla="*/ 2171458 w 2171458"/>
                <a:gd name="connsiteY78" fmla="*/ 719667 h 2830359"/>
                <a:gd name="connsiteX79" fmla="*/ 2162992 w 2171458"/>
                <a:gd name="connsiteY79" fmla="*/ 694267 h 2830359"/>
                <a:gd name="connsiteX80" fmla="*/ 2120658 w 2171458"/>
                <a:gd name="connsiteY80" fmla="*/ 651933 h 2830359"/>
                <a:gd name="connsiteX81" fmla="*/ 2086792 w 2171458"/>
                <a:gd name="connsiteY81" fmla="*/ 601133 h 2830359"/>
                <a:gd name="connsiteX82" fmla="*/ 1968258 w 2171458"/>
                <a:gd name="connsiteY82" fmla="*/ 592667 h 2830359"/>
                <a:gd name="connsiteX83" fmla="*/ 1959792 w 2171458"/>
                <a:gd name="connsiteY83" fmla="*/ 567267 h 2830359"/>
                <a:gd name="connsiteX84" fmla="*/ 1900525 w 2171458"/>
                <a:gd name="connsiteY84" fmla="*/ 541867 h 2830359"/>
                <a:gd name="connsiteX85" fmla="*/ 1824325 w 2171458"/>
                <a:gd name="connsiteY85" fmla="*/ 533400 h 2830359"/>
                <a:gd name="connsiteX86" fmla="*/ 1773525 w 2171458"/>
                <a:gd name="connsiteY86" fmla="*/ 541867 h 2830359"/>
                <a:gd name="connsiteX87" fmla="*/ 1739658 w 2171458"/>
                <a:gd name="connsiteY87" fmla="*/ 550333 h 2830359"/>
                <a:gd name="connsiteX88" fmla="*/ 1731192 w 2171458"/>
                <a:gd name="connsiteY88" fmla="*/ 575733 h 2830359"/>
                <a:gd name="connsiteX89" fmla="*/ 1688858 w 2171458"/>
                <a:gd name="connsiteY89" fmla="*/ 601133 h 2830359"/>
                <a:gd name="connsiteX90" fmla="*/ 1638058 w 2171458"/>
                <a:gd name="connsiteY90" fmla="*/ 592667 h 2830359"/>
                <a:gd name="connsiteX91" fmla="*/ 1612658 w 2171458"/>
                <a:gd name="connsiteY91" fmla="*/ 584200 h 2830359"/>
                <a:gd name="connsiteX92" fmla="*/ 1578792 w 2171458"/>
                <a:gd name="connsiteY92" fmla="*/ 575733 h 2830359"/>
                <a:gd name="connsiteX93" fmla="*/ 1527992 w 2171458"/>
                <a:gd name="connsiteY93" fmla="*/ 558800 h 2830359"/>
                <a:gd name="connsiteX94" fmla="*/ 1511058 w 2171458"/>
                <a:gd name="connsiteY94" fmla="*/ 508000 h 2830359"/>
                <a:gd name="connsiteX95" fmla="*/ 1485658 w 2171458"/>
                <a:gd name="connsiteY95" fmla="*/ 457200 h 2830359"/>
                <a:gd name="connsiteX96" fmla="*/ 1434858 w 2171458"/>
                <a:gd name="connsiteY96" fmla="*/ 448733 h 2830359"/>
                <a:gd name="connsiteX97" fmla="*/ 1426392 w 2171458"/>
                <a:gd name="connsiteY97" fmla="*/ 423333 h 2830359"/>
                <a:gd name="connsiteX98" fmla="*/ 1417925 w 2171458"/>
                <a:gd name="connsiteY98" fmla="*/ 389467 h 2830359"/>
                <a:gd name="connsiteX99" fmla="*/ 1400992 w 2171458"/>
                <a:gd name="connsiteY99" fmla="*/ 338667 h 2830359"/>
                <a:gd name="connsiteX100" fmla="*/ 1417925 w 2171458"/>
                <a:gd name="connsiteY100" fmla="*/ 287867 h 2830359"/>
                <a:gd name="connsiteX101" fmla="*/ 1426392 w 2171458"/>
                <a:gd name="connsiteY101" fmla="*/ 262467 h 2830359"/>
                <a:gd name="connsiteX102" fmla="*/ 1443325 w 2171458"/>
                <a:gd name="connsiteY102" fmla="*/ 203200 h 2830359"/>
                <a:gd name="connsiteX103" fmla="*/ 1434858 w 2171458"/>
                <a:gd name="connsiteY103" fmla="*/ 160867 h 2830359"/>
                <a:gd name="connsiteX104" fmla="*/ 1417925 w 2171458"/>
                <a:gd name="connsiteY104" fmla="*/ 135467 h 2830359"/>
                <a:gd name="connsiteX105" fmla="*/ 1400992 w 2171458"/>
                <a:gd name="connsiteY105" fmla="*/ 84667 h 2830359"/>
                <a:gd name="connsiteX106" fmla="*/ 1375592 w 2171458"/>
                <a:gd name="connsiteY106" fmla="*/ 76200 h 2830359"/>
                <a:gd name="connsiteX107" fmla="*/ 1324792 w 2171458"/>
                <a:gd name="connsiteY107" fmla="*/ 67733 h 2830359"/>
                <a:gd name="connsiteX108" fmla="*/ 1214725 w 2171458"/>
                <a:gd name="connsiteY108" fmla="*/ 42333 h 2830359"/>
                <a:gd name="connsiteX109" fmla="*/ 1172392 w 2171458"/>
                <a:gd name="connsiteY109" fmla="*/ 16933 h 2830359"/>
                <a:gd name="connsiteX110" fmla="*/ 1070792 w 2171458"/>
                <a:gd name="connsiteY110" fmla="*/ 0 h 2830359"/>
                <a:gd name="connsiteX111" fmla="*/ 1070792 w 2171458"/>
                <a:gd name="connsiteY111" fmla="*/ 135467 h 2830359"/>
                <a:gd name="connsiteX112" fmla="*/ 1079258 w 2171458"/>
                <a:gd name="connsiteY112" fmla="*/ 160867 h 2830359"/>
                <a:gd name="connsiteX113" fmla="*/ 1113125 w 2171458"/>
                <a:gd name="connsiteY113" fmla="*/ 169333 h 2830359"/>
                <a:gd name="connsiteX114" fmla="*/ 1130058 w 2171458"/>
                <a:gd name="connsiteY114" fmla="*/ 186267 h 2830359"/>
                <a:gd name="connsiteX115" fmla="*/ 1138525 w 2171458"/>
                <a:gd name="connsiteY115" fmla="*/ 211667 h 2830359"/>
                <a:gd name="connsiteX116" fmla="*/ 1189325 w 2171458"/>
                <a:gd name="connsiteY116" fmla="*/ 228600 h 2830359"/>
                <a:gd name="connsiteX117" fmla="*/ 1248592 w 2171458"/>
                <a:gd name="connsiteY117" fmla="*/ 270933 h 2830359"/>
                <a:gd name="connsiteX118" fmla="*/ 1273992 w 2171458"/>
                <a:gd name="connsiteY118" fmla="*/ 279400 h 2830359"/>
                <a:gd name="connsiteX119" fmla="*/ 1299392 w 2171458"/>
                <a:gd name="connsiteY119" fmla="*/ 287867 h 2830359"/>
                <a:gd name="connsiteX120" fmla="*/ 1316325 w 2171458"/>
                <a:gd name="connsiteY120" fmla="*/ 313267 h 2830359"/>
                <a:gd name="connsiteX121" fmla="*/ 1282458 w 2171458"/>
                <a:gd name="connsiteY121" fmla="*/ 355600 h 2830359"/>
                <a:gd name="connsiteX122" fmla="*/ 1197792 w 2171458"/>
                <a:gd name="connsiteY122" fmla="*/ 381000 h 2830359"/>
                <a:gd name="connsiteX123" fmla="*/ 1206258 w 2171458"/>
                <a:gd name="connsiteY123" fmla="*/ 457200 h 2830359"/>
                <a:gd name="connsiteX124" fmla="*/ 1214725 w 2171458"/>
                <a:gd name="connsiteY124" fmla="*/ 482600 h 2830359"/>
                <a:gd name="connsiteX125" fmla="*/ 1206258 w 2171458"/>
                <a:gd name="connsiteY125" fmla="*/ 508000 h 2830359"/>
                <a:gd name="connsiteX126" fmla="*/ 1138525 w 2171458"/>
                <a:gd name="connsiteY126" fmla="*/ 533400 h 2830359"/>
                <a:gd name="connsiteX127" fmla="*/ 1121592 w 2171458"/>
                <a:gd name="connsiteY127" fmla="*/ 558800 h 2830359"/>
                <a:gd name="connsiteX128" fmla="*/ 1070792 w 2171458"/>
                <a:gd name="connsiteY128" fmla="*/ 601133 h 2830359"/>
                <a:gd name="connsiteX129" fmla="*/ 1079258 w 2171458"/>
                <a:gd name="connsiteY129" fmla="*/ 626533 h 2830359"/>
                <a:gd name="connsiteX130" fmla="*/ 1036925 w 2171458"/>
                <a:gd name="connsiteY130" fmla="*/ 660400 h 2830359"/>
                <a:gd name="connsiteX131" fmla="*/ 1011525 w 2171458"/>
                <a:gd name="connsiteY131" fmla="*/ 668867 h 2830359"/>
                <a:gd name="connsiteX132" fmla="*/ 1019992 w 2171458"/>
                <a:gd name="connsiteY132" fmla="*/ 702733 h 2830359"/>
                <a:gd name="connsiteX133" fmla="*/ 986125 w 2171458"/>
                <a:gd name="connsiteY133" fmla="*/ 711200 h 2830359"/>
                <a:gd name="connsiteX134" fmla="*/ 960725 w 2171458"/>
                <a:gd name="connsiteY134" fmla="*/ 719667 h 2830359"/>
                <a:gd name="connsiteX135" fmla="*/ 935325 w 2171458"/>
                <a:gd name="connsiteY135" fmla="*/ 770467 h 2830359"/>
                <a:gd name="connsiteX136" fmla="*/ 884525 w 2171458"/>
                <a:gd name="connsiteY136" fmla="*/ 787400 h 2830359"/>
                <a:gd name="connsiteX137" fmla="*/ 859125 w 2171458"/>
                <a:gd name="connsiteY137" fmla="*/ 872067 h 2830359"/>
                <a:gd name="connsiteX138" fmla="*/ 850658 w 2171458"/>
                <a:gd name="connsiteY138" fmla="*/ 897467 h 2830359"/>
                <a:gd name="connsiteX139" fmla="*/ 825258 w 2171458"/>
                <a:gd name="connsiteY139" fmla="*/ 905933 h 2830359"/>
                <a:gd name="connsiteX140" fmla="*/ 808325 w 2171458"/>
                <a:gd name="connsiteY140" fmla="*/ 922867 h 2830359"/>
                <a:gd name="connsiteX141" fmla="*/ 782925 w 2171458"/>
                <a:gd name="connsiteY141" fmla="*/ 939800 h 2830359"/>
                <a:gd name="connsiteX142" fmla="*/ 757525 w 2171458"/>
                <a:gd name="connsiteY142" fmla="*/ 990600 h 2830359"/>
                <a:gd name="connsiteX143" fmla="*/ 732125 w 2171458"/>
                <a:gd name="connsiteY143" fmla="*/ 1016000 h 2830359"/>
                <a:gd name="connsiteX144" fmla="*/ 681325 w 2171458"/>
                <a:gd name="connsiteY144" fmla="*/ 1032933 h 2830359"/>
                <a:gd name="connsiteX145" fmla="*/ 672858 w 2171458"/>
                <a:gd name="connsiteY145" fmla="*/ 1058333 h 2830359"/>
                <a:gd name="connsiteX146" fmla="*/ 613592 w 2171458"/>
                <a:gd name="connsiteY146" fmla="*/ 1066800 h 2830359"/>
                <a:gd name="connsiteX147" fmla="*/ 588192 w 2171458"/>
                <a:gd name="connsiteY147" fmla="*/ 1075267 h 2830359"/>
                <a:gd name="connsiteX148" fmla="*/ 545858 w 2171458"/>
                <a:gd name="connsiteY148" fmla="*/ 1066800 h 2830359"/>
                <a:gd name="connsiteX149" fmla="*/ 519797 w 2171458"/>
                <a:gd name="connsiteY149" fmla="*/ 1070744 h 2830359"/>
                <a:gd name="connsiteX150" fmla="*/ 447789 w 2171458"/>
                <a:gd name="connsiteY150" fmla="*/ 1070744 h 2830359"/>
                <a:gd name="connsiteX151" fmla="*/ 447789 w 2171458"/>
                <a:gd name="connsiteY151" fmla="*/ 1070744 h 2830359"/>
                <a:gd name="connsiteX152" fmla="*/ 375781 w 2171458"/>
                <a:gd name="connsiteY152" fmla="*/ 1070744 h 2830359"/>
                <a:gd name="connsiteX153" fmla="*/ 368058 w 2171458"/>
                <a:gd name="connsiteY153" fmla="*/ 1083733 h 2830359"/>
                <a:gd name="connsiteX154" fmla="*/ 351125 w 2171458"/>
                <a:gd name="connsiteY154" fmla="*/ 1100667 h 2830359"/>
                <a:gd name="connsiteX155" fmla="*/ 342658 w 2171458"/>
                <a:gd name="connsiteY155" fmla="*/ 1126067 h 2830359"/>
                <a:gd name="connsiteX156" fmla="*/ 317258 w 2171458"/>
                <a:gd name="connsiteY156" fmla="*/ 1134533 h 2830359"/>
                <a:gd name="connsiteX157" fmla="*/ 308792 w 2171458"/>
                <a:gd name="connsiteY157" fmla="*/ 1159933 h 2830359"/>
                <a:gd name="connsiteX158" fmla="*/ 266458 w 2171458"/>
                <a:gd name="connsiteY158" fmla="*/ 1168400 h 2830359"/>
                <a:gd name="connsiteX159" fmla="*/ 283392 w 2171458"/>
                <a:gd name="connsiteY159" fmla="*/ 1261533 h 2830359"/>
                <a:gd name="connsiteX160" fmla="*/ 300325 w 2171458"/>
                <a:gd name="connsiteY160" fmla="*/ 1278467 h 2830359"/>
                <a:gd name="connsiteX161" fmla="*/ 334192 w 2171458"/>
                <a:gd name="connsiteY161" fmla="*/ 1397000 h 2830359"/>
                <a:gd name="connsiteX162" fmla="*/ 359592 w 2171458"/>
                <a:gd name="connsiteY162" fmla="*/ 1473200 h 2830359"/>
                <a:gd name="connsiteX163" fmla="*/ 384992 w 2171458"/>
                <a:gd name="connsiteY163" fmla="*/ 1490133 h 2830359"/>
                <a:gd name="connsiteX164" fmla="*/ 393458 w 2171458"/>
                <a:gd name="connsiteY164" fmla="*/ 1515533 h 2830359"/>
                <a:gd name="connsiteX165" fmla="*/ 401925 w 2171458"/>
                <a:gd name="connsiteY165" fmla="*/ 1574800 h 2830359"/>
                <a:gd name="connsiteX166" fmla="*/ 427325 w 2171458"/>
                <a:gd name="connsiteY166" fmla="*/ 1583267 h 2830359"/>
                <a:gd name="connsiteX167" fmla="*/ 427325 w 2171458"/>
                <a:gd name="connsiteY167" fmla="*/ 1634067 h 2830359"/>
                <a:gd name="connsiteX168" fmla="*/ 435792 w 2171458"/>
                <a:gd name="connsiteY168" fmla="*/ 1676400 h 2830359"/>
                <a:gd name="connsiteX169" fmla="*/ 427325 w 2171458"/>
                <a:gd name="connsiteY169" fmla="*/ 1727200 h 2830359"/>
                <a:gd name="connsiteX170" fmla="*/ 401925 w 2171458"/>
                <a:gd name="connsiteY170" fmla="*/ 1735667 h 2830359"/>
                <a:gd name="connsiteX171" fmla="*/ 317258 w 2171458"/>
                <a:gd name="connsiteY171" fmla="*/ 1744133 h 2830359"/>
                <a:gd name="connsiteX172" fmla="*/ 291858 w 2171458"/>
                <a:gd name="connsiteY172" fmla="*/ 1752600 h 2830359"/>
                <a:gd name="connsiteX173" fmla="*/ 241058 w 2171458"/>
                <a:gd name="connsiteY173" fmla="*/ 1710267 h 2830359"/>
                <a:gd name="connsiteX174" fmla="*/ 224125 w 2171458"/>
                <a:gd name="connsiteY174" fmla="*/ 1693333 h 2830359"/>
                <a:gd name="connsiteX175" fmla="*/ 147925 w 2171458"/>
                <a:gd name="connsiteY175" fmla="*/ 1693333 h 2830359"/>
                <a:gd name="connsiteX176" fmla="*/ 54792 w 2171458"/>
                <a:gd name="connsiteY176" fmla="*/ 1701800 h 2830359"/>
                <a:gd name="connsiteX177" fmla="*/ 46325 w 2171458"/>
                <a:gd name="connsiteY177" fmla="*/ 1761067 h 2830359"/>
                <a:gd name="connsiteX178" fmla="*/ 12458 w 2171458"/>
                <a:gd name="connsiteY178" fmla="*/ 1769533 h 2830359"/>
                <a:gd name="connsiteX179" fmla="*/ 54792 w 2171458"/>
                <a:gd name="connsiteY179" fmla="*/ 1862667 h 2830359"/>
                <a:gd name="connsiteX180" fmla="*/ 88658 w 2171458"/>
                <a:gd name="connsiteY180" fmla="*/ 1913467 h 2830359"/>
                <a:gd name="connsiteX181" fmla="*/ 97125 w 2171458"/>
                <a:gd name="connsiteY181" fmla="*/ 1938867 h 2830359"/>
                <a:gd name="connsiteX182" fmla="*/ 122525 w 2171458"/>
                <a:gd name="connsiteY182" fmla="*/ 1947333 h 2830359"/>
                <a:gd name="connsiteX183" fmla="*/ 249525 w 2171458"/>
                <a:gd name="connsiteY183" fmla="*/ 1955800 h 2830359"/>
                <a:gd name="connsiteX184" fmla="*/ 291858 w 2171458"/>
                <a:gd name="connsiteY184" fmla="*/ 1947333 h 2830359"/>
                <a:gd name="connsiteX185" fmla="*/ 291858 w 2171458"/>
                <a:gd name="connsiteY185" fmla="*/ 1998133 h 2830359"/>
                <a:gd name="connsiteX186" fmla="*/ 283392 w 2171458"/>
                <a:gd name="connsiteY186" fmla="*/ 2048933 h 2830359"/>
                <a:gd name="connsiteX187" fmla="*/ 114058 w 2171458"/>
                <a:gd name="connsiteY187" fmla="*/ 2032000 h 2830359"/>
                <a:gd name="connsiteX188" fmla="*/ 130992 w 2171458"/>
                <a:gd name="connsiteY188" fmla="*/ 2015067 h 2830359"/>
                <a:gd name="connsiteX189" fmla="*/ 88658 w 2171458"/>
                <a:gd name="connsiteY189" fmla="*/ 2023533 h 2830359"/>
                <a:gd name="connsiteX190" fmla="*/ 105592 w 2171458"/>
                <a:gd name="connsiteY190" fmla="*/ 2040467 h 2830359"/>
                <a:gd name="connsiteX191" fmla="*/ 97125 w 2171458"/>
                <a:gd name="connsiteY191" fmla="*/ 2065867 h 2830359"/>
                <a:gd name="connsiteX192" fmla="*/ 80192 w 2171458"/>
                <a:gd name="connsiteY192" fmla="*/ 2133600 h 2830359"/>
                <a:gd name="connsiteX193" fmla="*/ 97125 w 2171458"/>
                <a:gd name="connsiteY193" fmla="*/ 2159000 h 2830359"/>
                <a:gd name="connsiteX194" fmla="*/ 147925 w 2171458"/>
                <a:gd name="connsiteY194" fmla="*/ 2175933 h 2830359"/>
                <a:gd name="connsiteX195" fmla="*/ 164858 w 2171458"/>
                <a:gd name="connsiteY195" fmla="*/ 2243667 h 2830359"/>
                <a:gd name="connsiteX196" fmla="*/ 198725 w 2171458"/>
                <a:gd name="connsiteY196" fmla="*/ 2294467 h 2830359"/>
                <a:gd name="connsiteX197" fmla="*/ 224125 w 2171458"/>
                <a:gd name="connsiteY197" fmla="*/ 2345267 h 2830359"/>
                <a:gd name="connsiteX198" fmla="*/ 283392 w 2171458"/>
                <a:gd name="connsiteY198" fmla="*/ 2370667 h 2830359"/>
                <a:gd name="connsiteX199" fmla="*/ 291858 w 2171458"/>
                <a:gd name="connsiteY199" fmla="*/ 2396067 h 2830359"/>
                <a:gd name="connsiteX200" fmla="*/ 317258 w 2171458"/>
                <a:gd name="connsiteY200" fmla="*/ 2404533 h 2830359"/>
                <a:gd name="connsiteX201" fmla="*/ 376525 w 2171458"/>
                <a:gd name="connsiteY201" fmla="*/ 2421467 h 2830359"/>
                <a:gd name="connsiteX202" fmla="*/ 334192 w 2171458"/>
                <a:gd name="connsiteY202" fmla="*/ 2429933 h 2830359"/>
                <a:gd name="connsiteX203" fmla="*/ 401925 w 2171458"/>
                <a:gd name="connsiteY203" fmla="*/ 2421467 h 2830359"/>
                <a:gd name="connsiteX204" fmla="*/ 393458 w 2171458"/>
                <a:gd name="connsiteY204" fmla="*/ 2396067 h 2830359"/>
                <a:gd name="connsiteX205" fmla="*/ 384992 w 2171458"/>
                <a:gd name="connsiteY205" fmla="*/ 2362200 h 2830359"/>
                <a:gd name="connsiteX206" fmla="*/ 537392 w 2171458"/>
                <a:gd name="connsiteY206" fmla="*/ 2353733 h 2830359"/>
                <a:gd name="connsiteX207" fmla="*/ 562792 w 2171458"/>
                <a:gd name="connsiteY207" fmla="*/ 2345267 h 2830359"/>
                <a:gd name="connsiteX208" fmla="*/ 579725 w 2171458"/>
                <a:gd name="connsiteY208" fmla="*/ 2328333 h 2830359"/>
                <a:gd name="connsiteX209" fmla="*/ 588192 w 2171458"/>
                <a:gd name="connsiteY209" fmla="*/ 2302933 h 2830359"/>
                <a:gd name="connsiteX210" fmla="*/ 571258 w 2171458"/>
                <a:gd name="connsiteY210" fmla="*/ 2235200 h 2830359"/>
                <a:gd name="connsiteX211" fmla="*/ 605125 w 2171458"/>
                <a:gd name="connsiteY211" fmla="*/ 2159000 h 2830359"/>
                <a:gd name="connsiteX212" fmla="*/ 630525 w 2171458"/>
                <a:gd name="connsiteY212" fmla="*/ 2142067 h 2830359"/>
                <a:gd name="connsiteX213" fmla="*/ 655925 w 2171458"/>
                <a:gd name="connsiteY213" fmla="*/ 2150533 h 2830359"/>
                <a:gd name="connsiteX214" fmla="*/ 664392 w 2171458"/>
                <a:gd name="connsiteY214" fmla="*/ 2209800 h 2830359"/>
                <a:gd name="connsiteX215" fmla="*/ 672858 w 2171458"/>
                <a:gd name="connsiteY215" fmla="*/ 2235200 h 2830359"/>
                <a:gd name="connsiteX216" fmla="*/ 681325 w 2171458"/>
                <a:gd name="connsiteY216" fmla="*/ 2269067 h 2830359"/>
                <a:gd name="connsiteX217" fmla="*/ 664392 w 2171458"/>
                <a:gd name="connsiteY217" fmla="*/ 2370667 h 2830359"/>
                <a:gd name="connsiteX218" fmla="*/ 647458 w 2171458"/>
                <a:gd name="connsiteY218" fmla="*/ 2387600 h 2830359"/>
                <a:gd name="connsiteX219" fmla="*/ 630525 w 2171458"/>
                <a:gd name="connsiteY219" fmla="*/ 2455333 h 2830359"/>
                <a:gd name="connsiteX220" fmla="*/ 622058 w 2171458"/>
                <a:gd name="connsiteY220" fmla="*/ 2480733 h 2830359"/>
                <a:gd name="connsiteX221" fmla="*/ 613592 w 2171458"/>
                <a:gd name="connsiteY221" fmla="*/ 2514600 h 2830359"/>
                <a:gd name="connsiteX222" fmla="*/ 596658 w 2171458"/>
                <a:gd name="connsiteY222" fmla="*/ 2531533 h 2830359"/>
                <a:gd name="connsiteX223" fmla="*/ 579725 w 2171458"/>
                <a:gd name="connsiteY223" fmla="*/ 2582333 h 2830359"/>
                <a:gd name="connsiteX224" fmla="*/ 596658 w 2171458"/>
                <a:gd name="connsiteY224" fmla="*/ 2709333 h 2830359"/>
                <a:gd name="connsiteX225" fmla="*/ 605125 w 2171458"/>
                <a:gd name="connsiteY225" fmla="*/ 2819400 h 2830359"/>
                <a:gd name="connsiteX226" fmla="*/ 638992 w 2171458"/>
                <a:gd name="connsiteY226" fmla="*/ 2827867 h 2830359"/>
                <a:gd name="connsiteX227" fmla="*/ 638992 w 2171458"/>
                <a:gd name="connsiteY227" fmla="*/ 2819400 h 2830359"/>
                <a:gd name="connsiteX0" fmla="*/ 638992 w 2171458"/>
                <a:gd name="connsiteY0" fmla="*/ 2819400 h 2830359"/>
                <a:gd name="connsiteX1" fmla="*/ 655925 w 2171458"/>
                <a:gd name="connsiteY1" fmla="*/ 2760133 h 2830359"/>
                <a:gd name="connsiteX2" fmla="*/ 664392 w 2171458"/>
                <a:gd name="connsiteY2" fmla="*/ 2734733 h 2830359"/>
                <a:gd name="connsiteX3" fmla="*/ 681325 w 2171458"/>
                <a:gd name="connsiteY3" fmla="*/ 2709333 h 2830359"/>
                <a:gd name="connsiteX4" fmla="*/ 723658 w 2171458"/>
                <a:gd name="connsiteY4" fmla="*/ 2658533 h 2830359"/>
                <a:gd name="connsiteX5" fmla="*/ 732125 w 2171458"/>
                <a:gd name="connsiteY5" fmla="*/ 2633133 h 2830359"/>
                <a:gd name="connsiteX6" fmla="*/ 757525 w 2171458"/>
                <a:gd name="connsiteY6" fmla="*/ 2607733 h 2830359"/>
                <a:gd name="connsiteX7" fmla="*/ 740592 w 2171458"/>
                <a:gd name="connsiteY7" fmla="*/ 2480733 h 2830359"/>
                <a:gd name="connsiteX8" fmla="*/ 749058 w 2171458"/>
                <a:gd name="connsiteY8" fmla="*/ 2429933 h 2830359"/>
                <a:gd name="connsiteX9" fmla="*/ 791392 w 2171458"/>
                <a:gd name="connsiteY9" fmla="*/ 2404533 h 2830359"/>
                <a:gd name="connsiteX10" fmla="*/ 816792 w 2171458"/>
                <a:gd name="connsiteY10" fmla="*/ 2387600 h 2830359"/>
                <a:gd name="connsiteX11" fmla="*/ 825258 w 2171458"/>
                <a:gd name="connsiteY11" fmla="*/ 2336800 h 2830359"/>
                <a:gd name="connsiteX12" fmla="*/ 850658 w 2171458"/>
                <a:gd name="connsiteY12" fmla="*/ 2328333 h 2830359"/>
                <a:gd name="connsiteX13" fmla="*/ 918392 w 2171458"/>
                <a:gd name="connsiteY13" fmla="*/ 2319867 h 2830359"/>
                <a:gd name="connsiteX14" fmla="*/ 909925 w 2171458"/>
                <a:gd name="connsiteY14" fmla="*/ 2294467 h 2830359"/>
                <a:gd name="connsiteX15" fmla="*/ 859125 w 2171458"/>
                <a:gd name="connsiteY15" fmla="*/ 2286000 h 2830359"/>
                <a:gd name="connsiteX16" fmla="*/ 833725 w 2171458"/>
                <a:gd name="connsiteY16" fmla="*/ 2277533 h 2830359"/>
                <a:gd name="connsiteX17" fmla="*/ 850658 w 2171458"/>
                <a:gd name="connsiteY17" fmla="*/ 2252133 h 2830359"/>
                <a:gd name="connsiteX18" fmla="*/ 859125 w 2171458"/>
                <a:gd name="connsiteY18" fmla="*/ 2218267 h 2830359"/>
                <a:gd name="connsiteX19" fmla="*/ 884525 w 2171458"/>
                <a:gd name="connsiteY19" fmla="*/ 2209800 h 2830359"/>
                <a:gd name="connsiteX20" fmla="*/ 909925 w 2171458"/>
                <a:gd name="connsiteY20" fmla="*/ 2192867 h 2830359"/>
                <a:gd name="connsiteX21" fmla="*/ 926858 w 2171458"/>
                <a:gd name="connsiteY21" fmla="*/ 2142067 h 2830359"/>
                <a:gd name="connsiteX22" fmla="*/ 935325 w 2171458"/>
                <a:gd name="connsiteY22" fmla="*/ 2057400 h 2830359"/>
                <a:gd name="connsiteX23" fmla="*/ 952258 w 2171458"/>
                <a:gd name="connsiteY23" fmla="*/ 2032000 h 2830359"/>
                <a:gd name="connsiteX24" fmla="*/ 1011525 w 2171458"/>
                <a:gd name="connsiteY24" fmla="*/ 2023533 h 2830359"/>
                <a:gd name="connsiteX25" fmla="*/ 1019992 w 2171458"/>
                <a:gd name="connsiteY25" fmla="*/ 1998133 h 2830359"/>
                <a:gd name="connsiteX26" fmla="*/ 1070792 w 2171458"/>
                <a:gd name="connsiteY26" fmla="*/ 1930400 h 2830359"/>
                <a:gd name="connsiteX27" fmla="*/ 1079258 w 2171458"/>
                <a:gd name="connsiteY27" fmla="*/ 1896533 h 2830359"/>
                <a:gd name="connsiteX28" fmla="*/ 1087725 w 2171458"/>
                <a:gd name="connsiteY28" fmla="*/ 1871133 h 2830359"/>
                <a:gd name="connsiteX29" fmla="*/ 1096192 w 2171458"/>
                <a:gd name="connsiteY29" fmla="*/ 1828800 h 2830359"/>
                <a:gd name="connsiteX30" fmla="*/ 1079258 w 2171458"/>
                <a:gd name="connsiteY30" fmla="*/ 1769533 h 2830359"/>
                <a:gd name="connsiteX31" fmla="*/ 1062325 w 2171458"/>
                <a:gd name="connsiteY31" fmla="*/ 1744133 h 2830359"/>
                <a:gd name="connsiteX32" fmla="*/ 1070792 w 2171458"/>
                <a:gd name="connsiteY32" fmla="*/ 1693333 h 2830359"/>
                <a:gd name="connsiteX33" fmla="*/ 1130058 w 2171458"/>
                <a:gd name="connsiteY33" fmla="*/ 1701800 h 2830359"/>
                <a:gd name="connsiteX34" fmla="*/ 1206258 w 2171458"/>
                <a:gd name="connsiteY34" fmla="*/ 1718733 h 2830359"/>
                <a:gd name="connsiteX35" fmla="*/ 1282458 w 2171458"/>
                <a:gd name="connsiteY35" fmla="*/ 1854200 h 2830359"/>
                <a:gd name="connsiteX36" fmla="*/ 1307858 w 2171458"/>
                <a:gd name="connsiteY36" fmla="*/ 1837267 h 2830359"/>
                <a:gd name="connsiteX37" fmla="*/ 1350192 w 2171458"/>
                <a:gd name="connsiteY37" fmla="*/ 1871133 h 2830359"/>
                <a:gd name="connsiteX38" fmla="*/ 1375592 w 2171458"/>
                <a:gd name="connsiteY38" fmla="*/ 1862667 h 2830359"/>
                <a:gd name="connsiteX39" fmla="*/ 1417925 w 2171458"/>
                <a:gd name="connsiteY39" fmla="*/ 1871133 h 2830359"/>
                <a:gd name="connsiteX40" fmla="*/ 1434858 w 2171458"/>
                <a:gd name="connsiteY40" fmla="*/ 1845733 h 2830359"/>
                <a:gd name="connsiteX41" fmla="*/ 1451792 w 2171458"/>
                <a:gd name="connsiteY41" fmla="*/ 1786467 h 2830359"/>
                <a:gd name="connsiteX42" fmla="*/ 1477192 w 2171458"/>
                <a:gd name="connsiteY42" fmla="*/ 1778000 h 2830359"/>
                <a:gd name="connsiteX43" fmla="*/ 1494125 w 2171458"/>
                <a:gd name="connsiteY43" fmla="*/ 1752600 h 2830359"/>
                <a:gd name="connsiteX44" fmla="*/ 1502592 w 2171458"/>
                <a:gd name="connsiteY44" fmla="*/ 1693333 h 2830359"/>
                <a:gd name="connsiteX45" fmla="*/ 1527992 w 2171458"/>
                <a:gd name="connsiteY45" fmla="*/ 1676400 h 2830359"/>
                <a:gd name="connsiteX46" fmla="*/ 1485658 w 2171458"/>
                <a:gd name="connsiteY46" fmla="*/ 1625600 h 2830359"/>
                <a:gd name="connsiteX47" fmla="*/ 1443325 w 2171458"/>
                <a:gd name="connsiteY47" fmla="*/ 1617133 h 2830359"/>
                <a:gd name="connsiteX48" fmla="*/ 1434858 w 2171458"/>
                <a:gd name="connsiteY48" fmla="*/ 1591733 h 2830359"/>
                <a:gd name="connsiteX49" fmla="*/ 1400992 w 2171458"/>
                <a:gd name="connsiteY49" fmla="*/ 1540933 h 2830359"/>
                <a:gd name="connsiteX50" fmla="*/ 1409458 w 2171458"/>
                <a:gd name="connsiteY50" fmla="*/ 1515533 h 2830359"/>
                <a:gd name="connsiteX51" fmla="*/ 1434858 w 2171458"/>
                <a:gd name="connsiteY51" fmla="*/ 1507067 h 2830359"/>
                <a:gd name="connsiteX52" fmla="*/ 1494125 w 2171458"/>
                <a:gd name="connsiteY52" fmla="*/ 1498600 h 2830359"/>
                <a:gd name="connsiteX53" fmla="*/ 1519525 w 2171458"/>
                <a:gd name="connsiteY53" fmla="*/ 1481667 h 2830359"/>
                <a:gd name="connsiteX54" fmla="*/ 1570325 w 2171458"/>
                <a:gd name="connsiteY54" fmla="*/ 1464733 h 2830359"/>
                <a:gd name="connsiteX55" fmla="*/ 1646525 w 2171458"/>
                <a:gd name="connsiteY55" fmla="*/ 1405467 h 2830359"/>
                <a:gd name="connsiteX56" fmla="*/ 1807392 w 2171458"/>
                <a:gd name="connsiteY56" fmla="*/ 1380067 h 2830359"/>
                <a:gd name="connsiteX57" fmla="*/ 1866658 w 2171458"/>
                <a:gd name="connsiteY57" fmla="*/ 1312333 h 2830359"/>
                <a:gd name="connsiteX58" fmla="*/ 1883592 w 2171458"/>
                <a:gd name="connsiteY58" fmla="*/ 1261533 h 2830359"/>
                <a:gd name="connsiteX59" fmla="*/ 1976725 w 2171458"/>
                <a:gd name="connsiteY59" fmla="*/ 1244600 h 2830359"/>
                <a:gd name="connsiteX60" fmla="*/ 2019058 w 2171458"/>
                <a:gd name="connsiteY60" fmla="*/ 1210733 h 2830359"/>
                <a:gd name="connsiteX61" fmla="*/ 2035992 w 2171458"/>
                <a:gd name="connsiteY61" fmla="*/ 1193800 h 2830359"/>
                <a:gd name="connsiteX62" fmla="*/ 2031965 w 2171458"/>
                <a:gd name="connsiteY62" fmla="*/ 1214760 h 2830359"/>
                <a:gd name="connsiteX63" fmla="*/ 2031965 w 2171458"/>
                <a:gd name="connsiteY63" fmla="*/ 1214760 h 2830359"/>
                <a:gd name="connsiteX64" fmla="*/ 2027525 w 2171458"/>
                <a:gd name="connsiteY64" fmla="*/ 1168400 h 2830359"/>
                <a:gd name="connsiteX65" fmla="*/ 2019058 w 2171458"/>
                <a:gd name="connsiteY65" fmla="*/ 1134533 h 2830359"/>
                <a:gd name="connsiteX66" fmla="*/ 2002125 w 2171458"/>
                <a:gd name="connsiteY66" fmla="*/ 1083733 h 2830359"/>
                <a:gd name="connsiteX67" fmla="*/ 2010592 w 2171458"/>
                <a:gd name="connsiteY67" fmla="*/ 1058333 h 2830359"/>
                <a:gd name="connsiteX68" fmla="*/ 2035992 w 2171458"/>
                <a:gd name="connsiteY68" fmla="*/ 1041400 h 2830359"/>
                <a:gd name="connsiteX69" fmla="*/ 2052925 w 2171458"/>
                <a:gd name="connsiteY69" fmla="*/ 1016000 h 2830359"/>
                <a:gd name="connsiteX70" fmla="*/ 2044458 w 2171458"/>
                <a:gd name="connsiteY70" fmla="*/ 982133 h 2830359"/>
                <a:gd name="connsiteX71" fmla="*/ 2044458 w 2171458"/>
                <a:gd name="connsiteY71" fmla="*/ 914400 h 2830359"/>
                <a:gd name="connsiteX72" fmla="*/ 2069858 w 2171458"/>
                <a:gd name="connsiteY72" fmla="*/ 905933 h 2830359"/>
                <a:gd name="connsiteX73" fmla="*/ 2086792 w 2171458"/>
                <a:gd name="connsiteY73" fmla="*/ 889000 h 2830359"/>
                <a:gd name="connsiteX74" fmla="*/ 2103725 w 2171458"/>
                <a:gd name="connsiteY74" fmla="*/ 804333 h 2830359"/>
                <a:gd name="connsiteX75" fmla="*/ 2129125 w 2171458"/>
                <a:gd name="connsiteY75" fmla="*/ 787400 h 2830359"/>
                <a:gd name="connsiteX76" fmla="*/ 2146058 w 2171458"/>
                <a:gd name="connsiteY76" fmla="*/ 762000 h 2830359"/>
                <a:gd name="connsiteX77" fmla="*/ 2162992 w 2171458"/>
                <a:gd name="connsiteY77" fmla="*/ 745067 h 2830359"/>
                <a:gd name="connsiteX78" fmla="*/ 2171458 w 2171458"/>
                <a:gd name="connsiteY78" fmla="*/ 719667 h 2830359"/>
                <a:gd name="connsiteX79" fmla="*/ 2162992 w 2171458"/>
                <a:gd name="connsiteY79" fmla="*/ 694267 h 2830359"/>
                <a:gd name="connsiteX80" fmla="*/ 2120658 w 2171458"/>
                <a:gd name="connsiteY80" fmla="*/ 651933 h 2830359"/>
                <a:gd name="connsiteX81" fmla="*/ 2086792 w 2171458"/>
                <a:gd name="connsiteY81" fmla="*/ 601133 h 2830359"/>
                <a:gd name="connsiteX82" fmla="*/ 1968258 w 2171458"/>
                <a:gd name="connsiteY82" fmla="*/ 592667 h 2830359"/>
                <a:gd name="connsiteX83" fmla="*/ 1959792 w 2171458"/>
                <a:gd name="connsiteY83" fmla="*/ 567267 h 2830359"/>
                <a:gd name="connsiteX84" fmla="*/ 1900525 w 2171458"/>
                <a:gd name="connsiteY84" fmla="*/ 541867 h 2830359"/>
                <a:gd name="connsiteX85" fmla="*/ 1824325 w 2171458"/>
                <a:gd name="connsiteY85" fmla="*/ 533400 h 2830359"/>
                <a:gd name="connsiteX86" fmla="*/ 1773525 w 2171458"/>
                <a:gd name="connsiteY86" fmla="*/ 541867 h 2830359"/>
                <a:gd name="connsiteX87" fmla="*/ 1739658 w 2171458"/>
                <a:gd name="connsiteY87" fmla="*/ 550333 h 2830359"/>
                <a:gd name="connsiteX88" fmla="*/ 1731192 w 2171458"/>
                <a:gd name="connsiteY88" fmla="*/ 575733 h 2830359"/>
                <a:gd name="connsiteX89" fmla="*/ 1688858 w 2171458"/>
                <a:gd name="connsiteY89" fmla="*/ 601133 h 2830359"/>
                <a:gd name="connsiteX90" fmla="*/ 1638058 w 2171458"/>
                <a:gd name="connsiteY90" fmla="*/ 592667 h 2830359"/>
                <a:gd name="connsiteX91" fmla="*/ 1612658 w 2171458"/>
                <a:gd name="connsiteY91" fmla="*/ 584200 h 2830359"/>
                <a:gd name="connsiteX92" fmla="*/ 1578792 w 2171458"/>
                <a:gd name="connsiteY92" fmla="*/ 575733 h 2830359"/>
                <a:gd name="connsiteX93" fmla="*/ 1527992 w 2171458"/>
                <a:gd name="connsiteY93" fmla="*/ 558800 h 2830359"/>
                <a:gd name="connsiteX94" fmla="*/ 1511058 w 2171458"/>
                <a:gd name="connsiteY94" fmla="*/ 508000 h 2830359"/>
                <a:gd name="connsiteX95" fmla="*/ 1485658 w 2171458"/>
                <a:gd name="connsiteY95" fmla="*/ 457200 h 2830359"/>
                <a:gd name="connsiteX96" fmla="*/ 1434858 w 2171458"/>
                <a:gd name="connsiteY96" fmla="*/ 448733 h 2830359"/>
                <a:gd name="connsiteX97" fmla="*/ 1426392 w 2171458"/>
                <a:gd name="connsiteY97" fmla="*/ 423333 h 2830359"/>
                <a:gd name="connsiteX98" fmla="*/ 1417925 w 2171458"/>
                <a:gd name="connsiteY98" fmla="*/ 389467 h 2830359"/>
                <a:gd name="connsiteX99" fmla="*/ 1400992 w 2171458"/>
                <a:gd name="connsiteY99" fmla="*/ 338667 h 2830359"/>
                <a:gd name="connsiteX100" fmla="*/ 1417925 w 2171458"/>
                <a:gd name="connsiteY100" fmla="*/ 287867 h 2830359"/>
                <a:gd name="connsiteX101" fmla="*/ 1426392 w 2171458"/>
                <a:gd name="connsiteY101" fmla="*/ 262467 h 2830359"/>
                <a:gd name="connsiteX102" fmla="*/ 1443325 w 2171458"/>
                <a:gd name="connsiteY102" fmla="*/ 203200 h 2830359"/>
                <a:gd name="connsiteX103" fmla="*/ 1434858 w 2171458"/>
                <a:gd name="connsiteY103" fmla="*/ 160867 h 2830359"/>
                <a:gd name="connsiteX104" fmla="*/ 1417925 w 2171458"/>
                <a:gd name="connsiteY104" fmla="*/ 135467 h 2830359"/>
                <a:gd name="connsiteX105" fmla="*/ 1400992 w 2171458"/>
                <a:gd name="connsiteY105" fmla="*/ 84667 h 2830359"/>
                <a:gd name="connsiteX106" fmla="*/ 1375592 w 2171458"/>
                <a:gd name="connsiteY106" fmla="*/ 76200 h 2830359"/>
                <a:gd name="connsiteX107" fmla="*/ 1324792 w 2171458"/>
                <a:gd name="connsiteY107" fmla="*/ 67733 h 2830359"/>
                <a:gd name="connsiteX108" fmla="*/ 1214725 w 2171458"/>
                <a:gd name="connsiteY108" fmla="*/ 42333 h 2830359"/>
                <a:gd name="connsiteX109" fmla="*/ 1172392 w 2171458"/>
                <a:gd name="connsiteY109" fmla="*/ 16933 h 2830359"/>
                <a:gd name="connsiteX110" fmla="*/ 1070792 w 2171458"/>
                <a:gd name="connsiteY110" fmla="*/ 0 h 2830359"/>
                <a:gd name="connsiteX111" fmla="*/ 1070792 w 2171458"/>
                <a:gd name="connsiteY111" fmla="*/ 135467 h 2830359"/>
                <a:gd name="connsiteX112" fmla="*/ 1079258 w 2171458"/>
                <a:gd name="connsiteY112" fmla="*/ 160867 h 2830359"/>
                <a:gd name="connsiteX113" fmla="*/ 1113125 w 2171458"/>
                <a:gd name="connsiteY113" fmla="*/ 169333 h 2830359"/>
                <a:gd name="connsiteX114" fmla="*/ 1130058 w 2171458"/>
                <a:gd name="connsiteY114" fmla="*/ 186267 h 2830359"/>
                <a:gd name="connsiteX115" fmla="*/ 1138525 w 2171458"/>
                <a:gd name="connsiteY115" fmla="*/ 211667 h 2830359"/>
                <a:gd name="connsiteX116" fmla="*/ 1189325 w 2171458"/>
                <a:gd name="connsiteY116" fmla="*/ 228600 h 2830359"/>
                <a:gd name="connsiteX117" fmla="*/ 1248592 w 2171458"/>
                <a:gd name="connsiteY117" fmla="*/ 270933 h 2830359"/>
                <a:gd name="connsiteX118" fmla="*/ 1273992 w 2171458"/>
                <a:gd name="connsiteY118" fmla="*/ 279400 h 2830359"/>
                <a:gd name="connsiteX119" fmla="*/ 1299392 w 2171458"/>
                <a:gd name="connsiteY119" fmla="*/ 287867 h 2830359"/>
                <a:gd name="connsiteX120" fmla="*/ 1316325 w 2171458"/>
                <a:gd name="connsiteY120" fmla="*/ 313267 h 2830359"/>
                <a:gd name="connsiteX121" fmla="*/ 1282458 w 2171458"/>
                <a:gd name="connsiteY121" fmla="*/ 355600 h 2830359"/>
                <a:gd name="connsiteX122" fmla="*/ 1197792 w 2171458"/>
                <a:gd name="connsiteY122" fmla="*/ 381000 h 2830359"/>
                <a:gd name="connsiteX123" fmla="*/ 1206258 w 2171458"/>
                <a:gd name="connsiteY123" fmla="*/ 457200 h 2830359"/>
                <a:gd name="connsiteX124" fmla="*/ 1214725 w 2171458"/>
                <a:gd name="connsiteY124" fmla="*/ 482600 h 2830359"/>
                <a:gd name="connsiteX125" fmla="*/ 1206258 w 2171458"/>
                <a:gd name="connsiteY125" fmla="*/ 508000 h 2830359"/>
                <a:gd name="connsiteX126" fmla="*/ 1138525 w 2171458"/>
                <a:gd name="connsiteY126" fmla="*/ 533400 h 2830359"/>
                <a:gd name="connsiteX127" fmla="*/ 1121592 w 2171458"/>
                <a:gd name="connsiteY127" fmla="*/ 558800 h 2830359"/>
                <a:gd name="connsiteX128" fmla="*/ 1070792 w 2171458"/>
                <a:gd name="connsiteY128" fmla="*/ 601133 h 2830359"/>
                <a:gd name="connsiteX129" fmla="*/ 1079258 w 2171458"/>
                <a:gd name="connsiteY129" fmla="*/ 626533 h 2830359"/>
                <a:gd name="connsiteX130" fmla="*/ 1036925 w 2171458"/>
                <a:gd name="connsiteY130" fmla="*/ 660400 h 2830359"/>
                <a:gd name="connsiteX131" fmla="*/ 1011525 w 2171458"/>
                <a:gd name="connsiteY131" fmla="*/ 668867 h 2830359"/>
                <a:gd name="connsiteX132" fmla="*/ 1019992 w 2171458"/>
                <a:gd name="connsiteY132" fmla="*/ 702733 h 2830359"/>
                <a:gd name="connsiteX133" fmla="*/ 986125 w 2171458"/>
                <a:gd name="connsiteY133" fmla="*/ 711200 h 2830359"/>
                <a:gd name="connsiteX134" fmla="*/ 960725 w 2171458"/>
                <a:gd name="connsiteY134" fmla="*/ 719667 h 2830359"/>
                <a:gd name="connsiteX135" fmla="*/ 935325 w 2171458"/>
                <a:gd name="connsiteY135" fmla="*/ 770467 h 2830359"/>
                <a:gd name="connsiteX136" fmla="*/ 884525 w 2171458"/>
                <a:gd name="connsiteY136" fmla="*/ 787400 h 2830359"/>
                <a:gd name="connsiteX137" fmla="*/ 859125 w 2171458"/>
                <a:gd name="connsiteY137" fmla="*/ 872067 h 2830359"/>
                <a:gd name="connsiteX138" fmla="*/ 850658 w 2171458"/>
                <a:gd name="connsiteY138" fmla="*/ 897467 h 2830359"/>
                <a:gd name="connsiteX139" fmla="*/ 825258 w 2171458"/>
                <a:gd name="connsiteY139" fmla="*/ 905933 h 2830359"/>
                <a:gd name="connsiteX140" fmla="*/ 808325 w 2171458"/>
                <a:gd name="connsiteY140" fmla="*/ 922867 h 2830359"/>
                <a:gd name="connsiteX141" fmla="*/ 782925 w 2171458"/>
                <a:gd name="connsiteY141" fmla="*/ 939800 h 2830359"/>
                <a:gd name="connsiteX142" fmla="*/ 757525 w 2171458"/>
                <a:gd name="connsiteY142" fmla="*/ 990600 h 2830359"/>
                <a:gd name="connsiteX143" fmla="*/ 732125 w 2171458"/>
                <a:gd name="connsiteY143" fmla="*/ 1016000 h 2830359"/>
                <a:gd name="connsiteX144" fmla="*/ 681325 w 2171458"/>
                <a:gd name="connsiteY144" fmla="*/ 1032933 h 2830359"/>
                <a:gd name="connsiteX145" fmla="*/ 672858 w 2171458"/>
                <a:gd name="connsiteY145" fmla="*/ 1058333 h 2830359"/>
                <a:gd name="connsiteX146" fmla="*/ 613592 w 2171458"/>
                <a:gd name="connsiteY146" fmla="*/ 1066800 h 2830359"/>
                <a:gd name="connsiteX147" fmla="*/ 588192 w 2171458"/>
                <a:gd name="connsiteY147" fmla="*/ 1075267 h 2830359"/>
                <a:gd name="connsiteX148" fmla="*/ 545858 w 2171458"/>
                <a:gd name="connsiteY148" fmla="*/ 1066800 h 2830359"/>
                <a:gd name="connsiteX149" fmla="*/ 519797 w 2171458"/>
                <a:gd name="connsiteY149" fmla="*/ 1070744 h 2830359"/>
                <a:gd name="connsiteX150" fmla="*/ 447789 w 2171458"/>
                <a:gd name="connsiteY150" fmla="*/ 1070744 h 2830359"/>
                <a:gd name="connsiteX151" fmla="*/ 447789 w 2171458"/>
                <a:gd name="connsiteY151" fmla="*/ 998736 h 2830359"/>
                <a:gd name="connsiteX152" fmla="*/ 375781 w 2171458"/>
                <a:gd name="connsiteY152" fmla="*/ 1070744 h 2830359"/>
                <a:gd name="connsiteX153" fmla="*/ 368058 w 2171458"/>
                <a:gd name="connsiteY153" fmla="*/ 1083733 h 2830359"/>
                <a:gd name="connsiteX154" fmla="*/ 351125 w 2171458"/>
                <a:gd name="connsiteY154" fmla="*/ 1100667 h 2830359"/>
                <a:gd name="connsiteX155" fmla="*/ 342658 w 2171458"/>
                <a:gd name="connsiteY155" fmla="*/ 1126067 h 2830359"/>
                <a:gd name="connsiteX156" fmla="*/ 317258 w 2171458"/>
                <a:gd name="connsiteY156" fmla="*/ 1134533 h 2830359"/>
                <a:gd name="connsiteX157" fmla="*/ 308792 w 2171458"/>
                <a:gd name="connsiteY157" fmla="*/ 1159933 h 2830359"/>
                <a:gd name="connsiteX158" fmla="*/ 266458 w 2171458"/>
                <a:gd name="connsiteY158" fmla="*/ 1168400 h 2830359"/>
                <a:gd name="connsiteX159" fmla="*/ 283392 w 2171458"/>
                <a:gd name="connsiteY159" fmla="*/ 1261533 h 2830359"/>
                <a:gd name="connsiteX160" fmla="*/ 300325 w 2171458"/>
                <a:gd name="connsiteY160" fmla="*/ 1278467 h 2830359"/>
                <a:gd name="connsiteX161" fmla="*/ 334192 w 2171458"/>
                <a:gd name="connsiteY161" fmla="*/ 1397000 h 2830359"/>
                <a:gd name="connsiteX162" fmla="*/ 359592 w 2171458"/>
                <a:gd name="connsiteY162" fmla="*/ 1473200 h 2830359"/>
                <a:gd name="connsiteX163" fmla="*/ 384992 w 2171458"/>
                <a:gd name="connsiteY163" fmla="*/ 1490133 h 2830359"/>
                <a:gd name="connsiteX164" fmla="*/ 393458 w 2171458"/>
                <a:gd name="connsiteY164" fmla="*/ 1515533 h 2830359"/>
                <a:gd name="connsiteX165" fmla="*/ 401925 w 2171458"/>
                <a:gd name="connsiteY165" fmla="*/ 1574800 h 2830359"/>
                <a:gd name="connsiteX166" fmla="*/ 427325 w 2171458"/>
                <a:gd name="connsiteY166" fmla="*/ 1583267 h 2830359"/>
                <a:gd name="connsiteX167" fmla="*/ 427325 w 2171458"/>
                <a:gd name="connsiteY167" fmla="*/ 1634067 h 2830359"/>
                <a:gd name="connsiteX168" fmla="*/ 435792 w 2171458"/>
                <a:gd name="connsiteY168" fmla="*/ 1676400 h 2830359"/>
                <a:gd name="connsiteX169" fmla="*/ 427325 w 2171458"/>
                <a:gd name="connsiteY169" fmla="*/ 1727200 h 2830359"/>
                <a:gd name="connsiteX170" fmla="*/ 401925 w 2171458"/>
                <a:gd name="connsiteY170" fmla="*/ 1735667 h 2830359"/>
                <a:gd name="connsiteX171" fmla="*/ 317258 w 2171458"/>
                <a:gd name="connsiteY171" fmla="*/ 1744133 h 2830359"/>
                <a:gd name="connsiteX172" fmla="*/ 291858 w 2171458"/>
                <a:gd name="connsiteY172" fmla="*/ 1752600 h 2830359"/>
                <a:gd name="connsiteX173" fmla="*/ 241058 w 2171458"/>
                <a:gd name="connsiteY173" fmla="*/ 1710267 h 2830359"/>
                <a:gd name="connsiteX174" fmla="*/ 224125 w 2171458"/>
                <a:gd name="connsiteY174" fmla="*/ 1693333 h 2830359"/>
                <a:gd name="connsiteX175" fmla="*/ 147925 w 2171458"/>
                <a:gd name="connsiteY175" fmla="*/ 1693333 h 2830359"/>
                <a:gd name="connsiteX176" fmla="*/ 54792 w 2171458"/>
                <a:gd name="connsiteY176" fmla="*/ 1701800 h 2830359"/>
                <a:gd name="connsiteX177" fmla="*/ 46325 w 2171458"/>
                <a:gd name="connsiteY177" fmla="*/ 1761067 h 2830359"/>
                <a:gd name="connsiteX178" fmla="*/ 12458 w 2171458"/>
                <a:gd name="connsiteY178" fmla="*/ 1769533 h 2830359"/>
                <a:gd name="connsiteX179" fmla="*/ 54792 w 2171458"/>
                <a:gd name="connsiteY179" fmla="*/ 1862667 h 2830359"/>
                <a:gd name="connsiteX180" fmla="*/ 88658 w 2171458"/>
                <a:gd name="connsiteY180" fmla="*/ 1913467 h 2830359"/>
                <a:gd name="connsiteX181" fmla="*/ 97125 w 2171458"/>
                <a:gd name="connsiteY181" fmla="*/ 1938867 h 2830359"/>
                <a:gd name="connsiteX182" fmla="*/ 122525 w 2171458"/>
                <a:gd name="connsiteY182" fmla="*/ 1947333 h 2830359"/>
                <a:gd name="connsiteX183" fmla="*/ 249525 w 2171458"/>
                <a:gd name="connsiteY183" fmla="*/ 1955800 h 2830359"/>
                <a:gd name="connsiteX184" fmla="*/ 291858 w 2171458"/>
                <a:gd name="connsiteY184" fmla="*/ 1947333 h 2830359"/>
                <a:gd name="connsiteX185" fmla="*/ 291858 w 2171458"/>
                <a:gd name="connsiteY185" fmla="*/ 1998133 h 2830359"/>
                <a:gd name="connsiteX186" fmla="*/ 283392 w 2171458"/>
                <a:gd name="connsiteY186" fmla="*/ 2048933 h 2830359"/>
                <a:gd name="connsiteX187" fmla="*/ 114058 w 2171458"/>
                <a:gd name="connsiteY187" fmla="*/ 2032000 h 2830359"/>
                <a:gd name="connsiteX188" fmla="*/ 130992 w 2171458"/>
                <a:gd name="connsiteY188" fmla="*/ 2015067 h 2830359"/>
                <a:gd name="connsiteX189" fmla="*/ 88658 w 2171458"/>
                <a:gd name="connsiteY189" fmla="*/ 2023533 h 2830359"/>
                <a:gd name="connsiteX190" fmla="*/ 105592 w 2171458"/>
                <a:gd name="connsiteY190" fmla="*/ 2040467 h 2830359"/>
                <a:gd name="connsiteX191" fmla="*/ 97125 w 2171458"/>
                <a:gd name="connsiteY191" fmla="*/ 2065867 h 2830359"/>
                <a:gd name="connsiteX192" fmla="*/ 80192 w 2171458"/>
                <a:gd name="connsiteY192" fmla="*/ 2133600 h 2830359"/>
                <a:gd name="connsiteX193" fmla="*/ 97125 w 2171458"/>
                <a:gd name="connsiteY193" fmla="*/ 2159000 h 2830359"/>
                <a:gd name="connsiteX194" fmla="*/ 147925 w 2171458"/>
                <a:gd name="connsiteY194" fmla="*/ 2175933 h 2830359"/>
                <a:gd name="connsiteX195" fmla="*/ 164858 w 2171458"/>
                <a:gd name="connsiteY195" fmla="*/ 2243667 h 2830359"/>
                <a:gd name="connsiteX196" fmla="*/ 198725 w 2171458"/>
                <a:gd name="connsiteY196" fmla="*/ 2294467 h 2830359"/>
                <a:gd name="connsiteX197" fmla="*/ 224125 w 2171458"/>
                <a:gd name="connsiteY197" fmla="*/ 2345267 h 2830359"/>
                <a:gd name="connsiteX198" fmla="*/ 283392 w 2171458"/>
                <a:gd name="connsiteY198" fmla="*/ 2370667 h 2830359"/>
                <a:gd name="connsiteX199" fmla="*/ 291858 w 2171458"/>
                <a:gd name="connsiteY199" fmla="*/ 2396067 h 2830359"/>
                <a:gd name="connsiteX200" fmla="*/ 317258 w 2171458"/>
                <a:gd name="connsiteY200" fmla="*/ 2404533 h 2830359"/>
                <a:gd name="connsiteX201" fmla="*/ 376525 w 2171458"/>
                <a:gd name="connsiteY201" fmla="*/ 2421467 h 2830359"/>
                <a:gd name="connsiteX202" fmla="*/ 334192 w 2171458"/>
                <a:gd name="connsiteY202" fmla="*/ 2429933 h 2830359"/>
                <a:gd name="connsiteX203" fmla="*/ 401925 w 2171458"/>
                <a:gd name="connsiteY203" fmla="*/ 2421467 h 2830359"/>
                <a:gd name="connsiteX204" fmla="*/ 393458 w 2171458"/>
                <a:gd name="connsiteY204" fmla="*/ 2396067 h 2830359"/>
                <a:gd name="connsiteX205" fmla="*/ 384992 w 2171458"/>
                <a:gd name="connsiteY205" fmla="*/ 2362200 h 2830359"/>
                <a:gd name="connsiteX206" fmla="*/ 537392 w 2171458"/>
                <a:gd name="connsiteY206" fmla="*/ 2353733 h 2830359"/>
                <a:gd name="connsiteX207" fmla="*/ 562792 w 2171458"/>
                <a:gd name="connsiteY207" fmla="*/ 2345267 h 2830359"/>
                <a:gd name="connsiteX208" fmla="*/ 579725 w 2171458"/>
                <a:gd name="connsiteY208" fmla="*/ 2328333 h 2830359"/>
                <a:gd name="connsiteX209" fmla="*/ 588192 w 2171458"/>
                <a:gd name="connsiteY209" fmla="*/ 2302933 h 2830359"/>
                <a:gd name="connsiteX210" fmla="*/ 571258 w 2171458"/>
                <a:gd name="connsiteY210" fmla="*/ 2235200 h 2830359"/>
                <a:gd name="connsiteX211" fmla="*/ 605125 w 2171458"/>
                <a:gd name="connsiteY211" fmla="*/ 2159000 h 2830359"/>
                <a:gd name="connsiteX212" fmla="*/ 630525 w 2171458"/>
                <a:gd name="connsiteY212" fmla="*/ 2142067 h 2830359"/>
                <a:gd name="connsiteX213" fmla="*/ 655925 w 2171458"/>
                <a:gd name="connsiteY213" fmla="*/ 2150533 h 2830359"/>
                <a:gd name="connsiteX214" fmla="*/ 664392 w 2171458"/>
                <a:gd name="connsiteY214" fmla="*/ 2209800 h 2830359"/>
                <a:gd name="connsiteX215" fmla="*/ 672858 w 2171458"/>
                <a:gd name="connsiteY215" fmla="*/ 2235200 h 2830359"/>
                <a:gd name="connsiteX216" fmla="*/ 681325 w 2171458"/>
                <a:gd name="connsiteY216" fmla="*/ 2269067 h 2830359"/>
                <a:gd name="connsiteX217" fmla="*/ 664392 w 2171458"/>
                <a:gd name="connsiteY217" fmla="*/ 2370667 h 2830359"/>
                <a:gd name="connsiteX218" fmla="*/ 647458 w 2171458"/>
                <a:gd name="connsiteY218" fmla="*/ 2387600 h 2830359"/>
                <a:gd name="connsiteX219" fmla="*/ 630525 w 2171458"/>
                <a:gd name="connsiteY219" fmla="*/ 2455333 h 2830359"/>
                <a:gd name="connsiteX220" fmla="*/ 622058 w 2171458"/>
                <a:gd name="connsiteY220" fmla="*/ 2480733 h 2830359"/>
                <a:gd name="connsiteX221" fmla="*/ 613592 w 2171458"/>
                <a:gd name="connsiteY221" fmla="*/ 2514600 h 2830359"/>
                <a:gd name="connsiteX222" fmla="*/ 596658 w 2171458"/>
                <a:gd name="connsiteY222" fmla="*/ 2531533 h 2830359"/>
                <a:gd name="connsiteX223" fmla="*/ 579725 w 2171458"/>
                <a:gd name="connsiteY223" fmla="*/ 2582333 h 2830359"/>
                <a:gd name="connsiteX224" fmla="*/ 596658 w 2171458"/>
                <a:gd name="connsiteY224" fmla="*/ 2709333 h 2830359"/>
                <a:gd name="connsiteX225" fmla="*/ 605125 w 2171458"/>
                <a:gd name="connsiteY225" fmla="*/ 2819400 h 2830359"/>
                <a:gd name="connsiteX226" fmla="*/ 638992 w 2171458"/>
                <a:gd name="connsiteY226" fmla="*/ 2827867 h 2830359"/>
                <a:gd name="connsiteX227" fmla="*/ 638992 w 2171458"/>
                <a:gd name="connsiteY227" fmla="*/ 2819400 h 2830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</a:cxnLst>
              <a:rect l="l" t="t" r="r" b="b"/>
              <a:pathLst>
                <a:path w="2171458" h="2830359">
                  <a:moveTo>
                    <a:pt x="638992" y="2819400"/>
                  </a:moveTo>
                  <a:cubicBezTo>
                    <a:pt x="641814" y="2808111"/>
                    <a:pt x="650021" y="2779813"/>
                    <a:pt x="655925" y="2760133"/>
                  </a:cubicBezTo>
                  <a:cubicBezTo>
                    <a:pt x="658489" y="2751585"/>
                    <a:pt x="660401" y="2742715"/>
                    <a:pt x="664392" y="2734733"/>
                  </a:cubicBezTo>
                  <a:cubicBezTo>
                    <a:pt x="668943" y="2725632"/>
                    <a:pt x="675411" y="2717613"/>
                    <a:pt x="681325" y="2709333"/>
                  </a:cubicBezTo>
                  <a:cubicBezTo>
                    <a:pt x="706481" y="2674115"/>
                    <a:pt x="699595" y="2682597"/>
                    <a:pt x="723658" y="2658533"/>
                  </a:cubicBezTo>
                  <a:cubicBezTo>
                    <a:pt x="726480" y="2650066"/>
                    <a:pt x="727174" y="2640559"/>
                    <a:pt x="732125" y="2633133"/>
                  </a:cubicBezTo>
                  <a:cubicBezTo>
                    <a:pt x="738767" y="2623170"/>
                    <a:pt x="755943" y="2619602"/>
                    <a:pt x="757525" y="2607733"/>
                  </a:cubicBezTo>
                  <a:cubicBezTo>
                    <a:pt x="765417" y="2548543"/>
                    <a:pt x="755313" y="2524900"/>
                    <a:pt x="740592" y="2480733"/>
                  </a:cubicBezTo>
                  <a:cubicBezTo>
                    <a:pt x="743414" y="2463800"/>
                    <a:pt x="743030" y="2446007"/>
                    <a:pt x="749058" y="2429933"/>
                  </a:cubicBezTo>
                  <a:cubicBezTo>
                    <a:pt x="756690" y="2409581"/>
                    <a:pt x="775875" y="2412292"/>
                    <a:pt x="791392" y="2404533"/>
                  </a:cubicBezTo>
                  <a:cubicBezTo>
                    <a:pt x="800493" y="2399982"/>
                    <a:pt x="808325" y="2393244"/>
                    <a:pt x="816792" y="2387600"/>
                  </a:cubicBezTo>
                  <a:cubicBezTo>
                    <a:pt x="819614" y="2370667"/>
                    <a:pt x="816741" y="2351705"/>
                    <a:pt x="825258" y="2336800"/>
                  </a:cubicBezTo>
                  <a:cubicBezTo>
                    <a:pt x="829686" y="2329051"/>
                    <a:pt x="841877" y="2329929"/>
                    <a:pt x="850658" y="2328333"/>
                  </a:cubicBezTo>
                  <a:cubicBezTo>
                    <a:pt x="873045" y="2324263"/>
                    <a:pt x="895814" y="2322689"/>
                    <a:pt x="918392" y="2319867"/>
                  </a:cubicBezTo>
                  <a:cubicBezTo>
                    <a:pt x="915570" y="2311400"/>
                    <a:pt x="917674" y="2298895"/>
                    <a:pt x="909925" y="2294467"/>
                  </a:cubicBezTo>
                  <a:cubicBezTo>
                    <a:pt x="895020" y="2285950"/>
                    <a:pt x="875883" y="2289724"/>
                    <a:pt x="859125" y="2286000"/>
                  </a:cubicBezTo>
                  <a:cubicBezTo>
                    <a:pt x="850413" y="2284064"/>
                    <a:pt x="842192" y="2280355"/>
                    <a:pt x="833725" y="2277533"/>
                  </a:cubicBezTo>
                  <a:cubicBezTo>
                    <a:pt x="839369" y="2269066"/>
                    <a:pt x="846650" y="2261486"/>
                    <a:pt x="850658" y="2252133"/>
                  </a:cubicBezTo>
                  <a:cubicBezTo>
                    <a:pt x="855242" y="2241438"/>
                    <a:pt x="851856" y="2227353"/>
                    <a:pt x="859125" y="2218267"/>
                  </a:cubicBezTo>
                  <a:cubicBezTo>
                    <a:pt x="864700" y="2211298"/>
                    <a:pt x="876543" y="2213791"/>
                    <a:pt x="884525" y="2209800"/>
                  </a:cubicBezTo>
                  <a:cubicBezTo>
                    <a:pt x="893626" y="2205249"/>
                    <a:pt x="901458" y="2198511"/>
                    <a:pt x="909925" y="2192867"/>
                  </a:cubicBezTo>
                  <a:cubicBezTo>
                    <a:pt x="915569" y="2175934"/>
                    <a:pt x="925082" y="2159828"/>
                    <a:pt x="926858" y="2142067"/>
                  </a:cubicBezTo>
                  <a:cubicBezTo>
                    <a:pt x="929680" y="2113845"/>
                    <a:pt x="928947" y="2085037"/>
                    <a:pt x="935325" y="2057400"/>
                  </a:cubicBezTo>
                  <a:cubicBezTo>
                    <a:pt x="937613" y="2047485"/>
                    <a:pt x="942959" y="2036133"/>
                    <a:pt x="952258" y="2032000"/>
                  </a:cubicBezTo>
                  <a:cubicBezTo>
                    <a:pt x="970494" y="2023895"/>
                    <a:pt x="991769" y="2026355"/>
                    <a:pt x="1011525" y="2023533"/>
                  </a:cubicBezTo>
                  <a:cubicBezTo>
                    <a:pt x="1014347" y="2015066"/>
                    <a:pt x="1015658" y="2005935"/>
                    <a:pt x="1019992" y="1998133"/>
                  </a:cubicBezTo>
                  <a:cubicBezTo>
                    <a:pt x="1043928" y="1955048"/>
                    <a:pt x="1045099" y="1956092"/>
                    <a:pt x="1070792" y="1930400"/>
                  </a:cubicBezTo>
                  <a:cubicBezTo>
                    <a:pt x="1073614" y="1919111"/>
                    <a:pt x="1076061" y="1907722"/>
                    <a:pt x="1079258" y="1896533"/>
                  </a:cubicBezTo>
                  <a:cubicBezTo>
                    <a:pt x="1081710" y="1887952"/>
                    <a:pt x="1085560" y="1879791"/>
                    <a:pt x="1087725" y="1871133"/>
                  </a:cubicBezTo>
                  <a:cubicBezTo>
                    <a:pt x="1091215" y="1857172"/>
                    <a:pt x="1093370" y="1842911"/>
                    <a:pt x="1096192" y="1828800"/>
                  </a:cubicBezTo>
                  <a:cubicBezTo>
                    <a:pt x="1093479" y="1817947"/>
                    <a:pt x="1085332" y="1781681"/>
                    <a:pt x="1079258" y="1769533"/>
                  </a:cubicBezTo>
                  <a:cubicBezTo>
                    <a:pt x="1074707" y="1760432"/>
                    <a:pt x="1067969" y="1752600"/>
                    <a:pt x="1062325" y="1744133"/>
                  </a:cubicBezTo>
                  <a:cubicBezTo>
                    <a:pt x="1065147" y="1727200"/>
                    <a:pt x="1056234" y="1702431"/>
                    <a:pt x="1070792" y="1693333"/>
                  </a:cubicBezTo>
                  <a:cubicBezTo>
                    <a:pt x="1087715" y="1682756"/>
                    <a:pt x="1110374" y="1698519"/>
                    <a:pt x="1130058" y="1701800"/>
                  </a:cubicBezTo>
                  <a:cubicBezTo>
                    <a:pt x="1162300" y="1707174"/>
                    <a:pt x="1175817" y="1711123"/>
                    <a:pt x="1206258" y="1718733"/>
                  </a:cubicBezTo>
                  <a:cubicBezTo>
                    <a:pt x="1213976" y="1849935"/>
                    <a:pt x="1168022" y="1885410"/>
                    <a:pt x="1282458" y="1854200"/>
                  </a:cubicBezTo>
                  <a:cubicBezTo>
                    <a:pt x="1292275" y="1851523"/>
                    <a:pt x="1299391" y="1842911"/>
                    <a:pt x="1307858" y="1837267"/>
                  </a:cubicBezTo>
                  <a:cubicBezTo>
                    <a:pt x="1316905" y="1846314"/>
                    <a:pt x="1337376" y="1868997"/>
                    <a:pt x="1350192" y="1871133"/>
                  </a:cubicBezTo>
                  <a:cubicBezTo>
                    <a:pt x="1358995" y="1872600"/>
                    <a:pt x="1367125" y="1865489"/>
                    <a:pt x="1375592" y="1862667"/>
                  </a:cubicBezTo>
                  <a:cubicBezTo>
                    <a:pt x="1389703" y="1865489"/>
                    <a:pt x="1404088" y="1875087"/>
                    <a:pt x="1417925" y="1871133"/>
                  </a:cubicBezTo>
                  <a:cubicBezTo>
                    <a:pt x="1427709" y="1868337"/>
                    <a:pt x="1430850" y="1855086"/>
                    <a:pt x="1434858" y="1845733"/>
                  </a:cubicBezTo>
                  <a:cubicBezTo>
                    <a:pt x="1435023" y="1845348"/>
                    <a:pt x="1447673" y="1790586"/>
                    <a:pt x="1451792" y="1786467"/>
                  </a:cubicBezTo>
                  <a:cubicBezTo>
                    <a:pt x="1458103" y="1780156"/>
                    <a:pt x="1468725" y="1780822"/>
                    <a:pt x="1477192" y="1778000"/>
                  </a:cubicBezTo>
                  <a:cubicBezTo>
                    <a:pt x="1482836" y="1769533"/>
                    <a:pt x="1491201" y="1762346"/>
                    <a:pt x="1494125" y="1752600"/>
                  </a:cubicBezTo>
                  <a:cubicBezTo>
                    <a:pt x="1499859" y="1733485"/>
                    <a:pt x="1494487" y="1711569"/>
                    <a:pt x="1502592" y="1693333"/>
                  </a:cubicBezTo>
                  <a:cubicBezTo>
                    <a:pt x="1506725" y="1684034"/>
                    <a:pt x="1519525" y="1682044"/>
                    <a:pt x="1527992" y="1676400"/>
                  </a:cubicBezTo>
                  <a:cubicBezTo>
                    <a:pt x="1518267" y="1661813"/>
                    <a:pt x="1501955" y="1633749"/>
                    <a:pt x="1485658" y="1625600"/>
                  </a:cubicBezTo>
                  <a:cubicBezTo>
                    <a:pt x="1472787" y="1619164"/>
                    <a:pt x="1457436" y="1619955"/>
                    <a:pt x="1443325" y="1617133"/>
                  </a:cubicBezTo>
                  <a:cubicBezTo>
                    <a:pt x="1440503" y="1608666"/>
                    <a:pt x="1439192" y="1599535"/>
                    <a:pt x="1434858" y="1591733"/>
                  </a:cubicBezTo>
                  <a:cubicBezTo>
                    <a:pt x="1424975" y="1573943"/>
                    <a:pt x="1400992" y="1540933"/>
                    <a:pt x="1400992" y="1540933"/>
                  </a:cubicBezTo>
                  <a:cubicBezTo>
                    <a:pt x="1403814" y="1532466"/>
                    <a:pt x="1403147" y="1521844"/>
                    <a:pt x="1409458" y="1515533"/>
                  </a:cubicBezTo>
                  <a:cubicBezTo>
                    <a:pt x="1415769" y="1509222"/>
                    <a:pt x="1426107" y="1508817"/>
                    <a:pt x="1434858" y="1507067"/>
                  </a:cubicBezTo>
                  <a:cubicBezTo>
                    <a:pt x="1454427" y="1503153"/>
                    <a:pt x="1474369" y="1501422"/>
                    <a:pt x="1494125" y="1498600"/>
                  </a:cubicBezTo>
                  <a:cubicBezTo>
                    <a:pt x="1502592" y="1492956"/>
                    <a:pt x="1510226" y="1485800"/>
                    <a:pt x="1519525" y="1481667"/>
                  </a:cubicBezTo>
                  <a:cubicBezTo>
                    <a:pt x="1535836" y="1474418"/>
                    <a:pt x="1570325" y="1464733"/>
                    <a:pt x="1570325" y="1464733"/>
                  </a:cubicBezTo>
                  <a:cubicBezTo>
                    <a:pt x="1627436" y="1407622"/>
                    <a:pt x="1598406" y="1421505"/>
                    <a:pt x="1646525" y="1405467"/>
                  </a:cubicBezTo>
                  <a:cubicBezTo>
                    <a:pt x="1704861" y="1347127"/>
                    <a:pt x="1610815" y="1433679"/>
                    <a:pt x="1807392" y="1380067"/>
                  </a:cubicBezTo>
                  <a:cubicBezTo>
                    <a:pt x="1817872" y="1377209"/>
                    <a:pt x="1858566" y="1330540"/>
                    <a:pt x="1866658" y="1312333"/>
                  </a:cubicBezTo>
                  <a:cubicBezTo>
                    <a:pt x="1873907" y="1296022"/>
                    <a:pt x="1865922" y="1264057"/>
                    <a:pt x="1883592" y="1261533"/>
                  </a:cubicBezTo>
                  <a:cubicBezTo>
                    <a:pt x="1954378" y="1251421"/>
                    <a:pt x="1923498" y="1257907"/>
                    <a:pt x="1976725" y="1244600"/>
                  </a:cubicBezTo>
                  <a:cubicBezTo>
                    <a:pt x="2010449" y="1194013"/>
                    <a:pt x="1973620" y="1237996"/>
                    <a:pt x="2019058" y="1210733"/>
                  </a:cubicBezTo>
                  <a:cubicBezTo>
                    <a:pt x="2025903" y="1206626"/>
                    <a:pt x="2028419" y="1196324"/>
                    <a:pt x="2035992" y="1193800"/>
                  </a:cubicBezTo>
                  <a:cubicBezTo>
                    <a:pt x="2058145" y="1186416"/>
                    <a:pt x="2030971" y="1214855"/>
                    <a:pt x="2031965" y="1214760"/>
                  </a:cubicBezTo>
                  <a:lnTo>
                    <a:pt x="2031965" y="1214760"/>
                  </a:lnTo>
                  <a:cubicBezTo>
                    <a:pt x="2000921" y="1211938"/>
                    <a:pt x="2056299" y="1180390"/>
                    <a:pt x="2027525" y="1168400"/>
                  </a:cubicBezTo>
                  <a:cubicBezTo>
                    <a:pt x="2016784" y="1163924"/>
                    <a:pt x="2022402" y="1145679"/>
                    <a:pt x="2019058" y="1134533"/>
                  </a:cubicBezTo>
                  <a:cubicBezTo>
                    <a:pt x="2013929" y="1117436"/>
                    <a:pt x="2002125" y="1083733"/>
                    <a:pt x="2002125" y="1083733"/>
                  </a:cubicBezTo>
                  <a:cubicBezTo>
                    <a:pt x="2004947" y="1075266"/>
                    <a:pt x="2005017" y="1065302"/>
                    <a:pt x="2010592" y="1058333"/>
                  </a:cubicBezTo>
                  <a:cubicBezTo>
                    <a:pt x="2016949" y="1050387"/>
                    <a:pt x="2028797" y="1048595"/>
                    <a:pt x="2035992" y="1041400"/>
                  </a:cubicBezTo>
                  <a:cubicBezTo>
                    <a:pt x="2043187" y="1034205"/>
                    <a:pt x="2047281" y="1024467"/>
                    <a:pt x="2052925" y="1016000"/>
                  </a:cubicBezTo>
                  <a:cubicBezTo>
                    <a:pt x="2050103" y="1004711"/>
                    <a:pt x="2047655" y="993322"/>
                    <a:pt x="2044458" y="982133"/>
                  </a:cubicBezTo>
                  <a:cubicBezTo>
                    <a:pt x="2037178" y="956653"/>
                    <a:pt x="2024992" y="943600"/>
                    <a:pt x="2044458" y="914400"/>
                  </a:cubicBezTo>
                  <a:cubicBezTo>
                    <a:pt x="2049408" y="906974"/>
                    <a:pt x="2061391" y="908755"/>
                    <a:pt x="2069858" y="905933"/>
                  </a:cubicBezTo>
                  <a:cubicBezTo>
                    <a:pt x="2075503" y="900289"/>
                    <a:pt x="2082685" y="895845"/>
                    <a:pt x="2086792" y="889000"/>
                  </a:cubicBezTo>
                  <a:cubicBezTo>
                    <a:pt x="2103215" y="861628"/>
                    <a:pt x="2090313" y="834510"/>
                    <a:pt x="2103725" y="804333"/>
                  </a:cubicBezTo>
                  <a:cubicBezTo>
                    <a:pt x="2107858" y="795034"/>
                    <a:pt x="2120658" y="793044"/>
                    <a:pt x="2129125" y="787400"/>
                  </a:cubicBezTo>
                  <a:cubicBezTo>
                    <a:pt x="2134769" y="778933"/>
                    <a:pt x="2139701" y="769946"/>
                    <a:pt x="2146058" y="762000"/>
                  </a:cubicBezTo>
                  <a:cubicBezTo>
                    <a:pt x="2151045" y="755767"/>
                    <a:pt x="2158885" y="751912"/>
                    <a:pt x="2162992" y="745067"/>
                  </a:cubicBezTo>
                  <a:cubicBezTo>
                    <a:pt x="2167584" y="737414"/>
                    <a:pt x="2168636" y="728134"/>
                    <a:pt x="2171458" y="719667"/>
                  </a:cubicBezTo>
                  <a:cubicBezTo>
                    <a:pt x="2168636" y="711200"/>
                    <a:pt x="2168347" y="701407"/>
                    <a:pt x="2162992" y="694267"/>
                  </a:cubicBezTo>
                  <a:cubicBezTo>
                    <a:pt x="2151018" y="678302"/>
                    <a:pt x="2129583" y="669783"/>
                    <a:pt x="2120658" y="651933"/>
                  </a:cubicBezTo>
                  <a:cubicBezTo>
                    <a:pt x="2118483" y="647583"/>
                    <a:pt x="2101057" y="603808"/>
                    <a:pt x="2086792" y="601133"/>
                  </a:cubicBezTo>
                  <a:cubicBezTo>
                    <a:pt x="2047858" y="593833"/>
                    <a:pt x="2007769" y="595489"/>
                    <a:pt x="1968258" y="592667"/>
                  </a:cubicBezTo>
                  <a:cubicBezTo>
                    <a:pt x="1965436" y="584200"/>
                    <a:pt x="1964384" y="574920"/>
                    <a:pt x="1959792" y="567267"/>
                  </a:cubicBezTo>
                  <a:cubicBezTo>
                    <a:pt x="1945586" y="543591"/>
                    <a:pt x="1927424" y="545710"/>
                    <a:pt x="1900525" y="541867"/>
                  </a:cubicBezTo>
                  <a:cubicBezTo>
                    <a:pt x="1875226" y="538253"/>
                    <a:pt x="1849725" y="536222"/>
                    <a:pt x="1824325" y="533400"/>
                  </a:cubicBezTo>
                  <a:cubicBezTo>
                    <a:pt x="1807392" y="536222"/>
                    <a:pt x="1790359" y="538500"/>
                    <a:pt x="1773525" y="541867"/>
                  </a:cubicBezTo>
                  <a:cubicBezTo>
                    <a:pt x="1762115" y="544149"/>
                    <a:pt x="1748745" y="543064"/>
                    <a:pt x="1739658" y="550333"/>
                  </a:cubicBezTo>
                  <a:cubicBezTo>
                    <a:pt x="1732689" y="555908"/>
                    <a:pt x="1735784" y="568080"/>
                    <a:pt x="1731192" y="575733"/>
                  </a:cubicBezTo>
                  <a:cubicBezTo>
                    <a:pt x="1719570" y="595104"/>
                    <a:pt x="1708838" y="594474"/>
                    <a:pt x="1688858" y="601133"/>
                  </a:cubicBezTo>
                  <a:cubicBezTo>
                    <a:pt x="1671925" y="598311"/>
                    <a:pt x="1654816" y="596391"/>
                    <a:pt x="1638058" y="592667"/>
                  </a:cubicBezTo>
                  <a:cubicBezTo>
                    <a:pt x="1629346" y="590731"/>
                    <a:pt x="1621239" y="586652"/>
                    <a:pt x="1612658" y="584200"/>
                  </a:cubicBezTo>
                  <a:cubicBezTo>
                    <a:pt x="1601470" y="581003"/>
                    <a:pt x="1589937" y="579077"/>
                    <a:pt x="1578792" y="575733"/>
                  </a:cubicBezTo>
                  <a:cubicBezTo>
                    <a:pt x="1561696" y="570604"/>
                    <a:pt x="1527992" y="558800"/>
                    <a:pt x="1527992" y="558800"/>
                  </a:cubicBezTo>
                  <a:lnTo>
                    <a:pt x="1511058" y="508000"/>
                  </a:lnTo>
                  <a:cubicBezTo>
                    <a:pt x="1507050" y="495977"/>
                    <a:pt x="1498791" y="463766"/>
                    <a:pt x="1485658" y="457200"/>
                  </a:cubicBezTo>
                  <a:cubicBezTo>
                    <a:pt x="1470303" y="449523"/>
                    <a:pt x="1451791" y="451555"/>
                    <a:pt x="1434858" y="448733"/>
                  </a:cubicBezTo>
                  <a:cubicBezTo>
                    <a:pt x="1432036" y="440266"/>
                    <a:pt x="1428844" y="431914"/>
                    <a:pt x="1426392" y="423333"/>
                  </a:cubicBezTo>
                  <a:cubicBezTo>
                    <a:pt x="1423195" y="412145"/>
                    <a:pt x="1421269" y="400612"/>
                    <a:pt x="1417925" y="389467"/>
                  </a:cubicBezTo>
                  <a:cubicBezTo>
                    <a:pt x="1412796" y="372371"/>
                    <a:pt x="1400992" y="338667"/>
                    <a:pt x="1400992" y="338667"/>
                  </a:cubicBezTo>
                  <a:lnTo>
                    <a:pt x="1417925" y="287867"/>
                  </a:lnTo>
                  <a:lnTo>
                    <a:pt x="1426392" y="262467"/>
                  </a:lnTo>
                  <a:cubicBezTo>
                    <a:pt x="1405778" y="200628"/>
                    <a:pt x="1392142" y="215996"/>
                    <a:pt x="1443325" y="203200"/>
                  </a:cubicBezTo>
                  <a:cubicBezTo>
                    <a:pt x="1440503" y="189089"/>
                    <a:pt x="1439911" y="174341"/>
                    <a:pt x="1434858" y="160867"/>
                  </a:cubicBezTo>
                  <a:cubicBezTo>
                    <a:pt x="1431285" y="151339"/>
                    <a:pt x="1422058" y="144766"/>
                    <a:pt x="1417925" y="135467"/>
                  </a:cubicBezTo>
                  <a:cubicBezTo>
                    <a:pt x="1410676" y="119156"/>
                    <a:pt x="1406636" y="101600"/>
                    <a:pt x="1400992" y="84667"/>
                  </a:cubicBezTo>
                  <a:cubicBezTo>
                    <a:pt x="1398170" y="76200"/>
                    <a:pt x="1384304" y="78136"/>
                    <a:pt x="1375592" y="76200"/>
                  </a:cubicBezTo>
                  <a:cubicBezTo>
                    <a:pt x="1358834" y="72476"/>
                    <a:pt x="1341446" y="71897"/>
                    <a:pt x="1324792" y="67733"/>
                  </a:cubicBezTo>
                  <a:cubicBezTo>
                    <a:pt x="1200825" y="36741"/>
                    <a:pt x="1352298" y="61987"/>
                    <a:pt x="1214725" y="42333"/>
                  </a:cubicBezTo>
                  <a:cubicBezTo>
                    <a:pt x="1142772" y="18350"/>
                    <a:pt x="1230501" y="51799"/>
                    <a:pt x="1172392" y="16933"/>
                  </a:cubicBezTo>
                  <a:cubicBezTo>
                    <a:pt x="1149829" y="3395"/>
                    <a:pt x="1078310" y="835"/>
                    <a:pt x="1070792" y="0"/>
                  </a:cubicBezTo>
                  <a:cubicBezTo>
                    <a:pt x="1062860" y="79313"/>
                    <a:pt x="1056304" y="70269"/>
                    <a:pt x="1070792" y="135467"/>
                  </a:cubicBezTo>
                  <a:cubicBezTo>
                    <a:pt x="1072728" y="144179"/>
                    <a:pt x="1072289" y="155292"/>
                    <a:pt x="1079258" y="160867"/>
                  </a:cubicBezTo>
                  <a:cubicBezTo>
                    <a:pt x="1088345" y="168136"/>
                    <a:pt x="1101836" y="166511"/>
                    <a:pt x="1113125" y="169333"/>
                  </a:cubicBezTo>
                  <a:cubicBezTo>
                    <a:pt x="1118769" y="174978"/>
                    <a:pt x="1125951" y="179422"/>
                    <a:pt x="1130058" y="186267"/>
                  </a:cubicBezTo>
                  <a:cubicBezTo>
                    <a:pt x="1134650" y="193920"/>
                    <a:pt x="1131263" y="206480"/>
                    <a:pt x="1138525" y="211667"/>
                  </a:cubicBezTo>
                  <a:cubicBezTo>
                    <a:pt x="1153050" y="222042"/>
                    <a:pt x="1189325" y="228600"/>
                    <a:pt x="1189325" y="228600"/>
                  </a:cubicBezTo>
                  <a:cubicBezTo>
                    <a:pt x="1203437" y="270933"/>
                    <a:pt x="1189325" y="251177"/>
                    <a:pt x="1248592" y="270933"/>
                  </a:cubicBezTo>
                  <a:lnTo>
                    <a:pt x="1273992" y="279400"/>
                  </a:lnTo>
                  <a:lnTo>
                    <a:pt x="1299392" y="287867"/>
                  </a:lnTo>
                  <a:cubicBezTo>
                    <a:pt x="1305036" y="296334"/>
                    <a:pt x="1314652" y="303230"/>
                    <a:pt x="1316325" y="313267"/>
                  </a:cubicBezTo>
                  <a:cubicBezTo>
                    <a:pt x="1319965" y="335111"/>
                    <a:pt x="1297810" y="348777"/>
                    <a:pt x="1282458" y="355600"/>
                  </a:cubicBezTo>
                  <a:cubicBezTo>
                    <a:pt x="1255959" y="367377"/>
                    <a:pt x="1225936" y="373964"/>
                    <a:pt x="1197792" y="381000"/>
                  </a:cubicBezTo>
                  <a:cubicBezTo>
                    <a:pt x="1183680" y="423333"/>
                    <a:pt x="1186503" y="397934"/>
                    <a:pt x="1206258" y="457200"/>
                  </a:cubicBezTo>
                  <a:lnTo>
                    <a:pt x="1214725" y="482600"/>
                  </a:lnTo>
                  <a:cubicBezTo>
                    <a:pt x="1211903" y="491067"/>
                    <a:pt x="1213114" y="502287"/>
                    <a:pt x="1206258" y="508000"/>
                  </a:cubicBezTo>
                  <a:cubicBezTo>
                    <a:pt x="1199510" y="513623"/>
                    <a:pt x="1152580" y="528715"/>
                    <a:pt x="1138525" y="533400"/>
                  </a:cubicBezTo>
                  <a:cubicBezTo>
                    <a:pt x="1132881" y="541867"/>
                    <a:pt x="1128106" y="550983"/>
                    <a:pt x="1121592" y="558800"/>
                  </a:cubicBezTo>
                  <a:cubicBezTo>
                    <a:pt x="1101220" y="583247"/>
                    <a:pt x="1095767" y="584483"/>
                    <a:pt x="1070792" y="601133"/>
                  </a:cubicBezTo>
                  <a:cubicBezTo>
                    <a:pt x="1073614" y="609600"/>
                    <a:pt x="1079258" y="617608"/>
                    <a:pt x="1079258" y="626533"/>
                  </a:cubicBezTo>
                  <a:cubicBezTo>
                    <a:pt x="1079258" y="660667"/>
                    <a:pt x="1063614" y="652774"/>
                    <a:pt x="1036925" y="660400"/>
                  </a:cubicBezTo>
                  <a:cubicBezTo>
                    <a:pt x="1028344" y="662852"/>
                    <a:pt x="1019992" y="666045"/>
                    <a:pt x="1011525" y="668867"/>
                  </a:cubicBezTo>
                  <a:cubicBezTo>
                    <a:pt x="1014347" y="680156"/>
                    <a:pt x="1025979" y="692755"/>
                    <a:pt x="1019992" y="702733"/>
                  </a:cubicBezTo>
                  <a:cubicBezTo>
                    <a:pt x="1014005" y="712711"/>
                    <a:pt x="997314" y="708003"/>
                    <a:pt x="986125" y="711200"/>
                  </a:cubicBezTo>
                  <a:cubicBezTo>
                    <a:pt x="977544" y="713652"/>
                    <a:pt x="969192" y="716845"/>
                    <a:pt x="960725" y="719667"/>
                  </a:cubicBezTo>
                  <a:cubicBezTo>
                    <a:pt x="956112" y="733506"/>
                    <a:pt x="949145" y="761829"/>
                    <a:pt x="935325" y="770467"/>
                  </a:cubicBezTo>
                  <a:cubicBezTo>
                    <a:pt x="920189" y="779927"/>
                    <a:pt x="884525" y="787400"/>
                    <a:pt x="884525" y="787400"/>
                  </a:cubicBezTo>
                  <a:cubicBezTo>
                    <a:pt x="871730" y="838580"/>
                    <a:pt x="879736" y="810233"/>
                    <a:pt x="859125" y="872067"/>
                  </a:cubicBezTo>
                  <a:cubicBezTo>
                    <a:pt x="856303" y="880534"/>
                    <a:pt x="859125" y="894645"/>
                    <a:pt x="850658" y="897467"/>
                  </a:cubicBezTo>
                  <a:lnTo>
                    <a:pt x="825258" y="905933"/>
                  </a:lnTo>
                  <a:cubicBezTo>
                    <a:pt x="819614" y="911578"/>
                    <a:pt x="814558" y="917880"/>
                    <a:pt x="808325" y="922867"/>
                  </a:cubicBezTo>
                  <a:cubicBezTo>
                    <a:pt x="800379" y="929224"/>
                    <a:pt x="790120" y="932605"/>
                    <a:pt x="782925" y="939800"/>
                  </a:cubicBezTo>
                  <a:cubicBezTo>
                    <a:pt x="742960" y="979765"/>
                    <a:pt x="785068" y="949285"/>
                    <a:pt x="757525" y="990600"/>
                  </a:cubicBezTo>
                  <a:cubicBezTo>
                    <a:pt x="750883" y="1000563"/>
                    <a:pt x="742592" y="1010185"/>
                    <a:pt x="732125" y="1016000"/>
                  </a:cubicBezTo>
                  <a:cubicBezTo>
                    <a:pt x="716522" y="1024668"/>
                    <a:pt x="681325" y="1032933"/>
                    <a:pt x="681325" y="1032933"/>
                  </a:cubicBezTo>
                  <a:cubicBezTo>
                    <a:pt x="678503" y="1041400"/>
                    <a:pt x="680840" y="1054342"/>
                    <a:pt x="672858" y="1058333"/>
                  </a:cubicBezTo>
                  <a:cubicBezTo>
                    <a:pt x="655009" y="1067258"/>
                    <a:pt x="633160" y="1062886"/>
                    <a:pt x="613592" y="1066800"/>
                  </a:cubicBezTo>
                  <a:cubicBezTo>
                    <a:pt x="604841" y="1068550"/>
                    <a:pt x="596659" y="1072445"/>
                    <a:pt x="588192" y="1075267"/>
                  </a:cubicBezTo>
                  <a:cubicBezTo>
                    <a:pt x="574081" y="1072445"/>
                    <a:pt x="556913" y="1076013"/>
                    <a:pt x="545858" y="1066800"/>
                  </a:cubicBezTo>
                  <a:cubicBezTo>
                    <a:pt x="536919" y="1059351"/>
                    <a:pt x="528736" y="1078193"/>
                    <a:pt x="519797" y="1070744"/>
                  </a:cubicBezTo>
                  <a:cubicBezTo>
                    <a:pt x="508742" y="1061531"/>
                    <a:pt x="461900" y="1073566"/>
                    <a:pt x="447789" y="1070744"/>
                  </a:cubicBezTo>
                  <a:lnTo>
                    <a:pt x="447789" y="998736"/>
                  </a:lnTo>
                  <a:cubicBezTo>
                    <a:pt x="369797" y="1053329"/>
                    <a:pt x="431512" y="1042878"/>
                    <a:pt x="375781" y="1070744"/>
                  </a:cubicBezTo>
                  <a:cubicBezTo>
                    <a:pt x="365373" y="1075948"/>
                    <a:pt x="379347" y="1080911"/>
                    <a:pt x="368058" y="1083733"/>
                  </a:cubicBezTo>
                  <a:cubicBezTo>
                    <a:pt x="362414" y="1089378"/>
                    <a:pt x="355232" y="1093822"/>
                    <a:pt x="351125" y="1100667"/>
                  </a:cubicBezTo>
                  <a:cubicBezTo>
                    <a:pt x="346533" y="1108320"/>
                    <a:pt x="348969" y="1119756"/>
                    <a:pt x="342658" y="1126067"/>
                  </a:cubicBezTo>
                  <a:cubicBezTo>
                    <a:pt x="336347" y="1132378"/>
                    <a:pt x="325725" y="1131711"/>
                    <a:pt x="317258" y="1134533"/>
                  </a:cubicBezTo>
                  <a:cubicBezTo>
                    <a:pt x="314436" y="1143000"/>
                    <a:pt x="316218" y="1154982"/>
                    <a:pt x="308792" y="1159933"/>
                  </a:cubicBezTo>
                  <a:cubicBezTo>
                    <a:pt x="296818" y="1167916"/>
                    <a:pt x="272303" y="1155250"/>
                    <a:pt x="266458" y="1168400"/>
                  </a:cubicBezTo>
                  <a:cubicBezTo>
                    <a:pt x="264570" y="1172649"/>
                    <a:pt x="272225" y="1242922"/>
                    <a:pt x="283392" y="1261533"/>
                  </a:cubicBezTo>
                  <a:cubicBezTo>
                    <a:pt x="287499" y="1268378"/>
                    <a:pt x="294681" y="1272822"/>
                    <a:pt x="300325" y="1278467"/>
                  </a:cubicBezTo>
                  <a:cubicBezTo>
                    <a:pt x="324096" y="1349778"/>
                    <a:pt x="287953" y="1239788"/>
                    <a:pt x="334192" y="1397000"/>
                  </a:cubicBezTo>
                  <a:cubicBezTo>
                    <a:pt x="334201" y="1397030"/>
                    <a:pt x="355354" y="1460485"/>
                    <a:pt x="359592" y="1473200"/>
                  </a:cubicBezTo>
                  <a:cubicBezTo>
                    <a:pt x="362810" y="1482853"/>
                    <a:pt x="376525" y="1484489"/>
                    <a:pt x="384992" y="1490133"/>
                  </a:cubicBezTo>
                  <a:cubicBezTo>
                    <a:pt x="387814" y="1498600"/>
                    <a:pt x="391708" y="1506782"/>
                    <a:pt x="393458" y="1515533"/>
                  </a:cubicBezTo>
                  <a:cubicBezTo>
                    <a:pt x="397372" y="1535102"/>
                    <a:pt x="393000" y="1556951"/>
                    <a:pt x="401925" y="1574800"/>
                  </a:cubicBezTo>
                  <a:cubicBezTo>
                    <a:pt x="405916" y="1582782"/>
                    <a:pt x="418858" y="1580445"/>
                    <a:pt x="427325" y="1583267"/>
                  </a:cubicBezTo>
                  <a:cubicBezTo>
                    <a:pt x="449904" y="1651000"/>
                    <a:pt x="427325" y="1566334"/>
                    <a:pt x="427325" y="1634067"/>
                  </a:cubicBezTo>
                  <a:cubicBezTo>
                    <a:pt x="427325" y="1648457"/>
                    <a:pt x="432970" y="1662289"/>
                    <a:pt x="435792" y="1676400"/>
                  </a:cubicBezTo>
                  <a:cubicBezTo>
                    <a:pt x="432970" y="1693333"/>
                    <a:pt x="435842" y="1712295"/>
                    <a:pt x="427325" y="1727200"/>
                  </a:cubicBezTo>
                  <a:cubicBezTo>
                    <a:pt x="422897" y="1734949"/>
                    <a:pt x="410746" y="1734310"/>
                    <a:pt x="401925" y="1735667"/>
                  </a:cubicBezTo>
                  <a:cubicBezTo>
                    <a:pt x="373892" y="1739980"/>
                    <a:pt x="345480" y="1741311"/>
                    <a:pt x="317258" y="1744133"/>
                  </a:cubicBezTo>
                  <a:cubicBezTo>
                    <a:pt x="308791" y="1746955"/>
                    <a:pt x="300783" y="1752600"/>
                    <a:pt x="291858" y="1752600"/>
                  </a:cubicBezTo>
                  <a:cubicBezTo>
                    <a:pt x="261685" y="1752600"/>
                    <a:pt x="258194" y="1730830"/>
                    <a:pt x="241058" y="1710267"/>
                  </a:cubicBezTo>
                  <a:cubicBezTo>
                    <a:pt x="235948" y="1704135"/>
                    <a:pt x="229769" y="1698978"/>
                    <a:pt x="224125" y="1693333"/>
                  </a:cubicBezTo>
                  <a:cubicBezTo>
                    <a:pt x="166946" y="1712393"/>
                    <a:pt x="237330" y="1693333"/>
                    <a:pt x="147925" y="1693333"/>
                  </a:cubicBezTo>
                  <a:cubicBezTo>
                    <a:pt x="116753" y="1693333"/>
                    <a:pt x="85836" y="1698978"/>
                    <a:pt x="54792" y="1701800"/>
                  </a:cubicBezTo>
                  <a:cubicBezTo>
                    <a:pt x="51970" y="1721556"/>
                    <a:pt x="56902" y="1744144"/>
                    <a:pt x="46325" y="1761067"/>
                  </a:cubicBezTo>
                  <a:cubicBezTo>
                    <a:pt x="40158" y="1770935"/>
                    <a:pt x="17662" y="1759125"/>
                    <a:pt x="12458" y="1769533"/>
                  </a:cubicBezTo>
                  <a:cubicBezTo>
                    <a:pt x="0" y="1794449"/>
                    <a:pt x="48179" y="1852747"/>
                    <a:pt x="54792" y="1862667"/>
                  </a:cubicBezTo>
                  <a:lnTo>
                    <a:pt x="88658" y="1913467"/>
                  </a:lnTo>
                  <a:cubicBezTo>
                    <a:pt x="93608" y="1920893"/>
                    <a:pt x="90814" y="1932556"/>
                    <a:pt x="97125" y="1938867"/>
                  </a:cubicBezTo>
                  <a:cubicBezTo>
                    <a:pt x="103436" y="1945178"/>
                    <a:pt x="113655" y="1946347"/>
                    <a:pt x="122525" y="1947333"/>
                  </a:cubicBezTo>
                  <a:cubicBezTo>
                    <a:pt x="164693" y="1952018"/>
                    <a:pt x="207192" y="1952978"/>
                    <a:pt x="249525" y="1955800"/>
                  </a:cubicBezTo>
                  <a:cubicBezTo>
                    <a:pt x="263636" y="1952978"/>
                    <a:pt x="278206" y="1942782"/>
                    <a:pt x="291858" y="1947333"/>
                  </a:cubicBezTo>
                  <a:cubicBezTo>
                    <a:pt x="312179" y="1954106"/>
                    <a:pt x="294116" y="1991360"/>
                    <a:pt x="291858" y="1998133"/>
                  </a:cubicBezTo>
                  <a:cubicBezTo>
                    <a:pt x="289036" y="2015066"/>
                    <a:pt x="299933" y="2044338"/>
                    <a:pt x="283392" y="2048933"/>
                  </a:cubicBezTo>
                  <a:cubicBezTo>
                    <a:pt x="214733" y="2068005"/>
                    <a:pt x="169420" y="2050455"/>
                    <a:pt x="114058" y="2032000"/>
                  </a:cubicBezTo>
                  <a:cubicBezTo>
                    <a:pt x="119703" y="2026356"/>
                    <a:pt x="138565" y="2017591"/>
                    <a:pt x="130992" y="2015067"/>
                  </a:cubicBezTo>
                  <a:cubicBezTo>
                    <a:pt x="117340" y="2010516"/>
                    <a:pt x="98834" y="2013357"/>
                    <a:pt x="88658" y="2023533"/>
                  </a:cubicBezTo>
                  <a:lnTo>
                    <a:pt x="105592" y="2040467"/>
                  </a:lnTo>
                  <a:cubicBezTo>
                    <a:pt x="102770" y="2048934"/>
                    <a:pt x="102700" y="2058898"/>
                    <a:pt x="97125" y="2065867"/>
                  </a:cubicBezTo>
                  <a:cubicBezTo>
                    <a:pt x="67130" y="2103360"/>
                    <a:pt x="53706" y="2054142"/>
                    <a:pt x="80192" y="2133600"/>
                  </a:cubicBezTo>
                  <a:cubicBezTo>
                    <a:pt x="83410" y="2143253"/>
                    <a:pt x="88496" y="2153607"/>
                    <a:pt x="97125" y="2159000"/>
                  </a:cubicBezTo>
                  <a:cubicBezTo>
                    <a:pt x="112261" y="2168460"/>
                    <a:pt x="147925" y="2175933"/>
                    <a:pt x="147925" y="2175933"/>
                  </a:cubicBezTo>
                  <a:cubicBezTo>
                    <a:pt x="150270" y="2187656"/>
                    <a:pt x="156724" y="2229025"/>
                    <a:pt x="164858" y="2243667"/>
                  </a:cubicBezTo>
                  <a:cubicBezTo>
                    <a:pt x="174741" y="2261457"/>
                    <a:pt x="192289" y="2275160"/>
                    <a:pt x="198725" y="2294467"/>
                  </a:cubicBezTo>
                  <a:cubicBezTo>
                    <a:pt x="205611" y="2315124"/>
                    <a:pt x="207713" y="2328855"/>
                    <a:pt x="224125" y="2345267"/>
                  </a:cubicBezTo>
                  <a:cubicBezTo>
                    <a:pt x="243614" y="2364756"/>
                    <a:pt x="257485" y="2364190"/>
                    <a:pt x="283392" y="2370667"/>
                  </a:cubicBezTo>
                  <a:cubicBezTo>
                    <a:pt x="286214" y="2379134"/>
                    <a:pt x="285547" y="2389756"/>
                    <a:pt x="291858" y="2396067"/>
                  </a:cubicBezTo>
                  <a:cubicBezTo>
                    <a:pt x="298169" y="2402378"/>
                    <a:pt x="308677" y="2402081"/>
                    <a:pt x="317258" y="2404533"/>
                  </a:cubicBezTo>
                  <a:cubicBezTo>
                    <a:pt x="391650" y="2425787"/>
                    <a:pt x="315645" y="2401173"/>
                    <a:pt x="376525" y="2421467"/>
                  </a:cubicBezTo>
                  <a:cubicBezTo>
                    <a:pt x="362414" y="2424289"/>
                    <a:pt x="319802" y="2429933"/>
                    <a:pt x="334192" y="2429933"/>
                  </a:cubicBezTo>
                  <a:cubicBezTo>
                    <a:pt x="356945" y="2429933"/>
                    <a:pt x="382170" y="2432756"/>
                    <a:pt x="401925" y="2421467"/>
                  </a:cubicBezTo>
                  <a:cubicBezTo>
                    <a:pt x="409674" y="2417039"/>
                    <a:pt x="395910" y="2404648"/>
                    <a:pt x="393458" y="2396067"/>
                  </a:cubicBezTo>
                  <a:cubicBezTo>
                    <a:pt x="390261" y="2384878"/>
                    <a:pt x="387814" y="2373489"/>
                    <a:pt x="384992" y="2362200"/>
                  </a:cubicBezTo>
                  <a:cubicBezTo>
                    <a:pt x="435792" y="2359378"/>
                    <a:pt x="486743" y="2358557"/>
                    <a:pt x="537392" y="2353733"/>
                  </a:cubicBezTo>
                  <a:cubicBezTo>
                    <a:pt x="546276" y="2352887"/>
                    <a:pt x="555139" y="2349859"/>
                    <a:pt x="562792" y="2345267"/>
                  </a:cubicBezTo>
                  <a:cubicBezTo>
                    <a:pt x="569637" y="2341160"/>
                    <a:pt x="574081" y="2333978"/>
                    <a:pt x="579725" y="2328333"/>
                  </a:cubicBezTo>
                  <a:cubicBezTo>
                    <a:pt x="582547" y="2319866"/>
                    <a:pt x="588192" y="2311858"/>
                    <a:pt x="588192" y="2302933"/>
                  </a:cubicBezTo>
                  <a:cubicBezTo>
                    <a:pt x="588192" y="2282499"/>
                    <a:pt x="577939" y="2255243"/>
                    <a:pt x="571258" y="2235200"/>
                  </a:cubicBezTo>
                  <a:cubicBezTo>
                    <a:pt x="579641" y="2210052"/>
                    <a:pt x="585000" y="2179125"/>
                    <a:pt x="605125" y="2159000"/>
                  </a:cubicBezTo>
                  <a:cubicBezTo>
                    <a:pt x="612320" y="2151805"/>
                    <a:pt x="622058" y="2147711"/>
                    <a:pt x="630525" y="2142067"/>
                  </a:cubicBezTo>
                  <a:cubicBezTo>
                    <a:pt x="638992" y="2144889"/>
                    <a:pt x="651934" y="2142551"/>
                    <a:pt x="655925" y="2150533"/>
                  </a:cubicBezTo>
                  <a:cubicBezTo>
                    <a:pt x="664850" y="2168382"/>
                    <a:pt x="660478" y="2190231"/>
                    <a:pt x="664392" y="2209800"/>
                  </a:cubicBezTo>
                  <a:cubicBezTo>
                    <a:pt x="666142" y="2218551"/>
                    <a:pt x="670406" y="2226619"/>
                    <a:pt x="672858" y="2235200"/>
                  </a:cubicBezTo>
                  <a:cubicBezTo>
                    <a:pt x="676055" y="2246389"/>
                    <a:pt x="678503" y="2257778"/>
                    <a:pt x="681325" y="2269067"/>
                  </a:cubicBezTo>
                  <a:cubicBezTo>
                    <a:pt x="680490" y="2276585"/>
                    <a:pt x="677930" y="2348104"/>
                    <a:pt x="664392" y="2370667"/>
                  </a:cubicBezTo>
                  <a:cubicBezTo>
                    <a:pt x="660285" y="2377512"/>
                    <a:pt x="653103" y="2381956"/>
                    <a:pt x="647458" y="2387600"/>
                  </a:cubicBezTo>
                  <a:cubicBezTo>
                    <a:pt x="628103" y="2445670"/>
                    <a:pt x="650963" y="2373583"/>
                    <a:pt x="630525" y="2455333"/>
                  </a:cubicBezTo>
                  <a:cubicBezTo>
                    <a:pt x="628360" y="2463991"/>
                    <a:pt x="624510" y="2472152"/>
                    <a:pt x="622058" y="2480733"/>
                  </a:cubicBezTo>
                  <a:cubicBezTo>
                    <a:pt x="618861" y="2491922"/>
                    <a:pt x="618796" y="2504192"/>
                    <a:pt x="613592" y="2514600"/>
                  </a:cubicBezTo>
                  <a:cubicBezTo>
                    <a:pt x="610022" y="2521740"/>
                    <a:pt x="602303" y="2525889"/>
                    <a:pt x="596658" y="2531533"/>
                  </a:cubicBezTo>
                  <a:lnTo>
                    <a:pt x="579725" y="2582333"/>
                  </a:lnTo>
                  <a:cubicBezTo>
                    <a:pt x="565915" y="2623765"/>
                    <a:pt x="583491" y="2669829"/>
                    <a:pt x="596658" y="2709333"/>
                  </a:cubicBezTo>
                  <a:cubicBezTo>
                    <a:pt x="599480" y="2746022"/>
                    <a:pt x="592749" y="2784746"/>
                    <a:pt x="605125" y="2819400"/>
                  </a:cubicBezTo>
                  <a:cubicBezTo>
                    <a:pt x="609039" y="2830359"/>
                    <a:pt x="638992" y="2816231"/>
                    <a:pt x="638992" y="2827867"/>
                  </a:cubicBezTo>
                  <a:lnTo>
                    <a:pt x="638992" y="2819400"/>
                  </a:lnTo>
                  <a:close/>
                </a:path>
              </a:pathLst>
            </a:custGeom>
            <a:solidFill>
              <a:srgbClr val="66FF33">
                <a:alpha val="60000"/>
              </a:srgbClr>
            </a:solidFill>
            <a:ln w="0">
              <a:gradFill>
                <a:gsLst>
                  <a:gs pos="0">
                    <a:srgbClr val="FFFFFF"/>
                  </a:gs>
                  <a:gs pos="16000">
                    <a:srgbClr val="1F1F1F"/>
                  </a:gs>
                  <a:gs pos="17999">
                    <a:srgbClr val="FFFFFF"/>
                  </a:gs>
                  <a:gs pos="42000">
                    <a:srgbClr val="636363"/>
                  </a:gs>
                  <a:gs pos="53000">
                    <a:srgbClr val="CFCFCF"/>
                  </a:gs>
                  <a:gs pos="66000">
                    <a:srgbClr val="CFCFCF"/>
                  </a:gs>
                  <a:gs pos="75999">
                    <a:srgbClr val="1F1F1F"/>
                  </a:gs>
                  <a:gs pos="78999">
                    <a:srgbClr val="FFFFFF"/>
                  </a:gs>
                  <a:gs pos="100000">
                    <a:srgbClr val="7F7F7F"/>
                  </a:gs>
                </a:gsLst>
                <a:lin ang="5400000" scaled="0"/>
              </a:gradFill>
            </a:ln>
            <a:effectLst>
              <a:outerShdw blurRad="50800" dist="50800" dir="5400000" algn="ctr" rotWithShape="0">
                <a:srgbClr val="000000">
                  <a:alpha val="84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Freeform 33">
              <a:extLst>
                <a:ext uri="{FF2B5EF4-FFF2-40B4-BE49-F238E27FC236}">
                  <a16:creationId xmlns:a16="http://schemas.microsoft.com/office/drawing/2014/main" id="{30DDE924-8DD0-48A9-9E4B-CD061A2EA15C}"/>
                </a:ext>
              </a:extLst>
            </p:cNvPr>
            <p:cNvSpPr/>
            <p:nvPr/>
          </p:nvSpPr>
          <p:spPr>
            <a:xfrm>
              <a:off x="4493561" y="2794971"/>
              <a:ext cx="1731109" cy="1639946"/>
            </a:xfrm>
            <a:custGeom>
              <a:avLst/>
              <a:gdLst>
                <a:gd name="connsiteX0" fmla="*/ 266376 w 1731109"/>
                <a:gd name="connsiteY0" fmla="*/ 1453010 h 1639946"/>
                <a:gd name="connsiteX1" fmla="*/ 240976 w 1731109"/>
                <a:gd name="connsiteY1" fmla="*/ 1444544 h 1639946"/>
                <a:gd name="connsiteX2" fmla="*/ 224042 w 1731109"/>
                <a:gd name="connsiteY2" fmla="*/ 1419144 h 1639946"/>
                <a:gd name="connsiteX3" fmla="*/ 198642 w 1731109"/>
                <a:gd name="connsiteY3" fmla="*/ 1402210 h 1639946"/>
                <a:gd name="connsiteX4" fmla="*/ 207109 w 1731109"/>
                <a:gd name="connsiteY4" fmla="*/ 1368344 h 1639946"/>
                <a:gd name="connsiteX5" fmla="*/ 232509 w 1731109"/>
                <a:gd name="connsiteY5" fmla="*/ 1359877 h 1639946"/>
                <a:gd name="connsiteX6" fmla="*/ 224042 w 1731109"/>
                <a:gd name="connsiteY6" fmla="*/ 1326010 h 1639946"/>
                <a:gd name="connsiteX7" fmla="*/ 198642 w 1731109"/>
                <a:gd name="connsiteY7" fmla="*/ 1283677 h 1639946"/>
                <a:gd name="connsiteX8" fmla="*/ 198642 w 1731109"/>
                <a:gd name="connsiteY8" fmla="*/ 1258277 h 1639946"/>
                <a:gd name="connsiteX9" fmla="*/ 88576 w 1731109"/>
                <a:gd name="connsiteY9" fmla="*/ 1232877 h 1639946"/>
                <a:gd name="connsiteX10" fmla="*/ 63176 w 1731109"/>
                <a:gd name="connsiteY10" fmla="*/ 1148210 h 1639946"/>
                <a:gd name="connsiteX11" fmla="*/ 54709 w 1731109"/>
                <a:gd name="connsiteY11" fmla="*/ 1122810 h 1639946"/>
                <a:gd name="connsiteX12" fmla="*/ 20842 w 1731109"/>
                <a:gd name="connsiteY12" fmla="*/ 1097410 h 1639946"/>
                <a:gd name="connsiteX13" fmla="*/ 3909 w 1731109"/>
                <a:gd name="connsiteY13" fmla="*/ 1072010 h 1639946"/>
                <a:gd name="connsiteX14" fmla="*/ 12376 w 1731109"/>
                <a:gd name="connsiteY14" fmla="*/ 961944 h 1639946"/>
                <a:gd name="connsiteX15" fmla="*/ 46242 w 1731109"/>
                <a:gd name="connsiteY15" fmla="*/ 953477 h 1639946"/>
                <a:gd name="connsiteX16" fmla="*/ 63176 w 1731109"/>
                <a:gd name="connsiteY16" fmla="*/ 928077 h 1639946"/>
                <a:gd name="connsiteX17" fmla="*/ 156309 w 1731109"/>
                <a:gd name="connsiteY17" fmla="*/ 885744 h 1639946"/>
                <a:gd name="connsiteX18" fmla="*/ 181709 w 1731109"/>
                <a:gd name="connsiteY18" fmla="*/ 902677 h 1639946"/>
                <a:gd name="connsiteX19" fmla="*/ 283309 w 1731109"/>
                <a:gd name="connsiteY19" fmla="*/ 919610 h 1639946"/>
                <a:gd name="connsiteX20" fmla="*/ 351042 w 1731109"/>
                <a:gd name="connsiteY20" fmla="*/ 911144 h 1639946"/>
                <a:gd name="connsiteX21" fmla="*/ 359509 w 1731109"/>
                <a:gd name="connsiteY21" fmla="*/ 860344 h 1639946"/>
                <a:gd name="connsiteX22" fmla="*/ 427242 w 1731109"/>
                <a:gd name="connsiteY22" fmla="*/ 834944 h 1639946"/>
                <a:gd name="connsiteX23" fmla="*/ 452642 w 1731109"/>
                <a:gd name="connsiteY23" fmla="*/ 826477 h 1639946"/>
                <a:gd name="connsiteX24" fmla="*/ 486509 w 1731109"/>
                <a:gd name="connsiteY24" fmla="*/ 792610 h 1639946"/>
                <a:gd name="connsiteX25" fmla="*/ 511909 w 1731109"/>
                <a:gd name="connsiteY25" fmla="*/ 775677 h 1639946"/>
                <a:gd name="connsiteX26" fmla="*/ 520376 w 1731109"/>
                <a:gd name="connsiteY26" fmla="*/ 741810 h 1639946"/>
                <a:gd name="connsiteX27" fmla="*/ 537309 w 1731109"/>
                <a:gd name="connsiteY27" fmla="*/ 682544 h 1639946"/>
                <a:gd name="connsiteX28" fmla="*/ 503442 w 1731109"/>
                <a:gd name="connsiteY28" fmla="*/ 648677 h 1639946"/>
                <a:gd name="connsiteX29" fmla="*/ 520376 w 1731109"/>
                <a:gd name="connsiteY29" fmla="*/ 631744 h 1639946"/>
                <a:gd name="connsiteX30" fmla="*/ 588109 w 1731109"/>
                <a:gd name="connsiteY30" fmla="*/ 623277 h 1639946"/>
                <a:gd name="connsiteX31" fmla="*/ 630442 w 1731109"/>
                <a:gd name="connsiteY31" fmla="*/ 614810 h 1639946"/>
                <a:gd name="connsiteX32" fmla="*/ 681242 w 1731109"/>
                <a:gd name="connsiteY32" fmla="*/ 606344 h 1639946"/>
                <a:gd name="connsiteX33" fmla="*/ 723576 w 1731109"/>
                <a:gd name="connsiteY33" fmla="*/ 580944 h 1639946"/>
                <a:gd name="connsiteX34" fmla="*/ 748976 w 1731109"/>
                <a:gd name="connsiteY34" fmla="*/ 538610 h 1639946"/>
                <a:gd name="connsiteX35" fmla="*/ 825176 w 1731109"/>
                <a:gd name="connsiteY35" fmla="*/ 530144 h 1639946"/>
                <a:gd name="connsiteX36" fmla="*/ 850576 w 1731109"/>
                <a:gd name="connsiteY36" fmla="*/ 521677 h 1639946"/>
                <a:gd name="connsiteX37" fmla="*/ 884442 w 1731109"/>
                <a:gd name="connsiteY37" fmla="*/ 487810 h 1639946"/>
                <a:gd name="connsiteX38" fmla="*/ 901376 w 1731109"/>
                <a:gd name="connsiteY38" fmla="*/ 470877 h 1639946"/>
                <a:gd name="connsiteX39" fmla="*/ 935242 w 1731109"/>
                <a:gd name="connsiteY39" fmla="*/ 420077 h 1639946"/>
                <a:gd name="connsiteX40" fmla="*/ 926776 w 1731109"/>
                <a:gd name="connsiteY40" fmla="*/ 377744 h 1639946"/>
                <a:gd name="connsiteX41" fmla="*/ 909842 w 1731109"/>
                <a:gd name="connsiteY41" fmla="*/ 360810 h 1639946"/>
                <a:gd name="connsiteX42" fmla="*/ 952176 w 1731109"/>
                <a:gd name="connsiteY42" fmla="*/ 225344 h 1639946"/>
                <a:gd name="connsiteX43" fmla="*/ 994509 w 1731109"/>
                <a:gd name="connsiteY43" fmla="*/ 233810 h 1639946"/>
                <a:gd name="connsiteX44" fmla="*/ 1079176 w 1731109"/>
                <a:gd name="connsiteY44" fmla="*/ 216877 h 1639946"/>
                <a:gd name="connsiteX45" fmla="*/ 1053776 w 1731109"/>
                <a:gd name="connsiteY45" fmla="*/ 199944 h 1639946"/>
                <a:gd name="connsiteX46" fmla="*/ 1028376 w 1731109"/>
                <a:gd name="connsiteY46" fmla="*/ 149144 h 1639946"/>
                <a:gd name="connsiteX47" fmla="*/ 1019909 w 1731109"/>
                <a:gd name="connsiteY47" fmla="*/ 72944 h 1639946"/>
                <a:gd name="connsiteX48" fmla="*/ 1002976 w 1731109"/>
                <a:gd name="connsiteY48" fmla="*/ 22144 h 1639946"/>
                <a:gd name="connsiteX49" fmla="*/ 1096109 w 1731109"/>
                <a:gd name="connsiteY49" fmla="*/ 13677 h 1639946"/>
                <a:gd name="connsiteX50" fmla="*/ 1121509 w 1731109"/>
                <a:gd name="connsiteY50" fmla="*/ 22144 h 1639946"/>
                <a:gd name="connsiteX51" fmla="*/ 1155376 w 1731109"/>
                <a:gd name="connsiteY51" fmla="*/ 64477 h 1639946"/>
                <a:gd name="connsiteX52" fmla="*/ 1206176 w 1731109"/>
                <a:gd name="connsiteY52" fmla="*/ 81410 h 1639946"/>
                <a:gd name="connsiteX53" fmla="*/ 1231576 w 1731109"/>
                <a:gd name="connsiteY53" fmla="*/ 89877 h 1639946"/>
                <a:gd name="connsiteX54" fmla="*/ 1248509 w 1731109"/>
                <a:gd name="connsiteY54" fmla="*/ 140677 h 1639946"/>
                <a:gd name="connsiteX55" fmla="*/ 1367042 w 1731109"/>
                <a:gd name="connsiteY55" fmla="*/ 166077 h 1639946"/>
                <a:gd name="connsiteX56" fmla="*/ 1443242 w 1731109"/>
                <a:gd name="connsiteY56" fmla="*/ 199944 h 1639946"/>
                <a:gd name="connsiteX57" fmla="*/ 1494042 w 1731109"/>
                <a:gd name="connsiteY57" fmla="*/ 216877 h 1639946"/>
                <a:gd name="connsiteX58" fmla="*/ 1536376 w 1731109"/>
                <a:gd name="connsiteY58" fmla="*/ 225344 h 1639946"/>
                <a:gd name="connsiteX59" fmla="*/ 1621042 w 1731109"/>
                <a:gd name="connsiteY59" fmla="*/ 233810 h 1639946"/>
                <a:gd name="connsiteX60" fmla="*/ 1612576 w 1731109"/>
                <a:gd name="connsiteY60" fmla="*/ 360810 h 1639946"/>
                <a:gd name="connsiteX61" fmla="*/ 1629509 w 1731109"/>
                <a:gd name="connsiteY61" fmla="*/ 377744 h 1639946"/>
                <a:gd name="connsiteX62" fmla="*/ 1654909 w 1731109"/>
                <a:gd name="connsiteY62" fmla="*/ 386210 h 1639946"/>
                <a:gd name="connsiteX63" fmla="*/ 1637976 w 1731109"/>
                <a:gd name="connsiteY63" fmla="*/ 504744 h 1639946"/>
                <a:gd name="connsiteX64" fmla="*/ 1621042 w 1731109"/>
                <a:gd name="connsiteY64" fmla="*/ 530144 h 1639946"/>
                <a:gd name="connsiteX65" fmla="*/ 1637976 w 1731109"/>
                <a:gd name="connsiteY65" fmla="*/ 674077 h 1639946"/>
                <a:gd name="connsiteX66" fmla="*/ 1654909 w 1731109"/>
                <a:gd name="connsiteY66" fmla="*/ 699477 h 1639946"/>
                <a:gd name="connsiteX67" fmla="*/ 1663376 w 1731109"/>
                <a:gd name="connsiteY67" fmla="*/ 733344 h 1639946"/>
                <a:gd name="connsiteX68" fmla="*/ 1731109 w 1731109"/>
                <a:gd name="connsiteY68" fmla="*/ 767210 h 1639946"/>
                <a:gd name="connsiteX69" fmla="*/ 1722642 w 1731109"/>
                <a:gd name="connsiteY69" fmla="*/ 818010 h 1639946"/>
                <a:gd name="connsiteX70" fmla="*/ 1705709 w 1731109"/>
                <a:gd name="connsiteY70" fmla="*/ 843410 h 1639946"/>
                <a:gd name="connsiteX71" fmla="*/ 1697242 w 1731109"/>
                <a:gd name="connsiteY71" fmla="*/ 885744 h 1639946"/>
                <a:gd name="connsiteX72" fmla="*/ 1671842 w 1731109"/>
                <a:gd name="connsiteY72" fmla="*/ 894210 h 1639946"/>
                <a:gd name="connsiteX73" fmla="*/ 1654909 w 1731109"/>
                <a:gd name="connsiteY73" fmla="*/ 911144 h 1639946"/>
                <a:gd name="connsiteX74" fmla="*/ 1621042 w 1731109"/>
                <a:gd name="connsiteY74" fmla="*/ 919610 h 1639946"/>
                <a:gd name="connsiteX75" fmla="*/ 1570242 w 1731109"/>
                <a:gd name="connsiteY75" fmla="*/ 936544 h 1639946"/>
                <a:gd name="connsiteX76" fmla="*/ 1544842 w 1731109"/>
                <a:gd name="connsiteY76" fmla="*/ 953477 h 1639946"/>
                <a:gd name="connsiteX77" fmla="*/ 1502509 w 1731109"/>
                <a:gd name="connsiteY77" fmla="*/ 961944 h 1639946"/>
                <a:gd name="connsiteX78" fmla="*/ 1494042 w 1731109"/>
                <a:gd name="connsiteY78" fmla="*/ 987344 h 1639946"/>
                <a:gd name="connsiteX79" fmla="*/ 1460176 w 1731109"/>
                <a:gd name="connsiteY79" fmla="*/ 1038144 h 1639946"/>
                <a:gd name="connsiteX80" fmla="*/ 1443242 w 1731109"/>
                <a:gd name="connsiteY80" fmla="*/ 1097410 h 1639946"/>
                <a:gd name="connsiteX81" fmla="*/ 1443242 w 1731109"/>
                <a:gd name="connsiteY81" fmla="*/ 1156677 h 1639946"/>
                <a:gd name="connsiteX82" fmla="*/ 1392442 w 1731109"/>
                <a:gd name="connsiteY82" fmla="*/ 1173610 h 1639946"/>
                <a:gd name="connsiteX83" fmla="*/ 1383976 w 1731109"/>
                <a:gd name="connsiteY83" fmla="*/ 1199010 h 1639946"/>
                <a:gd name="connsiteX84" fmla="*/ 1282376 w 1731109"/>
                <a:gd name="connsiteY84" fmla="*/ 1258277 h 1639946"/>
                <a:gd name="connsiteX85" fmla="*/ 1256976 w 1731109"/>
                <a:gd name="connsiteY85" fmla="*/ 1266744 h 1639946"/>
                <a:gd name="connsiteX86" fmla="*/ 1223109 w 1731109"/>
                <a:gd name="connsiteY86" fmla="*/ 1342944 h 1639946"/>
                <a:gd name="connsiteX87" fmla="*/ 1197709 w 1731109"/>
                <a:gd name="connsiteY87" fmla="*/ 1351410 h 1639946"/>
                <a:gd name="connsiteX88" fmla="*/ 1113042 w 1731109"/>
                <a:gd name="connsiteY88" fmla="*/ 1359877 h 1639946"/>
                <a:gd name="connsiteX89" fmla="*/ 1070709 w 1731109"/>
                <a:gd name="connsiteY89" fmla="*/ 1410677 h 1639946"/>
                <a:gd name="connsiteX90" fmla="*/ 1045309 w 1731109"/>
                <a:gd name="connsiteY90" fmla="*/ 1419144 h 1639946"/>
                <a:gd name="connsiteX91" fmla="*/ 1011442 w 1731109"/>
                <a:gd name="connsiteY91" fmla="*/ 1444544 h 1639946"/>
                <a:gd name="connsiteX92" fmla="*/ 986042 w 1731109"/>
                <a:gd name="connsiteY92" fmla="*/ 1453010 h 1639946"/>
                <a:gd name="connsiteX93" fmla="*/ 969109 w 1731109"/>
                <a:gd name="connsiteY93" fmla="*/ 1469944 h 1639946"/>
                <a:gd name="connsiteX94" fmla="*/ 935242 w 1731109"/>
                <a:gd name="connsiteY94" fmla="*/ 1495344 h 1639946"/>
                <a:gd name="connsiteX95" fmla="*/ 901376 w 1731109"/>
                <a:gd name="connsiteY95" fmla="*/ 1453010 h 1639946"/>
                <a:gd name="connsiteX96" fmla="*/ 842109 w 1731109"/>
                <a:gd name="connsiteY96" fmla="*/ 1436077 h 1639946"/>
                <a:gd name="connsiteX97" fmla="*/ 791309 w 1731109"/>
                <a:gd name="connsiteY97" fmla="*/ 1453010 h 1639946"/>
                <a:gd name="connsiteX98" fmla="*/ 765909 w 1731109"/>
                <a:gd name="connsiteY98" fmla="*/ 1461477 h 1639946"/>
                <a:gd name="connsiteX99" fmla="*/ 748976 w 1731109"/>
                <a:gd name="connsiteY99" fmla="*/ 1512277 h 1639946"/>
                <a:gd name="connsiteX100" fmla="*/ 740509 w 1731109"/>
                <a:gd name="connsiteY100" fmla="*/ 1563077 h 1639946"/>
                <a:gd name="connsiteX101" fmla="*/ 715109 w 1731109"/>
                <a:gd name="connsiteY101" fmla="*/ 1571544 h 1639946"/>
                <a:gd name="connsiteX102" fmla="*/ 706642 w 1731109"/>
                <a:gd name="connsiteY102" fmla="*/ 1529210 h 1639946"/>
                <a:gd name="connsiteX103" fmla="*/ 681242 w 1731109"/>
                <a:gd name="connsiteY103" fmla="*/ 1520744 h 1639946"/>
                <a:gd name="connsiteX104" fmla="*/ 630442 w 1731109"/>
                <a:gd name="connsiteY104" fmla="*/ 1512277 h 1639946"/>
                <a:gd name="connsiteX105" fmla="*/ 613509 w 1731109"/>
                <a:gd name="connsiteY105" fmla="*/ 1563077 h 1639946"/>
                <a:gd name="connsiteX106" fmla="*/ 588109 w 1731109"/>
                <a:gd name="connsiteY106" fmla="*/ 1580010 h 1639946"/>
                <a:gd name="connsiteX107" fmla="*/ 511909 w 1731109"/>
                <a:gd name="connsiteY107" fmla="*/ 1605410 h 1639946"/>
                <a:gd name="connsiteX108" fmla="*/ 478042 w 1731109"/>
                <a:gd name="connsiteY108" fmla="*/ 1613877 h 1639946"/>
                <a:gd name="connsiteX109" fmla="*/ 427242 w 1731109"/>
                <a:gd name="connsiteY109" fmla="*/ 1630810 h 1639946"/>
                <a:gd name="connsiteX110" fmla="*/ 384909 w 1731109"/>
                <a:gd name="connsiteY110" fmla="*/ 1554610 h 1639946"/>
                <a:gd name="connsiteX111" fmla="*/ 359509 w 1731109"/>
                <a:gd name="connsiteY111" fmla="*/ 1537677 h 1639946"/>
                <a:gd name="connsiteX112" fmla="*/ 283309 w 1731109"/>
                <a:gd name="connsiteY112" fmla="*/ 1520744 h 1639946"/>
                <a:gd name="connsiteX113" fmla="*/ 257909 w 1731109"/>
                <a:gd name="connsiteY113" fmla="*/ 1512277 h 1639946"/>
                <a:gd name="connsiteX114" fmla="*/ 257909 w 1731109"/>
                <a:gd name="connsiteY114" fmla="*/ 1453010 h 1639946"/>
                <a:gd name="connsiteX115" fmla="*/ 266376 w 1731109"/>
                <a:gd name="connsiteY115" fmla="*/ 1453010 h 1639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731109" h="1639946">
                  <a:moveTo>
                    <a:pt x="266376" y="1453010"/>
                  </a:moveTo>
                  <a:cubicBezTo>
                    <a:pt x="263554" y="1451599"/>
                    <a:pt x="247945" y="1450119"/>
                    <a:pt x="240976" y="1444544"/>
                  </a:cubicBezTo>
                  <a:cubicBezTo>
                    <a:pt x="233030" y="1438187"/>
                    <a:pt x="231237" y="1426339"/>
                    <a:pt x="224042" y="1419144"/>
                  </a:cubicBezTo>
                  <a:cubicBezTo>
                    <a:pt x="216847" y="1411949"/>
                    <a:pt x="207109" y="1407855"/>
                    <a:pt x="198642" y="1402210"/>
                  </a:cubicBezTo>
                  <a:cubicBezTo>
                    <a:pt x="201464" y="1390921"/>
                    <a:pt x="199840" y="1377430"/>
                    <a:pt x="207109" y="1368344"/>
                  </a:cubicBezTo>
                  <a:cubicBezTo>
                    <a:pt x="212684" y="1361375"/>
                    <a:pt x="229195" y="1368163"/>
                    <a:pt x="232509" y="1359877"/>
                  </a:cubicBezTo>
                  <a:cubicBezTo>
                    <a:pt x="236831" y="1349073"/>
                    <a:pt x="227239" y="1337199"/>
                    <a:pt x="224042" y="1326010"/>
                  </a:cubicBezTo>
                  <a:cubicBezTo>
                    <a:pt x="215249" y="1295234"/>
                    <a:pt x="219922" y="1304955"/>
                    <a:pt x="198642" y="1283677"/>
                  </a:cubicBezTo>
                  <a:cubicBezTo>
                    <a:pt x="225470" y="1274734"/>
                    <a:pt x="240846" y="1277034"/>
                    <a:pt x="198642" y="1258277"/>
                  </a:cubicBezTo>
                  <a:cubicBezTo>
                    <a:pt x="154602" y="1238704"/>
                    <a:pt x="136788" y="1239765"/>
                    <a:pt x="88576" y="1232877"/>
                  </a:cubicBezTo>
                  <a:cubicBezTo>
                    <a:pt x="42570" y="1186871"/>
                    <a:pt x="52084" y="1214758"/>
                    <a:pt x="63176" y="1148210"/>
                  </a:cubicBezTo>
                  <a:cubicBezTo>
                    <a:pt x="60354" y="1139743"/>
                    <a:pt x="60422" y="1129666"/>
                    <a:pt x="54709" y="1122810"/>
                  </a:cubicBezTo>
                  <a:cubicBezTo>
                    <a:pt x="45675" y="1111970"/>
                    <a:pt x="30820" y="1107388"/>
                    <a:pt x="20842" y="1097410"/>
                  </a:cubicBezTo>
                  <a:cubicBezTo>
                    <a:pt x="13647" y="1090215"/>
                    <a:pt x="9553" y="1080477"/>
                    <a:pt x="3909" y="1072010"/>
                  </a:cubicBezTo>
                  <a:cubicBezTo>
                    <a:pt x="6731" y="1035321"/>
                    <a:pt x="0" y="996597"/>
                    <a:pt x="12376" y="961944"/>
                  </a:cubicBezTo>
                  <a:cubicBezTo>
                    <a:pt x="16290" y="950986"/>
                    <a:pt x="36560" y="959932"/>
                    <a:pt x="46242" y="953477"/>
                  </a:cubicBezTo>
                  <a:cubicBezTo>
                    <a:pt x="54709" y="947832"/>
                    <a:pt x="57531" y="936544"/>
                    <a:pt x="63176" y="928077"/>
                  </a:cubicBezTo>
                  <a:cubicBezTo>
                    <a:pt x="88190" y="853032"/>
                    <a:pt x="62369" y="875306"/>
                    <a:pt x="156309" y="885744"/>
                  </a:cubicBezTo>
                  <a:cubicBezTo>
                    <a:pt x="164776" y="891388"/>
                    <a:pt x="171877" y="900055"/>
                    <a:pt x="181709" y="902677"/>
                  </a:cubicBezTo>
                  <a:cubicBezTo>
                    <a:pt x="214884" y="911523"/>
                    <a:pt x="283309" y="919610"/>
                    <a:pt x="283309" y="919610"/>
                  </a:cubicBezTo>
                  <a:cubicBezTo>
                    <a:pt x="305887" y="916788"/>
                    <a:pt x="333082" y="925113"/>
                    <a:pt x="351042" y="911144"/>
                  </a:cubicBezTo>
                  <a:cubicBezTo>
                    <a:pt x="364593" y="900605"/>
                    <a:pt x="353481" y="876418"/>
                    <a:pt x="359509" y="860344"/>
                  </a:cubicBezTo>
                  <a:cubicBezTo>
                    <a:pt x="369200" y="834501"/>
                    <a:pt x="410246" y="837776"/>
                    <a:pt x="427242" y="834944"/>
                  </a:cubicBezTo>
                  <a:cubicBezTo>
                    <a:pt x="435709" y="832122"/>
                    <a:pt x="445380" y="831664"/>
                    <a:pt x="452642" y="826477"/>
                  </a:cubicBezTo>
                  <a:cubicBezTo>
                    <a:pt x="465633" y="817197"/>
                    <a:pt x="473225" y="801466"/>
                    <a:pt x="486509" y="792610"/>
                  </a:cubicBezTo>
                  <a:lnTo>
                    <a:pt x="511909" y="775677"/>
                  </a:lnTo>
                  <a:cubicBezTo>
                    <a:pt x="514731" y="764388"/>
                    <a:pt x="517179" y="752999"/>
                    <a:pt x="520376" y="741810"/>
                  </a:cubicBezTo>
                  <a:cubicBezTo>
                    <a:pt x="544671" y="656775"/>
                    <a:pt x="510836" y="788429"/>
                    <a:pt x="537309" y="682544"/>
                  </a:cubicBezTo>
                  <a:lnTo>
                    <a:pt x="503442" y="648677"/>
                  </a:lnTo>
                  <a:cubicBezTo>
                    <a:pt x="497797" y="643032"/>
                    <a:pt x="512730" y="634038"/>
                    <a:pt x="520376" y="631744"/>
                  </a:cubicBezTo>
                  <a:cubicBezTo>
                    <a:pt x="542170" y="625206"/>
                    <a:pt x="565620" y="626737"/>
                    <a:pt x="588109" y="623277"/>
                  </a:cubicBezTo>
                  <a:cubicBezTo>
                    <a:pt x="602332" y="621089"/>
                    <a:pt x="616284" y="617384"/>
                    <a:pt x="630442" y="614810"/>
                  </a:cubicBezTo>
                  <a:cubicBezTo>
                    <a:pt x="647332" y="611739"/>
                    <a:pt x="664309" y="609166"/>
                    <a:pt x="681242" y="606344"/>
                  </a:cubicBezTo>
                  <a:cubicBezTo>
                    <a:pt x="701219" y="599685"/>
                    <a:pt x="711955" y="600313"/>
                    <a:pt x="723576" y="580944"/>
                  </a:cubicBezTo>
                  <a:cubicBezTo>
                    <a:pt x="731522" y="567701"/>
                    <a:pt x="728454" y="544207"/>
                    <a:pt x="748976" y="538610"/>
                  </a:cubicBezTo>
                  <a:cubicBezTo>
                    <a:pt x="773632" y="531886"/>
                    <a:pt x="799776" y="532966"/>
                    <a:pt x="825176" y="530144"/>
                  </a:cubicBezTo>
                  <a:cubicBezTo>
                    <a:pt x="833643" y="527322"/>
                    <a:pt x="844265" y="527988"/>
                    <a:pt x="850576" y="521677"/>
                  </a:cubicBezTo>
                  <a:cubicBezTo>
                    <a:pt x="895731" y="476521"/>
                    <a:pt x="816708" y="510389"/>
                    <a:pt x="884442" y="487810"/>
                  </a:cubicBezTo>
                  <a:cubicBezTo>
                    <a:pt x="890087" y="482166"/>
                    <a:pt x="896586" y="477263"/>
                    <a:pt x="901376" y="470877"/>
                  </a:cubicBezTo>
                  <a:cubicBezTo>
                    <a:pt x="913587" y="454596"/>
                    <a:pt x="935242" y="420077"/>
                    <a:pt x="935242" y="420077"/>
                  </a:cubicBezTo>
                  <a:cubicBezTo>
                    <a:pt x="932420" y="405966"/>
                    <a:pt x="932445" y="390971"/>
                    <a:pt x="926776" y="377744"/>
                  </a:cubicBezTo>
                  <a:cubicBezTo>
                    <a:pt x="923631" y="370407"/>
                    <a:pt x="909842" y="368793"/>
                    <a:pt x="909842" y="360810"/>
                  </a:cubicBezTo>
                  <a:cubicBezTo>
                    <a:pt x="909842" y="244452"/>
                    <a:pt x="898251" y="261293"/>
                    <a:pt x="952176" y="225344"/>
                  </a:cubicBezTo>
                  <a:cubicBezTo>
                    <a:pt x="966287" y="228166"/>
                    <a:pt x="980119" y="233810"/>
                    <a:pt x="994509" y="233810"/>
                  </a:cubicBezTo>
                  <a:cubicBezTo>
                    <a:pt x="1033428" y="233810"/>
                    <a:pt x="1047895" y="227304"/>
                    <a:pt x="1079176" y="216877"/>
                  </a:cubicBezTo>
                  <a:cubicBezTo>
                    <a:pt x="1070709" y="211233"/>
                    <a:pt x="1060971" y="207139"/>
                    <a:pt x="1053776" y="199944"/>
                  </a:cubicBezTo>
                  <a:cubicBezTo>
                    <a:pt x="1037361" y="183530"/>
                    <a:pt x="1035262" y="169804"/>
                    <a:pt x="1028376" y="149144"/>
                  </a:cubicBezTo>
                  <a:cubicBezTo>
                    <a:pt x="1025554" y="123744"/>
                    <a:pt x="1024921" y="98004"/>
                    <a:pt x="1019909" y="72944"/>
                  </a:cubicBezTo>
                  <a:cubicBezTo>
                    <a:pt x="1016408" y="55441"/>
                    <a:pt x="1002976" y="22144"/>
                    <a:pt x="1002976" y="22144"/>
                  </a:cubicBezTo>
                  <a:cubicBezTo>
                    <a:pt x="1061066" y="2780"/>
                    <a:pt x="1041402" y="0"/>
                    <a:pt x="1096109" y="13677"/>
                  </a:cubicBezTo>
                  <a:cubicBezTo>
                    <a:pt x="1104767" y="15842"/>
                    <a:pt x="1113042" y="19322"/>
                    <a:pt x="1121509" y="22144"/>
                  </a:cubicBezTo>
                  <a:cubicBezTo>
                    <a:pt x="1127493" y="31120"/>
                    <a:pt x="1143310" y="58444"/>
                    <a:pt x="1155376" y="64477"/>
                  </a:cubicBezTo>
                  <a:cubicBezTo>
                    <a:pt x="1171341" y="72459"/>
                    <a:pt x="1189243" y="75766"/>
                    <a:pt x="1206176" y="81410"/>
                  </a:cubicBezTo>
                  <a:lnTo>
                    <a:pt x="1231576" y="89877"/>
                  </a:lnTo>
                  <a:cubicBezTo>
                    <a:pt x="1237220" y="106810"/>
                    <a:pt x="1231576" y="135033"/>
                    <a:pt x="1248509" y="140677"/>
                  </a:cubicBezTo>
                  <a:cubicBezTo>
                    <a:pt x="1320895" y="164805"/>
                    <a:pt x="1281598" y="155396"/>
                    <a:pt x="1367042" y="166077"/>
                  </a:cubicBezTo>
                  <a:cubicBezTo>
                    <a:pt x="1407292" y="192910"/>
                    <a:pt x="1382791" y="179794"/>
                    <a:pt x="1443242" y="199944"/>
                  </a:cubicBezTo>
                  <a:lnTo>
                    <a:pt x="1494042" y="216877"/>
                  </a:lnTo>
                  <a:cubicBezTo>
                    <a:pt x="1507694" y="221428"/>
                    <a:pt x="1522111" y="223442"/>
                    <a:pt x="1536376" y="225344"/>
                  </a:cubicBezTo>
                  <a:cubicBezTo>
                    <a:pt x="1564490" y="229092"/>
                    <a:pt x="1592820" y="230988"/>
                    <a:pt x="1621042" y="233810"/>
                  </a:cubicBezTo>
                  <a:cubicBezTo>
                    <a:pt x="1601859" y="291359"/>
                    <a:pt x="1593788" y="291920"/>
                    <a:pt x="1612576" y="360810"/>
                  </a:cubicBezTo>
                  <a:cubicBezTo>
                    <a:pt x="1614676" y="368511"/>
                    <a:pt x="1622664" y="373637"/>
                    <a:pt x="1629509" y="377744"/>
                  </a:cubicBezTo>
                  <a:cubicBezTo>
                    <a:pt x="1637162" y="382336"/>
                    <a:pt x="1646442" y="383388"/>
                    <a:pt x="1654909" y="386210"/>
                  </a:cubicBezTo>
                  <a:cubicBezTo>
                    <a:pt x="1652747" y="409990"/>
                    <a:pt x="1654263" y="472171"/>
                    <a:pt x="1637976" y="504744"/>
                  </a:cubicBezTo>
                  <a:cubicBezTo>
                    <a:pt x="1633425" y="513846"/>
                    <a:pt x="1626687" y="521677"/>
                    <a:pt x="1621042" y="530144"/>
                  </a:cubicBezTo>
                  <a:cubicBezTo>
                    <a:pt x="1621741" y="537131"/>
                    <a:pt x="1632361" y="655360"/>
                    <a:pt x="1637976" y="674077"/>
                  </a:cubicBezTo>
                  <a:cubicBezTo>
                    <a:pt x="1640900" y="683823"/>
                    <a:pt x="1649265" y="691010"/>
                    <a:pt x="1654909" y="699477"/>
                  </a:cubicBezTo>
                  <a:cubicBezTo>
                    <a:pt x="1657731" y="710766"/>
                    <a:pt x="1654679" y="725613"/>
                    <a:pt x="1663376" y="733344"/>
                  </a:cubicBezTo>
                  <a:cubicBezTo>
                    <a:pt x="1682243" y="750114"/>
                    <a:pt x="1731109" y="767210"/>
                    <a:pt x="1731109" y="767210"/>
                  </a:cubicBezTo>
                  <a:cubicBezTo>
                    <a:pt x="1728287" y="784143"/>
                    <a:pt x="1728071" y="801724"/>
                    <a:pt x="1722642" y="818010"/>
                  </a:cubicBezTo>
                  <a:cubicBezTo>
                    <a:pt x="1719424" y="827663"/>
                    <a:pt x="1709282" y="833882"/>
                    <a:pt x="1705709" y="843410"/>
                  </a:cubicBezTo>
                  <a:cubicBezTo>
                    <a:pt x="1700656" y="856885"/>
                    <a:pt x="1705225" y="873770"/>
                    <a:pt x="1697242" y="885744"/>
                  </a:cubicBezTo>
                  <a:cubicBezTo>
                    <a:pt x="1692291" y="893170"/>
                    <a:pt x="1680309" y="891388"/>
                    <a:pt x="1671842" y="894210"/>
                  </a:cubicBezTo>
                  <a:cubicBezTo>
                    <a:pt x="1666198" y="899855"/>
                    <a:pt x="1662049" y="907574"/>
                    <a:pt x="1654909" y="911144"/>
                  </a:cubicBezTo>
                  <a:cubicBezTo>
                    <a:pt x="1644501" y="916348"/>
                    <a:pt x="1632188" y="916266"/>
                    <a:pt x="1621042" y="919610"/>
                  </a:cubicBezTo>
                  <a:cubicBezTo>
                    <a:pt x="1603945" y="924739"/>
                    <a:pt x="1587175" y="930899"/>
                    <a:pt x="1570242" y="936544"/>
                  </a:cubicBezTo>
                  <a:cubicBezTo>
                    <a:pt x="1560589" y="939762"/>
                    <a:pt x="1554370" y="949904"/>
                    <a:pt x="1544842" y="953477"/>
                  </a:cubicBezTo>
                  <a:cubicBezTo>
                    <a:pt x="1531368" y="958530"/>
                    <a:pt x="1516620" y="959122"/>
                    <a:pt x="1502509" y="961944"/>
                  </a:cubicBezTo>
                  <a:cubicBezTo>
                    <a:pt x="1499687" y="970411"/>
                    <a:pt x="1498376" y="979542"/>
                    <a:pt x="1494042" y="987344"/>
                  </a:cubicBezTo>
                  <a:cubicBezTo>
                    <a:pt x="1484159" y="1005134"/>
                    <a:pt x="1466612" y="1018837"/>
                    <a:pt x="1460176" y="1038144"/>
                  </a:cubicBezTo>
                  <a:cubicBezTo>
                    <a:pt x="1448029" y="1074583"/>
                    <a:pt x="1453874" y="1054886"/>
                    <a:pt x="1443242" y="1097410"/>
                  </a:cubicBezTo>
                  <a:cubicBezTo>
                    <a:pt x="1446195" y="1109221"/>
                    <a:pt x="1461278" y="1143794"/>
                    <a:pt x="1443242" y="1156677"/>
                  </a:cubicBezTo>
                  <a:cubicBezTo>
                    <a:pt x="1428717" y="1167052"/>
                    <a:pt x="1392442" y="1173610"/>
                    <a:pt x="1392442" y="1173610"/>
                  </a:cubicBezTo>
                  <a:cubicBezTo>
                    <a:pt x="1389620" y="1182077"/>
                    <a:pt x="1385912" y="1190298"/>
                    <a:pt x="1383976" y="1199010"/>
                  </a:cubicBezTo>
                  <a:cubicBezTo>
                    <a:pt x="1365761" y="1280978"/>
                    <a:pt x="1401000" y="1247493"/>
                    <a:pt x="1282376" y="1258277"/>
                  </a:cubicBezTo>
                  <a:cubicBezTo>
                    <a:pt x="1273909" y="1261099"/>
                    <a:pt x="1262163" y="1259482"/>
                    <a:pt x="1256976" y="1266744"/>
                  </a:cubicBezTo>
                  <a:cubicBezTo>
                    <a:pt x="1238007" y="1293300"/>
                    <a:pt x="1249268" y="1322017"/>
                    <a:pt x="1223109" y="1342944"/>
                  </a:cubicBezTo>
                  <a:cubicBezTo>
                    <a:pt x="1216140" y="1348519"/>
                    <a:pt x="1206530" y="1350053"/>
                    <a:pt x="1197709" y="1351410"/>
                  </a:cubicBezTo>
                  <a:cubicBezTo>
                    <a:pt x="1169676" y="1355723"/>
                    <a:pt x="1141264" y="1357055"/>
                    <a:pt x="1113042" y="1359877"/>
                  </a:cubicBezTo>
                  <a:cubicBezTo>
                    <a:pt x="1100547" y="1378620"/>
                    <a:pt x="1090267" y="1397638"/>
                    <a:pt x="1070709" y="1410677"/>
                  </a:cubicBezTo>
                  <a:cubicBezTo>
                    <a:pt x="1063283" y="1415628"/>
                    <a:pt x="1053776" y="1416322"/>
                    <a:pt x="1045309" y="1419144"/>
                  </a:cubicBezTo>
                  <a:cubicBezTo>
                    <a:pt x="1034020" y="1427611"/>
                    <a:pt x="1023694" y="1437543"/>
                    <a:pt x="1011442" y="1444544"/>
                  </a:cubicBezTo>
                  <a:cubicBezTo>
                    <a:pt x="1003693" y="1448972"/>
                    <a:pt x="993695" y="1448418"/>
                    <a:pt x="986042" y="1453010"/>
                  </a:cubicBezTo>
                  <a:cubicBezTo>
                    <a:pt x="979197" y="1457117"/>
                    <a:pt x="975241" y="1464834"/>
                    <a:pt x="969109" y="1469944"/>
                  </a:cubicBezTo>
                  <a:cubicBezTo>
                    <a:pt x="958269" y="1478978"/>
                    <a:pt x="946531" y="1486877"/>
                    <a:pt x="935242" y="1495344"/>
                  </a:cubicBezTo>
                  <a:cubicBezTo>
                    <a:pt x="927552" y="1483809"/>
                    <a:pt x="914779" y="1461052"/>
                    <a:pt x="901376" y="1453010"/>
                  </a:cubicBezTo>
                  <a:cubicBezTo>
                    <a:pt x="892703" y="1447806"/>
                    <a:pt x="848430" y="1437657"/>
                    <a:pt x="842109" y="1436077"/>
                  </a:cubicBezTo>
                  <a:lnTo>
                    <a:pt x="791309" y="1453010"/>
                  </a:lnTo>
                  <a:lnTo>
                    <a:pt x="765909" y="1461477"/>
                  </a:lnTo>
                  <a:lnTo>
                    <a:pt x="748976" y="1512277"/>
                  </a:lnTo>
                  <a:cubicBezTo>
                    <a:pt x="743547" y="1528563"/>
                    <a:pt x="749026" y="1548172"/>
                    <a:pt x="740509" y="1563077"/>
                  </a:cubicBezTo>
                  <a:cubicBezTo>
                    <a:pt x="736081" y="1570826"/>
                    <a:pt x="723576" y="1568722"/>
                    <a:pt x="715109" y="1571544"/>
                  </a:cubicBezTo>
                  <a:cubicBezTo>
                    <a:pt x="712287" y="1557433"/>
                    <a:pt x="714625" y="1541184"/>
                    <a:pt x="706642" y="1529210"/>
                  </a:cubicBezTo>
                  <a:cubicBezTo>
                    <a:pt x="701691" y="1521784"/>
                    <a:pt x="689954" y="1522680"/>
                    <a:pt x="681242" y="1520744"/>
                  </a:cubicBezTo>
                  <a:cubicBezTo>
                    <a:pt x="664484" y="1517020"/>
                    <a:pt x="647375" y="1515099"/>
                    <a:pt x="630442" y="1512277"/>
                  </a:cubicBezTo>
                  <a:lnTo>
                    <a:pt x="613509" y="1563077"/>
                  </a:lnTo>
                  <a:cubicBezTo>
                    <a:pt x="610291" y="1572730"/>
                    <a:pt x="597408" y="1575877"/>
                    <a:pt x="588109" y="1580010"/>
                  </a:cubicBezTo>
                  <a:cubicBezTo>
                    <a:pt x="588088" y="1580019"/>
                    <a:pt x="524620" y="1601173"/>
                    <a:pt x="511909" y="1605410"/>
                  </a:cubicBezTo>
                  <a:cubicBezTo>
                    <a:pt x="500870" y="1609090"/>
                    <a:pt x="489188" y="1610533"/>
                    <a:pt x="478042" y="1613877"/>
                  </a:cubicBezTo>
                  <a:cubicBezTo>
                    <a:pt x="460945" y="1619006"/>
                    <a:pt x="427242" y="1630810"/>
                    <a:pt x="427242" y="1630810"/>
                  </a:cubicBezTo>
                  <a:cubicBezTo>
                    <a:pt x="358914" y="1613729"/>
                    <a:pt x="419044" y="1639946"/>
                    <a:pt x="384909" y="1554610"/>
                  </a:cubicBezTo>
                  <a:cubicBezTo>
                    <a:pt x="381130" y="1545162"/>
                    <a:pt x="368610" y="1542228"/>
                    <a:pt x="359509" y="1537677"/>
                  </a:cubicBezTo>
                  <a:cubicBezTo>
                    <a:pt x="338664" y="1527254"/>
                    <a:pt x="302825" y="1523996"/>
                    <a:pt x="283309" y="1520744"/>
                  </a:cubicBezTo>
                  <a:cubicBezTo>
                    <a:pt x="274842" y="1517922"/>
                    <a:pt x="264220" y="1518588"/>
                    <a:pt x="257909" y="1512277"/>
                  </a:cubicBezTo>
                  <a:cubicBezTo>
                    <a:pt x="240354" y="1494722"/>
                    <a:pt x="254328" y="1470913"/>
                    <a:pt x="257909" y="1453010"/>
                  </a:cubicBezTo>
                  <a:cubicBezTo>
                    <a:pt x="258462" y="1450243"/>
                    <a:pt x="269198" y="1454421"/>
                    <a:pt x="266376" y="1453010"/>
                  </a:cubicBezTo>
                  <a:close/>
                </a:path>
              </a:pathLst>
            </a:custGeom>
            <a:solidFill>
              <a:srgbClr val="FFFF00">
                <a:alpha val="63137"/>
              </a:srgbClr>
            </a:solidFill>
            <a:ln w="0">
              <a:gradFill>
                <a:gsLst>
                  <a:gs pos="0">
                    <a:srgbClr val="FFFFFF"/>
                  </a:gs>
                  <a:gs pos="16000">
                    <a:srgbClr val="1F1F1F"/>
                  </a:gs>
                  <a:gs pos="17999">
                    <a:srgbClr val="FFFFFF"/>
                  </a:gs>
                  <a:gs pos="42000">
                    <a:srgbClr val="636363"/>
                  </a:gs>
                  <a:gs pos="53000">
                    <a:srgbClr val="CFCFCF"/>
                  </a:gs>
                  <a:gs pos="66000">
                    <a:srgbClr val="CFCFCF"/>
                  </a:gs>
                  <a:gs pos="75999">
                    <a:srgbClr val="1F1F1F"/>
                  </a:gs>
                  <a:gs pos="78999">
                    <a:srgbClr val="FFFFFF"/>
                  </a:gs>
                  <a:gs pos="100000">
                    <a:srgbClr val="7F7F7F"/>
                  </a:gs>
                </a:gsLst>
                <a:lin ang="5400000" scaled="0"/>
              </a:gradFill>
            </a:ln>
            <a:effectLst>
              <a:outerShdw blurRad="50800" dist="50800" dir="5400000" algn="ctr" rotWithShape="0">
                <a:srgbClr val="000000">
                  <a:alpha val="84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7" name="Picture 9" descr="red">
              <a:extLst>
                <a:ext uri="{FF2B5EF4-FFF2-40B4-BE49-F238E27FC236}">
                  <a16:creationId xmlns:a16="http://schemas.microsoft.com/office/drawing/2014/main" id="{11265144-01FB-4A06-AACE-B75CB1C391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000686" y="3429000"/>
              <a:ext cx="180913" cy="1469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D7023441-D193-4CA2-8C0E-0184053EE63B}"/>
                </a:ext>
              </a:extLst>
            </p:cNvPr>
            <p:cNvSpPr txBox="1"/>
            <p:nvPr/>
          </p:nvSpPr>
          <p:spPr>
            <a:xfrm>
              <a:off x="2509897" y="2826209"/>
              <a:ext cx="126829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err="1">
                  <a:latin typeface="Bookman Old Style" pitchFamily="18" charset="0"/>
                </a:rPr>
                <a:t>Jaykaypuram</a:t>
              </a:r>
              <a:endParaRPr lang="en-US" sz="1200" b="1" dirty="0">
                <a:latin typeface="Bookman Old Style" pitchFamily="18" charset="0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AB252BAC-2DB0-4AEE-9004-B33EF28CB43E}"/>
                </a:ext>
              </a:extLst>
            </p:cNvPr>
            <p:cNvSpPr txBox="1"/>
            <p:nvPr/>
          </p:nvSpPr>
          <p:spPr>
            <a:xfrm>
              <a:off x="4942971" y="3503984"/>
              <a:ext cx="562975" cy="276999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en-US" sz="1200" b="1" dirty="0">
                  <a:latin typeface="Bookman Old Style" pitchFamily="18" charset="0"/>
                </a:rPr>
                <a:t>Durg</a:t>
              </a:r>
            </a:p>
          </p:txBody>
        </p:sp>
        <p:pic>
          <p:nvPicPr>
            <p:cNvPr id="130" name="Picture 13" descr="anim3">
              <a:extLst>
                <a:ext uri="{FF2B5EF4-FFF2-40B4-BE49-F238E27FC236}">
                  <a16:creationId xmlns:a16="http://schemas.microsoft.com/office/drawing/2014/main" id="{C4A83856-A6A6-4971-BB8C-07F6BF3433C4}"/>
                </a:ext>
              </a:extLst>
            </p:cNvPr>
            <p:cNvPicPr>
              <a:picLocks noChangeAspect="1" noChangeArrowheads="1" noCrop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091814" y="3513137"/>
              <a:ext cx="92434" cy="857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1" name="Picture 13" descr="anim3">
              <a:extLst>
                <a:ext uri="{FF2B5EF4-FFF2-40B4-BE49-F238E27FC236}">
                  <a16:creationId xmlns:a16="http://schemas.microsoft.com/office/drawing/2014/main" id="{D6C1681E-ED37-4169-9A55-0A301C394D50}"/>
                </a:ext>
              </a:extLst>
            </p:cNvPr>
            <p:cNvPicPr>
              <a:picLocks noChangeAspect="1" noChangeArrowheads="1" noCrop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796414" y="2970191"/>
              <a:ext cx="92434" cy="857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E2E6618B-1D3F-4732-A196-E6396C9B132D}"/>
                </a:ext>
              </a:extLst>
            </p:cNvPr>
            <p:cNvSpPr txBox="1"/>
            <p:nvPr/>
          </p:nvSpPr>
          <p:spPr>
            <a:xfrm>
              <a:off x="2806083" y="3036595"/>
              <a:ext cx="952067" cy="3732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dirty="0" err="1">
                  <a:latin typeface="Bookman Old Style" pitchFamily="18" charset="0"/>
                </a:rPr>
                <a:t>Kalol</a:t>
              </a:r>
              <a:endParaRPr lang="en-US" sz="1200" b="1" dirty="0">
                <a:latin typeface="Bookman Old Style" pitchFamily="18" charset="0"/>
              </a:endParaRPr>
            </a:p>
            <a:p>
              <a:pPr algn="ctr"/>
              <a:r>
                <a:rPr lang="en-US" sz="800" b="1" dirty="0">
                  <a:latin typeface="Bookman Old Style" pitchFamily="18" charset="0"/>
                </a:rPr>
                <a:t>(Grinding Unit)</a:t>
              </a:r>
            </a:p>
          </p:txBody>
        </p:sp>
        <p:pic>
          <p:nvPicPr>
            <p:cNvPr id="133" name="Picture 9" descr="red">
              <a:extLst>
                <a:ext uri="{FF2B5EF4-FFF2-40B4-BE49-F238E27FC236}">
                  <a16:creationId xmlns:a16="http://schemas.microsoft.com/office/drawing/2014/main" id="{72AF29AB-3DC7-4D28-B2E7-BDD7FDA24E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267200" y="2209800"/>
              <a:ext cx="104713" cy="850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4" name="Picture 9" descr="red">
              <a:extLst>
                <a:ext uri="{FF2B5EF4-FFF2-40B4-BE49-F238E27FC236}">
                  <a16:creationId xmlns:a16="http://schemas.microsoft.com/office/drawing/2014/main" id="{7C88770B-209C-414F-BB29-E517058071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581403" y="3133308"/>
              <a:ext cx="187288" cy="1521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E2C26079-F224-44CC-B8A1-34F2409649E7}"/>
                </a:ext>
              </a:extLst>
            </p:cNvPr>
            <p:cNvSpPr txBox="1"/>
            <p:nvPr/>
          </p:nvSpPr>
          <p:spPr>
            <a:xfrm>
              <a:off x="3918685" y="2209800"/>
              <a:ext cx="920913" cy="4880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 b="1" dirty="0" err="1">
                  <a:latin typeface="Bookman Old Style" pitchFamily="18" charset="0"/>
                </a:rPr>
                <a:t>Jharli</a:t>
              </a:r>
              <a:endParaRPr lang="en-US" sz="1200" b="1" dirty="0">
                <a:latin typeface="Bookman Old Style" pitchFamily="18" charset="0"/>
              </a:endParaRPr>
            </a:p>
            <a:p>
              <a:pPr algn="ctr"/>
              <a:r>
                <a:rPr lang="en-US" sz="800" b="1" dirty="0">
                  <a:latin typeface="Bookman Old Style" pitchFamily="18" charset="0"/>
                </a:rPr>
                <a:t>(Grinding Unit</a:t>
              </a:r>
            </a:p>
            <a:p>
              <a:pPr algn="ctr"/>
              <a:r>
                <a:rPr lang="en-US" sz="800" dirty="0">
                  <a:latin typeface="Bookman Old Style" pitchFamily="18" charset="0"/>
                </a:rPr>
                <a:t>&amp; AAC Block</a:t>
              </a:r>
              <a:r>
                <a:rPr lang="en-US" sz="800" b="1" dirty="0">
                  <a:latin typeface="Bookman Old Style" pitchFamily="18" charset="0"/>
                </a:rPr>
                <a:t>)</a:t>
              </a:r>
            </a:p>
          </p:txBody>
        </p:sp>
        <p:pic>
          <p:nvPicPr>
            <p:cNvPr id="136" name="Picture 9" descr="red">
              <a:extLst>
                <a:ext uri="{FF2B5EF4-FFF2-40B4-BE49-F238E27FC236}">
                  <a16:creationId xmlns:a16="http://schemas.microsoft.com/office/drawing/2014/main" id="{3CC08959-FD81-4637-9D62-E0F86567AE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5562600" y="3886200"/>
              <a:ext cx="104713" cy="850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67" name="Picture 13" descr="anim3">
            <a:extLst>
              <a:ext uri="{FF2B5EF4-FFF2-40B4-BE49-F238E27FC236}">
                <a16:creationId xmlns:a16="http://schemas.microsoft.com/office/drawing/2014/main" id="{9DDDF1D3-5189-45CC-91E7-2BA72993A78C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34200" y="2757185"/>
            <a:ext cx="95122" cy="91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" name="Picture 9" descr="red">
            <a:extLst>
              <a:ext uri="{FF2B5EF4-FFF2-40B4-BE49-F238E27FC236}">
                <a16:creationId xmlns:a16="http://schemas.microsoft.com/office/drawing/2014/main" id="{9CA3DD01-4837-428F-8FAD-340E0D464B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/>
          <a:stretch>
            <a:fillRect/>
          </a:stretch>
        </p:blipFill>
        <p:spPr bwMode="auto">
          <a:xfrm>
            <a:off x="6781800" y="2602836"/>
            <a:ext cx="220298" cy="1870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0" name="Picture 9" descr="red">
            <a:extLst>
              <a:ext uri="{FF2B5EF4-FFF2-40B4-BE49-F238E27FC236}">
                <a16:creationId xmlns:a16="http://schemas.microsoft.com/office/drawing/2014/main" id="{196EFC86-8BFF-48F8-ADA5-7748BBA6B9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234569" y="3121232"/>
            <a:ext cx="197789" cy="167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1" name="TextBox 170">
            <a:extLst>
              <a:ext uri="{FF2B5EF4-FFF2-40B4-BE49-F238E27FC236}">
                <a16:creationId xmlns:a16="http://schemas.microsoft.com/office/drawing/2014/main" id="{CD41B7B8-41D6-4149-BA47-FF08130A1BDC}"/>
              </a:ext>
            </a:extLst>
          </p:cNvPr>
          <p:cNvSpPr txBox="1"/>
          <p:nvPr/>
        </p:nvSpPr>
        <p:spPr>
          <a:xfrm>
            <a:off x="5497245" y="3040926"/>
            <a:ext cx="9797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err="1">
                <a:latin typeface="Bookman Old Style" pitchFamily="18" charset="0"/>
              </a:rPr>
              <a:t>Surat</a:t>
            </a:r>
            <a:endParaRPr lang="en-US" sz="1200" b="1" dirty="0">
              <a:latin typeface="Bookman Old Style" pitchFamily="18" charset="0"/>
            </a:endParaRPr>
          </a:p>
          <a:p>
            <a:pPr algn="ctr"/>
            <a:r>
              <a:rPr lang="en-US" sz="800" b="1" dirty="0">
                <a:latin typeface="Bookman Old Style" pitchFamily="18" charset="0"/>
              </a:rPr>
              <a:t>(Grinding Unit)</a:t>
            </a:r>
          </a:p>
        </p:txBody>
      </p:sp>
      <p:sp>
        <p:nvSpPr>
          <p:cNvPr id="172" name="Line 75">
            <a:extLst>
              <a:ext uri="{FF2B5EF4-FFF2-40B4-BE49-F238E27FC236}">
                <a16:creationId xmlns:a16="http://schemas.microsoft.com/office/drawing/2014/main" id="{31B32BF1-6AEA-439A-8A92-2E9295F125E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7523462" y="1423941"/>
            <a:ext cx="1239537" cy="44267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stealth" w="med" len="med"/>
          </a:ln>
        </p:spPr>
        <p:txBody>
          <a:bodyPr wrap="square">
            <a:spAutoFit/>
          </a:bodyPr>
          <a:lstStyle/>
          <a:p>
            <a:endParaRPr lang="en-US"/>
          </a:p>
        </p:txBody>
      </p:sp>
      <p:sp>
        <p:nvSpPr>
          <p:cNvPr id="173" name="Text Box 76">
            <a:extLst>
              <a:ext uri="{FF2B5EF4-FFF2-40B4-BE49-F238E27FC236}">
                <a16:creationId xmlns:a16="http://schemas.microsoft.com/office/drawing/2014/main" id="{94647A89-AE19-41FA-A4BF-A73A5F1BC0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90042" y="1189138"/>
            <a:ext cx="103474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ook Antiqua" pitchFamily="18" charset="0"/>
              </a:rPr>
              <a:t>1.30</a:t>
            </a:r>
            <a:endParaRPr lang="en-US" sz="1600" dirty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Book Antiqua" pitchFamily="18" charset="0"/>
            </a:endParaRPr>
          </a:p>
        </p:txBody>
      </p:sp>
      <p:sp>
        <p:nvSpPr>
          <p:cNvPr id="174" name="Line 75">
            <a:extLst>
              <a:ext uri="{FF2B5EF4-FFF2-40B4-BE49-F238E27FC236}">
                <a16:creationId xmlns:a16="http://schemas.microsoft.com/office/drawing/2014/main" id="{AA0009AA-B6B7-4CC6-BAAD-67D95A878BD6}"/>
              </a:ext>
            </a:extLst>
          </p:cNvPr>
          <p:cNvSpPr>
            <a:spLocks noChangeShapeType="1"/>
          </p:cNvSpPr>
          <p:nvPr/>
        </p:nvSpPr>
        <p:spPr bwMode="auto">
          <a:xfrm>
            <a:off x="5201499" y="2371883"/>
            <a:ext cx="1705727" cy="29752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stealth" w="med" len="med"/>
          </a:ln>
        </p:spPr>
        <p:txBody>
          <a:bodyPr wrap="square">
            <a:spAutoFit/>
          </a:bodyPr>
          <a:lstStyle/>
          <a:p>
            <a:endParaRPr lang="en-US"/>
          </a:p>
        </p:txBody>
      </p:sp>
      <p:sp>
        <p:nvSpPr>
          <p:cNvPr id="175" name="Text Box 76">
            <a:extLst>
              <a:ext uri="{FF2B5EF4-FFF2-40B4-BE49-F238E27FC236}">
                <a16:creationId xmlns:a16="http://schemas.microsoft.com/office/drawing/2014/main" id="{C644CC2C-928F-4A34-BA32-5105D3539B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14849" y="2204959"/>
            <a:ext cx="116349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ook Antiqua" pitchFamily="18" charset="0"/>
              </a:rPr>
              <a:t>4.75 </a:t>
            </a:r>
            <a:r>
              <a:rPr lang="en-US" sz="1600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ook Antiqua" pitchFamily="18" charset="0"/>
              </a:rPr>
              <a:t>(5.00)</a:t>
            </a:r>
          </a:p>
        </p:txBody>
      </p:sp>
      <p:sp>
        <p:nvSpPr>
          <p:cNvPr id="176" name="Line 75">
            <a:extLst>
              <a:ext uri="{FF2B5EF4-FFF2-40B4-BE49-F238E27FC236}">
                <a16:creationId xmlns:a16="http://schemas.microsoft.com/office/drawing/2014/main" id="{7E6FE1AF-E232-425D-9B63-FD6BB22A530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026062" y="2887006"/>
            <a:ext cx="1703912" cy="23300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stealth" w="med" len="med"/>
          </a:ln>
        </p:spPr>
        <p:txBody>
          <a:bodyPr wrap="square">
            <a:spAutoFit/>
          </a:bodyPr>
          <a:lstStyle/>
          <a:p>
            <a:endParaRPr lang="en-US"/>
          </a:p>
        </p:txBody>
      </p:sp>
      <p:sp>
        <p:nvSpPr>
          <p:cNvPr id="177" name="Text Box 76">
            <a:extLst>
              <a:ext uri="{FF2B5EF4-FFF2-40B4-BE49-F238E27FC236}">
                <a16:creationId xmlns:a16="http://schemas.microsoft.com/office/drawing/2014/main" id="{70998A44-A408-4DC6-9C4F-A2F72C51C4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95800" y="2950082"/>
            <a:ext cx="59223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ook Antiqua" pitchFamily="18" charset="0"/>
              </a:rPr>
              <a:t>0.90</a:t>
            </a:r>
            <a:endParaRPr lang="en-US" sz="1600" dirty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Book Antiqua" pitchFamily="18" charset="0"/>
            </a:endParaRPr>
          </a:p>
        </p:txBody>
      </p:sp>
      <p:sp>
        <p:nvSpPr>
          <p:cNvPr id="178" name="Line 75">
            <a:extLst>
              <a:ext uri="{FF2B5EF4-FFF2-40B4-BE49-F238E27FC236}">
                <a16:creationId xmlns:a16="http://schemas.microsoft.com/office/drawing/2014/main" id="{DE109BE9-B398-42A6-BDB2-12BCBEC93D6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026062" y="3212435"/>
            <a:ext cx="1308761" cy="44097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stealth" w="med" len="med"/>
          </a:ln>
        </p:spPr>
        <p:txBody>
          <a:bodyPr wrap="square">
            <a:spAutoFit/>
          </a:bodyPr>
          <a:lstStyle/>
          <a:p>
            <a:endParaRPr lang="en-US"/>
          </a:p>
        </p:txBody>
      </p:sp>
      <p:sp>
        <p:nvSpPr>
          <p:cNvPr id="179" name="Text Box 76">
            <a:extLst>
              <a:ext uri="{FF2B5EF4-FFF2-40B4-BE49-F238E27FC236}">
                <a16:creationId xmlns:a16="http://schemas.microsoft.com/office/drawing/2014/main" id="{EB3BB485-713D-4F43-8E88-F79A80BED3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95800" y="3483482"/>
            <a:ext cx="59223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ook Antiqua" pitchFamily="18" charset="0"/>
              </a:rPr>
              <a:t>1.35</a:t>
            </a:r>
            <a:endParaRPr lang="en-US" sz="1600" dirty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Book Antiqua" pitchFamily="18" charset="0"/>
            </a:endParaRPr>
          </a:p>
        </p:txBody>
      </p:sp>
      <p:sp>
        <p:nvSpPr>
          <p:cNvPr id="180" name="Line 75">
            <a:extLst>
              <a:ext uri="{FF2B5EF4-FFF2-40B4-BE49-F238E27FC236}">
                <a16:creationId xmlns:a16="http://schemas.microsoft.com/office/drawing/2014/main" id="{469595F1-CE63-45CE-8F57-AC241930EBF7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8358879" y="3223674"/>
            <a:ext cx="1997036" cy="30808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stealth" w="med" len="med"/>
          </a:ln>
        </p:spPr>
        <p:txBody>
          <a:bodyPr wrap="square">
            <a:spAutoFit/>
          </a:bodyPr>
          <a:lstStyle/>
          <a:p>
            <a:endParaRPr lang="en-US"/>
          </a:p>
        </p:txBody>
      </p:sp>
      <p:sp>
        <p:nvSpPr>
          <p:cNvPr id="181" name="Text Box 76">
            <a:extLst>
              <a:ext uri="{FF2B5EF4-FFF2-40B4-BE49-F238E27FC236}">
                <a16:creationId xmlns:a16="http://schemas.microsoft.com/office/drawing/2014/main" id="{C96336AC-E7D6-4EB0-8072-5CD6BDBE8B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07022" y="3393206"/>
            <a:ext cx="126334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ook Antiqua" pitchFamily="18" charset="0"/>
              </a:rPr>
              <a:t>2.70 </a:t>
            </a:r>
            <a:r>
              <a:rPr lang="en-US" sz="1600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ook Antiqua" pitchFamily="18" charset="0"/>
              </a:rPr>
              <a:t>(2.00)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0730066A-7846-49EA-82DC-6E02553C0547}"/>
              </a:ext>
            </a:extLst>
          </p:cNvPr>
          <p:cNvSpPr txBox="1"/>
          <p:nvPr/>
        </p:nvSpPr>
        <p:spPr>
          <a:xfrm>
            <a:off x="7934581" y="3593435"/>
            <a:ext cx="10166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err="1">
                <a:latin typeface="Bookman Old Style" pitchFamily="18" charset="0"/>
              </a:rPr>
              <a:t>Odisha</a:t>
            </a:r>
            <a:endParaRPr lang="en-US" sz="1200" b="1" dirty="0">
              <a:latin typeface="Bookman Old Style" pitchFamily="18" charset="0"/>
            </a:endParaRPr>
          </a:p>
          <a:p>
            <a:pPr algn="ctr"/>
            <a:r>
              <a:rPr lang="en-US" sz="800" b="1" dirty="0">
                <a:latin typeface="Bookman Old Style" pitchFamily="18" charset="0"/>
              </a:rPr>
              <a:t>(Grinding Unit)</a:t>
            </a:r>
          </a:p>
        </p:txBody>
      </p:sp>
      <p:sp>
        <p:nvSpPr>
          <p:cNvPr id="183" name="Line 75">
            <a:extLst>
              <a:ext uri="{FF2B5EF4-FFF2-40B4-BE49-F238E27FC236}">
                <a16:creationId xmlns:a16="http://schemas.microsoft.com/office/drawing/2014/main" id="{DEC1DA98-71F5-4C73-B9CD-15A68322BAE2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8816079" y="3727034"/>
            <a:ext cx="1500434" cy="24318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stealth" w="med" len="med"/>
          </a:ln>
        </p:spPr>
        <p:txBody>
          <a:bodyPr wrap="square">
            <a:spAutoFit/>
          </a:bodyPr>
          <a:lstStyle/>
          <a:p>
            <a:endParaRPr lang="en-US"/>
          </a:p>
        </p:txBody>
      </p:sp>
      <p:sp>
        <p:nvSpPr>
          <p:cNvPr id="184" name="Text Box 76">
            <a:extLst>
              <a:ext uri="{FF2B5EF4-FFF2-40B4-BE49-F238E27FC236}">
                <a16:creationId xmlns:a16="http://schemas.microsoft.com/office/drawing/2014/main" id="{E1FCB445-CC92-425C-9A47-3525CAD572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50904" y="3822036"/>
            <a:ext cx="103474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ook Antiqua" pitchFamily="18" charset="0"/>
              </a:rPr>
              <a:t>0.80</a:t>
            </a:r>
            <a:endParaRPr lang="en-US" sz="1600" dirty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Book Antiqua" pitchFamily="18" charset="0"/>
            </a:endParaRPr>
          </a:p>
        </p:txBody>
      </p:sp>
      <p:pic>
        <p:nvPicPr>
          <p:cNvPr id="185" name="Picture 9" descr="red">
            <a:extLst>
              <a:ext uri="{FF2B5EF4-FFF2-40B4-BE49-F238E27FC236}">
                <a16:creationId xmlns:a16="http://schemas.microsoft.com/office/drawing/2014/main" id="{C98DC2F2-09AB-49C2-A63A-C31CED7690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/>
          <a:stretch>
            <a:fillRect/>
          </a:stretch>
        </p:blipFill>
        <p:spPr bwMode="auto">
          <a:xfrm>
            <a:off x="6857951" y="2491991"/>
            <a:ext cx="220298" cy="187045"/>
          </a:xfrm>
          <a:prstGeom prst="rect">
            <a:avLst/>
          </a:prstGeom>
          <a:noFill/>
          <a:ln>
            <a:noFill/>
          </a:ln>
        </p:spPr>
      </p:pic>
      <p:sp>
        <p:nvSpPr>
          <p:cNvPr id="186" name="Line 75">
            <a:extLst>
              <a:ext uri="{FF2B5EF4-FFF2-40B4-BE49-F238E27FC236}">
                <a16:creationId xmlns:a16="http://schemas.microsoft.com/office/drawing/2014/main" id="{18AAF497-BBB4-4421-8381-65198CD3786F}"/>
              </a:ext>
            </a:extLst>
          </p:cNvPr>
          <p:cNvSpPr>
            <a:spLocks noChangeShapeType="1"/>
          </p:cNvSpPr>
          <p:nvPr/>
        </p:nvSpPr>
        <p:spPr bwMode="auto">
          <a:xfrm>
            <a:off x="5334000" y="1764636"/>
            <a:ext cx="1647825" cy="8191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stealth" w="med" len="med"/>
          </a:ln>
        </p:spPr>
        <p:txBody>
          <a:bodyPr wrap="square">
            <a:spAutoFit/>
          </a:bodyPr>
          <a:lstStyle/>
          <a:p>
            <a:endParaRPr lang="en-US"/>
          </a:p>
        </p:txBody>
      </p:sp>
      <p:sp>
        <p:nvSpPr>
          <p:cNvPr id="187" name="Text Box 76">
            <a:extLst>
              <a:ext uri="{FF2B5EF4-FFF2-40B4-BE49-F238E27FC236}">
                <a16:creationId xmlns:a16="http://schemas.microsoft.com/office/drawing/2014/main" id="{5D3614AD-AE45-48FA-8849-E831D93778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67200" y="1536036"/>
            <a:ext cx="116349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rgbClr val="3333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ook Antiqua" pitchFamily="18" charset="0"/>
              </a:rPr>
              <a:t>4.70 </a:t>
            </a:r>
            <a:r>
              <a:rPr lang="en-US" sz="1600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ook Antiqua" pitchFamily="18" charset="0"/>
              </a:rPr>
              <a:t>(3.00)</a:t>
            </a: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F0B6E62A-B2B9-4980-866A-E566678D0487}"/>
              </a:ext>
            </a:extLst>
          </p:cNvPr>
          <p:cNvSpPr txBox="1"/>
          <p:nvPr/>
        </p:nvSpPr>
        <p:spPr>
          <a:xfrm flipH="1">
            <a:off x="6172200" y="2221836"/>
            <a:ext cx="1371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Bookman Old Style" pitchFamily="18" charset="0"/>
              </a:rPr>
              <a:t>UCWL</a:t>
            </a:r>
            <a:endParaRPr lang="en-US" sz="800" b="1" dirty="0">
              <a:latin typeface="Bookman Old Style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D4C4104-3733-0EBB-67E2-BFC9AD7EF35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252283" y="4280488"/>
            <a:ext cx="2819400" cy="2148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983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2235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EA7A9B-F22C-4592-819D-85A098914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272973"/>
            <a:ext cx="9011305" cy="507313"/>
          </a:xfrm>
          <a:solidFill>
            <a:srgbClr val="00A039"/>
          </a:solidFill>
        </p:spPr>
        <p:txBody>
          <a:bodyPr vert="horz" anchor="ctr"/>
          <a:lstStyle/>
          <a:p>
            <a:r>
              <a:rPr lang="en-US" dirty="0">
                <a:solidFill>
                  <a:schemeClr val="bg1"/>
                </a:solidFill>
              </a:rPr>
              <a:t>J K Lakshmi Cement &amp; Udaipur Cement Works - Product Portfolio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351AE836-FDC0-435C-91C5-5AFCBF659A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000" y="1287126"/>
            <a:ext cx="10933350" cy="4873962"/>
          </a:xfrm>
          <a:prstGeom prst="rect">
            <a:avLst/>
          </a:prstGeom>
          <a:solidFill>
            <a:schemeClr val="accent4">
              <a:alpha val="2000"/>
            </a:schemeClr>
          </a:solidFill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039624FC-7FBA-7685-90C6-784306F83F4B}"/>
              </a:ext>
            </a:extLst>
          </p:cNvPr>
          <p:cNvGrpSpPr/>
          <p:nvPr/>
        </p:nvGrpSpPr>
        <p:grpSpPr>
          <a:xfrm>
            <a:off x="2818508" y="6272403"/>
            <a:ext cx="6282466" cy="361950"/>
            <a:chOff x="0" y="0"/>
            <a:chExt cx="8354468" cy="60766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64FC774-6C88-46BF-89E4-1B2FCC6D67C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17" b="21166"/>
            <a:stretch/>
          </p:blipFill>
          <p:spPr bwMode="auto">
            <a:xfrm>
              <a:off x="0" y="122587"/>
              <a:ext cx="1291940" cy="4850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C5451EE-9BA2-5895-CD56-38215B5ACBE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544" b="10769"/>
            <a:stretch/>
          </p:blipFill>
          <p:spPr bwMode="auto">
            <a:xfrm>
              <a:off x="2209795" y="36136"/>
              <a:ext cx="1117599" cy="5667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148020E-B161-D571-F0AA-892488B753D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24" b="28554"/>
            <a:stretch/>
          </p:blipFill>
          <p:spPr bwMode="auto">
            <a:xfrm>
              <a:off x="3321045" y="132189"/>
              <a:ext cx="1167024" cy="398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2CCBB00-BAF8-00EF-9B19-49C6CCEBD41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30248" r="-5487" b="30593"/>
            <a:stretch/>
          </p:blipFill>
          <p:spPr bwMode="auto">
            <a:xfrm>
              <a:off x="7029444" y="194627"/>
              <a:ext cx="1325024" cy="350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04F1471-E5A7-324D-7D5A-4239DC254F4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873" r="-527" b="31472"/>
            <a:stretch/>
          </p:blipFill>
          <p:spPr bwMode="auto">
            <a:xfrm>
              <a:off x="4533895" y="127387"/>
              <a:ext cx="1334377" cy="413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A6B96FB-84C5-E512-3D03-EDF6A1DC49A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575" r="2853" b="27836"/>
            <a:stretch/>
          </p:blipFill>
          <p:spPr bwMode="auto">
            <a:xfrm>
              <a:off x="5841995" y="223443"/>
              <a:ext cx="1128897" cy="3361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081B833-FA77-95A1-52A1-30200F5C6B5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9045" y="0"/>
              <a:ext cx="939799" cy="6035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8691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038327-52BF-44D1-B380-E5E6EF5645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7" progId="TCLayout.ActiveDocument.1">
                  <p:embed/>
                </p:oleObj>
              </mc:Choice>
              <mc:Fallback>
                <p:oleObj name="think-cell Slide" r:id="rId5" imgW="353" imgH="35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9038327-52BF-44D1-B380-E5E6EF564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D85480FC-ACFF-4F20-9794-D07E82CEE4CC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7824788" y="5913438"/>
            <a:ext cx="4492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CC4406CB-C7F5-43AA-A629-9E4D2ADA24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197722"/>
            <a:ext cx="8401705" cy="542174"/>
          </a:xfrm>
          <a:solidFill>
            <a:srgbClr val="00A039"/>
          </a:solidFill>
        </p:spPr>
        <p:txBody>
          <a:bodyPr vert="horz" anchor="ctr"/>
          <a:lstStyle/>
          <a:p>
            <a:r>
              <a:rPr lang="en-US" dirty="0">
                <a:solidFill>
                  <a:schemeClr val="bg1"/>
                </a:solidFill>
              </a:rPr>
              <a:t>Journey So Far &amp; Expansion Plans  JKLC &amp; UCWL (Subsidiary)</a:t>
            </a: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CC670BE9-669C-9B89-D80B-FAF82819CF7C}"/>
              </a:ext>
            </a:extLst>
          </p:cNvPr>
          <p:cNvSpPr/>
          <p:nvPr/>
        </p:nvSpPr>
        <p:spPr>
          <a:xfrm>
            <a:off x="2037344" y="1151023"/>
            <a:ext cx="7896797" cy="45719"/>
          </a:xfrm>
          <a:custGeom>
            <a:avLst/>
            <a:gdLst/>
            <a:ahLst/>
            <a:cxnLst/>
            <a:rect l="l" t="t" r="r" b="b"/>
            <a:pathLst>
              <a:path w="12192000">
                <a:moveTo>
                  <a:pt x="0" y="0"/>
                </a:moveTo>
                <a:lnTo>
                  <a:pt x="12192000" y="0"/>
                </a:lnTo>
              </a:path>
            </a:pathLst>
          </a:custGeom>
          <a:ln w="9525">
            <a:solidFill>
              <a:srgbClr val="003462"/>
            </a:solidFill>
          </a:ln>
        </p:spPr>
        <p:txBody>
          <a:bodyPr wrap="square" lIns="0" tIns="0" rIns="0" bIns="0" rtlCol="0"/>
          <a:lstStyle/>
          <a:p>
            <a:pPr defTabSz="685800">
              <a:defRPr/>
            </a:pPr>
            <a:endParaRPr sz="135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object 26">
            <a:extLst>
              <a:ext uri="{FF2B5EF4-FFF2-40B4-BE49-F238E27FC236}">
                <a16:creationId xmlns:a16="http://schemas.microsoft.com/office/drawing/2014/main" id="{146C1AC6-1D72-21A3-7A90-D7168BD9EA90}"/>
              </a:ext>
            </a:extLst>
          </p:cNvPr>
          <p:cNvSpPr txBox="1">
            <a:spLocks/>
          </p:cNvSpPr>
          <p:nvPr/>
        </p:nvSpPr>
        <p:spPr>
          <a:xfrm>
            <a:off x="2821053" y="805045"/>
            <a:ext cx="6631828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/>
            <a:r>
              <a:rPr lang="en-US" sz="2000" b="1" dirty="0">
                <a:solidFill>
                  <a:srgbClr val="00A039"/>
                </a:solidFill>
                <a:latin typeface="Bookman Old Style" pitchFamily="18" charset="0"/>
                <a:ea typeface="+mn-ea"/>
                <a:cs typeface="+mn-cs"/>
              </a:rPr>
              <a:t>Timelines to reach 30 Million </a:t>
            </a:r>
            <a:r>
              <a:rPr lang="en-US" sz="2000" b="1" dirty="0" err="1">
                <a:solidFill>
                  <a:srgbClr val="00A039"/>
                </a:solidFill>
                <a:latin typeface="Bookman Old Style" pitchFamily="18" charset="0"/>
                <a:ea typeface="+mn-ea"/>
                <a:cs typeface="+mn-cs"/>
              </a:rPr>
              <a:t>Tonnes</a:t>
            </a:r>
            <a:r>
              <a:rPr lang="en-US" sz="2000" b="1" dirty="0">
                <a:solidFill>
                  <a:srgbClr val="00A039"/>
                </a:solidFill>
                <a:latin typeface="Bookman Old Style" pitchFamily="18" charset="0"/>
                <a:ea typeface="+mn-ea"/>
                <a:cs typeface="+mn-cs"/>
              </a:rPr>
              <a:t> by 2030</a:t>
            </a:r>
          </a:p>
        </p:txBody>
      </p:sp>
      <p:sp>
        <p:nvSpPr>
          <p:cNvPr id="5" name="object 26">
            <a:extLst>
              <a:ext uri="{FF2B5EF4-FFF2-40B4-BE49-F238E27FC236}">
                <a16:creationId xmlns:a16="http://schemas.microsoft.com/office/drawing/2014/main" id="{8B71C104-C9B0-63D1-8F55-8F6621CC4AAE}"/>
              </a:ext>
            </a:extLst>
          </p:cNvPr>
          <p:cNvSpPr txBox="1">
            <a:spLocks/>
          </p:cNvSpPr>
          <p:nvPr/>
        </p:nvSpPr>
        <p:spPr>
          <a:xfrm>
            <a:off x="2771512" y="1209092"/>
            <a:ext cx="6631828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/>
            <a:r>
              <a:rPr lang="en-US" sz="2000" b="1" dirty="0">
                <a:solidFill>
                  <a:schemeClr val="tx1"/>
                </a:solidFill>
                <a:latin typeface="Bookman Old Style" pitchFamily="18" charset="0"/>
                <a:ea typeface="+mn-ea"/>
                <a:cs typeface="+mn-cs"/>
              </a:rPr>
              <a:t>Capacity in Million MTPA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D47A578-EF9A-3EAC-AFB1-E2FF25EC296D}"/>
              </a:ext>
            </a:extLst>
          </p:cNvPr>
          <p:cNvGrpSpPr/>
          <p:nvPr/>
        </p:nvGrpSpPr>
        <p:grpSpPr>
          <a:xfrm>
            <a:off x="2818508" y="6272403"/>
            <a:ext cx="6282466" cy="361950"/>
            <a:chOff x="0" y="0"/>
            <a:chExt cx="8354468" cy="60766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65B404C-6D18-3E5B-89E7-3CD869A67A9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17" b="21166"/>
            <a:stretch/>
          </p:blipFill>
          <p:spPr bwMode="auto">
            <a:xfrm>
              <a:off x="0" y="122587"/>
              <a:ext cx="1291940" cy="4850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AB442E4-344C-2075-511E-56CB597033A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544" b="10769"/>
            <a:stretch/>
          </p:blipFill>
          <p:spPr bwMode="auto">
            <a:xfrm>
              <a:off x="2209795" y="36136"/>
              <a:ext cx="1117599" cy="5667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F02BEFF-0F7E-004F-66EE-6357FAA7FF3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24" b="28554"/>
            <a:stretch/>
          </p:blipFill>
          <p:spPr bwMode="auto">
            <a:xfrm>
              <a:off x="3321045" y="132189"/>
              <a:ext cx="1167024" cy="398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6130047-C2D2-F447-E3D7-BD6CA9CA524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30248" r="-5487" b="30593"/>
            <a:stretch/>
          </p:blipFill>
          <p:spPr bwMode="auto">
            <a:xfrm>
              <a:off x="7029444" y="194627"/>
              <a:ext cx="1325024" cy="350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425D522-1054-C1D4-ECD3-151133E54FC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873" r="-527" b="31472"/>
            <a:stretch/>
          </p:blipFill>
          <p:spPr bwMode="auto">
            <a:xfrm>
              <a:off x="4533895" y="127387"/>
              <a:ext cx="1334377" cy="413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E9FC517-E92F-42F9-D7E2-78B14190F3F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575" r="2853" b="27836"/>
            <a:stretch/>
          </p:blipFill>
          <p:spPr bwMode="auto">
            <a:xfrm>
              <a:off x="5841995" y="223443"/>
              <a:ext cx="1128897" cy="3361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2F6465DE-77EF-A5EE-514B-B3CD9D4943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9045" y="0"/>
              <a:ext cx="939799" cy="6035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8922D987-9C84-555E-F789-11A7644081A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61365" y="1567703"/>
            <a:ext cx="11865684" cy="4694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459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BF4000-067C-4328-A62B-2D2D4A9680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BF4000-067C-4328-A62B-2D2D4A9680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A4863998-B8C5-4DE9-9E54-7B5C8F0F05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09474" y="0"/>
            <a:ext cx="8582525" cy="6304547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DDBBD339-3B98-45E2-B5DF-5C70ACEC2C3D}"/>
              </a:ext>
            </a:extLst>
          </p:cNvPr>
          <p:cNvSpPr txBox="1">
            <a:spLocks/>
          </p:cNvSpPr>
          <p:nvPr/>
        </p:nvSpPr>
        <p:spPr bwMode="blackWhite">
          <a:xfrm>
            <a:off x="0" y="0"/>
            <a:ext cx="3609474" cy="6304547"/>
          </a:xfrm>
          <a:prstGeom prst="rect">
            <a:avLst/>
          </a:prstGeom>
          <a:solidFill>
            <a:srgbClr val="00A039"/>
          </a:solidFill>
          <a:ln w="9525">
            <a:solidFill>
              <a:srgbClr val="00A039"/>
            </a:solidFill>
          </a:ln>
        </p:spPr>
        <p:txBody>
          <a:bodyPr vert="horz" wrap="square" lIns="274320" tIns="274320" rIns="274320" bIns="137160" rtlCol="0" anchor="ctr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None/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IN"/>
              <a:t>Macro-Indicators</a:t>
            </a:r>
          </a:p>
        </p:txBody>
      </p:sp>
    </p:spTree>
    <p:extLst>
      <p:ext uri="{BB962C8B-B14F-4D97-AF65-F5344CB8AC3E}">
        <p14:creationId xmlns:p14="http://schemas.microsoft.com/office/powerpoint/2010/main" val="2377069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F0C6EA2-F5ED-43B0-BDDB-12F81232A1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F0C6EA2-F5ED-43B0-BDDB-12F81232A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2">
            <a:extLst>
              <a:ext uri="{FF2B5EF4-FFF2-40B4-BE49-F238E27FC236}">
                <a16:creationId xmlns:a16="http://schemas.microsoft.com/office/drawing/2014/main" id="{4DC922C1-1F04-4C0C-957C-C23DA5BE4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320065"/>
            <a:ext cx="5299575" cy="332399"/>
          </a:xfrm>
        </p:spPr>
        <p:txBody>
          <a:bodyPr vert="horz" wrap="square" anchor="t">
            <a:spAutoFit/>
          </a:bodyPr>
          <a:lstStyle/>
          <a:p>
            <a:r>
              <a:rPr lang="en-US" sz="2400" b="1" dirty="0"/>
              <a:t>Macro Indicators </a:t>
            </a:r>
            <a:r>
              <a:rPr lang="en-US" sz="2400" dirty="0"/>
              <a:t>- Indian Economy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1CBAF773-E43B-46F3-B2CE-050952EC21FF}"/>
              </a:ext>
            </a:extLst>
          </p:cNvPr>
          <p:cNvSpPr>
            <a:spLocks noChangeAspect="1"/>
          </p:cNvSpPr>
          <p:nvPr/>
        </p:nvSpPr>
        <p:spPr>
          <a:xfrm>
            <a:off x="414430" y="1725771"/>
            <a:ext cx="455091" cy="455091"/>
          </a:xfrm>
          <a:prstGeom prst="ellipse">
            <a:avLst/>
          </a:prstGeom>
          <a:solidFill>
            <a:srgbClr val="FFFFFF"/>
          </a:solidFill>
          <a:ln w="38100" cap="rnd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2F2F2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B61A3D66-E242-4800-B256-C35FDE938FE1}"/>
              </a:ext>
            </a:extLst>
          </p:cNvPr>
          <p:cNvSpPr>
            <a:spLocks noChangeAspect="1"/>
          </p:cNvSpPr>
          <p:nvPr/>
        </p:nvSpPr>
        <p:spPr>
          <a:xfrm>
            <a:off x="414430" y="3336852"/>
            <a:ext cx="455091" cy="455091"/>
          </a:xfrm>
          <a:prstGeom prst="ellipse">
            <a:avLst/>
          </a:prstGeom>
          <a:solidFill>
            <a:srgbClr val="FFFFFF"/>
          </a:solidFill>
          <a:ln w="38100" cap="rnd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2F2F2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3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96688180-4C2D-49DC-9B5D-D00959194CDF}"/>
              </a:ext>
            </a:extLst>
          </p:cNvPr>
          <p:cNvSpPr>
            <a:spLocks noChangeAspect="1"/>
          </p:cNvSpPr>
          <p:nvPr/>
        </p:nvSpPr>
        <p:spPr>
          <a:xfrm>
            <a:off x="414430" y="4008173"/>
            <a:ext cx="455091" cy="455091"/>
          </a:xfrm>
          <a:prstGeom prst="ellipse">
            <a:avLst/>
          </a:prstGeom>
          <a:solidFill>
            <a:srgbClr val="FFFFFF"/>
          </a:solidFill>
          <a:ln w="38100" cap="rnd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2F2F2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4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48F85613-ED3A-4F64-A28E-57043DB4E06D}"/>
              </a:ext>
            </a:extLst>
          </p:cNvPr>
          <p:cNvSpPr>
            <a:spLocks noChangeAspect="1"/>
          </p:cNvSpPr>
          <p:nvPr/>
        </p:nvSpPr>
        <p:spPr>
          <a:xfrm>
            <a:off x="420406" y="4778644"/>
            <a:ext cx="455091" cy="455091"/>
          </a:xfrm>
          <a:prstGeom prst="ellipse">
            <a:avLst/>
          </a:prstGeom>
          <a:solidFill>
            <a:srgbClr val="FFFFFF"/>
          </a:solidFill>
          <a:ln w="38100" cap="rnd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2F2F2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5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27A5559-BFCC-4648-B848-DCC47A7D691B}"/>
              </a:ext>
            </a:extLst>
          </p:cNvPr>
          <p:cNvSpPr txBox="1"/>
          <p:nvPr/>
        </p:nvSpPr>
        <p:spPr>
          <a:xfrm>
            <a:off x="1084097" y="1663551"/>
            <a:ext cx="4755721" cy="7063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spite a broader slowdown, the Indian economy is expected to continue to grow above 6% level and remain among the fastest growing economies of the world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9ED85A8-BF4A-43F7-9784-8BD4686E0EFF}"/>
              </a:ext>
            </a:extLst>
          </p:cNvPr>
          <p:cNvSpPr txBox="1"/>
          <p:nvPr/>
        </p:nvSpPr>
        <p:spPr>
          <a:xfrm>
            <a:off x="1037604" y="4769655"/>
            <a:ext cx="4755721" cy="50167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ublic debt has fallen from over 87 percent of GDP in F20/21 to around 83 percent in FY23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6AB6589-A127-46A4-8154-DEEBB1DCEB79}"/>
              </a:ext>
            </a:extLst>
          </p:cNvPr>
          <p:cNvSpPr txBox="1"/>
          <p:nvPr/>
        </p:nvSpPr>
        <p:spPr>
          <a:xfrm>
            <a:off x="1079616" y="3415123"/>
            <a:ext cx="4755721" cy="50167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bust growth in the infrastructure segment and revival of real estate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8EAA7C3-45D5-49F7-A679-AAC6654EDD6F}"/>
              </a:ext>
            </a:extLst>
          </p:cNvPr>
          <p:cNvSpPr txBox="1"/>
          <p:nvPr/>
        </p:nvSpPr>
        <p:spPr>
          <a:xfrm>
            <a:off x="1083381" y="2594102"/>
            <a:ext cx="4755721" cy="50167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66675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overnment’s increasing capital spending, particularly on infrastructure, to boost growth and competitiveness.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28039546-3495-421F-A32B-EA28643D4E85}"/>
              </a:ext>
            </a:extLst>
          </p:cNvPr>
          <p:cNvGrpSpPr/>
          <p:nvPr/>
        </p:nvGrpSpPr>
        <p:grpSpPr>
          <a:xfrm>
            <a:off x="353312" y="717805"/>
            <a:ext cx="5628285" cy="523220"/>
            <a:chOff x="396344" y="1144896"/>
            <a:chExt cx="5628285" cy="523220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4FC951E3-D25D-4F41-85FF-C8FE5E6A7CAF}"/>
                </a:ext>
              </a:extLst>
            </p:cNvPr>
            <p:cNvCxnSpPr>
              <a:cxnSpLocks/>
            </p:cNvCxnSpPr>
            <p:nvPr/>
          </p:nvCxnSpPr>
          <p:spPr>
            <a:xfrm>
              <a:off x="630000" y="1528426"/>
              <a:ext cx="4974206" cy="0"/>
            </a:xfrm>
            <a:prstGeom prst="line">
              <a:avLst/>
            </a:prstGeom>
            <a:ln w="9525" cap="rnd">
              <a:solidFill>
                <a:schemeClr val="bg1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3BE516C0-09E8-47C4-9A81-57778BEE74DE}"/>
                </a:ext>
              </a:extLst>
            </p:cNvPr>
            <p:cNvSpPr txBox="1"/>
            <p:nvPr/>
          </p:nvSpPr>
          <p:spPr>
            <a:xfrm>
              <a:off x="396344" y="1144896"/>
              <a:ext cx="5628285" cy="523220"/>
            </a:xfrm>
            <a:prstGeom prst="rect">
              <a:avLst/>
            </a:prstGeom>
            <a:solidFill>
              <a:srgbClr val="014F94"/>
            </a:solidFill>
            <a:ln w="9525" cap="rnd" cmpd="sng" algn="ctr">
              <a:noFill/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Trebuchet MS"/>
                  <a:ea typeface="+mn-ea"/>
                  <a:cs typeface="Arial" pitchFamily="34" charset="0"/>
                  <a:sym typeface="Trebuchet MS" panose="020B0603020202020204" pitchFamily="34" charset="0"/>
                </a:rPr>
                <a:t>Indian Economy – Not with standing global headwinds, among</a:t>
              </a:r>
              <a:b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Trebuchet MS"/>
                  <a:ea typeface="+mn-ea"/>
                  <a:cs typeface="Arial" pitchFamily="34" charset="0"/>
                  <a:sym typeface="Trebuchet MS" panose="020B0603020202020204" pitchFamily="34" charset="0"/>
                </a:rPr>
              </a:br>
              <a: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2F2F2"/>
                  </a:solidFill>
                  <a:effectLst/>
                  <a:uLnTx/>
                  <a:uFillTx/>
                  <a:latin typeface="Trebuchet MS"/>
                  <a:ea typeface="+mn-ea"/>
                  <a:cs typeface="Arial" pitchFamily="34" charset="0"/>
                  <a:sym typeface="Trebuchet MS" panose="020B0603020202020204" pitchFamily="34" charset="0"/>
                </a:rPr>
                <a:t>The fastest growing economy in the world</a:t>
              </a:r>
              <a:endParaRPr kumimoji="0" lang="en-IN" sz="1400" b="0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20" name="Textfeld 1">
            <a:extLst>
              <a:ext uri="{FF2B5EF4-FFF2-40B4-BE49-F238E27FC236}">
                <a16:creationId xmlns:a16="http://schemas.microsoft.com/office/drawing/2014/main" id="{CD2D1D18-965A-4952-9BB5-4713D7913EB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9905958" y="68771"/>
            <a:ext cx="1520796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GDP %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tag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B7C2A2D-036D-28D7-568C-CDF59EE710B1}"/>
              </a:ext>
            </a:extLst>
          </p:cNvPr>
          <p:cNvSpPr>
            <a:spLocks noChangeAspect="1"/>
          </p:cNvSpPr>
          <p:nvPr/>
        </p:nvSpPr>
        <p:spPr>
          <a:xfrm>
            <a:off x="420312" y="2591511"/>
            <a:ext cx="455091" cy="455091"/>
          </a:xfrm>
          <a:prstGeom prst="ellipse">
            <a:avLst/>
          </a:prstGeom>
          <a:solidFill>
            <a:srgbClr val="FFFFFF"/>
          </a:solidFill>
          <a:ln w="38100" cap="rnd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2F2F2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2BAB27-8239-7CAF-9736-CAC6E6F3F9DC}"/>
              </a:ext>
            </a:extLst>
          </p:cNvPr>
          <p:cNvSpPr txBox="1"/>
          <p:nvPr/>
        </p:nvSpPr>
        <p:spPr>
          <a:xfrm>
            <a:off x="1037606" y="3983277"/>
            <a:ext cx="4755721" cy="73866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scal deficit falling from 9.2 percent in FY21 to 5.6 percent in FY24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</a:p>
        </p:txBody>
      </p:sp>
      <p:sp>
        <p:nvSpPr>
          <p:cNvPr id="8" name="ee4pFootnotes">
            <a:extLst>
              <a:ext uri="{FF2B5EF4-FFF2-40B4-BE49-F238E27FC236}">
                <a16:creationId xmlns:a16="http://schemas.microsoft.com/office/drawing/2014/main" id="{9C866457-7D5A-0890-184E-29710C0AB6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12758" y="6546261"/>
            <a:ext cx="4211871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: IMF, World Economic Outlook 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pdat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September 202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45AF387-3B5B-90EA-579D-82CAA2B3C107}"/>
              </a:ext>
            </a:extLst>
          </p:cNvPr>
          <p:cNvSpPr txBox="1"/>
          <p:nvPr/>
        </p:nvSpPr>
        <p:spPr>
          <a:xfrm>
            <a:off x="6504939" y="3713915"/>
            <a:ext cx="5426451" cy="198345"/>
          </a:xfrm>
          <a:prstGeom prst="rect">
            <a:avLst/>
          </a:prstGeom>
          <a:noFill/>
          <a:ln w="12700" cap="rnd">
            <a:solidFill>
              <a:schemeClr val="accent2">
                <a:lumMod val="60000"/>
                <a:lumOff val="40000"/>
              </a:schemeClr>
            </a:solidFill>
            <a:prstDash val="solid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graphicFrame>
        <p:nvGraphicFramePr>
          <p:cNvPr id="4" name="table_type_name">
            <a:extLst>
              <a:ext uri="{FF2B5EF4-FFF2-40B4-BE49-F238E27FC236}">
                <a16:creationId xmlns:a16="http://schemas.microsoft.com/office/drawing/2014/main" id="{BB398279-6FC4-365C-42B3-FA79354314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5498879"/>
              </p:ext>
            </p:extLst>
          </p:nvPr>
        </p:nvGraphicFramePr>
        <p:xfrm>
          <a:off x="6680988" y="264110"/>
          <a:ext cx="5172911" cy="6236208"/>
        </p:xfrm>
        <a:graphic>
          <a:graphicData uri="http://schemas.openxmlformats.org/drawingml/2006/table">
            <a:tbl>
              <a:tblPr/>
              <a:tblGrid>
                <a:gridCol w="29604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74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74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374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  <a:sym typeface="Trebuchet MS" panose="020B0603020202020204" pitchFamily="34" charset="0"/>
                      </a:endParaRPr>
                    </a:p>
                  </a:txBody>
                  <a:tcPr marL="9144" marR="9144" marT="9144" marB="9144"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Trebuchet MS" panose="020B0603020202020204" pitchFamily="34" charset="0"/>
                      </a:endParaRPr>
                    </a:p>
                  </a:txBody>
                  <a:tcPr marL="9144" marR="9144" marT="9144" marB="9144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Trebuchet MS" panose="020B0603020202020204" pitchFamily="34" charset="0"/>
                      </a:endParaRPr>
                    </a:p>
                  </a:txBody>
                  <a:tcPr marL="9144" marR="9144" marT="9144" marB="9144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Trebuchet MS" panose="020B0603020202020204" pitchFamily="34" charset="0"/>
                      </a:endParaRPr>
                    </a:p>
                  </a:txBody>
                  <a:tcPr marL="18288" marR="18288" marT="18288" marB="18288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15197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(Real GDP, annual percent change)  CY</a:t>
                      </a:r>
                    </a:p>
                  </a:txBody>
                  <a:tcPr marL="9144" marR="9144" marT="9144" marB="9144" anchor="b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15197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023</a:t>
                      </a:r>
                    </a:p>
                  </a:txBody>
                  <a:tcPr marL="0" marR="237565" marT="9144" marB="9144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15197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024</a:t>
                      </a:r>
                    </a:p>
                  </a:txBody>
                  <a:tcPr marL="0" marR="237565" marT="9144" marB="9144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15197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025</a:t>
                      </a:r>
                    </a:p>
                  </a:txBody>
                  <a:tcPr marL="0" marR="237565" marT="9144" marB="9144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World Output</a:t>
                      </a:r>
                      <a:endParaRPr kumimoji="0" lang="en-US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  <a:sym typeface="Trebuchet MS" panose="020B0603020202020204" pitchFamily="34" charset="0"/>
                      </a:endParaRP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C4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3.2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C4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3.2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C4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3.2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C4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Advanced Economies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E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6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E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7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E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8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E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2340091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United States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5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7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9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8596351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Euro Area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0.4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0.8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5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5477817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129600" marR="0" lvl="1" indent="-8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15197"/>
                        </a:buClr>
                        <a:buSzPct val="100000"/>
                        <a:buFont typeface="Trebuchet MS" panose="020B0603020202020204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Germany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-0.3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0.2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3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748412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129600" marR="0" lvl="1" indent="-8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15197"/>
                        </a:buClr>
                        <a:buSzPct val="100000"/>
                        <a:buFont typeface="Trebuchet MS" panose="020B0603020202020204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France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0.9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0.7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4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519194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129600" marR="0" lvl="1" indent="-8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15197"/>
                        </a:buClr>
                        <a:buSzPct val="100000"/>
                        <a:buFont typeface="Trebuchet MS" panose="020B0603020202020204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Italy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0.9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0.7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0.7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245439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129600" marR="0" lvl="1" indent="-8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15197"/>
                        </a:buClr>
                        <a:buSzPct val="100000"/>
                        <a:buFont typeface="Trebuchet MS" panose="020B0603020202020204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Spain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5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9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1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8988201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Japan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9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0.9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0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3724793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United Kingdom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0.1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0.5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5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1538860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Canada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1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2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3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7717804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Other Advanced Economies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8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0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4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8999468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Emerging Market and Developing Economies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E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4.3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E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4.2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E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sz="105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Trebuchet MS" panose="020B0603020202020204" pitchFamily="34" charset="0"/>
                      </a:endParaRP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1E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583236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Emerging and Developing Asia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5.6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5.2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4.9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1488907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129600" marR="0" lvl="1" indent="-8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15197"/>
                        </a:buClr>
                        <a:buSzPct val="100000"/>
                        <a:buFont typeface="Trebuchet MS" panose="020B0603020202020204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China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5.2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4.6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4.1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0556079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129600" marR="0" lvl="1" indent="-8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15197"/>
                        </a:buClr>
                        <a:buSzPct val="100000"/>
                        <a:buFont typeface="Trebuchet MS" panose="020B0603020202020204" pitchFamily="34" charset="0"/>
                        <a:buChar char="•"/>
                        <a:tabLst/>
                      </a:pPr>
                      <a:r>
                        <a:rPr kumimoji="0" 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India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7.8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6.8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6.5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3968026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Emerging and Developing Europe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3.2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3.1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8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2346764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129600" marR="0" lvl="1" indent="-8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15197"/>
                        </a:buClr>
                        <a:buSzPct val="100000"/>
                        <a:buFont typeface="Trebuchet MS" panose="020B0603020202020204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Russia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3.6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3.2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8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1250411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Latin America and the Caribbean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3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0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5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8334788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129600" marR="0" lvl="1" indent="-8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15197"/>
                        </a:buClr>
                        <a:buSzPct val="100000"/>
                        <a:buFont typeface="Trebuchet MS" panose="020B0603020202020204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Brazil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9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2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1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5919429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129600" marR="0" lvl="1" indent="-8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15197"/>
                        </a:buClr>
                        <a:buSzPct val="100000"/>
                        <a:buFont typeface="Trebuchet MS" panose="020B0603020202020204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Mexico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3.2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4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4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4885118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Middle East and Central Asia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0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8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4.2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5160280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129600" marR="0" lvl="1" indent="-8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15197"/>
                        </a:buClr>
                        <a:buSzPct val="100000"/>
                        <a:buFont typeface="Trebuchet MS" panose="020B0603020202020204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Saudi Arabia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-0.8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6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6.0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32340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Sub-Saharan Africa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3.4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3.8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4.0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3517235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129600" marR="0" lvl="1" indent="-8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15197"/>
                        </a:buClr>
                        <a:buSzPct val="100000"/>
                        <a:buFont typeface="Trebuchet MS" panose="020B0603020202020204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Nigeria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2.9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3.3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3.0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3200329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129600" marR="0" lvl="1" indent="-864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15197"/>
                        </a:buClr>
                        <a:buSzPct val="100000"/>
                        <a:buFont typeface="Trebuchet MS" panose="020B0603020202020204" pitchFamily="34" charset="0"/>
                        <a:buChar char="•"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South Africa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0.6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0.9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1.2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5711783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  <a:sym typeface="Trebuchet MS" panose="020B0603020202020204" pitchFamily="34" charset="0"/>
                      </a:endParaRP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sz="105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Trebuchet MS" panose="020B0603020202020204" pitchFamily="34" charset="0"/>
                      </a:endParaRPr>
                    </a:p>
                  </a:txBody>
                  <a:tcPr marL="9144" marR="9144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5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Trebuchet MS" panose="020B0603020202020204" pitchFamily="34" charset="0"/>
                      </a:endParaRPr>
                    </a:p>
                  </a:txBody>
                  <a:tcPr marL="9144" marR="9144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endParaRPr kumimoji="0" lang="en-US" sz="105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  <a:sym typeface="Trebuchet MS" panose="020B0603020202020204" pitchFamily="34" charset="0"/>
                      </a:endParaRPr>
                    </a:p>
                  </a:txBody>
                  <a:tcPr marL="9144" marR="9144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8116516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Emerging Market and Middle-income Economies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4.4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4.1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4.1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2558873"/>
                  </a:ext>
                </a:extLst>
              </a:tr>
              <a:tr h="17883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  <a:sym typeface="Trebuchet MS" panose="020B0603020202020204" pitchFamily="34" charset="0"/>
                        </a:rPr>
                        <a:t>Low Income Developing Countries</a:t>
                      </a:r>
                    </a:p>
                  </a:txBody>
                  <a:tcPr marL="9144" marR="9144" marT="9144" marB="9144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4.0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4.7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  <a:sym typeface="Trebuchet MS" panose="020B0603020202020204" pitchFamily="34" charset="0"/>
                        </a:rPr>
                        <a:t>5.2</a:t>
                      </a:r>
                    </a:p>
                  </a:txBody>
                  <a:tcPr marL="0" marR="237565" marT="9144" marB="9144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9A9A9A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85086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9E87C518-FCED-28C9-B1B6-BD0F66E5D110}"/>
              </a:ext>
            </a:extLst>
          </p:cNvPr>
          <p:cNvSpPr txBox="1"/>
          <p:nvPr/>
        </p:nvSpPr>
        <p:spPr>
          <a:xfrm>
            <a:off x="10363450" y="504176"/>
            <a:ext cx="1371709" cy="17139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1519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t.</a:t>
            </a:r>
            <a:endParaRPr kumimoji="0" lang="en-IN" sz="1200" b="1" i="0" u="none" strike="noStrike" kern="1200" cap="none" spc="0" normalizeH="0" baseline="0" noProof="0" dirty="0">
              <a:ln>
                <a:noFill/>
              </a:ln>
              <a:solidFill>
                <a:srgbClr val="01519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C88DB73C-0E3E-9E6D-81D5-45AF01FCBEAD}"/>
              </a:ext>
            </a:extLst>
          </p:cNvPr>
          <p:cNvSpPr>
            <a:spLocks noChangeAspect="1"/>
          </p:cNvSpPr>
          <p:nvPr/>
        </p:nvSpPr>
        <p:spPr>
          <a:xfrm>
            <a:off x="396344" y="5476473"/>
            <a:ext cx="455091" cy="455091"/>
          </a:xfrm>
          <a:prstGeom prst="ellipse">
            <a:avLst/>
          </a:prstGeom>
          <a:solidFill>
            <a:srgbClr val="FFFFFF"/>
          </a:solidFill>
          <a:ln w="38100" cap="rnd">
            <a:gradFill flip="none" rotWithShape="1"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2F2F2">
                    <a:lumMod val="50000"/>
                  </a:srgbClr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6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4086B86-DED9-244B-7B72-016A9ECC51ED}"/>
              </a:ext>
            </a:extLst>
          </p:cNvPr>
          <p:cNvSpPr txBox="1"/>
          <p:nvPr/>
        </p:nvSpPr>
        <p:spPr>
          <a:xfrm>
            <a:off x="997500" y="5467484"/>
            <a:ext cx="4755721" cy="70634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/>
              <a:t>The persisting headwinds – rising borrowing costs, tightening financial conditions and ongoing inflationary pressures – are expected to weigh on India’s growth</a:t>
            </a:r>
            <a:endParaRPr kumimoji="0" lang="en-IN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8654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BF4000-067C-4328-A62B-2D2D4A9680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BF4000-067C-4328-A62B-2D2D4A9680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0"/>
            <a:ext cx="2999874" cy="6320589"/>
          </a:xfrm>
          <a:solidFill>
            <a:srgbClr val="00A039"/>
          </a:solidFill>
          <a:ln>
            <a:solidFill>
              <a:srgbClr val="00A039"/>
            </a:solidFill>
          </a:ln>
        </p:spPr>
        <p:txBody>
          <a:bodyPr vert="horz" anchor="ctr"/>
          <a:lstStyle/>
          <a:p>
            <a:r>
              <a:rPr lang="en-US" dirty="0"/>
              <a:t>Indian Cement Sector</a:t>
            </a:r>
          </a:p>
        </p:txBody>
      </p:sp>
      <p:pic>
        <p:nvPicPr>
          <p:cNvPr id="5" name="Picture 4" descr="A picture containing text, sky, factory, outdoor&#10;&#10;Description automatically generated">
            <a:extLst>
              <a:ext uri="{FF2B5EF4-FFF2-40B4-BE49-F238E27FC236}">
                <a16:creationId xmlns:a16="http://schemas.microsoft.com/office/drawing/2014/main" id="{B7527FDA-B886-425A-8618-668B8CB2A1B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99874" y="0"/>
            <a:ext cx="9256294" cy="6320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322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648A7C-1031-4D96-ACC0-7F02D7E115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53" imgH="357" progId="TCLayout.ActiveDocument.1">
                  <p:embed/>
                </p:oleObj>
              </mc:Choice>
              <mc:Fallback>
                <p:oleObj name="think-cell Slide" r:id="rId2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648A7C-1031-4D96-ACC0-7F02D7E115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7A08F56-AAEF-46AB-AE42-E405B4B4D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289016"/>
            <a:ext cx="7002701" cy="483250"/>
          </a:xfrm>
          <a:solidFill>
            <a:srgbClr val="00A039"/>
          </a:solidFill>
        </p:spPr>
        <p:txBody>
          <a:bodyPr vert="horz" anchor="ctr"/>
          <a:lstStyle/>
          <a:p>
            <a:r>
              <a:rPr lang="en-US" dirty="0">
                <a:solidFill>
                  <a:schemeClr val="bg1"/>
                </a:solidFill>
              </a:rPr>
              <a:t>Indian Cement Industry- Under penetrated market </a:t>
            </a:r>
          </a:p>
        </p:txBody>
      </p:sp>
      <p:sp>
        <p:nvSpPr>
          <p:cNvPr id="6" name="ee4pFootnotes">
            <a:extLst>
              <a:ext uri="{FF2B5EF4-FFF2-40B4-BE49-F238E27FC236}">
                <a16:creationId xmlns:a16="http://schemas.microsoft.com/office/drawing/2014/main" id="{82FF6DF6-3F5C-4A9A-A41D-2F1926A447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047988"/>
            <a:ext cx="903091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Data Source – Research reports</a:t>
            </a: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4D2B9992-BA97-4E90-880B-B7F8ED7F7FC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133475" y="1624013"/>
          <a:ext cx="9293225" cy="3844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F5620A11-FB67-45A0-A952-0AB6ECA395B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876300" y="4362450"/>
            <a:ext cx="23812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73BA905-E48E-4C80-AF28-0A263445DF14}" type="datetime'''''''''''''''''''''''''500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50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0A03C27-19C5-48EC-B837-4C0B90CBAE4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35050" y="5281613"/>
            <a:ext cx="79375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FDD2E253-AED5-40EC-A624-975CB9E55AA0}" type="datetime'''''''''''''0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1F7CA9B1-FD95-4801-A6A4-81AC860588B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41363" y="3441700"/>
            <a:ext cx="3730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6EDADA9F-E442-4E98-9AF0-B6D4A98C74B6}" type="datetime'''''''''''1'''''''''''''',''''''''''0''0''''''''''''''''0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1,00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E40ADD89-7219-42D2-987E-237B5D060FE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41363" y="2522538"/>
            <a:ext cx="3730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35B119BA-7819-4CCC-B79C-A155F52A1374}" type="datetime'''''''''''''''1'',''5''''''''''''''''''''0''0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1,50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43EBBA86-FC18-4076-B2A6-2DA4454E40D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41363" y="1601788"/>
            <a:ext cx="373063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5DC86C6-5FBA-45A9-8CAE-1F6FA5C3C4B2}" type="datetime'''''''''''''''''''''''''''''''''2'',''''0''0''''''''''''''0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2,00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0" name="Arrow: Right 69">
            <a:extLst>
              <a:ext uri="{FF2B5EF4-FFF2-40B4-BE49-F238E27FC236}">
                <a16:creationId xmlns:a16="http://schemas.microsoft.com/office/drawing/2014/main" id="{BABF0DBD-DFCE-406E-AC2F-C05C290686D7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 rot="10800000">
            <a:off x="10394950" y="3894138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rgbClr val="80808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FAE07104-B730-4080-BD0A-A216D683D00D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1216025" y="3970338"/>
            <a:ext cx="9128125" cy="0"/>
          </a:xfrm>
          <a:prstGeom prst="line">
            <a:avLst/>
          </a:prstGeom>
          <a:ln w="31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602F281-762A-4956-8175-865284D96BC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108200" y="5437188"/>
            <a:ext cx="703263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059D453-E202-414F-9785-F4C2EB544A21}" type="datetime'10''''00''''-''110''''''0''&#10;''(Ko''''''''r''''e''''a)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1000-1100
(Korea)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C9AF478-58E4-4201-A195-8110486B17A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947988" y="5437188"/>
            <a:ext cx="684213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0ADDECD3-F04B-4A4E-A4A1-58E7FE933BDF}" type="datetime'85''0-''''''9''''0''''''0''''''&#10;''(''''''''''''Viet''n''am)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850-900
(Vietnam)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9737602-3C7A-49E1-A441-C12D5B6A8DD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279525" y="5437188"/>
            <a:ext cx="703263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E60A8626-C509-438C-B819-43195F8E193D}" type="datetime'16''''50''''''''-1''7''00''''''&#10;(C''''''h''i''''''''na)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1650-1700
(China)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827F834-3562-4378-B830-6E8F5D1E8F6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848100" y="5437188"/>
            <a:ext cx="544513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994BA64-371E-47B5-A20B-A3A1CF6E40BA}" type="datetime'''72''''0''-''7''''''''70''&#10;''''''(''E''''gyp''''''''t'''')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720-770
(Egypt)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18CFA0F-2B0E-469C-9540-4D058AA2ED6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665663" y="5437188"/>
            <a:ext cx="56832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EB69865D-3EE7-4E06-A125-9F69FB2FC27D}" type="datetime'4''60''''''''''-5''10&#10;(''''''''''Tur''''k''''e''''''y'''')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460-510
(Turkey)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D16FBD9-4801-4B18-A821-15D8C5323BD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337300" y="5437188"/>
            <a:ext cx="544513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74E22A49-8E79-4CE7-AC0E-94C80F07DD34}" type="datetime'''3''6''''0-410''''&#10;(''''''Ru''''''''s''si''a'''''''''''')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360-410
(Russia)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3DEC51F-E2F2-4D84-8E6C-AFA8DDABA05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507038" y="5437188"/>
            <a:ext cx="544513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B71FD347-C9AA-4659-AE70-A9A9EBF4D53A}" type="datetime'''3''''8''''''''''''''''''0-4''3''''0&#10;''''(''Jap''''an)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380-430
(Japan)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962F5CD-9CD2-4C9B-8CF9-AC0ECD6BB1A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167563" y="5437188"/>
            <a:ext cx="544513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79C4FF58-73AC-4A11-8FBE-78FA17DBBF6F}" type="datetime'''3''''''0''0-''''''3''2''0''''''''&#10;(US''''A)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300-320
(USA)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D7A0516-1417-4A0E-9B32-DC3C8034EA2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886700" y="5437188"/>
            <a:ext cx="765175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095021B8-1514-45E9-AC45-A2F6AC97E990}" type="datetime'2''8''''''0-3''''0''''0&#10;(''I''ndo''''n''e''si''a'''''''')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280-300
(Indonesia)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9" name="Text Placeholder 3">
            <a:extLst>
              <a:ext uri="{FF2B5EF4-FFF2-40B4-BE49-F238E27FC236}">
                <a16:creationId xmlns:a16="http://schemas.microsoft.com/office/drawing/2014/main" id="{189A8FE1-BA34-4D0C-8347-C6E0DBF3B12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0574338" y="3768725"/>
            <a:ext cx="973138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World average</a:t>
            </a:r>
            <a:b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</a:b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500-550 kg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4E21258-F8DD-4841-BB06-5C02DE18D6A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826500" y="5437188"/>
            <a:ext cx="544513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F8A4F5D-5140-485A-AFC8-8DDEFE32D644}" type="datetime'''''''''280''''''''-300&#10;''(B''ra''''''''''''z''''''''il'')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280-300
(Brazil)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790DEF9-0381-4486-9D89-28676E1E05E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9656763" y="5437188"/>
            <a:ext cx="544513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8B70657A-FDD3-4E4F-B72D-4FD8FBD335A1}" type="datetime'25''''''0''-27''''0''''''&#10;(I''''''nd''i''''a'''')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250-270
(India)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AD300A6-CC95-4F16-8BC4-31CFEE66B6AE}"/>
              </a:ext>
            </a:extLst>
          </p:cNvPr>
          <p:cNvSpPr txBox="1"/>
          <p:nvPr/>
        </p:nvSpPr>
        <p:spPr>
          <a:xfrm>
            <a:off x="3660775" y="1706563"/>
            <a:ext cx="4240213" cy="27781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1519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er-capita cement consumption (kg)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B10D51C-C752-13BD-D4BD-B7347C805017}"/>
              </a:ext>
            </a:extLst>
          </p:cNvPr>
          <p:cNvGrpSpPr/>
          <p:nvPr/>
        </p:nvGrpSpPr>
        <p:grpSpPr>
          <a:xfrm>
            <a:off x="2818508" y="6272403"/>
            <a:ext cx="6282466" cy="361950"/>
            <a:chOff x="0" y="0"/>
            <a:chExt cx="8354468" cy="60766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FF03243-3E16-F8C9-953C-42C23670EF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17" b="21166"/>
            <a:stretch/>
          </p:blipFill>
          <p:spPr bwMode="auto">
            <a:xfrm>
              <a:off x="0" y="122587"/>
              <a:ext cx="1291940" cy="4850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4848EFD-3BE1-D12D-92A0-E09995AA39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544" b="10769"/>
            <a:stretch/>
          </p:blipFill>
          <p:spPr bwMode="auto">
            <a:xfrm>
              <a:off x="2209795" y="36136"/>
              <a:ext cx="1117599" cy="5667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4EFC7FC-6EAB-C420-2D25-7376B693DC2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24" b="28554"/>
            <a:stretch/>
          </p:blipFill>
          <p:spPr bwMode="auto">
            <a:xfrm>
              <a:off x="3321045" y="132189"/>
              <a:ext cx="1167024" cy="398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2A093CF-7A80-DC7A-C793-F79ECFCE236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30248" r="-5487" b="30593"/>
            <a:stretch/>
          </p:blipFill>
          <p:spPr bwMode="auto">
            <a:xfrm>
              <a:off x="7029444" y="194627"/>
              <a:ext cx="1325024" cy="350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4053ED8-43EC-6CD8-65CD-26E4E008DB3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873" r="-527" b="31472"/>
            <a:stretch/>
          </p:blipFill>
          <p:spPr bwMode="auto">
            <a:xfrm>
              <a:off x="4533895" y="127387"/>
              <a:ext cx="1334377" cy="413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DD30017-4FC8-F9EC-62BF-CC7606B27E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575" r="2853" b="27836"/>
            <a:stretch/>
          </p:blipFill>
          <p:spPr bwMode="auto">
            <a:xfrm>
              <a:off x="5841995" y="223443"/>
              <a:ext cx="1128897" cy="3361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46E2D41-4A85-3BF7-AAE2-0FC22A68C8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9045" y="0"/>
              <a:ext cx="939799" cy="6035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504572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A0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89908B3-56D0-4732-A3D7-9BC4D621A2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7" progId="TCLayout.ActiveDocument.1">
                  <p:embed/>
                </p:oleObj>
              </mc:Choice>
              <mc:Fallback>
                <p:oleObj name="think-cell Slide" r:id="rId4" imgW="353" imgH="357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89908B3-56D0-4732-A3D7-9BC4D621A2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8715C09E-6FB8-4556-BF92-7A4BDC6BD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456" y="331768"/>
            <a:ext cx="3596425" cy="5402281"/>
          </a:xfrm>
        </p:spPr>
        <p:txBody>
          <a:bodyPr vert="horz"/>
          <a:lstStyle/>
          <a:p>
            <a:r>
              <a:rPr lang="en-US" sz="3200" dirty="0"/>
              <a:t>Infra and Housing to spur demand in  FY2024-2030 followed by Industrial &amp; Commercial Segments</a:t>
            </a:r>
          </a:p>
        </p:txBody>
      </p:sp>
      <p:sp>
        <p:nvSpPr>
          <p:cNvPr id="336" name="ee4pFootnotes">
            <a:extLst>
              <a:ext uri="{FF2B5EF4-FFF2-40B4-BE49-F238E27FC236}">
                <a16:creationId xmlns:a16="http://schemas.microsoft.com/office/drawing/2014/main" id="{B2D080E0-8CD4-4FD3-A089-91999FE130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421441"/>
            <a:ext cx="3127881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Based on analyst reports, industry estimate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942F6B37-95E1-A915-0B3B-D0964994D5B8}"/>
              </a:ext>
            </a:extLst>
          </p:cNvPr>
          <p:cNvSpPr/>
          <p:nvPr/>
        </p:nvSpPr>
        <p:spPr>
          <a:xfrm>
            <a:off x="4191827" y="435818"/>
            <a:ext cx="2897461" cy="1973648"/>
          </a:xfrm>
          <a:prstGeom prst="roundRect">
            <a:avLst/>
          </a:prstGeom>
          <a:noFill/>
          <a:ln w="28575" cap="rnd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15197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mercial and Industrial demand likely to pick-up amid capex push by large players, PLI </a:t>
            </a:r>
            <a:r>
              <a:rPr lang="en-US" dirty="0">
                <a:solidFill>
                  <a:srgbClr val="000000"/>
                </a:solidFill>
                <a:latin typeface="Calibri"/>
              </a:rPr>
              <a:t>scheme, overall economic recovery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ected to grow ~ 6%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288DC3C2-2E3F-2465-7BBD-065A96632DAF}"/>
              </a:ext>
            </a:extLst>
          </p:cNvPr>
          <p:cNvSpPr/>
          <p:nvPr/>
        </p:nvSpPr>
        <p:spPr>
          <a:xfrm>
            <a:off x="4159744" y="4774202"/>
            <a:ext cx="2639089" cy="1572674"/>
          </a:xfrm>
          <a:prstGeom prst="roundRect">
            <a:avLst/>
          </a:prstGeom>
          <a:noFill/>
          <a:ln w="28575" cap="rnd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15197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 focus on bullet trains, expressways, rail networks and metro projects. Expected to grow ~ 8%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C268FE35-BE2E-15C9-A824-6FA2057874DB}"/>
              </a:ext>
            </a:extLst>
          </p:cNvPr>
          <p:cNvSpPr/>
          <p:nvPr/>
        </p:nvSpPr>
        <p:spPr>
          <a:xfrm>
            <a:off x="9047178" y="677731"/>
            <a:ext cx="3056837" cy="1710219"/>
          </a:xfrm>
          <a:prstGeom prst="roundRect">
            <a:avLst/>
          </a:prstGeom>
          <a:noFill/>
          <a:ln w="28575" cap="rnd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15197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uclear families : Key driver to urban housing requirement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Calibri"/>
              </a:rPr>
              <a:t>Focus on urban low-cost housing in coming years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xpected to grow ~ 7%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EC85BC4-3760-7A8E-36A6-AE1615082796}"/>
              </a:ext>
            </a:extLst>
          </p:cNvPr>
          <p:cNvSpPr/>
          <p:nvPr/>
        </p:nvSpPr>
        <p:spPr>
          <a:xfrm>
            <a:off x="9230060" y="4733103"/>
            <a:ext cx="2884103" cy="1710219"/>
          </a:xfrm>
          <a:prstGeom prst="roundRect">
            <a:avLst/>
          </a:prstGeom>
          <a:noFill/>
          <a:ln w="28575" cap="rnd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15197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ural low-cost housing nears completion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Calibri"/>
              </a:rPr>
              <a:t>Likely to grow at a marginally slower rate in the medium term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owth projections at ~5%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098F81F7-5A6F-CDDF-8D1E-A2D2F00E3C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0135414"/>
              </p:ext>
            </p:extLst>
          </p:nvPr>
        </p:nvGraphicFramePr>
        <p:xfrm>
          <a:off x="4560794" y="1572125"/>
          <a:ext cx="7089009" cy="4181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1610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4F2479F-542A-4347-BD71-1E661D833F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4F2479F-542A-4347-BD71-1E661D833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1AF4C0-6786-490B-B07E-5E33B9677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656" y="173624"/>
            <a:ext cx="8497956" cy="387798"/>
          </a:xfrm>
          <a:solidFill>
            <a:srgbClr val="00A039"/>
          </a:solidFill>
        </p:spPr>
        <p:txBody>
          <a:bodyPr vert="horz"/>
          <a:lstStyle/>
          <a:p>
            <a:r>
              <a:rPr lang="en-US" sz="2800" dirty="0">
                <a:solidFill>
                  <a:schemeClr val="bg1"/>
                </a:solidFill>
              </a:rPr>
              <a:t>Cost Trend of Imported Coal, Crude Oil and Pet Coke</a:t>
            </a:r>
          </a:p>
        </p:txBody>
      </p:sp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A7C51D4B-9B2D-4F8D-82FA-42C3AA9F59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28" imgH="328" progId="TCLayout.ActiveDocument.1">
                  <p:embed/>
                </p:oleObj>
              </mc:Choice>
              <mc:Fallback>
                <p:oleObj name="think-cell Slide" r:id="rId7" imgW="328" imgH="328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A7C51D4B-9B2D-4F8D-82FA-42C3AA9F5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CB71164C-F747-CFAF-8671-0096CB9685A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655" y="677732"/>
            <a:ext cx="11921151" cy="566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917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21241" y="2632917"/>
            <a:ext cx="5237748" cy="757130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4800" u="sng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ookman Old Style" panose="02050604050505020204" pitchFamily="18" charset="0"/>
              </a:rPr>
              <a:t>JK Organisation</a:t>
            </a:r>
            <a:endParaRPr lang="en-IN" sz="4800" u="sng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98125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4F2479F-542A-4347-BD71-1E661D833F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4F2479F-542A-4347-BD71-1E661D833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1AF4C0-6786-490B-B07E-5E33B9677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034" y="173624"/>
            <a:ext cx="8449829" cy="387798"/>
          </a:xfrm>
          <a:solidFill>
            <a:srgbClr val="00A039"/>
          </a:solidFill>
        </p:spPr>
        <p:txBody>
          <a:bodyPr vert="horz"/>
          <a:lstStyle/>
          <a:p>
            <a:r>
              <a:rPr lang="en-US" sz="2800" dirty="0">
                <a:solidFill>
                  <a:schemeClr val="bg1"/>
                </a:solidFill>
              </a:rPr>
              <a:t>Cost Trend of Imported Coal, Crude Oil and Pet Coke</a:t>
            </a:r>
          </a:p>
        </p:txBody>
      </p:sp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A7C51D4B-9B2D-4F8D-82FA-42C3AA9F59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28" imgH="328" progId="TCLayout.ActiveDocument.1">
                  <p:embed/>
                </p:oleObj>
              </mc:Choice>
              <mc:Fallback>
                <p:oleObj name="think-cell Slide" r:id="rId7" imgW="328" imgH="328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A7C51D4B-9B2D-4F8D-82FA-42C3AA9F5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9547344-467A-E327-7FCB-B60A8973865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1034" y="645459"/>
            <a:ext cx="11679954" cy="5755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6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94853" y="207747"/>
            <a:ext cx="11467651" cy="457747"/>
          </a:xfrm>
          <a:solidFill>
            <a:srgbClr val="00A039"/>
          </a:solidFill>
        </p:spPr>
        <p:txBody>
          <a:bodyPr vert="horz" wrap="square" lIns="74271" tIns="37136" rIns="74271" bIns="37136" rtlCol="0" anchor="ctr">
            <a:noAutofit/>
          </a:bodyPr>
          <a:lstStyle/>
          <a:p>
            <a:pPr algn="ctr"/>
            <a:r>
              <a:rPr lang="en-IN" dirty="0">
                <a:solidFill>
                  <a:schemeClr val="bg1"/>
                </a:solidFill>
                <a:latin typeface="+mj-lt"/>
              </a:rPr>
              <a:t> Cement Demand Supply Capability &amp; Gap (All India)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167AE33-420F-C769-AB68-C11557A0C231}"/>
              </a:ext>
            </a:extLst>
          </p:cNvPr>
          <p:cNvSpPr txBox="1"/>
          <p:nvPr/>
        </p:nvSpPr>
        <p:spPr>
          <a:xfrm>
            <a:off x="736830" y="6314175"/>
            <a:ext cx="6288913" cy="19634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71" tIns="37136" rIns="74271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71338">
              <a:defRPr/>
            </a:pPr>
            <a:r>
              <a:rPr lang="en-IN" sz="893" b="1" dirty="0">
                <a:solidFill>
                  <a:srgbClr val="000000"/>
                </a:solidFill>
                <a:latin typeface="Trebuchet MS"/>
              </a:rPr>
              <a:t>*Based on sectoral reports, industry estimate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6F6746C-D9D4-4EE5-9E44-8DC214BE5B93}"/>
              </a:ext>
            </a:extLst>
          </p:cNvPr>
          <p:cNvSpPr txBox="1">
            <a:spLocks/>
          </p:cNvSpPr>
          <p:nvPr/>
        </p:nvSpPr>
        <p:spPr>
          <a:xfrm>
            <a:off x="9721513" y="639576"/>
            <a:ext cx="2064064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/>
          <a:p>
            <a:pPr algn="r">
              <a:spcBef>
                <a:spcPct val="0"/>
              </a:spcBef>
              <a:buClrTx/>
              <a:buSzTx/>
              <a:defRPr/>
            </a:pPr>
            <a:r>
              <a:rPr lang="en-US" b="1" dirty="0">
                <a:solidFill>
                  <a:srgbClr val="006600"/>
                </a:solidFill>
                <a:latin typeface="Bookman Old Style" pitchFamily="18" charset="0"/>
              </a:rPr>
              <a:t>Qty. </a:t>
            </a:r>
            <a:r>
              <a:rPr lang="en-US" b="1" dirty="0" err="1">
                <a:solidFill>
                  <a:srgbClr val="006600"/>
                </a:solidFill>
                <a:latin typeface="Bookman Old Style" pitchFamily="18" charset="0"/>
              </a:rPr>
              <a:t>Mn.Tons</a:t>
            </a:r>
            <a:endParaRPr lang="en-US" b="1" dirty="0">
              <a:solidFill>
                <a:srgbClr val="006600"/>
              </a:solidFill>
              <a:latin typeface="Bookman Old Style" pitchFamily="18" charset="0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2DE8D32-B678-78F2-B524-A810B6C4BB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8981799"/>
              </p:ext>
            </p:extLst>
          </p:nvPr>
        </p:nvGraphicFramePr>
        <p:xfrm>
          <a:off x="494853" y="1108037"/>
          <a:ext cx="11467651" cy="5206137"/>
        </p:xfrm>
        <a:graphic>
          <a:graphicData uri="http://schemas.openxmlformats.org/drawingml/2006/table">
            <a:tbl>
              <a:tblPr/>
              <a:tblGrid>
                <a:gridCol w="769986">
                  <a:extLst>
                    <a:ext uri="{9D8B030D-6E8A-4147-A177-3AD203B41FA5}">
                      <a16:colId xmlns:a16="http://schemas.microsoft.com/office/drawing/2014/main" val="1822092657"/>
                    </a:ext>
                  </a:extLst>
                </a:gridCol>
                <a:gridCol w="5369365">
                  <a:extLst>
                    <a:ext uri="{9D8B030D-6E8A-4147-A177-3AD203B41FA5}">
                      <a16:colId xmlns:a16="http://schemas.microsoft.com/office/drawing/2014/main" val="531306790"/>
                    </a:ext>
                  </a:extLst>
                </a:gridCol>
                <a:gridCol w="1160112">
                  <a:extLst>
                    <a:ext uri="{9D8B030D-6E8A-4147-A177-3AD203B41FA5}">
                      <a16:colId xmlns:a16="http://schemas.microsoft.com/office/drawing/2014/main" val="625865756"/>
                    </a:ext>
                  </a:extLst>
                </a:gridCol>
                <a:gridCol w="1160112">
                  <a:extLst>
                    <a:ext uri="{9D8B030D-6E8A-4147-A177-3AD203B41FA5}">
                      <a16:colId xmlns:a16="http://schemas.microsoft.com/office/drawing/2014/main" val="1007297174"/>
                    </a:ext>
                  </a:extLst>
                </a:gridCol>
                <a:gridCol w="1201178">
                  <a:extLst>
                    <a:ext uri="{9D8B030D-6E8A-4147-A177-3AD203B41FA5}">
                      <a16:colId xmlns:a16="http://schemas.microsoft.com/office/drawing/2014/main" val="2328707352"/>
                    </a:ext>
                  </a:extLst>
                </a:gridCol>
                <a:gridCol w="903449">
                  <a:extLst>
                    <a:ext uri="{9D8B030D-6E8A-4147-A177-3AD203B41FA5}">
                      <a16:colId xmlns:a16="http://schemas.microsoft.com/office/drawing/2014/main" val="2101182142"/>
                    </a:ext>
                  </a:extLst>
                </a:gridCol>
                <a:gridCol w="903449">
                  <a:extLst>
                    <a:ext uri="{9D8B030D-6E8A-4147-A177-3AD203B41FA5}">
                      <a16:colId xmlns:a16="http://schemas.microsoft.com/office/drawing/2014/main" val="1991622433"/>
                    </a:ext>
                  </a:extLst>
                </a:gridCol>
              </a:tblGrid>
              <a:tr h="756447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Sl. No.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FF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Particulars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FF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Actual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FF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Projections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FF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6542424"/>
                  </a:ext>
                </a:extLst>
              </a:tr>
              <a:tr h="444969">
                <a:tc gridSpan="2">
                  <a:txBody>
                    <a:bodyPr/>
                    <a:lstStyle/>
                    <a:p>
                      <a:pPr algn="l" fontAlgn="auto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FY 23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FY 24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FY 25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FY 26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FY 27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8626616"/>
                  </a:ext>
                </a:extLst>
              </a:tr>
              <a:tr h="444969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Installed Capacity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594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31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84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39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85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4304468"/>
                  </a:ext>
                </a:extLst>
              </a:tr>
              <a:tr h="444969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Additions During the Year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32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3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2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9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3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2528514"/>
                  </a:ext>
                </a:extLst>
              </a:tr>
              <a:tr h="444969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3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Demand Growth %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9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9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8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8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874213"/>
                  </a:ext>
                </a:extLst>
              </a:tr>
              <a:tr h="444969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Domestic Demand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393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27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55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91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530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3667065"/>
                  </a:ext>
                </a:extLst>
              </a:tr>
              <a:tr h="444969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5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Exports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8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1187952"/>
                  </a:ext>
                </a:extLst>
              </a:tr>
              <a:tr h="444969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Total Dispatch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399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33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62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98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538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7436919"/>
                  </a:ext>
                </a:extLst>
              </a:tr>
              <a:tr h="444969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Surplus Capacity on Installed Capacity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95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98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22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41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47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509696"/>
                  </a:ext>
                </a:extLst>
              </a:tr>
              <a:tr h="444969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8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Capacity Utilisation (CU) %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7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9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8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7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9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5784663"/>
                  </a:ext>
                </a:extLst>
              </a:tr>
              <a:tr h="444969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9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Surplus Capacity (%) on Installed Capacity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33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31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32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33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31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5852329"/>
                  </a:ext>
                </a:extLst>
              </a:tr>
            </a:tbl>
          </a:graphicData>
        </a:graphic>
      </p:graphicFrame>
      <p:sp>
        <p:nvSpPr>
          <p:cNvPr id="8" name="Rectangle 2">
            <a:extLst>
              <a:ext uri="{FF2B5EF4-FFF2-40B4-BE49-F238E27FC236}">
                <a16:creationId xmlns:a16="http://schemas.microsoft.com/office/drawing/2014/main" id="{19C56C45-D58E-B37C-44E0-61C2A845A6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1500" y="221773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873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:a16="http://schemas.microsoft.com/office/drawing/2014/main" id="{601F9B28-5FE7-2954-8CAE-5551BD2F33E1}"/>
              </a:ext>
            </a:extLst>
          </p:cNvPr>
          <p:cNvSpPr/>
          <p:nvPr/>
        </p:nvSpPr>
        <p:spPr>
          <a:xfrm rot="16200000">
            <a:off x="2147070" y="-356629"/>
            <a:ext cx="434209" cy="3315282"/>
          </a:xfrm>
          <a:prstGeom prst="rect">
            <a:avLst/>
          </a:prstGeom>
          <a:gradFill>
            <a:gsLst>
              <a:gs pos="100000">
                <a:srgbClr val="0F6FB7">
                  <a:alpha val="60000"/>
                </a:srgbClr>
              </a:gs>
              <a:gs pos="0">
                <a:srgbClr val="63ADEC">
                  <a:alpha val="23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0B0004020202020204" pitchFamily="34" charset="0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5640050-8C1B-82D0-EE7F-377414AB2CB7}"/>
              </a:ext>
            </a:extLst>
          </p:cNvPr>
          <p:cNvSpPr>
            <a:spLocks/>
          </p:cNvSpPr>
          <p:nvPr/>
        </p:nvSpPr>
        <p:spPr>
          <a:xfrm rot="16200000">
            <a:off x="176365" y="2044737"/>
            <a:ext cx="4372069" cy="3318829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  <a:alpha val="23000"/>
                </a:schemeClr>
              </a:gs>
              <a:gs pos="0">
                <a:schemeClr val="bg1">
                  <a:lumMod val="85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D880DA3-9967-7EE3-9CD9-4991925BEB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6785" y="1654179"/>
            <a:ext cx="3633101" cy="4064657"/>
          </a:xfrm>
          <a:prstGeom prst="rect">
            <a:avLst/>
          </a:prstGeom>
        </p:spPr>
      </p:pic>
      <p:sp>
        <p:nvSpPr>
          <p:cNvPr id="2" name="TextBox 15">
            <a:extLst>
              <a:ext uri="{FF2B5EF4-FFF2-40B4-BE49-F238E27FC236}">
                <a16:creationId xmlns:a16="http://schemas.microsoft.com/office/drawing/2014/main" id="{A79DE40A-7386-3273-9EB6-6594EE935181}"/>
              </a:ext>
            </a:extLst>
          </p:cNvPr>
          <p:cNvSpPr txBox="1"/>
          <p:nvPr/>
        </p:nvSpPr>
        <p:spPr>
          <a:xfrm>
            <a:off x="472546" y="378578"/>
            <a:ext cx="11242798" cy="43947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197485" marR="0" lvl="0" indent="0" algn="ctr" defTabSz="914400" rtl="0" eaLnBrk="1" fontAlgn="auto" latinLnBrk="0" hangingPunct="1">
              <a:lnSpc>
                <a:spcPct val="7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All India trends in Demand Growth &amp; Capacity Addi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D2EF835-FF26-9A20-887A-36BD797A3B4F}"/>
              </a:ext>
            </a:extLst>
          </p:cNvPr>
          <p:cNvSpPr txBox="1"/>
          <p:nvPr/>
        </p:nvSpPr>
        <p:spPr>
          <a:xfrm>
            <a:off x="1799715" y="1127629"/>
            <a:ext cx="10720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2022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DE1E303-7DAB-6218-45E1-2FADB42D430F}"/>
              </a:ext>
            </a:extLst>
          </p:cNvPr>
          <p:cNvSpPr>
            <a:spLocks/>
          </p:cNvSpPr>
          <p:nvPr/>
        </p:nvSpPr>
        <p:spPr>
          <a:xfrm rot="5400000">
            <a:off x="3790205" y="2044743"/>
            <a:ext cx="4372067" cy="3318829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  <a:alpha val="23000"/>
                </a:schemeClr>
              </a:gs>
              <a:gs pos="0">
                <a:schemeClr val="bg1">
                  <a:lumMod val="85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F0A27DF-43AA-5DBE-68D7-470AB8695620}"/>
              </a:ext>
            </a:extLst>
          </p:cNvPr>
          <p:cNvSpPr>
            <a:spLocks/>
          </p:cNvSpPr>
          <p:nvPr/>
        </p:nvSpPr>
        <p:spPr>
          <a:xfrm rot="16200000">
            <a:off x="7400795" y="2044737"/>
            <a:ext cx="4372069" cy="3318829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  <a:alpha val="23000"/>
                </a:schemeClr>
              </a:gs>
              <a:gs pos="0">
                <a:schemeClr val="bg1">
                  <a:lumMod val="85000"/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C8DA0EC3-96A1-7044-6833-E3AC4178E6B3}"/>
              </a:ext>
            </a:extLst>
          </p:cNvPr>
          <p:cNvGrpSpPr/>
          <p:nvPr/>
        </p:nvGrpSpPr>
        <p:grpSpPr>
          <a:xfrm>
            <a:off x="1935791" y="1897551"/>
            <a:ext cx="3211761" cy="1472893"/>
            <a:chOff x="2302670" y="2077125"/>
            <a:chExt cx="2743740" cy="1293319"/>
          </a:xfrm>
        </p:grpSpPr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19E6094D-B8AF-187F-4FFF-45E12499369C}"/>
                </a:ext>
              </a:extLst>
            </p:cNvPr>
            <p:cNvGrpSpPr/>
            <p:nvPr/>
          </p:nvGrpSpPr>
          <p:grpSpPr>
            <a:xfrm>
              <a:off x="2302670" y="2077152"/>
              <a:ext cx="1140014" cy="1293292"/>
              <a:chOff x="2302670" y="2077151"/>
              <a:chExt cx="1140014" cy="1082319"/>
            </a:xfrm>
          </p:grpSpPr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DC6EC29F-6C70-C11C-4361-046E2155E6D0}"/>
                  </a:ext>
                </a:extLst>
              </p:cNvPr>
              <p:cNvSpPr/>
              <p:nvPr/>
            </p:nvSpPr>
            <p:spPr>
              <a:xfrm>
                <a:off x="2302701" y="3115122"/>
                <a:ext cx="55288" cy="44348"/>
              </a:xfrm>
              <a:custGeom>
                <a:avLst/>
                <a:gdLst>
                  <a:gd name="connsiteX0" fmla="*/ 55288 w 55288"/>
                  <a:gd name="connsiteY0" fmla="*/ 22174 h 44348"/>
                  <a:gd name="connsiteX1" fmla="*/ 27644 w 55288"/>
                  <a:gd name="connsiteY1" fmla="*/ 44349 h 44348"/>
                  <a:gd name="connsiteX2" fmla="*/ 0 w 55288"/>
                  <a:gd name="connsiteY2" fmla="*/ 22174 h 44348"/>
                  <a:gd name="connsiteX3" fmla="*/ 27644 w 55288"/>
                  <a:gd name="connsiteY3" fmla="*/ 0 h 44348"/>
                  <a:gd name="connsiteX4" fmla="*/ 55288 w 55288"/>
                  <a:gd name="connsiteY4" fmla="*/ 22174 h 44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88" h="44348">
                    <a:moveTo>
                      <a:pt x="55288" y="22174"/>
                    </a:moveTo>
                    <a:cubicBezTo>
                      <a:pt x="55288" y="34421"/>
                      <a:pt x="42911" y="44349"/>
                      <a:pt x="27644" y="44349"/>
                    </a:cubicBezTo>
                    <a:cubicBezTo>
                      <a:pt x="12377" y="44349"/>
                      <a:pt x="0" y="34421"/>
                      <a:pt x="0" y="22174"/>
                    </a:cubicBezTo>
                    <a:cubicBezTo>
                      <a:pt x="0" y="9928"/>
                      <a:pt x="12377" y="0"/>
                      <a:pt x="27644" y="0"/>
                    </a:cubicBezTo>
                    <a:cubicBezTo>
                      <a:pt x="42911" y="0"/>
                      <a:pt x="55288" y="9928"/>
                      <a:pt x="55288" y="22174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FE2C5E0B-0451-C981-4BED-AC45478A51E7}"/>
                  </a:ext>
                </a:extLst>
              </p:cNvPr>
              <p:cNvSpPr/>
              <p:nvPr/>
            </p:nvSpPr>
            <p:spPr>
              <a:xfrm>
                <a:off x="2302670" y="2990378"/>
                <a:ext cx="55318" cy="44356"/>
              </a:xfrm>
              <a:custGeom>
                <a:avLst/>
                <a:gdLst>
                  <a:gd name="connsiteX0" fmla="*/ 27675 w 55318"/>
                  <a:gd name="connsiteY0" fmla="*/ 44356 h 44356"/>
                  <a:gd name="connsiteX1" fmla="*/ 55319 w 55318"/>
                  <a:gd name="connsiteY1" fmla="*/ 22182 h 44356"/>
                  <a:gd name="connsiteX2" fmla="*/ 28126 w 55318"/>
                  <a:gd name="connsiteY2" fmla="*/ 7 h 44356"/>
                  <a:gd name="connsiteX3" fmla="*/ 0 w 55318"/>
                  <a:gd name="connsiteY3" fmla="*/ 22182 h 44356"/>
                  <a:gd name="connsiteX4" fmla="*/ 27645 w 55318"/>
                  <a:gd name="connsiteY4" fmla="*/ 44356 h 44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318" h="44356">
                    <a:moveTo>
                      <a:pt x="27675" y="44356"/>
                    </a:moveTo>
                    <a:cubicBezTo>
                      <a:pt x="42956" y="44356"/>
                      <a:pt x="55319" y="34428"/>
                      <a:pt x="55319" y="22182"/>
                    </a:cubicBezTo>
                    <a:cubicBezTo>
                      <a:pt x="55228" y="9911"/>
                      <a:pt x="43527" y="321"/>
                      <a:pt x="28126" y="7"/>
                    </a:cubicBezTo>
                    <a:cubicBezTo>
                      <a:pt x="12965" y="-307"/>
                      <a:pt x="-90" y="9959"/>
                      <a:pt x="0" y="22182"/>
                    </a:cubicBezTo>
                    <a:cubicBezTo>
                      <a:pt x="0" y="34428"/>
                      <a:pt x="12394" y="44356"/>
                      <a:pt x="27645" y="44356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C3A55A95-7FB7-3348-FED2-F7E32723E529}"/>
                  </a:ext>
                </a:extLst>
              </p:cNvPr>
              <p:cNvSpPr/>
              <p:nvPr/>
            </p:nvSpPr>
            <p:spPr>
              <a:xfrm>
                <a:off x="2312527" y="2865854"/>
                <a:ext cx="55341" cy="44371"/>
              </a:xfrm>
              <a:custGeom>
                <a:avLst/>
                <a:gdLst>
                  <a:gd name="connsiteX0" fmla="*/ 24104 w 55341"/>
                  <a:gd name="connsiteY0" fmla="*/ 44263 h 44371"/>
                  <a:gd name="connsiteX1" fmla="*/ 55117 w 55341"/>
                  <a:gd name="connsiteY1" fmla="*/ 25011 h 44371"/>
                  <a:gd name="connsiteX2" fmla="*/ 31294 w 55341"/>
                  <a:gd name="connsiteY2" fmla="*/ 252 h 44371"/>
                  <a:gd name="connsiteX3" fmla="*/ 250 w 55341"/>
                  <a:gd name="connsiteY3" fmla="*/ 19504 h 44371"/>
                  <a:gd name="connsiteX4" fmla="*/ 24104 w 55341"/>
                  <a:gd name="connsiteY4" fmla="*/ 44263 h 44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341" h="44371">
                    <a:moveTo>
                      <a:pt x="24104" y="44263"/>
                    </a:moveTo>
                    <a:cubicBezTo>
                      <a:pt x="39295" y="45447"/>
                      <a:pt x="53192" y="36823"/>
                      <a:pt x="55117" y="25011"/>
                    </a:cubicBezTo>
                    <a:cubicBezTo>
                      <a:pt x="57043" y="13199"/>
                      <a:pt x="46334" y="2112"/>
                      <a:pt x="31294" y="252"/>
                    </a:cubicBezTo>
                    <a:cubicBezTo>
                      <a:pt x="16163" y="-1608"/>
                      <a:pt x="2296" y="7016"/>
                      <a:pt x="250" y="19504"/>
                    </a:cubicBezTo>
                    <a:cubicBezTo>
                      <a:pt x="-1795" y="31992"/>
                      <a:pt x="8914" y="43079"/>
                      <a:pt x="24104" y="44263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F631E70E-AB3C-45FF-9845-E1324E0B7664}"/>
                  </a:ext>
                </a:extLst>
              </p:cNvPr>
              <p:cNvSpPr/>
              <p:nvPr/>
            </p:nvSpPr>
            <p:spPr>
              <a:xfrm>
                <a:off x="2343430" y="2743652"/>
                <a:ext cx="55633" cy="44290"/>
              </a:xfrm>
              <a:custGeom>
                <a:avLst/>
                <a:gdLst>
                  <a:gd name="connsiteX0" fmla="*/ 20726 w 55633"/>
                  <a:gd name="connsiteY0" fmla="*/ 43684 h 44290"/>
                  <a:gd name="connsiteX1" fmla="*/ 54566 w 55633"/>
                  <a:gd name="connsiteY1" fmla="*/ 27887 h 44290"/>
                  <a:gd name="connsiteX2" fmla="*/ 35646 w 55633"/>
                  <a:gd name="connsiteY2" fmla="*/ 881 h 44290"/>
                  <a:gd name="connsiteX3" fmla="*/ 1203 w 55633"/>
                  <a:gd name="connsiteY3" fmla="*/ 16558 h 44290"/>
                  <a:gd name="connsiteX4" fmla="*/ 20726 w 55633"/>
                  <a:gd name="connsiteY4" fmla="*/ 43684 h 4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33" h="44290">
                    <a:moveTo>
                      <a:pt x="20726" y="43684"/>
                    </a:moveTo>
                    <a:cubicBezTo>
                      <a:pt x="35616" y="46486"/>
                      <a:pt x="50145" y="39288"/>
                      <a:pt x="54566" y="27887"/>
                    </a:cubicBezTo>
                    <a:cubicBezTo>
                      <a:pt x="58748" y="16437"/>
                      <a:pt x="50265" y="4336"/>
                      <a:pt x="35646" y="881"/>
                    </a:cubicBezTo>
                    <a:cubicBezTo>
                      <a:pt x="21027" y="-2573"/>
                      <a:pt x="5595" y="4432"/>
                      <a:pt x="1203" y="16558"/>
                    </a:cubicBezTo>
                    <a:cubicBezTo>
                      <a:pt x="-3459" y="28636"/>
                      <a:pt x="5926" y="40906"/>
                      <a:pt x="20726" y="43684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CA04D18E-07D3-3E7A-62AA-B36EAA5786B3}"/>
                  </a:ext>
                </a:extLst>
              </p:cNvPr>
              <p:cNvSpPr/>
              <p:nvPr/>
            </p:nvSpPr>
            <p:spPr>
              <a:xfrm>
                <a:off x="2395840" y="2625970"/>
                <a:ext cx="55640" cy="44204"/>
              </a:xfrm>
              <a:custGeom>
                <a:avLst/>
                <a:gdLst>
                  <a:gd name="connsiteX0" fmla="*/ 39456 w 55640"/>
                  <a:gd name="connsiteY0" fmla="*/ 1893 h 44204"/>
                  <a:gd name="connsiteX1" fmla="*/ 2337 w 55640"/>
                  <a:gd name="connsiteY1" fmla="*/ 13633 h 44204"/>
                  <a:gd name="connsiteX2" fmla="*/ 17136 w 55640"/>
                  <a:gd name="connsiteY2" fmla="*/ 42692 h 44204"/>
                  <a:gd name="connsiteX3" fmla="*/ 53173 w 55640"/>
                  <a:gd name="connsiteY3" fmla="*/ 30590 h 44204"/>
                  <a:gd name="connsiteX4" fmla="*/ 39456 w 55640"/>
                  <a:gd name="connsiteY4" fmla="*/ 1893 h 44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0" h="44204">
                    <a:moveTo>
                      <a:pt x="39456" y="1893"/>
                    </a:moveTo>
                    <a:cubicBezTo>
                      <a:pt x="25589" y="-3107"/>
                      <a:pt x="8954" y="2135"/>
                      <a:pt x="2337" y="13633"/>
                    </a:cubicBezTo>
                    <a:cubicBezTo>
                      <a:pt x="-3980" y="25227"/>
                      <a:pt x="3028" y="38344"/>
                      <a:pt x="17136" y="42692"/>
                    </a:cubicBezTo>
                    <a:cubicBezTo>
                      <a:pt x="31424" y="47088"/>
                      <a:pt x="47217" y="41556"/>
                      <a:pt x="53173" y="30590"/>
                    </a:cubicBezTo>
                    <a:cubicBezTo>
                      <a:pt x="59460" y="19744"/>
                      <a:pt x="53323" y="6894"/>
                      <a:pt x="39456" y="1893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9595E4B7-348E-C55E-4E1F-C33CAB0C6F0E}"/>
                  </a:ext>
                </a:extLst>
              </p:cNvPr>
              <p:cNvSpPr/>
              <p:nvPr/>
            </p:nvSpPr>
            <p:spPr>
              <a:xfrm>
                <a:off x="2468581" y="2515076"/>
                <a:ext cx="55635" cy="44082"/>
              </a:xfrm>
              <a:custGeom>
                <a:avLst/>
                <a:gdLst>
                  <a:gd name="connsiteX0" fmla="*/ 42909 w 55635"/>
                  <a:gd name="connsiteY0" fmla="*/ 3268 h 44082"/>
                  <a:gd name="connsiteX1" fmla="*/ 4075 w 55635"/>
                  <a:gd name="connsiteY1" fmla="*/ 10925 h 44082"/>
                  <a:gd name="connsiteX2" fmla="*/ 13610 w 55635"/>
                  <a:gd name="connsiteY2" fmla="*/ 41288 h 44082"/>
                  <a:gd name="connsiteX3" fmla="*/ 51482 w 55635"/>
                  <a:gd name="connsiteY3" fmla="*/ 33196 h 44082"/>
                  <a:gd name="connsiteX4" fmla="*/ 42939 w 55635"/>
                  <a:gd name="connsiteY4" fmla="*/ 3292 h 44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35" h="44082">
                    <a:moveTo>
                      <a:pt x="42909" y="3268"/>
                    </a:moveTo>
                    <a:cubicBezTo>
                      <a:pt x="30155" y="-3133"/>
                      <a:pt x="12377" y="104"/>
                      <a:pt x="4075" y="10925"/>
                    </a:cubicBezTo>
                    <a:cubicBezTo>
                      <a:pt x="-3987" y="21843"/>
                      <a:pt x="285" y="35443"/>
                      <a:pt x="13610" y="41288"/>
                    </a:cubicBezTo>
                    <a:cubicBezTo>
                      <a:pt x="26906" y="47134"/>
                      <a:pt x="43871" y="43511"/>
                      <a:pt x="51482" y="33196"/>
                    </a:cubicBezTo>
                    <a:cubicBezTo>
                      <a:pt x="59303" y="22979"/>
                      <a:pt x="55874" y="9766"/>
                      <a:pt x="42939" y="3292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7A262B38-BDD3-4739-D0F1-3A0CAD97064E}"/>
                  </a:ext>
                </a:extLst>
              </p:cNvPr>
              <p:cNvSpPr/>
              <p:nvPr/>
            </p:nvSpPr>
            <p:spPr>
              <a:xfrm>
                <a:off x="2559990" y="2412929"/>
                <a:ext cx="55736" cy="43975"/>
              </a:xfrm>
              <a:custGeom>
                <a:avLst/>
                <a:gdLst>
                  <a:gd name="connsiteX0" fmla="*/ 6458 w 55736"/>
                  <a:gd name="connsiteY0" fmla="*/ 8528 h 43975"/>
                  <a:gd name="connsiteX1" fmla="*/ 10428 w 55736"/>
                  <a:gd name="connsiteY1" fmla="*/ 39519 h 43975"/>
                  <a:gd name="connsiteX2" fmla="*/ 49503 w 55736"/>
                  <a:gd name="connsiteY2" fmla="*/ 35630 h 43975"/>
                  <a:gd name="connsiteX3" fmla="*/ 46104 w 55736"/>
                  <a:gd name="connsiteY3" fmla="*/ 5002 h 43975"/>
                  <a:gd name="connsiteX4" fmla="*/ 6458 w 55736"/>
                  <a:gd name="connsiteY4" fmla="*/ 8528 h 43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736" h="43975">
                    <a:moveTo>
                      <a:pt x="6458" y="8528"/>
                    </a:moveTo>
                    <a:cubicBezTo>
                      <a:pt x="-3529" y="18432"/>
                      <a:pt x="-1724" y="32297"/>
                      <a:pt x="10428" y="39519"/>
                    </a:cubicBezTo>
                    <a:cubicBezTo>
                      <a:pt x="22581" y="46742"/>
                      <a:pt x="40088" y="45003"/>
                      <a:pt x="49503" y="35630"/>
                    </a:cubicBezTo>
                    <a:cubicBezTo>
                      <a:pt x="58708" y="26113"/>
                      <a:pt x="57835" y="12828"/>
                      <a:pt x="46104" y="5002"/>
                    </a:cubicBezTo>
                    <a:cubicBezTo>
                      <a:pt x="34613" y="-2680"/>
                      <a:pt x="16204" y="-1520"/>
                      <a:pt x="6458" y="8528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153C63C7-B469-BD3E-85A9-34D0D21D0F09}"/>
                  </a:ext>
                </a:extLst>
              </p:cNvPr>
              <p:cNvSpPr/>
              <p:nvPr/>
            </p:nvSpPr>
            <p:spPr>
              <a:xfrm>
                <a:off x="2668315" y="2321534"/>
                <a:ext cx="55983" cy="43809"/>
              </a:xfrm>
              <a:custGeom>
                <a:avLst/>
                <a:gdLst>
                  <a:gd name="connsiteX0" fmla="*/ 9250 w 55983"/>
                  <a:gd name="connsiteY0" fmla="*/ 6346 h 43809"/>
                  <a:gd name="connsiteX1" fmla="*/ 7626 w 55983"/>
                  <a:gd name="connsiteY1" fmla="*/ 37361 h 43809"/>
                  <a:gd name="connsiteX2" fmla="*/ 47152 w 55983"/>
                  <a:gd name="connsiteY2" fmla="*/ 37772 h 43809"/>
                  <a:gd name="connsiteX3" fmla="*/ 49017 w 55983"/>
                  <a:gd name="connsiteY3" fmla="*/ 6974 h 43809"/>
                  <a:gd name="connsiteX4" fmla="*/ 9250 w 55983"/>
                  <a:gd name="connsiteY4" fmla="*/ 6370 h 43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983" h="43809">
                    <a:moveTo>
                      <a:pt x="9250" y="6346"/>
                    </a:moveTo>
                    <a:cubicBezTo>
                      <a:pt x="-2421" y="15042"/>
                      <a:pt x="-3143" y="28931"/>
                      <a:pt x="7626" y="37361"/>
                    </a:cubicBezTo>
                    <a:cubicBezTo>
                      <a:pt x="18425" y="45792"/>
                      <a:pt x="36112" y="45985"/>
                      <a:pt x="47152" y="37772"/>
                    </a:cubicBezTo>
                    <a:cubicBezTo>
                      <a:pt x="58071" y="29439"/>
                      <a:pt x="59064" y="15791"/>
                      <a:pt x="49017" y="6974"/>
                    </a:cubicBezTo>
                    <a:cubicBezTo>
                      <a:pt x="38759" y="-2012"/>
                      <a:pt x="20801" y="-2422"/>
                      <a:pt x="9250" y="6370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ABA941F3-DC83-18A7-9EB2-327E742DFAC8}"/>
                  </a:ext>
                </a:extLst>
              </p:cNvPr>
              <p:cNvSpPr/>
              <p:nvPr/>
            </p:nvSpPr>
            <p:spPr>
              <a:xfrm>
                <a:off x="2791539" y="2242623"/>
                <a:ext cx="56337" cy="43555"/>
              </a:xfrm>
              <a:custGeom>
                <a:avLst/>
                <a:gdLst>
                  <a:gd name="connsiteX0" fmla="*/ 12395 w 56337"/>
                  <a:gd name="connsiteY0" fmla="*/ 4337 h 43555"/>
                  <a:gd name="connsiteX1" fmla="*/ 5296 w 56337"/>
                  <a:gd name="connsiteY1" fmla="*/ 34821 h 43555"/>
                  <a:gd name="connsiteX2" fmla="*/ 44461 w 56337"/>
                  <a:gd name="connsiteY2" fmla="*/ 39507 h 43555"/>
                  <a:gd name="connsiteX3" fmla="*/ 51590 w 56337"/>
                  <a:gd name="connsiteY3" fmla="*/ 9072 h 43555"/>
                  <a:gd name="connsiteX4" fmla="*/ 12395 w 56337"/>
                  <a:gd name="connsiteY4" fmla="*/ 4337 h 43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337" h="43555">
                    <a:moveTo>
                      <a:pt x="12395" y="4337"/>
                    </a:moveTo>
                    <a:cubicBezTo>
                      <a:pt x="-750" y="11656"/>
                      <a:pt x="-3969" y="25231"/>
                      <a:pt x="5296" y="34821"/>
                    </a:cubicBezTo>
                    <a:cubicBezTo>
                      <a:pt x="14440" y="44242"/>
                      <a:pt x="32037" y="46416"/>
                      <a:pt x="44461" y="39507"/>
                    </a:cubicBezTo>
                    <a:cubicBezTo>
                      <a:pt x="56884" y="32599"/>
                      <a:pt x="60072" y="18975"/>
                      <a:pt x="51590" y="9072"/>
                    </a:cubicBezTo>
                    <a:cubicBezTo>
                      <a:pt x="43107" y="-832"/>
                      <a:pt x="25540" y="-2958"/>
                      <a:pt x="12395" y="4337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DBF33EC-5AD7-B991-F206-C763E5AA04D6}"/>
                  </a:ext>
                </a:extLst>
              </p:cNvPr>
              <p:cNvSpPr/>
              <p:nvPr/>
            </p:nvSpPr>
            <p:spPr>
              <a:xfrm>
                <a:off x="2927606" y="2177601"/>
                <a:ext cx="56566" cy="43279"/>
              </a:xfrm>
              <a:custGeom>
                <a:avLst/>
                <a:gdLst>
                  <a:gd name="connsiteX0" fmla="*/ 15661 w 56566"/>
                  <a:gd name="connsiteY0" fmla="*/ 2618 h 43279"/>
                  <a:gd name="connsiteX1" fmla="*/ 3388 w 56566"/>
                  <a:gd name="connsiteY1" fmla="*/ 32184 h 43279"/>
                  <a:gd name="connsiteX2" fmla="*/ 41260 w 56566"/>
                  <a:gd name="connsiteY2" fmla="*/ 40880 h 43279"/>
                  <a:gd name="connsiteX3" fmla="*/ 53743 w 56566"/>
                  <a:gd name="connsiteY3" fmla="*/ 11628 h 43279"/>
                  <a:gd name="connsiteX4" fmla="*/ 15631 w 56566"/>
                  <a:gd name="connsiteY4" fmla="*/ 2618 h 43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566" h="43279">
                    <a:moveTo>
                      <a:pt x="15661" y="2618"/>
                    </a:moveTo>
                    <a:cubicBezTo>
                      <a:pt x="1192" y="8198"/>
                      <a:pt x="-4102" y="21725"/>
                      <a:pt x="3388" y="32184"/>
                    </a:cubicBezTo>
                    <a:cubicBezTo>
                      <a:pt x="10818" y="42523"/>
                      <a:pt x="27573" y="46146"/>
                      <a:pt x="41260" y="40880"/>
                    </a:cubicBezTo>
                    <a:cubicBezTo>
                      <a:pt x="54856" y="35445"/>
                      <a:pt x="60421" y="22353"/>
                      <a:pt x="53743" y="11628"/>
                    </a:cubicBezTo>
                    <a:cubicBezTo>
                      <a:pt x="47065" y="903"/>
                      <a:pt x="30009" y="-3131"/>
                      <a:pt x="15631" y="2618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A5DC22A-3094-1360-BA6A-C481950D122B}"/>
                  </a:ext>
                </a:extLst>
              </p:cNvPr>
              <p:cNvSpPr/>
              <p:nvPr/>
            </p:nvSpPr>
            <p:spPr>
              <a:xfrm>
                <a:off x="3073922" y="2127719"/>
                <a:ext cx="56672" cy="43145"/>
              </a:xfrm>
              <a:custGeom>
                <a:avLst/>
                <a:gdLst>
                  <a:gd name="connsiteX0" fmla="*/ 19086 w 56672"/>
                  <a:gd name="connsiteY0" fmla="*/ 1267 h 43145"/>
                  <a:gd name="connsiteX1" fmla="*/ 1789 w 56672"/>
                  <a:gd name="connsiteY1" fmla="*/ 29408 h 43145"/>
                  <a:gd name="connsiteX2" fmla="*/ 37676 w 56672"/>
                  <a:gd name="connsiteY2" fmla="*/ 41920 h 43145"/>
                  <a:gd name="connsiteX3" fmla="*/ 55303 w 56672"/>
                  <a:gd name="connsiteY3" fmla="*/ 14480 h 43145"/>
                  <a:gd name="connsiteX4" fmla="*/ 19086 w 56672"/>
                  <a:gd name="connsiteY4" fmla="*/ 1267 h 43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72" h="43145">
                    <a:moveTo>
                      <a:pt x="19086" y="1267"/>
                    </a:moveTo>
                    <a:cubicBezTo>
                      <a:pt x="3775" y="5253"/>
                      <a:pt x="-3685" y="18441"/>
                      <a:pt x="1789" y="29408"/>
                    </a:cubicBezTo>
                    <a:cubicBezTo>
                      <a:pt x="7414" y="40640"/>
                      <a:pt x="23207" y="45664"/>
                      <a:pt x="37676" y="41920"/>
                    </a:cubicBezTo>
                    <a:cubicBezTo>
                      <a:pt x="52144" y="38104"/>
                      <a:pt x="60025" y="25833"/>
                      <a:pt x="55303" y="14480"/>
                    </a:cubicBezTo>
                    <a:cubicBezTo>
                      <a:pt x="50580" y="3151"/>
                      <a:pt x="34367" y="-2767"/>
                      <a:pt x="19086" y="1267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191F7C20-2ED2-4246-68BE-D67A48BE14BA}"/>
                  </a:ext>
                </a:extLst>
              </p:cNvPr>
              <p:cNvSpPr/>
              <p:nvPr/>
            </p:nvSpPr>
            <p:spPr>
              <a:xfrm>
                <a:off x="3227628" y="2093865"/>
                <a:ext cx="56793" cy="43288"/>
              </a:xfrm>
              <a:custGeom>
                <a:avLst/>
                <a:gdLst>
                  <a:gd name="connsiteX0" fmla="*/ 22791 w 56793"/>
                  <a:gd name="connsiteY0" fmla="*/ 482 h 43288"/>
                  <a:gd name="connsiteX1" fmla="*/ 712 w 56793"/>
                  <a:gd name="connsiteY1" fmla="*/ 26594 h 43288"/>
                  <a:gd name="connsiteX2" fmla="*/ 34041 w 56793"/>
                  <a:gd name="connsiteY2" fmla="*/ 42730 h 43288"/>
                  <a:gd name="connsiteX3" fmla="*/ 56361 w 56793"/>
                  <a:gd name="connsiteY3" fmla="*/ 17560 h 43288"/>
                  <a:gd name="connsiteX4" fmla="*/ 22791 w 56793"/>
                  <a:gd name="connsiteY4" fmla="*/ 458 h 43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793" h="43288">
                    <a:moveTo>
                      <a:pt x="22791" y="482"/>
                    </a:moveTo>
                    <a:cubicBezTo>
                      <a:pt x="7059" y="3308"/>
                      <a:pt x="-2807" y="14999"/>
                      <a:pt x="712" y="26594"/>
                    </a:cubicBezTo>
                    <a:cubicBezTo>
                      <a:pt x="4262" y="38188"/>
                      <a:pt x="19182" y="45411"/>
                      <a:pt x="34041" y="42730"/>
                    </a:cubicBezTo>
                    <a:cubicBezTo>
                      <a:pt x="48991" y="40362"/>
                      <a:pt x="59038" y="29348"/>
                      <a:pt x="56361" y="17560"/>
                    </a:cubicBezTo>
                    <a:cubicBezTo>
                      <a:pt x="53714" y="5893"/>
                      <a:pt x="38614" y="-2030"/>
                      <a:pt x="22791" y="458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7ED4EC9-BFB0-7D59-8E14-35C5A662EFC2}"/>
                  </a:ext>
                </a:extLst>
              </p:cNvPr>
              <p:cNvSpPr/>
              <p:nvPr/>
            </p:nvSpPr>
            <p:spPr>
              <a:xfrm>
                <a:off x="3385839" y="2077151"/>
                <a:ext cx="56845" cy="43200"/>
              </a:xfrm>
              <a:custGeom>
                <a:avLst/>
                <a:gdLst>
                  <a:gd name="connsiteX0" fmla="*/ 26595 w 56845"/>
                  <a:gd name="connsiteY0" fmla="*/ 70 h 43200"/>
                  <a:gd name="connsiteX1" fmla="*/ 124 w 56845"/>
                  <a:gd name="connsiteY1" fmla="*/ 23283 h 43200"/>
                  <a:gd name="connsiteX2" fmla="*/ 30325 w 56845"/>
                  <a:gd name="connsiteY2" fmla="*/ 43139 h 43200"/>
                  <a:gd name="connsiteX3" fmla="*/ 56826 w 56845"/>
                  <a:gd name="connsiteY3" fmla="*/ 20264 h 43200"/>
                  <a:gd name="connsiteX4" fmla="*/ 26595 w 56845"/>
                  <a:gd name="connsiteY4" fmla="*/ 94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845" h="43200">
                    <a:moveTo>
                      <a:pt x="26595" y="70"/>
                    </a:moveTo>
                    <a:cubicBezTo>
                      <a:pt x="10502" y="1012"/>
                      <a:pt x="-1350" y="11423"/>
                      <a:pt x="124" y="23283"/>
                    </a:cubicBezTo>
                    <a:cubicBezTo>
                      <a:pt x="1598" y="35143"/>
                      <a:pt x="15104" y="44032"/>
                      <a:pt x="30325" y="43139"/>
                    </a:cubicBezTo>
                    <a:cubicBezTo>
                      <a:pt x="45546" y="42052"/>
                      <a:pt x="57397" y="32051"/>
                      <a:pt x="56826" y="20264"/>
                    </a:cubicBezTo>
                    <a:cubicBezTo>
                      <a:pt x="56224" y="8234"/>
                      <a:pt x="42688" y="-1041"/>
                      <a:pt x="26595" y="94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24E3EC7F-1051-2041-2472-C079BC8DE328}"/>
                </a:ext>
              </a:extLst>
            </p:cNvPr>
            <p:cNvSpPr/>
            <p:nvPr/>
          </p:nvSpPr>
          <p:spPr>
            <a:xfrm>
              <a:off x="3555076" y="2077125"/>
              <a:ext cx="1491334" cy="1293318"/>
            </a:xfrm>
            <a:custGeom>
              <a:avLst/>
              <a:gdLst>
                <a:gd name="connsiteX0" fmla="*/ 1281373 w 1491334"/>
                <a:gd name="connsiteY0" fmla="*/ 1007417 h 1293318"/>
                <a:gd name="connsiteX1" fmla="*/ 22109 w 1491334"/>
                <a:gd name="connsiteY1" fmla="*/ 0 h 1293318"/>
                <a:gd name="connsiteX2" fmla="*/ 0 w 1491334"/>
                <a:gd name="connsiteY2" fmla="*/ 16232 h 1293318"/>
                <a:gd name="connsiteX3" fmla="*/ 22109 w 1491334"/>
                <a:gd name="connsiteY3" fmla="*/ 32465 h 1293318"/>
                <a:gd name="connsiteX4" fmla="*/ 1237064 w 1491334"/>
                <a:gd name="connsiteY4" fmla="*/ 1007417 h 1293318"/>
                <a:gd name="connsiteX5" fmla="*/ 1033569 w 1491334"/>
                <a:gd name="connsiteY5" fmla="*/ 1007417 h 1293318"/>
                <a:gd name="connsiteX6" fmla="*/ 1262452 w 1491334"/>
                <a:gd name="connsiteY6" fmla="*/ 1293319 h 1293318"/>
                <a:gd name="connsiteX7" fmla="*/ 1491335 w 1491334"/>
                <a:gd name="connsiteY7" fmla="*/ 1007417 h 1293318"/>
                <a:gd name="connsiteX8" fmla="*/ 1281373 w 1491334"/>
                <a:gd name="connsiteY8" fmla="*/ 1007417 h 129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1334" h="1293318">
                  <a:moveTo>
                    <a:pt x="1281373" y="1007417"/>
                  </a:moveTo>
                  <a:cubicBezTo>
                    <a:pt x="1267054" y="377618"/>
                    <a:pt x="689657" y="0"/>
                    <a:pt x="22109" y="0"/>
                  </a:cubicBezTo>
                  <a:cubicBezTo>
                    <a:pt x="9897" y="0"/>
                    <a:pt x="0" y="7271"/>
                    <a:pt x="0" y="16232"/>
                  </a:cubicBezTo>
                  <a:cubicBezTo>
                    <a:pt x="0" y="25194"/>
                    <a:pt x="9897" y="32465"/>
                    <a:pt x="22109" y="32465"/>
                  </a:cubicBezTo>
                  <a:cubicBezTo>
                    <a:pt x="665262" y="32465"/>
                    <a:pt x="1211766" y="417088"/>
                    <a:pt x="1237064" y="1007417"/>
                  </a:cubicBezTo>
                  <a:lnTo>
                    <a:pt x="1033569" y="1007417"/>
                  </a:lnTo>
                  <a:lnTo>
                    <a:pt x="1262452" y="1293319"/>
                  </a:lnTo>
                  <a:lnTo>
                    <a:pt x="1491335" y="1007417"/>
                  </a:lnTo>
                  <a:lnTo>
                    <a:pt x="1281373" y="1007417"/>
                  </a:lnTo>
                  <a:close/>
                </a:path>
              </a:pathLst>
            </a:custGeom>
            <a:solidFill>
              <a:srgbClr val="63ADE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0B00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245ED9F-E5A1-1604-6DAE-D45522196D53}"/>
              </a:ext>
            </a:extLst>
          </p:cNvPr>
          <p:cNvSpPr/>
          <p:nvPr/>
        </p:nvSpPr>
        <p:spPr>
          <a:xfrm rot="16200000">
            <a:off x="5762694" y="-356629"/>
            <a:ext cx="434209" cy="3315282"/>
          </a:xfrm>
          <a:prstGeom prst="rect">
            <a:avLst/>
          </a:prstGeom>
          <a:gradFill>
            <a:gsLst>
              <a:gs pos="100000">
                <a:srgbClr val="0F6FB7">
                  <a:alpha val="60000"/>
                </a:srgbClr>
              </a:gs>
              <a:gs pos="0">
                <a:srgbClr val="63ADEC">
                  <a:alpha val="23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0B0004020202020204" pitchFamily="34" charset="0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2DD9ABA-5360-3DCF-6FD8-F29CE5B299A1}"/>
              </a:ext>
            </a:extLst>
          </p:cNvPr>
          <p:cNvSpPr/>
          <p:nvPr/>
        </p:nvSpPr>
        <p:spPr>
          <a:xfrm rot="16200000">
            <a:off x="9376532" y="-356629"/>
            <a:ext cx="434209" cy="3315282"/>
          </a:xfrm>
          <a:prstGeom prst="rect">
            <a:avLst/>
          </a:prstGeom>
          <a:gradFill>
            <a:gsLst>
              <a:gs pos="100000">
                <a:srgbClr val="0F6FB7">
                  <a:alpha val="60000"/>
                </a:srgbClr>
              </a:gs>
              <a:gs pos="0">
                <a:srgbClr val="63ADEC">
                  <a:alpha val="23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0B0004020202020204" pitchFamily="34" charset="0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51D9A84-D029-56C6-A03F-72FA7497CEA2}"/>
              </a:ext>
            </a:extLst>
          </p:cNvPr>
          <p:cNvSpPr txBox="1"/>
          <p:nvPr/>
        </p:nvSpPr>
        <p:spPr>
          <a:xfrm>
            <a:off x="5443771" y="1127629"/>
            <a:ext cx="10720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2024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F386615-F343-66A9-E3E2-2F6E077207AA}"/>
              </a:ext>
            </a:extLst>
          </p:cNvPr>
          <p:cNvSpPr txBox="1"/>
          <p:nvPr/>
        </p:nvSpPr>
        <p:spPr>
          <a:xfrm>
            <a:off x="9057608" y="1127629"/>
            <a:ext cx="10720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2027</a:t>
            </a:r>
          </a:p>
        </p:txBody>
      </p: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FD73393A-25A3-258F-5EBB-06F3A5FAA465}"/>
              </a:ext>
            </a:extLst>
          </p:cNvPr>
          <p:cNvGrpSpPr/>
          <p:nvPr/>
        </p:nvGrpSpPr>
        <p:grpSpPr>
          <a:xfrm>
            <a:off x="2775218" y="1705826"/>
            <a:ext cx="1348254" cy="523221"/>
            <a:chOff x="2775218" y="1705826"/>
            <a:chExt cx="1348254" cy="523221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6FDF146-C02C-FDB7-9938-C17E740C2F63}"/>
                </a:ext>
              </a:extLst>
            </p:cNvPr>
            <p:cNvSpPr/>
            <p:nvPr/>
          </p:nvSpPr>
          <p:spPr>
            <a:xfrm rot="16200000">
              <a:off x="3188954" y="1292090"/>
              <a:ext cx="520782" cy="1348254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ln>
              <a:solidFill>
                <a:srgbClr val="0F6FB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980CECD-F841-6DF2-73F5-46CCFBBFECED}"/>
                </a:ext>
              </a:extLst>
            </p:cNvPr>
            <p:cNvSpPr txBox="1"/>
            <p:nvPr/>
          </p:nvSpPr>
          <p:spPr>
            <a:xfrm>
              <a:off x="2862865" y="1705827"/>
              <a:ext cx="117903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110004020202020204"/>
                  <a:ea typeface="+mn-ea"/>
                  <a:cs typeface="+mn-cs"/>
                </a:rPr>
                <a:t>Capacity </a:t>
              </a:r>
              <a:b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110004020202020204"/>
                  <a:ea typeface="+mn-ea"/>
                  <a:cs typeface="+mn-cs"/>
                </a:rPr>
              </a:br>
              <a: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110004020202020204"/>
                  <a:ea typeface="+mn-ea"/>
                  <a:cs typeface="+mn-cs"/>
                </a:rPr>
                <a:t>CAGR - 5.7%</a:t>
              </a: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A1AF7EAF-6783-9D51-B7BE-4CEF109850C7}"/>
              </a:ext>
            </a:extLst>
          </p:cNvPr>
          <p:cNvGrpSpPr/>
          <p:nvPr/>
        </p:nvGrpSpPr>
        <p:grpSpPr>
          <a:xfrm>
            <a:off x="7083167" y="1897551"/>
            <a:ext cx="3211761" cy="1472893"/>
            <a:chOff x="2302670" y="2077125"/>
            <a:chExt cx="2743740" cy="1293319"/>
          </a:xfrm>
        </p:grpSpPr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5A91A9DD-5F15-58C4-DB49-47828420F1A5}"/>
                </a:ext>
              </a:extLst>
            </p:cNvPr>
            <p:cNvGrpSpPr/>
            <p:nvPr/>
          </p:nvGrpSpPr>
          <p:grpSpPr>
            <a:xfrm>
              <a:off x="2302670" y="2077152"/>
              <a:ext cx="1140014" cy="1293292"/>
              <a:chOff x="2302670" y="2077151"/>
              <a:chExt cx="1140014" cy="1082319"/>
            </a:xfrm>
          </p:grpSpPr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11D540B7-1959-B2B0-CDEC-0A6EDC549B39}"/>
                  </a:ext>
                </a:extLst>
              </p:cNvPr>
              <p:cNvSpPr/>
              <p:nvPr/>
            </p:nvSpPr>
            <p:spPr>
              <a:xfrm>
                <a:off x="2302701" y="3115122"/>
                <a:ext cx="55288" cy="44348"/>
              </a:xfrm>
              <a:custGeom>
                <a:avLst/>
                <a:gdLst>
                  <a:gd name="connsiteX0" fmla="*/ 55288 w 55288"/>
                  <a:gd name="connsiteY0" fmla="*/ 22174 h 44348"/>
                  <a:gd name="connsiteX1" fmla="*/ 27644 w 55288"/>
                  <a:gd name="connsiteY1" fmla="*/ 44349 h 44348"/>
                  <a:gd name="connsiteX2" fmla="*/ 0 w 55288"/>
                  <a:gd name="connsiteY2" fmla="*/ 22174 h 44348"/>
                  <a:gd name="connsiteX3" fmla="*/ 27644 w 55288"/>
                  <a:gd name="connsiteY3" fmla="*/ 0 h 44348"/>
                  <a:gd name="connsiteX4" fmla="*/ 55288 w 55288"/>
                  <a:gd name="connsiteY4" fmla="*/ 22174 h 44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88" h="44348">
                    <a:moveTo>
                      <a:pt x="55288" y="22174"/>
                    </a:moveTo>
                    <a:cubicBezTo>
                      <a:pt x="55288" y="34421"/>
                      <a:pt x="42911" y="44349"/>
                      <a:pt x="27644" y="44349"/>
                    </a:cubicBezTo>
                    <a:cubicBezTo>
                      <a:pt x="12377" y="44349"/>
                      <a:pt x="0" y="34421"/>
                      <a:pt x="0" y="22174"/>
                    </a:cubicBezTo>
                    <a:cubicBezTo>
                      <a:pt x="0" y="9928"/>
                      <a:pt x="12377" y="0"/>
                      <a:pt x="27644" y="0"/>
                    </a:cubicBezTo>
                    <a:cubicBezTo>
                      <a:pt x="42911" y="0"/>
                      <a:pt x="55288" y="9928"/>
                      <a:pt x="55288" y="22174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2BB9AC24-A67D-3EB0-332A-3995DEF14A32}"/>
                  </a:ext>
                </a:extLst>
              </p:cNvPr>
              <p:cNvSpPr/>
              <p:nvPr/>
            </p:nvSpPr>
            <p:spPr>
              <a:xfrm>
                <a:off x="2302670" y="2990378"/>
                <a:ext cx="55318" cy="44356"/>
              </a:xfrm>
              <a:custGeom>
                <a:avLst/>
                <a:gdLst>
                  <a:gd name="connsiteX0" fmla="*/ 27675 w 55318"/>
                  <a:gd name="connsiteY0" fmla="*/ 44356 h 44356"/>
                  <a:gd name="connsiteX1" fmla="*/ 55319 w 55318"/>
                  <a:gd name="connsiteY1" fmla="*/ 22182 h 44356"/>
                  <a:gd name="connsiteX2" fmla="*/ 28126 w 55318"/>
                  <a:gd name="connsiteY2" fmla="*/ 7 h 44356"/>
                  <a:gd name="connsiteX3" fmla="*/ 0 w 55318"/>
                  <a:gd name="connsiteY3" fmla="*/ 22182 h 44356"/>
                  <a:gd name="connsiteX4" fmla="*/ 27645 w 55318"/>
                  <a:gd name="connsiteY4" fmla="*/ 44356 h 44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318" h="44356">
                    <a:moveTo>
                      <a:pt x="27675" y="44356"/>
                    </a:moveTo>
                    <a:cubicBezTo>
                      <a:pt x="42956" y="44356"/>
                      <a:pt x="55319" y="34428"/>
                      <a:pt x="55319" y="22182"/>
                    </a:cubicBezTo>
                    <a:cubicBezTo>
                      <a:pt x="55228" y="9911"/>
                      <a:pt x="43527" y="321"/>
                      <a:pt x="28126" y="7"/>
                    </a:cubicBezTo>
                    <a:cubicBezTo>
                      <a:pt x="12965" y="-307"/>
                      <a:pt x="-90" y="9959"/>
                      <a:pt x="0" y="22182"/>
                    </a:cubicBezTo>
                    <a:cubicBezTo>
                      <a:pt x="0" y="34428"/>
                      <a:pt x="12394" y="44356"/>
                      <a:pt x="27645" y="44356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7D889913-4E7D-BA1B-5E5A-C58FDB488C3A}"/>
                  </a:ext>
                </a:extLst>
              </p:cNvPr>
              <p:cNvSpPr/>
              <p:nvPr/>
            </p:nvSpPr>
            <p:spPr>
              <a:xfrm>
                <a:off x="2312527" y="2865854"/>
                <a:ext cx="55341" cy="44371"/>
              </a:xfrm>
              <a:custGeom>
                <a:avLst/>
                <a:gdLst>
                  <a:gd name="connsiteX0" fmla="*/ 24104 w 55341"/>
                  <a:gd name="connsiteY0" fmla="*/ 44263 h 44371"/>
                  <a:gd name="connsiteX1" fmla="*/ 55117 w 55341"/>
                  <a:gd name="connsiteY1" fmla="*/ 25011 h 44371"/>
                  <a:gd name="connsiteX2" fmla="*/ 31294 w 55341"/>
                  <a:gd name="connsiteY2" fmla="*/ 252 h 44371"/>
                  <a:gd name="connsiteX3" fmla="*/ 250 w 55341"/>
                  <a:gd name="connsiteY3" fmla="*/ 19504 h 44371"/>
                  <a:gd name="connsiteX4" fmla="*/ 24104 w 55341"/>
                  <a:gd name="connsiteY4" fmla="*/ 44263 h 44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341" h="44371">
                    <a:moveTo>
                      <a:pt x="24104" y="44263"/>
                    </a:moveTo>
                    <a:cubicBezTo>
                      <a:pt x="39295" y="45447"/>
                      <a:pt x="53192" y="36823"/>
                      <a:pt x="55117" y="25011"/>
                    </a:cubicBezTo>
                    <a:cubicBezTo>
                      <a:pt x="57043" y="13199"/>
                      <a:pt x="46334" y="2112"/>
                      <a:pt x="31294" y="252"/>
                    </a:cubicBezTo>
                    <a:cubicBezTo>
                      <a:pt x="16163" y="-1608"/>
                      <a:pt x="2296" y="7016"/>
                      <a:pt x="250" y="19504"/>
                    </a:cubicBezTo>
                    <a:cubicBezTo>
                      <a:pt x="-1795" y="31992"/>
                      <a:pt x="8914" y="43079"/>
                      <a:pt x="24104" y="44263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3AB541B8-0260-0E27-EBFD-D0F96D752CEE}"/>
                  </a:ext>
                </a:extLst>
              </p:cNvPr>
              <p:cNvSpPr/>
              <p:nvPr/>
            </p:nvSpPr>
            <p:spPr>
              <a:xfrm>
                <a:off x="2343430" y="2743652"/>
                <a:ext cx="55633" cy="44290"/>
              </a:xfrm>
              <a:custGeom>
                <a:avLst/>
                <a:gdLst>
                  <a:gd name="connsiteX0" fmla="*/ 20726 w 55633"/>
                  <a:gd name="connsiteY0" fmla="*/ 43684 h 44290"/>
                  <a:gd name="connsiteX1" fmla="*/ 54566 w 55633"/>
                  <a:gd name="connsiteY1" fmla="*/ 27887 h 44290"/>
                  <a:gd name="connsiteX2" fmla="*/ 35646 w 55633"/>
                  <a:gd name="connsiteY2" fmla="*/ 881 h 44290"/>
                  <a:gd name="connsiteX3" fmla="*/ 1203 w 55633"/>
                  <a:gd name="connsiteY3" fmla="*/ 16558 h 44290"/>
                  <a:gd name="connsiteX4" fmla="*/ 20726 w 55633"/>
                  <a:gd name="connsiteY4" fmla="*/ 43684 h 4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33" h="44290">
                    <a:moveTo>
                      <a:pt x="20726" y="43684"/>
                    </a:moveTo>
                    <a:cubicBezTo>
                      <a:pt x="35616" y="46486"/>
                      <a:pt x="50145" y="39288"/>
                      <a:pt x="54566" y="27887"/>
                    </a:cubicBezTo>
                    <a:cubicBezTo>
                      <a:pt x="58748" y="16437"/>
                      <a:pt x="50265" y="4336"/>
                      <a:pt x="35646" y="881"/>
                    </a:cubicBezTo>
                    <a:cubicBezTo>
                      <a:pt x="21027" y="-2573"/>
                      <a:pt x="5595" y="4432"/>
                      <a:pt x="1203" y="16558"/>
                    </a:cubicBezTo>
                    <a:cubicBezTo>
                      <a:pt x="-3459" y="28636"/>
                      <a:pt x="5926" y="40906"/>
                      <a:pt x="20726" y="43684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FE96A776-E22E-4370-4458-59A7CC405BB5}"/>
                  </a:ext>
                </a:extLst>
              </p:cNvPr>
              <p:cNvSpPr/>
              <p:nvPr/>
            </p:nvSpPr>
            <p:spPr>
              <a:xfrm>
                <a:off x="2395840" y="2625970"/>
                <a:ext cx="55640" cy="44204"/>
              </a:xfrm>
              <a:custGeom>
                <a:avLst/>
                <a:gdLst>
                  <a:gd name="connsiteX0" fmla="*/ 39456 w 55640"/>
                  <a:gd name="connsiteY0" fmla="*/ 1893 h 44204"/>
                  <a:gd name="connsiteX1" fmla="*/ 2337 w 55640"/>
                  <a:gd name="connsiteY1" fmla="*/ 13633 h 44204"/>
                  <a:gd name="connsiteX2" fmla="*/ 17136 w 55640"/>
                  <a:gd name="connsiteY2" fmla="*/ 42692 h 44204"/>
                  <a:gd name="connsiteX3" fmla="*/ 53173 w 55640"/>
                  <a:gd name="connsiteY3" fmla="*/ 30590 h 44204"/>
                  <a:gd name="connsiteX4" fmla="*/ 39456 w 55640"/>
                  <a:gd name="connsiteY4" fmla="*/ 1893 h 44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0" h="44204">
                    <a:moveTo>
                      <a:pt x="39456" y="1893"/>
                    </a:moveTo>
                    <a:cubicBezTo>
                      <a:pt x="25589" y="-3107"/>
                      <a:pt x="8954" y="2135"/>
                      <a:pt x="2337" y="13633"/>
                    </a:cubicBezTo>
                    <a:cubicBezTo>
                      <a:pt x="-3980" y="25227"/>
                      <a:pt x="3028" y="38344"/>
                      <a:pt x="17136" y="42692"/>
                    </a:cubicBezTo>
                    <a:cubicBezTo>
                      <a:pt x="31424" y="47088"/>
                      <a:pt x="47217" y="41556"/>
                      <a:pt x="53173" y="30590"/>
                    </a:cubicBezTo>
                    <a:cubicBezTo>
                      <a:pt x="59460" y="19744"/>
                      <a:pt x="53323" y="6894"/>
                      <a:pt x="39456" y="1893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CFDC5105-70BE-94E0-4AB5-2C768714167F}"/>
                  </a:ext>
                </a:extLst>
              </p:cNvPr>
              <p:cNvSpPr/>
              <p:nvPr/>
            </p:nvSpPr>
            <p:spPr>
              <a:xfrm>
                <a:off x="2468581" y="2515076"/>
                <a:ext cx="55635" cy="44082"/>
              </a:xfrm>
              <a:custGeom>
                <a:avLst/>
                <a:gdLst>
                  <a:gd name="connsiteX0" fmla="*/ 42909 w 55635"/>
                  <a:gd name="connsiteY0" fmla="*/ 3268 h 44082"/>
                  <a:gd name="connsiteX1" fmla="*/ 4075 w 55635"/>
                  <a:gd name="connsiteY1" fmla="*/ 10925 h 44082"/>
                  <a:gd name="connsiteX2" fmla="*/ 13610 w 55635"/>
                  <a:gd name="connsiteY2" fmla="*/ 41288 h 44082"/>
                  <a:gd name="connsiteX3" fmla="*/ 51482 w 55635"/>
                  <a:gd name="connsiteY3" fmla="*/ 33196 h 44082"/>
                  <a:gd name="connsiteX4" fmla="*/ 42939 w 55635"/>
                  <a:gd name="connsiteY4" fmla="*/ 3292 h 44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35" h="44082">
                    <a:moveTo>
                      <a:pt x="42909" y="3268"/>
                    </a:moveTo>
                    <a:cubicBezTo>
                      <a:pt x="30155" y="-3133"/>
                      <a:pt x="12377" y="104"/>
                      <a:pt x="4075" y="10925"/>
                    </a:cubicBezTo>
                    <a:cubicBezTo>
                      <a:pt x="-3987" y="21843"/>
                      <a:pt x="285" y="35443"/>
                      <a:pt x="13610" y="41288"/>
                    </a:cubicBezTo>
                    <a:cubicBezTo>
                      <a:pt x="26906" y="47134"/>
                      <a:pt x="43871" y="43511"/>
                      <a:pt x="51482" y="33196"/>
                    </a:cubicBezTo>
                    <a:cubicBezTo>
                      <a:pt x="59303" y="22979"/>
                      <a:pt x="55874" y="9766"/>
                      <a:pt x="42939" y="3292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173505EE-8699-8CA1-8322-8C0394AFC4F8}"/>
                  </a:ext>
                </a:extLst>
              </p:cNvPr>
              <p:cNvSpPr/>
              <p:nvPr/>
            </p:nvSpPr>
            <p:spPr>
              <a:xfrm>
                <a:off x="2559990" y="2412929"/>
                <a:ext cx="55736" cy="43975"/>
              </a:xfrm>
              <a:custGeom>
                <a:avLst/>
                <a:gdLst>
                  <a:gd name="connsiteX0" fmla="*/ 6458 w 55736"/>
                  <a:gd name="connsiteY0" fmla="*/ 8528 h 43975"/>
                  <a:gd name="connsiteX1" fmla="*/ 10428 w 55736"/>
                  <a:gd name="connsiteY1" fmla="*/ 39519 h 43975"/>
                  <a:gd name="connsiteX2" fmla="*/ 49503 w 55736"/>
                  <a:gd name="connsiteY2" fmla="*/ 35630 h 43975"/>
                  <a:gd name="connsiteX3" fmla="*/ 46104 w 55736"/>
                  <a:gd name="connsiteY3" fmla="*/ 5002 h 43975"/>
                  <a:gd name="connsiteX4" fmla="*/ 6458 w 55736"/>
                  <a:gd name="connsiteY4" fmla="*/ 8528 h 43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736" h="43975">
                    <a:moveTo>
                      <a:pt x="6458" y="8528"/>
                    </a:moveTo>
                    <a:cubicBezTo>
                      <a:pt x="-3529" y="18432"/>
                      <a:pt x="-1724" y="32297"/>
                      <a:pt x="10428" y="39519"/>
                    </a:cubicBezTo>
                    <a:cubicBezTo>
                      <a:pt x="22581" y="46742"/>
                      <a:pt x="40088" y="45003"/>
                      <a:pt x="49503" y="35630"/>
                    </a:cubicBezTo>
                    <a:cubicBezTo>
                      <a:pt x="58708" y="26113"/>
                      <a:pt x="57835" y="12828"/>
                      <a:pt x="46104" y="5002"/>
                    </a:cubicBezTo>
                    <a:cubicBezTo>
                      <a:pt x="34613" y="-2680"/>
                      <a:pt x="16204" y="-1520"/>
                      <a:pt x="6458" y="8528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5F1A6CAE-20F1-441F-C905-B1C21B01FA7A}"/>
                  </a:ext>
                </a:extLst>
              </p:cNvPr>
              <p:cNvSpPr/>
              <p:nvPr/>
            </p:nvSpPr>
            <p:spPr>
              <a:xfrm>
                <a:off x="2668315" y="2321534"/>
                <a:ext cx="55983" cy="43809"/>
              </a:xfrm>
              <a:custGeom>
                <a:avLst/>
                <a:gdLst>
                  <a:gd name="connsiteX0" fmla="*/ 9250 w 55983"/>
                  <a:gd name="connsiteY0" fmla="*/ 6346 h 43809"/>
                  <a:gd name="connsiteX1" fmla="*/ 7626 w 55983"/>
                  <a:gd name="connsiteY1" fmla="*/ 37361 h 43809"/>
                  <a:gd name="connsiteX2" fmla="*/ 47152 w 55983"/>
                  <a:gd name="connsiteY2" fmla="*/ 37772 h 43809"/>
                  <a:gd name="connsiteX3" fmla="*/ 49017 w 55983"/>
                  <a:gd name="connsiteY3" fmla="*/ 6974 h 43809"/>
                  <a:gd name="connsiteX4" fmla="*/ 9250 w 55983"/>
                  <a:gd name="connsiteY4" fmla="*/ 6370 h 43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983" h="43809">
                    <a:moveTo>
                      <a:pt x="9250" y="6346"/>
                    </a:moveTo>
                    <a:cubicBezTo>
                      <a:pt x="-2421" y="15042"/>
                      <a:pt x="-3143" y="28931"/>
                      <a:pt x="7626" y="37361"/>
                    </a:cubicBezTo>
                    <a:cubicBezTo>
                      <a:pt x="18425" y="45792"/>
                      <a:pt x="36112" y="45985"/>
                      <a:pt x="47152" y="37772"/>
                    </a:cubicBezTo>
                    <a:cubicBezTo>
                      <a:pt x="58071" y="29439"/>
                      <a:pt x="59064" y="15791"/>
                      <a:pt x="49017" y="6974"/>
                    </a:cubicBezTo>
                    <a:cubicBezTo>
                      <a:pt x="38759" y="-2012"/>
                      <a:pt x="20801" y="-2422"/>
                      <a:pt x="9250" y="6370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F65EF776-90DB-1047-2B80-240B5CE1E932}"/>
                  </a:ext>
                </a:extLst>
              </p:cNvPr>
              <p:cNvSpPr/>
              <p:nvPr/>
            </p:nvSpPr>
            <p:spPr>
              <a:xfrm>
                <a:off x="2791539" y="2242623"/>
                <a:ext cx="56337" cy="43555"/>
              </a:xfrm>
              <a:custGeom>
                <a:avLst/>
                <a:gdLst>
                  <a:gd name="connsiteX0" fmla="*/ 12395 w 56337"/>
                  <a:gd name="connsiteY0" fmla="*/ 4337 h 43555"/>
                  <a:gd name="connsiteX1" fmla="*/ 5296 w 56337"/>
                  <a:gd name="connsiteY1" fmla="*/ 34821 h 43555"/>
                  <a:gd name="connsiteX2" fmla="*/ 44461 w 56337"/>
                  <a:gd name="connsiteY2" fmla="*/ 39507 h 43555"/>
                  <a:gd name="connsiteX3" fmla="*/ 51590 w 56337"/>
                  <a:gd name="connsiteY3" fmla="*/ 9072 h 43555"/>
                  <a:gd name="connsiteX4" fmla="*/ 12395 w 56337"/>
                  <a:gd name="connsiteY4" fmla="*/ 4337 h 43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337" h="43555">
                    <a:moveTo>
                      <a:pt x="12395" y="4337"/>
                    </a:moveTo>
                    <a:cubicBezTo>
                      <a:pt x="-750" y="11656"/>
                      <a:pt x="-3969" y="25231"/>
                      <a:pt x="5296" y="34821"/>
                    </a:cubicBezTo>
                    <a:cubicBezTo>
                      <a:pt x="14440" y="44242"/>
                      <a:pt x="32037" y="46416"/>
                      <a:pt x="44461" y="39507"/>
                    </a:cubicBezTo>
                    <a:cubicBezTo>
                      <a:pt x="56884" y="32599"/>
                      <a:pt x="60072" y="18975"/>
                      <a:pt x="51590" y="9072"/>
                    </a:cubicBezTo>
                    <a:cubicBezTo>
                      <a:pt x="43107" y="-832"/>
                      <a:pt x="25540" y="-2958"/>
                      <a:pt x="12395" y="4337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313E2E7B-AD3E-9F0F-2F6D-BEB6773C5E24}"/>
                  </a:ext>
                </a:extLst>
              </p:cNvPr>
              <p:cNvSpPr/>
              <p:nvPr/>
            </p:nvSpPr>
            <p:spPr>
              <a:xfrm>
                <a:off x="2927606" y="2177601"/>
                <a:ext cx="56566" cy="43279"/>
              </a:xfrm>
              <a:custGeom>
                <a:avLst/>
                <a:gdLst>
                  <a:gd name="connsiteX0" fmla="*/ 15661 w 56566"/>
                  <a:gd name="connsiteY0" fmla="*/ 2618 h 43279"/>
                  <a:gd name="connsiteX1" fmla="*/ 3388 w 56566"/>
                  <a:gd name="connsiteY1" fmla="*/ 32184 h 43279"/>
                  <a:gd name="connsiteX2" fmla="*/ 41260 w 56566"/>
                  <a:gd name="connsiteY2" fmla="*/ 40880 h 43279"/>
                  <a:gd name="connsiteX3" fmla="*/ 53743 w 56566"/>
                  <a:gd name="connsiteY3" fmla="*/ 11628 h 43279"/>
                  <a:gd name="connsiteX4" fmla="*/ 15631 w 56566"/>
                  <a:gd name="connsiteY4" fmla="*/ 2618 h 43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566" h="43279">
                    <a:moveTo>
                      <a:pt x="15661" y="2618"/>
                    </a:moveTo>
                    <a:cubicBezTo>
                      <a:pt x="1192" y="8198"/>
                      <a:pt x="-4102" y="21725"/>
                      <a:pt x="3388" y="32184"/>
                    </a:cubicBezTo>
                    <a:cubicBezTo>
                      <a:pt x="10818" y="42523"/>
                      <a:pt x="27573" y="46146"/>
                      <a:pt x="41260" y="40880"/>
                    </a:cubicBezTo>
                    <a:cubicBezTo>
                      <a:pt x="54856" y="35445"/>
                      <a:pt x="60421" y="22353"/>
                      <a:pt x="53743" y="11628"/>
                    </a:cubicBezTo>
                    <a:cubicBezTo>
                      <a:pt x="47065" y="903"/>
                      <a:pt x="30009" y="-3131"/>
                      <a:pt x="15631" y="2618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92834C17-D5CF-71F2-18F0-508141A0164E}"/>
                  </a:ext>
                </a:extLst>
              </p:cNvPr>
              <p:cNvSpPr/>
              <p:nvPr/>
            </p:nvSpPr>
            <p:spPr>
              <a:xfrm>
                <a:off x="3073922" y="2127719"/>
                <a:ext cx="56672" cy="43145"/>
              </a:xfrm>
              <a:custGeom>
                <a:avLst/>
                <a:gdLst>
                  <a:gd name="connsiteX0" fmla="*/ 19086 w 56672"/>
                  <a:gd name="connsiteY0" fmla="*/ 1267 h 43145"/>
                  <a:gd name="connsiteX1" fmla="*/ 1789 w 56672"/>
                  <a:gd name="connsiteY1" fmla="*/ 29408 h 43145"/>
                  <a:gd name="connsiteX2" fmla="*/ 37676 w 56672"/>
                  <a:gd name="connsiteY2" fmla="*/ 41920 h 43145"/>
                  <a:gd name="connsiteX3" fmla="*/ 55303 w 56672"/>
                  <a:gd name="connsiteY3" fmla="*/ 14480 h 43145"/>
                  <a:gd name="connsiteX4" fmla="*/ 19086 w 56672"/>
                  <a:gd name="connsiteY4" fmla="*/ 1267 h 43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72" h="43145">
                    <a:moveTo>
                      <a:pt x="19086" y="1267"/>
                    </a:moveTo>
                    <a:cubicBezTo>
                      <a:pt x="3775" y="5253"/>
                      <a:pt x="-3685" y="18441"/>
                      <a:pt x="1789" y="29408"/>
                    </a:cubicBezTo>
                    <a:cubicBezTo>
                      <a:pt x="7414" y="40640"/>
                      <a:pt x="23207" y="45664"/>
                      <a:pt x="37676" y="41920"/>
                    </a:cubicBezTo>
                    <a:cubicBezTo>
                      <a:pt x="52144" y="38104"/>
                      <a:pt x="60025" y="25833"/>
                      <a:pt x="55303" y="14480"/>
                    </a:cubicBezTo>
                    <a:cubicBezTo>
                      <a:pt x="50580" y="3151"/>
                      <a:pt x="34367" y="-2767"/>
                      <a:pt x="19086" y="1267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C7C63604-4D28-CE70-633D-E74B30C3C411}"/>
                  </a:ext>
                </a:extLst>
              </p:cNvPr>
              <p:cNvSpPr/>
              <p:nvPr/>
            </p:nvSpPr>
            <p:spPr>
              <a:xfrm>
                <a:off x="3227628" y="2093865"/>
                <a:ext cx="56793" cy="43288"/>
              </a:xfrm>
              <a:custGeom>
                <a:avLst/>
                <a:gdLst>
                  <a:gd name="connsiteX0" fmla="*/ 22791 w 56793"/>
                  <a:gd name="connsiteY0" fmla="*/ 482 h 43288"/>
                  <a:gd name="connsiteX1" fmla="*/ 712 w 56793"/>
                  <a:gd name="connsiteY1" fmla="*/ 26594 h 43288"/>
                  <a:gd name="connsiteX2" fmla="*/ 34041 w 56793"/>
                  <a:gd name="connsiteY2" fmla="*/ 42730 h 43288"/>
                  <a:gd name="connsiteX3" fmla="*/ 56361 w 56793"/>
                  <a:gd name="connsiteY3" fmla="*/ 17560 h 43288"/>
                  <a:gd name="connsiteX4" fmla="*/ 22791 w 56793"/>
                  <a:gd name="connsiteY4" fmla="*/ 458 h 43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793" h="43288">
                    <a:moveTo>
                      <a:pt x="22791" y="482"/>
                    </a:moveTo>
                    <a:cubicBezTo>
                      <a:pt x="7059" y="3308"/>
                      <a:pt x="-2807" y="14999"/>
                      <a:pt x="712" y="26594"/>
                    </a:cubicBezTo>
                    <a:cubicBezTo>
                      <a:pt x="4262" y="38188"/>
                      <a:pt x="19182" y="45411"/>
                      <a:pt x="34041" y="42730"/>
                    </a:cubicBezTo>
                    <a:cubicBezTo>
                      <a:pt x="48991" y="40362"/>
                      <a:pt x="59038" y="29348"/>
                      <a:pt x="56361" y="17560"/>
                    </a:cubicBezTo>
                    <a:cubicBezTo>
                      <a:pt x="53714" y="5893"/>
                      <a:pt x="38614" y="-2030"/>
                      <a:pt x="22791" y="458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5DA0153F-8EBB-5128-5B21-16A2B3D64993}"/>
                  </a:ext>
                </a:extLst>
              </p:cNvPr>
              <p:cNvSpPr/>
              <p:nvPr/>
            </p:nvSpPr>
            <p:spPr>
              <a:xfrm>
                <a:off x="3385839" y="2077151"/>
                <a:ext cx="56845" cy="43200"/>
              </a:xfrm>
              <a:custGeom>
                <a:avLst/>
                <a:gdLst>
                  <a:gd name="connsiteX0" fmla="*/ 26595 w 56845"/>
                  <a:gd name="connsiteY0" fmla="*/ 70 h 43200"/>
                  <a:gd name="connsiteX1" fmla="*/ 124 w 56845"/>
                  <a:gd name="connsiteY1" fmla="*/ 23283 h 43200"/>
                  <a:gd name="connsiteX2" fmla="*/ 30325 w 56845"/>
                  <a:gd name="connsiteY2" fmla="*/ 43139 h 43200"/>
                  <a:gd name="connsiteX3" fmla="*/ 56826 w 56845"/>
                  <a:gd name="connsiteY3" fmla="*/ 20264 h 43200"/>
                  <a:gd name="connsiteX4" fmla="*/ 26595 w 56845"/>
                  <a:gd name="connsiteY4" fmla="*/ 94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845" h="43200">
                    <a:moveTo>
                      <a:pt x="26595" y="70"/>
                    </a:moveTo>
                    <a:cubicBezTo>
                      <a:pt x="10502" y="1012"/>
                      <a:pt x="-1350" y="11423"/>
                      <a:pt x="124" y="23283"/>
                    </a:cubicBezTo>
                    <a:cubicBezTo>
                      <a:pt x="1598" y="35143"/>
                      <a:pt x="15104" y="44032"/>
                      <a:pt x="30325" y="43139"/>
                    </a:cubicBezTo>
                    <a:cubicBezTo>
                      <a:pt x="45546" y="42052"/>
                      <a:pt x="57397" y="32051"/>
                      <a:pt x="56826" y="20264"/>
                    </a:cubicBezTo>
                    <a:cubicBezTo>
                      <a:pt x="56224" y="8234"/>
                      <a:pt x="42688" y="-1041"/>
                      <a:pt x="26595" y="94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F045C270-C35E-60BC-4A7D-1882209849DA}"/>
                </a:ext>
              </a:extLst>
            </p:cNvPr>
            <p:cNvSpPr/>
            <p:nvPr/>
          </p:nvSpPr>
          <p:spPr>
            <a:xfrm>
              <a:off x="3555076" y="2077125"/>
              <a:ext cx="1491334" cy="1293318"/>
            </a:xfrm>
            <a:custGeom>
              <a:avLst/>
              <a:gdLst>
                <a:gd name="connsiteX0" fmla="*/ 1281373 w 1491334"/>
                <a:gd name="connsiteY0" fmla="*/ 1007417 h 1293318"/>
                <a:gd name="connsiteX1" fmla="*/ 22109 w 1491334"/>
                <a:gd name="connsiteY1" fmla="*/ 0 h 1293318"/>
                <a:gd name="connsiteX2" fmla="*/ 0 w 1491334"/>
                <a:gd name="connsiteY2" fmla="*/ 16232 h 1293318"/>
                <a:gd name="connsiteX3" fmla="*/ 22109 w 1491334"/>
                <a:gd name="connsiteY3" fmla="*/ 32465 h 1293318"/>
                <a:gd name="connsiteX4" fmla="*/ 1237064 w 1491334"/>
                <a:gd name="connsiteY4" fmla="*/ 1007417 h 1293318"/>
                <a:gd name="connsiteX5" fmla="*/ 1033569 w 1491334"/>
                <a:gd name="connsiteY5" fmla="*/ 1007417 h 1293318"/>
                <a:gd name="connsiteX6" fmla="*/ 1262452 w 1491334"/>
                <a:gd name="connsiteY6" fmla="*/ 1293319 h 1293318"/>
                <a:gd name="connsiteX7" fmla="*/ 1491335 w 1491334"/>
                <a:gd name="connsiteY7" fmla="*/ 1007417 h 1293318"/>
                <a:gd name="connsiteX8" fmla="*/ 1281373 w 1491334"/>
                <a:gd name="connsiteY8" fmla="*/ 1007417 h 129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1334" h="1293318">
                  <a:moveTo>
                    <a:pt x="1281373" y="1007417"/>
                  </a:moveTo>
                  <a:cubicBezTo>
                    <a:pt x="1267054" y="377618"/>
                    <a:pt x="689657" y="0"/>
                    <a:pt x="22109" y="0"/>
                  </a:cubicBezTo>
                  <a:cubicBezTo>
                    <a:pt x="9897" y="0"/>
                    <a:pt x="0" y="7271"/>
                    <a:pt x="0" y="16232"/>
                  </a:cubicBezTo>
                  <a:cubicBezTo>
                    <a:pt x="0" y="25194"/>
                    <a:pt x="9897" y="32465"/>
                    <a:pt x="22109" y="32465"/>
                  </a:cubicBezTo>
                  <a:cubicBezTo>
                    <a:pt x="665262" y="32465"/>
                    <a:pt x="1211766" y="417088"/>
                    <a:pt x="1237064" y="1007417"/>
                  </a:cubicBezTo>
                  <a:lnTo>
                    <a:pt x="1033569" y="1007417"/>
                  </a:lnTo>
                  <a:lnTo>
                    <a:pt x="1262452" y="1293319"/>
                  </a:lnTo>
                  <a:lnTo>
                    <a:pt x="1491335" y="1007417"/>
                  </a:lnTo>
                  <a:lnTo>
                    <a:pt x="1281373" y="1007417"/>
                  </a:lnTo>
                  <a:close/>
                </a:path>
              </a:pathLst>
            </a:custGeom>
            <a:solidFill>
              <a:srgbClr val="63ADE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0B00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BEDF222D-39A1-3321-81E9-9756BE50050C}"/>
              </a:ext>
            </a:extLst>
          </p:cNvPr>
          <p:cNvGrpSpPr/>
          <p:nvPr/>
        </p:nvGrpSpPr>
        <p:grpSpPr>
          <a:xfrm flipV="1">
            <a:off x="1935791" y="4382670"/>
            <a:ext cx="3211761" cy="1472893"/>
            <a:chOff x="2302670" y="2077125"/>
            <a:chExt cx="2743740" cy="1293319"/>
          </a:xfrm>
        </p:grpSpPr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B9B91357-6BA2-8535-37AC-BBD1BAB33924}"/>
                </a:ext>
              </a:extLst>
            </p:cNvPr>
            <p:cNvGrpSpPr/>
            <p:nvPr/>
          </p:nvGrpSpPr>
          <p:grpSpPr>
            <a:xfrm>
              <a:off x="2302670" y="2077152"/>
              <a:ext cx="1140014" cy="1293292"/>
              <a:chOff x="2302670" y="2077151"/>
              <a:chExt cx="1140014" cy="1082319"/>
            </a:xfrm>
          </p:grpSpPr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815C0AF6-5C97-B342-F8D8-06FCD24DDD78}"/>
                  </a:ext>
                </a:extLst>
              </p:cNvPr>
              <p:cNvSpPr/>
              <p:nvPr/>
            </p:nvSpPr>
            <p:spPr>
              <a:xfrm>
                <a:off x="2302701" y="3115122"/>
                <a:ext cx="55288" cy="44348"/>
              </a:xfrm>
              <a:custGeom>
                <a:avLst/>
                <a:gdLst>
                  <a:gd name="connsiteX0" fmla="*/ 55288 w 55288"/>
                  <a:gd name="connsiteY0" fmla="*/ 22174 h 44348"/>
                  <a:gd name="connsiteX1" fmla="*/ 27644 w 55288"/>
                  <a:gd name="connsiteY1" fmla="*/ 44349 h 44348"/>
                  <a:gd name="connsiteX2" fmla="*/ 0 w 55288"/>
                  <a:gd name="connsiteY2" fmla="*/ 22174 h 44348"/>
                  <a:gd name="connsiteX3" fmla="*/ 27644 w 55288"/>
                  <a:gd name="connsiteY3" fmla="*/ 0 h 44348"/>
                  <a:gd name="connsiteX4" fmla="*/ 55288 w 55288"/>
                  <a:gd name="connsiteY4" fmla="*/ 22174 h 44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88" h="44348">
                    <a:moveTo>
                      <a:pt x="55288" y="22174"/>
                    </a:moveTo>
                    <a:cubicBezTo>
                      <a:pt x="55288" y="34421"/>
                      <a:pt x="42911" y="44349"/>
                      <a:pt x="27644" y="44349"/>
                    </a:cubicBezTo>
                    <a:cubicBezTo>
                      <a:pt x="12377" y="44349"/>
                      <a:pt x="0" y="34421"/>
                      <a:pt x="0" y="22174"/>
                    </a:cubicBezTo>
                    <a:cubicBezTo>
                      <a:pt x="0" y="9928"/>
                      <a:pt x="12377" y="0"/>
                      <a:pt x="27644" y="0"/>
                    </a:cubicBezTo>
                    <a:cubicBezTo>
                      <a:pt x="42911" y="0"/>
                      <a:pt x="55288" y="9928"/>
                      <a:pt x="55288" y="22174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B013F373-6C99-7292-213A-5B72374F994F}"/>
                  </a:ext>
                </a:extLst>
              </p:cNvPr>
              <p:cNvSpPr/>
              <p:nvPr/>
            </p:nvSpPr>
            <p:spPr>
              <a:xfrm>
                <a:off x="2302670" y="2990378"/>
                <a:ext cx="55318" cy="44356"/>
              </a:xfrm>
              <a:custGeom>
                <a:avLst/>
                <a:gdLst>
                  <a:gd name="connsiteX0" fmla="*/ 27675 w 55318"/>
                  <a:gd name="connsiteY0" fmla="*/ 44356 h 44356"/>
                  <a:gd name="connsiteX1" fmla="*/ 55319 w 55318"/>
                  <a:gd name="connsiteY1" fmla="*/ 22182 h 44356"/>
                  <a:gd name="connsiteX2" fmla="*/ 28126 w 55318"/>
                  <a:gd name="connsiteY2" fmla="*/ 7 h 44356"/>
                  <a:gd name="connsiteX3" fmla="*/ 0 w 55318"/>
                  <a:gd name="connsiteY3" fmla="*/ 22182 h 44356"/>
                  <a:gd name="connsiteX4" fmla="*/ 27645 w 55318"/>
                  <a:gd name="connsiteY4" fmla="*/ 44356 h 44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318" h="44356">
                    <a:moveTo>
                      <a:pt x="27675" y="44356"/>
                    </a:moveTo>
                    <a:cubicBezTo>
                      <a:pt x="42956" y="44356"/>
                      <a:pt x="55319" y="34428"/>
                      <a:pt x="55319" y="22182"/>
                    </a:cubicBezTo>
                    <a:cubicBezTo>
                      <a:pt x="55228" y="9911"/>
                      <a:pt x="43527" y="321"/>
                      <a:pt x="28126" y="7"/>
                    </a:cubicBezTo>
                    <a:cubicBezTo>
                      <a:pt x="12965" y="-307"/>
                      <a:pt x="-90" y="9959"/>
                      <a:pt x="0" y="22182"/>
                    </a:cubicBezTo>
                    <a:cubicBezTo>
                      <a:pt x="0" y="34428"/>
                      <a:pt x="12394" y="44356"/>
                      <a:pt x="27645" y="44356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B93B9CC7-8E0B-8C77-690C-FE2BB03AB49A}"/>
                  </a:ext>
                </a:extLst>
              </p:cNvPr>
              <p:cNvSpPr/>
              <p:nvPr/>
            </p:nvSpPr>
            <p:spPr>
              <a:xfrm>
                <a:off x="2312527" y="2865854"/>
                <a:ext cx="55341" cy="44371"/>
              </a:xfrm>
              <a:custGeom>
                <a:avLst/>
                <a:gdLst>
                  <a:gd name="connsiteX0" fmla="*/ 24104 w 55341"/>
                  <a:gd name="connsiteY0" fmla="*/ 44263 h 44371"/>
                  <a:gd name="connsiteX1" fmla="*/ 55117 w 55341"/>
                  <a:gd name="connsiteY1" fmla="*/ 25011 h 44371"/>
                  <a:gd name="connsiteX2" fmla="*/ 31294 w 55341"/>
                  <a:gd name="connsiteY2" fmla="*/ 252 h 44371"/>
                  <a:gd name="connsiteX3" fmla="*/ 250 w 55341"/>
                  <a:gd name="connsiteY3" fmla="*/ 19504 h 44371"/>
                  <a:gd name="connsiteX4" fmla="*/ 24104 w 55341"/>
                  <a:gd name="connsiteY4" fmla="*/ 44263 h 44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341" h="44371">
                    <a:moveTo>
                      <a:pt x="24104" y="44263"/>
                    </a:moveTo>
                    <a:cubicBezTo>
                      <a:pt x="39295" y="45447"/>
                      <a:pt x="53192" y="36823"/>
                      <a:pt x="55117" y="25011"/>
                    </a:cubicBezTo>
                    <a:cubicBezTo>
                      <a:pt x="57043" y="13199"/>
                      <a:pt x="46334" y="2112"/>
                      <a:pt x="31294" y="252"/>
                    </a:cubicBezTo>
                    <a:cubicBezTo>
                      <a:pt x="16163" y="-1608"/>
                      <a:pt x="2296" y="7016"/>
                      <a:pt x="250" y="19504"/>
                    </a:cubicBezTo>
                    <a:cubicBezTo>
                      <a:pt x="-1795" y="31992"/>
                      <a:pt x="8914" y="43079"/>
                      <a:pt x="24104" y="44263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FF36ABEC-1845-5D6C-C384-7840E597CD89}"/>
                  </a:ext>
                </a:extLst>
              </p:cNvPr>
              <p:cNvSpPr/>
              <p:nvPr/>
            </p:nvSpPr>
            <p:spPr>
              <a:xfrm>
                <a:off x="2343430" y="2743652"/>
                <a:ext cx="55633" cy="44290"/>
              </a:xfrm>
              <a:custGeom>
                <a:avLst/>
                <a:gdLst>
                  <a:gd name="connsiteX0" fmla="*/ 20726 w 55633"/>
                  <a:gd name="connsiteY0" fmla="*/ 43684 h 44290"/>
                  <a:gd name="connsiteX1" fmla="*/ 54566 w 55633"/>
                  <a:gd name="connsiteY1" fmla="*/ 27887 h 44290"/>
                  <a:gd name="connsiteX2" fmla="*/ 35646 w 55633"/>
                  <a:gd name="connsiteY2" fmla="*/ 881 h 44290"/>
                  <a:gd name="connsiteX3" fmla="*/ 1203 w 55633"/>
                  <a:gd name="connsiteY3" fmla="*/ 16558 h 44290"/>
                  <a:gd name="connsiteX4" fmla="*/ 20726 w 55633"/>
                  <a:gd name="connsiteY4" fmla="*/ 43684 h 4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33" h="44290">
                    <a:moveTo>
                      <a:pt x="20726" y="43684"/>
                    </a:moveTo>
                    <a:cubicBezTo>
                      <a:pt x="35616" y="46486"/>
                      <a:pt x="50145" y="39288"/>
                      <a:pt x="54566" y="27887"/>
                    </a:cubicBezTo>
                    <a:cubicBezTo>
                      <a:pt x="58748" y="16437"/>
                      <a:pt x="50265" y="4336"/>
                      <a:pt x="35646" y="881"/>
                    </a:cubicBezTo>
                    <a:cubicBezTo>
                      <a:pt x="21027" y="-2573"/>
                      <a:pt x="5595" y="4432"/>
                      <a:pt x="1203" y="16558"/>
                    </a:cubicBezTo>
                    <a:cubicBezTo>
                      <a:pt x="-3459" y="28636"/>
                      <a:pt x="5926" y="40906"/>
                      <a:pt x="20726" y="43684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5DBF383F-4EAF-9A9D-7277-3372EC2D7086}"/>
                  </a:ext>
                </a:extLst>
              </p:cNvPr>
              <p:cNvSpPr/>
              <p:nvPr/>
            </p:nvSpPr>
            <p:spPr>
              <a:xfrm>
                <a:off x="2395840" y="2625970"/>
                <a:ext cx="55640" cy="44204"/>
              </a:xfrm>
              <a:custGeom>
                <a:avLst/>
                <a:gdLst>
                  <a:gd name="connsiteX0" fmla="*/ 39456 w 55640"/>
                  <a:gd name="connsiteY0" fmla="*/ 1893 h 44204"/>
                  <a:gd name="connsiteX1" fmla="*/ 2337 w 55640"/>
                  <a:gd name="connsiteY1" fmla="*/ 13633 h 44204"/>
                  <a:gd name="connsiteX2" fmla="*/ 17136 w 55640"/>
                  <a:gd name="connsiteY2" fmla="*/ 42692 h 44204"/>
                  <a:gd name="connsiteX3" fmla="*/ 53173 w 55640"/>
                  <a:gd name="connsiteY3" fmla="*/ 30590 h 44204"/>
                  <a:gd name="connsiteX4" fmla="*/ 39456 w 55640"/>
                  <a:gd name="connsiteY4" fmla="*/ 1893 h 44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0" h="44204">
                    <a:moveTo>
                      <a:pt x="39456" y="1893"/>
                    </a:moveTo>
                    <a:cubicBezTo>
                      <a:pt x="25589" y="-3107"/>
                      <a:pt x="8954" y="2135"/>
                      <a:pt x="2337" y="13633"/>
                    </a:cubicBezTo>
                    <a:cubicBezTo>
                      <a:pt x="-3980" y="25227"/>
                      <a:pt x="3028" y="38344"/>
                      <a:pt x="17136" y="42692"/>
                    </a:cubicBezTo>
                    <a:cubicBezTo>
                      <a:pt x="31424" y="47088"/>
                      <a:pt x="47217" y="41556"/>
                      <a:pt x="53173" y="30590"/>
                    </a:cubicBezTo>
                    <a:cubicBezTo>
                      <a:pt x="59460" y="19744"/>
                      <a:pt x="53323" y="6894"/>
                      <a:pt x="39456" y="1893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F9322982-F4F9-36DB-25D8-C3F10A21D671}"/>
                  </a:ext>
                </a:extLst>
              </p:cNvPr>
              <p:cNvSpPr/>
              <p:nvPr/>
            </p:nvSpPr>
            <p:spPr>
              <a:xfrm>
                <a:off x="2468581" y="2515076"/>
                <a:ext cx="55635" cy="44082"/>
              </a:xfrm>
              <a:custGeom>
                <a:avLst/>
                <a:gdLst>
                  <a:gd name="connsiteX0" fmla="*/ 42909 w 55635"/>
                  <a:gd name="connsiteY0" fmla="*/ 3268 h 44082"/>
                  <a:gd name="connsiteX1" fmla="*/ 4075 w 55635"/>
                  <a:gd name="connsiteY1" fmla="*/ 10925 h 44082"/>
                  <a:gd name="connsiteX2" fmla="*/ 13610 w 55635"/>
                  <a:gd name="connsiteY2" fmla="*/ 41288 h 44082"/>
                  <a:gd name="connsiteX3" fmla="*/ 51482 w 55635"/>
                  <a:gd name="connsiteY3" fmla="*/ 33196 h 44082"/>
                  <a:gd name="connsiteX4" fmla="*/ 42939 w 55635"/>
                  <a:gd name="connsiteY4" fmla="*/ 3292 h 44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35" h="44082">
                    <a:moveTo>
                      <a:pt x="42909" y="3268"/>
                    </a:moveTo>
                    <a:cubicBezTo>
                      <a:pt x="30155" y="-3133"/>
                      <a:pt x="12377" y="104"/>
                      <a:pt x="4075" y="10925"/>
                    </a:cubicBezTo>
                    <a:cubicBezTo>
                      <a:pt x="-3987" y="21843"/>
                      <a:pt x="285" y="35443"/>
                      <a:pt x="13610" y="41288"/>
                    </a:cubicBezTo>
                    <a:cubicBezTo>
                      <a:pt x="26906" y="47134"/>
                      <a:pt x="43871" y="43511"/>
                      <a:pt x="51482" y="33196"/>
                    </a:cubicBezTo>
                    <a:cubicBezTo>
                      <a:pt x="59303" y="22979"/>
                      <a:pt x="55874" y="9766"/>
                      <a:pt x="42939" y="3292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BD828D44-1C2C-4598-2CFB-6F343A0A560E}"/>
                  </a:ext>
                </a:extLst>
              </p:cNvPr>
              <p:cNvSpPr/>
              <p:nvPr/>
            </p:nvSpPr>
            <p:spPr>
              <a:xfrm>
                <a:off x="2559990" y="2412929"/>
                <a:ext cx="55736" cy="43975"/>
              </a:xfrm>
              <a:custGeom>
                <a:avLst/>
                <a:gdLst>
                  <a:gd name="connsiteX0" fmla="*/ 6458 w 55736"/>
                  <a:gd name="connsiteY0" fmla="*/ 8528 h 43975"/>
                  <a:gd name="connsiteX1" fmla="*/ 10428 w 55736"/>
                  <a:gd name="connsiteY1" fmla="*/ 39519 h 43975"/>
                  <a:gd name="connsiteX2" fmla="*/ 49503 w 55736"/>
                  <a:gd name="connsiteY2" fmla="*/ 35630 h 43975"/>
                  <a:gd name="connsiteX3" fmla="*/ 46104 w 55736"/>
                  <a:gd name="connsiteY3" fmla="*/ 5002 h 43975"/>
                  <a:gd name="connsiteX4" fmla="*/ 6458 w 55736"/>
                  <a:gd name="connsiteY4" fmla="*/ 8528 h 43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736" h="43975">
                    <a:moveTo>
                      <a:pt x="6458" y="8528"/>
                    </a:moveTo>
                    <a:cubicBezTo>
                      <a:pt x="-3529" y="18432"/>
                      <a:pt x="-1724" y="32297"/>
                      <a:pt x="10428" y="39519"/>
                    </a:cubicBezTo>
                    <a:cubicBezTo>
                      <a:pt x="22581" y="46742"/>
                      <a:pt x="40088" y="45003"/>
                      <a:pt x="49503" y="35630"/>
                    </a:cubicBezTo>
                    <a:cubicBezTo>
                      <a:pt x="58708" y="26113"/>
                      <a:pt x="57835" y="12828"/>
                      <a:pt x="46104" y="5002"/>
                    </a:cubicBezTo>
                    <a:cubicBezTo>
                      <a:pt x="34613" y="-2680"/>
                      <a:pt x="16204" y="-1520"/>
                      <a:pt x="6458" y="8528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6198A6E0-DEB0-90FE-567C-E754F1B4DEFC}"/>
                  </a:ext>
                </a:extLst>
              </p:cNvPr>
              <p:cNvSpPr/>
              <p:nvPr/>
            </p:nvSpPr>
            <p:spPr>
              <a:xfrm>
                <a:off x="2668315" y="2321534"/>
                <a:ext cx="55983" cy="43809"/>
              </a:xfrm>
              <a:custGeom>
                <a:avLst/>
                <a:gdLst>
                  <a:gd name="connsiteX0" fmla="*/ 9250 w 55983"/>
                  <a:gd name="connsiteY0" fmla="*/ 6346 h 43809"/>
                  <a:gd name="connsiteX1" fmla="*/ 7626 w 55983"/>
                  <a:gd name="connsiteY1" fmla="*/ 37361 h 43809"/>
                  <a:gd name="connsiteX2" fmla="*/ 47152 w 55983"/>
                  <a:gd name="connsiteY2" fmla="*/ 37772 h 43809"/>
                  <a:gd name="connsiteX3" fmla="*/ 49017 w 55983"/>
                  <a:gd name="connsiteY3" fmla="*/ 6974 h 43809"/>
                  <a:gd name="connsiteX4" fmla="*/ 9250 w 55983"/>
                  <a:gd name="connsiteY4" fmla="*/ 6370 h 43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983" h="43809">
                    <a:moveTo>
                      <a:pt x="9250" y="6346"/>
                    </a:moveTo>
                    <a:cubicBezTo>
                      <a:pt x="-2421" y="15042"/>
                      <a:pt x="-3143" y="28931"/>
                      <a:pt x="7626" y="37361"/>
                    </a:cubicBezTo>
                    <a:cubicBezTo>
                      <a:pt x="18425" y="45792"/>
                      <a:pt x="36112" y="45985"/>
                      <a:pt x="47152" y="37772"/>
                    </a:cubicBezTo>
                    <a:cubicBezTo>
                      <a:pt x="58071" y="29439"/>
                      <a:pt x="59064" y="15791"/>
                      <a:pt x="49017" y="6974"/>
                    </a:cubicBezTo>
                    <a:cubicBezTo>
                      <a:pt x="38759" y="-2012"/>
                      <a:pt x="20801" y="-2422"/>
                      <a:pt x="9250" y="6370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4C1661CB-4063-8624-DF7B-3A5DB937F7BA}"/>
                  </a:ext>
                </a:extLst>
              </p:cNvPr>
              <p:cNvSpPr/>
              <p:nvPr/>
            </p:nvSpPr>
            <p:spPr>
              <a:xfrm>
                <a:off x="2791539" y="2242623"/>
                <a:ext cx="56337" cy="43555"/>
              </a:xfrm>
              <a:custGeom>
                <a:avLst/>
                <a:gdLst>
                  <a:gd name="connsiteX0" fmla="*/ 12395 w 56337"/>
                  <a:gd name="connsiteY0" fmla="*/ 4337 h 43555"/>
                  <a:gd name="connsiteX1" fmla="*/ 5296 w 56337"/>
                  <a:gd name="connsiteY1" fmla="*/ 34821 h 43555"/>
                  <a:gd name="connsiteX2" fmla="*/ 44461 w 56337"/>
                  <a:gd name="connsiteY2" fmla="*/ 39507 h 43555"/>
                  <a:gd name="connsiteX3" fmla="*/ 51590 w 56337"/>
                  <a:gd name="connsiteY3" fmla="*/ 9072 h 43555"/>
                  <a:gd name="connsiteX4" fmla="*/ 12395 w 56337"/>
                  <a:gd name="connsiteY4" fmla="*/ 4337 h 43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337" h="43555">
                    <a:moveTo>
                      <a:pt x="12395" y="4337"/>
                    </a:moveTo>
                    <a:cubicBezTo>
                      <a:pt x="-750" y="11656"/>
                      <a:pt x="-3969" y="25231"/>
                      <a:pt x="5296" y="34821"/>
                    </a:cubicBezTo>
                    <a:cubicBezTo>
                      <a:pt x="14440" y="44242"/>
                      <a:pt x="32037" y="46416"/>
                      <a:pt x="44461" y="39507"/>
                    </a:cubicBezTo>
                    <a:cubicBezTo>
                      <a:pt x="56884" y="32599"/>
                      <a:pt x="60072" y="18975"/>
                      <a:pt x="51590" y="9072"/>
                    </a:cubicBezTo>
                    <a:cubicBezTo>
                      <a:pt x="43107" y="-832"/>
                      <a:pt x="25540" y="-2958"/>
                      <a:pt x="12395" y="4337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F53E086A-1F58-8B2A-D2B8-B9DF087D6F03}"/>
                  </a:ext>
                </a:extLst>
              </p:cNvPr>
              <p:cNvSpPr/>
              <p:nvPr/>
            </p:nvSpPr>
            <p:spPr>
              <a:xfrm>
                <a:off x="2927606" y="2177601"/>
                <a:ext cx="56566" cy="43279"/>
              </a:xfrm>
              <a:custGeom>
                <a:avLst/>
                <a:gdLst>
                  <a:gd name="connsiteX0" fmla="*/ 15661 w 56566"/>
                  <a:gd name="connsiteY0" fmla="*/ 2618 h 43279"/>
                  <a:gd name="connsiteX1" fmla="*/ 3388 w 56566"/>
                  <a:gd name="connsiteY1" fmla="*/ 32184 h 43279"/>
                  <a:gd name="connsiteX2" fmla="*/ 41260 w 56566"/>
                  <a:gd name="connsiteY2" fmla="*/ 40880 h 43279"/>
                  <a:gd name="connsiteX3" fmla="*/ 53743 w 56566"/>
                  <a:gd name="connsiteY3" fmla="*/ 11628 h 43279"/>
                  <a:gd name="connsiteX4" fmla="*/ 15631 w 56566"/>
                  <a:gd name="connsiteY4" fmla="*/ 2618 h 43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566" h="43279">
                    <a:moveTo>
                      <a:pt x="15661" y="2618"/>
                    </a:moveTo>
                    <a:cubicBezTo>
                      <a:pt x="1192" y="8198"/>
                      <a:pt x="-4102" y="21725"/>
                      <a:pt x="3388" y="32184"/>
                    </a:cubicBezTo>
                    <a:cubicBezTo>
                      <a:pt x="10818" y="42523"/>
                      <a:pt x="27573" y="46146"/>
                      <a:pt x="41260" y="40880"/>
                    </a:cubicBezTo>
                    <a:cubicBezTo>
                      <a:pt x="54856" y="35445"/>
                      <a:pt x="60421" y="22353"/>
                      <a:pt x="53743" y="11628"/>
                    </a:cubicBezTo>
                    <a:cubicBezTo>
                      <a:pt x="47065" y="903"/>
                      <a:pt x="30009" y="-3131"/>
                      <a:pt x="15631" y="2618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79214179-D42C-ADF8-C353-23CD35D164E7}"/>
                  </a:ext>
                </a:extLst>
              </p:cNvPr>
              <p:cNvSpPr/>
              <p:nvPr/>
            </p:nvSpPr>
            <p:spPr>
              <a:xfrm>
                <a:off x="3073922" y="2127719"/>
                <a:ext cx="56672" cy="43145"/>
              </a:xfrm>
              <a:custGeom>
                <a:avLst/>
                <a:gdLst>
                  <a:gd name="connsiteX0" fmla="*/ 19086 w 56672"/>
                  <a:gd name="connsiteY0" fmla="*/ 1267 h 43145"/>
                  <a:gd name="connsiteX1" fmla="*/ 1789 w 56672"/>
                  <a:gd name="connsiteY1" fmla="*/ 29408 h 43145"/>
                  <a:gd name="connsiteX2" fmla="*/ 37676 w 56672"/>
                  <a:gd name="connsiteY2" fmla="*/ 41920 h 43145"/>
                  <a:gd name="connsiteX3" fmla="*/ 55303 w 56672"/>
                  <a:gd name="connsiteY3" fmla="*/ 14480 h 43145"/>
                  <a:gd name="connsiteX4" fmla="*/ 19086 w 56672"/>
                  <a:gd name="connsiteY4" fmla="*/ 1267 h 43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72" h="43145">
                    <a:moveTo>
                      <a:pt x="19086" y="1267"/>
                    </a:moveTo>
                    <a:cubicBezTo>
                      <a:pt x="3775" y="5253"/>
                      <a:pt x="-3685" y="18441"/>
                      <a:pt x="1789" y="29408"/>
                    </a:cubicBezTo>
                    <a:cubicBezTo>
                      <a:pt x="7414" y="40640"/>
                      <a:pt x="23207" y="45664"/>
                      <a:pt x="37676" y="41920"/>
                    </a:cubicBezTo>
                    <a:cubicBezTo>
                      <a:pt x="52144" y="38104"/>
                      <a:pt x="60025" y="25833"/>
                      <a:pt x="55303" y="14480"/>
                    </a:cubicBezTo>
                    <a:cubicBezTo>
                      <a:pt x="50580" y="3151"/>
                      <a:pt x="34367" y="-2767"/>
                      <a:pt x="19086" y="1267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CB176E0C-ACDE-4159-85D0-7D4D827DD4E4}"/>
                  </a:ext>
                </a:extLst>
              </p:cNvPr>
              <p:cNvSpPr/>
              <p:nvPr/>
            </p:nvSpPr>
            <p:spPr>
              <a:xfrm>
                <a:off x="3227628" y="2093865"/>
                <a:ext cx="56793" cy="43288"/>
              </a:xfrm>
              <a:custGeom>
                <a:avLst/>
                <a:gdLst>
                  <a:gd name="connsiteX0" fmla="*/ 22791 w 56793"/>
                  <a:gd name="connsiteY0" fmla="*/ 482 h 43288"/>
                  <a:gd name="connsiteX1" fmla="*/ 712 w 56793"/>
                  <a:gd name="connsiteY1" fmla="*/ 26594 h 43288"/>
                  <a:gd name="connsiteX2" fmla="*/ 34041 w 56793"/>
                  <a:gd name="connsiteY2" fmla="*/ 42730 h 43288"/>
                  <a:gd name="connsiteX3" fmla="*/ 56361 w 56793"/>
                  <a:gd name="connsiteY3" fmla="*/ 17560 h 43288"/>
                  <a:gd name="connsiteX4" fmla="*/ 22791 w 56793"/>
                  <a:gd name="connsiteY4" fmla="*/ 458 h 43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793" h="43288">
                    <a:moveTo>
                      <a:pt x="22791" y="482"/>
                    </a:moveTo>
                    <a:cubicBezTo>
                      <a:pt x="7059" y="3308"/>
                      <a:pt x="-2807" y="14999"/>
                      <a:pt x="712" y="26594"/>
                    </a:cubicBezTo>
                    <a:cubicBezTo>
                      <a:pt x="4262" y="38188"/>
                      <a:pt x="19182" y="45411"/>
                      <a:pt x="34041" y="42730"/>
                    </a:cubicBezTo>
                    <a:cubicBezTo>
                      <a:pt x="48991" y="40362"/>
                      <a:pt x="59038" y="29348"/>
                      <a:pt x="56361" y="17560"/>
                    </a:cubicBezTo>
                    <a:cubicBezTo>
                      <a:pt x="53714" y="5893"/>
                      <a:pt x="38614" y="-2030"/>
                      <a:pt x="22791" y="458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D26EDCBA-86D9-5F43-7B45-7995DDAB570D}"/>
                  </a:ext>
                </a:extLst>
              </p:cNvPr>
              <p:cNvSpPr/>
              <p:nvPr/>
            </p:nvSpPr>
            <p:spPr>
              <a:xfrm>
                <a:off x="3385839" y="2077151"/>
                <a:ext cx="56845" cy="43200"/>
              </a:xfrm>
              <a:custGeom>
                <a:avLst/>
                <a:gdLst>
                  <a:gd name="connsiteX0" fmla="*/ 26595 w 56845"/>
                  <a:gd name="connsiteY0" fmla="*/ 70 h 43200"/>
                  <a:gd name="connsiteX1" fmla="*/ 124 w 56845"/>
                  <a:gd name="connsiteY1" fmla="*/ 23283 h 43200"/>
                  <a:gd name="connsiteX2" fmla="*/ 30325 w 56845"/>
                  <a:gd name="connsiteY2" fmla="*/ 43139 h 43200"/>
                  <a:gd name="connsiteX3" fmla="*/ 56826 w 56845"/>
                  <a:gd name="connsiteY3" fmla="*/ 20264 h 43200"/>
                  <a:gd name="connsiteX4" fmla="*/ 26595 w 56845"/>
                  <a:gd name="connsiteY4" fmla="*/ 94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845" h="43200">
                    <a:moveTo>
                      <a:pt x="26595" y="70"/>
                    </a:moveTo>
                    <a:cubicBezTo>
                      <a:pt x="10502" y="1012"/>
                      <a:pt x="-1350" y="11423"/>
                      <a:pt x="124" y="23283"/>
                    </a:cubicBezTo>
                    <a:cubicBezTo>
                      <a:pt x="1598" y="35143"/>
                      <a:pt x="15104" y="44032"/>
                      <a:pt x="30325" y="43139"/>
                    </a:cubicBezTo>
                    <a:cubicBezTo>
                      <a:pt x="45546" y="42052"/>
                      <a:pt x="57397" y="32051"/>
                      <a:pt x="56826" y="20264"/>
                    </a:cubicBezTo>
                    <a:cubicBezTo>
                      <a:pt x="56224" y="8234"/>
                      <a:pt x="42688" y="-1041"/>
                      <a:pt x="26595" y="94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F42D1EA3-D914-CD95-6187-29786354CF3E}"/>
                </a:ext>
              </a:extLst>
            </p:cNvPr>
            <p:cNvSpPr/>
            <p:nvPr/>
          </p:nvSpPr>
          <p:spPr>
            <a:xfrm>
              <a:off x="3555076" y="2077125"/>
              <a:ext cx="1491334" cy="1293318"/>
            </a:xfrm>
            <a:custGeom>
              <a:avLst/>
              <a:gdLst>
                <a:gd name="connsiteX0" fmla="*/ 1281373 w 1491334"/>
                <a:gd name="connsiteY0" fmla="*/ 1007417 h 1293318"/>
                <a:gd name="connsiteX1" fmla="*/ 22109 w 1491334"/>
                <a:gd name="connsiteY1" fmla="*/ 0 h 1293318"/>
                <a:gd name="connsiteX2" fmla="*/ 0 w 1491334"/>
                <a:gd name="connsiteY2" fmla="*/ 16232 h 1293318"/>
                <a:gd name="connsiteX3" fmla="*/ 22109 w 1491334"/>
                <a:gd name="connsiteY3" fmla="*/ 32465 h 1293318"/>
                <a:gd name="connsiteX4" fmla="*/ 1237064 w 1491334"/>
                <a:gd name="connsiteY4" fmla="*/ 1007417 h 1293318"/>
                <a:gd name="connsiteX5" fmla="*/ 1033569 w 1491334"/>
                <a:gd name="connsiteY5" fmla="*/ 1007417 h 1293318"/>
                <a:gd name="connsiteX6" fmla="*/ 1262452 w 1491334"/>
                <a:gd name="connsiteY6" fmla="*/ 1293319 h 1293318"/>
                <a:gd name="connsiteX7" fmla="*/ 1491335 w 1491334"/>
                <a:gd name="connsiteY7" fmla="*/ 1007417 h 1293318"/>
                <a:gd name="connsiteX8" fmla="*/ 1281373 w 1491334"/>
                <a:gd name="connsiteY8" fmla="*/ 1007417 h 129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1334" h="1293318">
                  <a:moveTo>
                    <a:pt x="1281373" y="1007417"/>
                  </a:moveTo>
                  <a:cubicBezTo>
                    <a:pt x="1267054" y="377618"/>
                    <a:pt x="689657" y="0"/>
                    <a:pt x="22109" y="0"/>
                  </a:cubicBezTo>
                  <a:cubicBezTo>
                    <a:pt x="9897" y="0"/>
                    <a:pt x="0" y="7271"/>
                    <a:pt x="0" y="16232"/>
                  </a:cubicBezTo>
                  <a:cubicBezTo>
                    <a:pt x="0" y="25194"/>
                    <a:pt x="9897" y="32465"/>
                    <a:pt x="22109" y="32465"/>
                  </a:cubicBezTo>
                  <a:cubicBezTo>
                    <a:pt x="665262" y="32465"/>
                    <a:pt x="1211766" y="417088"/>
                    <a:pt x="1237064" y="1007417"/>
                  </a:cubicBezTo>
                  <a:lnTo>
                    <a:pt x="1033569" y="1007417"/>
                  </a:lnTo>
                  <a:lnTo>
                    <a:pt x="1262452" y="1293319"/>
                  </a:lnTo>
                  <a:lnTo>
                    <a:pt x="1491335" y="1007417"/>
                  </a:lnTo>
                  <a:lnTo>
                    <a:pt x="1281373" y="1007417"/>
                  </a:lnTo>
                  <a:close/>
                </a:path>
              </a:pathLst>
            </a:custGeom>
            <a:solidFill>
              <a:srgbClr val="63ADE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0B00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4AAEDD52-1DD9-BA1D-D617-9CBE06F41423}"/>
              </a:ext>
            </a:extLst>
          </p:cNvPr>
          <p:cNvGrpSpPr/>
          <p:nvPr/>
        </p:nvGrpSpPr>
        <p:grpSpPr>
          <a:xfrm flipV="1">
            <a:off x="7083167" y="4382670"/>
            <a:ext cx="3211761" cy="1472893"/>
            <a:chOff x="2302670" y="2077125"/>
            <a:chExt cx="2743740" cy="1293319"/>
          </a:xfrm>
        </p:grpSpPr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BAF87FC8-0A29-634D-FEEF-AE2B3F5569CC}"/>
                </a:ext>
              </a:extLst>
            </p:cNvPr>
            <p:cNvGrpSpPr/>
            <p:nvPr/>
          </p:nvGrpSpPr>
          <p:grpSpPr>
            <a:xfrm>
              <a:off x="2302670" y="2077152"/>
              <a:ext cx="1140014" cy="1293292"/>
              <a:chOff x="2302670" y="2077151"/>
              <a:chExt cx="1140014" cy="1082319"/>
            </a:xfrm>
          </p:grpSpPr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6ABFFFBF-6DA3-166E-7F98-E7BF68B60D7B}"/>
                  </a:ext>
                </a:extLst>
              </p:cNvPr>
              <p:cNvSpPr/>
              <p:nvPr/>
            </p:nvSpPr>
            <p:spPr>
              <a:xfrm>
                <a:off x="2302701" y="3115122"/>
                <a:ext cx="55288" cy="44348"/>
              </a:xfrm>
              <a:custGeom>
                <a:avLst/>
                <a:gdLst>
                  <a:gd name="connsiteX0" fmla="*/ 55288 w 55288"/>
                  <a:gd name="connsiteY0" fmla="*/ 22174 h 44348"/>
                  <a:gd name="connsiteX1" fmla="*/ 27644 w 55288"/>
                  <a:gd name="connsiteY1" fmla="*/ 44349 h 44348"/>
                  <a:gd name="connsiteX2" fmla="*/ 0 w 55288"/>
                  <a:gd name="connsiteY2" fmla="*/ 22174 h 44348"/>
                  <a:gd name="connsiteX3" fmla="*/ 27644 w 55288"/>
                  <a:gd name="connsiteY3" fmla="*/ 0 h 44348"/>
                  <a:gd name="connsiteX4" fmla="*/ 55288 w 55288"/>
                  <a:gd name="connsiteY4" fmla="*/ 22174 h 443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288" h="44348">
                    <a:moveTo>
                      <a:pt x="55288" y="22174"/>
                    </a:moveTo>
                    <a:cubicBezTo>
                      <a:pt x="55288" y="34421"/>
                      <a:pt x="42911" y="44349"/>
                      <a:pt x="27644" y="44349"/>
                    </a:cubicBezTo>
                    <a:cubicBezTo>
                      <a:pt x="12377" y="44349"/>
                      <a:pt x="0" y="34421"/>
                      <a:pt x="0" y="22174"/>
                    </a:cubicBezTo>
                    <a:cubicBezTo>
                      <a:pt x="0" y="9928"/>
                      <a:pt x="12377" y="0"/>
                      <a:pt x="27644" y="0"/>
                    </a:cubicBezTo>
                    <a:cubicBezTo>
                      <a:pt x="42911" y="0"/>
                      <a:pt x="55288" y="9928"/>
                      <a:pt x="55288" y="22174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7E624B07-3885-C9DB-AB04-38384CF7DD0B}"/>
                  </a:ext>
                </a:extLst>
              </p:cNvPr>
              <p:cNvSpPr/>
              <p:nvPr/>
            </p:nvSpPr>
            <p:spPr>
              <a:xfrm>
                <a:off x="2302670" y="2990378"/>
                <a:ext cx="55318" cy="44356"/>
              </a:xfrm>
              <a:custGeom>
                <a:avLst/>
                <a:gdLst>
                  <a:gd name="connsiteX0" fmla="*/ 27675 w 55318"/>
                  <a:gd name="connsiteY0" fmla="*/ 44356 h 44356"/>
                  <a:gd name="connsiteX1" fmla="*/ 55319 w 55318"/>
                  <a:gd name="connsiteY1" fmla="*/ 22182 h 44356"/>
                  <a:gd name="connsiteX2" fmla="*/ 28126 w 55318"/>
                  <a:gd name="connsiteY2" fmla="*/ 7 h 44356"/>
                  <a:gd name="connsiteX3" fmla="*/ 0 w 55318"/>
                  <a:gd name="connsiteY3" fmla="*/ 22182 h 44356"/>
                  <a:gd name="connsiteX4" fmla="*/ 27645 w 55318"/>
                  <a:gd name="connsiteY4" fmla="*/ 44356 h 443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318" h="44356">
                    <a:moveTo>
                      <a:pt x="27675" y="44356"/>
                    </a:moveTo>
                    <a:cubicBezTo>
                      <a:pt x="42956" y="44356"/>
                      <a:pt x="55319" y="34428"/>
                      <a:pt x="55319" y="22182"/>
                    </a:cubicBezTo>
                    <a:cubicBezTo>
                      <a:pt x="55228" y="9911"/>
                      <a:pt x="43527" y="321"/>
                      <a:pt x="28126" y="7"/>
                    </a:cubicBezTo>
                    <a:cubicBezTo>
                      <a:pt x="12965" y="-307"/>
                      <a:pt x="-90" y="9959"/>
                      <a:pt x="0" y="22182"/>
                    </a:cubicBezTo>
                    <a:cubicBezTo>
                      <a:pt x="0" y="34428"/>
                      <a:pt x="12394" y="44356"/>
                      <a:pt x="27645" y="44356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FF5CDD22-13F8-E06F-6A1A-0C43C33C791C}"/>
                  </a:ext>
                </a:extLst>
              </p:cNvPr>
              <p:cNvSpPr/>
              <p:nvPr/>
            </p:nvSpPr>
            <p:spPr>
              <a:xfrm>
                <a:off x="2312527" y="2865854"/>
                <a:ext cx="55341" cy="44371"/>
              </a:xfrm>
              <a:custGeom>
                <a:avLst/>
                <a:gdLst>
                  <a:gd name="connsiteX0" fmla="*/ 24104 w 55341"/>
                  <a:gd name="connsiteY0" fmla="*/ 44263 h 44371"/>
                  <a:gd name="connsiteX1" fmla="*/ 55117 w 55341"/>
                  <a:gd name="connsiteY1" fmla="*/ 25011 h 44371"/>
                  <a:gd name="connsiteX2" fmla="*/ 31294 w 55341"/>
                  <a:gd name="connsiteY2" fmla="*/ 252 h 44371"/>
                  <a:gd name="connsiteX3" fmla="*/ 250 w 55341"/>
                  <a:gd name="connsiteY3" fmla="*/ 19504 h 44371"/>
                  <a:gd name="connsiteX4" fmla="*/ 24104 w 55341"/>
                  <a:gd name="connsiteY4" fmla="*/ 44263 h 443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341" h="44371">
                    <a:moveTo>
                      <a:pt x="24104" y="44263"/>
                    </a:moveTo>
                    <a:cubicBezTo>
                      <a:pt x="39295" y="45447"/>
                      <a:pt x="53192" y="36823"/>
                      <a:pt x="55117" y="25011"/>
                    </a:cubicBezTo>
                    <a:cubicBezTo>
                      <a:pt x="57043" y="13199"/>
                      <a:pt x="46334" y="2112"/>
                      <a:pt x="31294" y="252"/>
                    </a:cubicBezTo>
                    <a:cubicBezTo>
                      <a:pt x="16163" y="-1608"/>
                      <a:pt x="2296" y="7016"/>
                      <a:pt x="250" y="19504"/>
                    </a:cubicBezTo>
                    <a:cubicBezTo>
                      <a:pt x="-1795" y="31992"/>
                      <a:pt x="8914" y="43079"/>
                      <a:pt x="24104" y="44263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33679251-18F5-7BFF-A4EC-718DD3F5F76E}"/>
                  </a:ext>
                </a:extLst>
              </p:cNvPr>
              <p:cNvSpPr/>
              <p:nvPr/>
            </p:nvSpPr>
            <p:spPr>
              <a:xfrm>
                <a:off x="2343430" y="2743652"/>
                <a:ext cx="55633" cy="44290"/>
              </a:xfrm>
              <a:custGeom>
                <a:avLst/>
                <a:gdLst>
                  <a:gd name="connsiteX0" fmla="*/ 20726 w 55633"/>
                  <a:gd name="connsiteY0" fmla="*/ 43684 h 44290"/>
                  <a:gd name="connsiteX1" fmla="*/ 54566 w 55633"/>
                  <a:gd name="connsiteY1" fmla="*/ 27887 h 44290"/>
                  <a:gd name="connsiteX2" fmla="*/ 35646 w 55633"/>
                  <a:gd name="connsiteY2" fmla="*/ 881 h 44290"/>
                  <a:gd name="connsiteX3" fmla="*/ 1203 w 55633"/>
                  <a:gd name="connsiteY3" fmla="*/ 16558 h 44290"/>
                  <a:gd name="connsiteX4" fmla="*/ 20726 w 55633"/>
                  <a:gd name="connsiteY4" fmla="*/ 43684 h 44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33" h="44290">
                    <a:moveTo>
                      <a:pt x="20726" y="43684"/>
                    </a:moveTo>
                    <a:cubicBezTo>
                      <a:pt x="35616" y="46486"/>
                      <a:pt x="50145" y="39288"/>
                      <a:pt x="54566" y="27887"/>
                    </a:cubicBezTo>
                    <a:cubicBezTo>
                      <a:pt x="58748" y="16437"/>
                      <a:pt x="50265" y="4336"/>
                      <a:pt x="35646" y="881"/>
                    </a:cubicBezTo>
                    <a:cubicBezTo>
                      <a:pt x="21027" y="-2573"/>
                      <a:pt x="5595" y="4432"/>
                      <a:pt x="1203" y="16558"/>
                    </a:cubicBezTo>
                    <a:cubicBezTo>
                      <a:pt x="-3459" y="28636"/>
                      <a:pt x="5926" y="40906"/>
                      <a:pt x="20726" y="43684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B7A08243-20D7-E241-8C5E-70B64AD85883}"/>
                  </a:ext>
                </a:extLst>
              </p:cNvPr>
              <p:cNvSpPr/>
              <p:nvPr/>
            </p:nvSpPr>
            <p:spPr>
              <a:xfrm>
                <a:off x="2395840" y="2625970"/>
                <a:ext cx="55640" cy="44204"/>
              </a:xfrm>
              <a:custGeom>
                <a:avLst/>
                <a:gdLst>
                  <a:gd name="connsiteX0" fmla="*/ 39456 w 55640"/>
                  <a:gd name="connsiteY0" fmla="*/ 1893 h 44204"/>
                  <a:gd name="connsiteX1" fmla="*/ 2337 w 55640"/>
                  <a:gd name="connsiteY1" fmla="*/ 13633 h 44204"/>
                  <a:gd name="connsiteX2" fmla="*/ 17136 w 55640"/>
                  <a:gd name="connsiteY2" fmla="*/ 42692 h 44204"/>
                  <a:gd name="connsiteX3" fmla="*/ 53173 w 55640"/>
                  <a:gd name="connsiteY3" fmla="*/ 30590 h 44204"/>
                  <a:gd name="connsiteX4" fmla="*/ 39456 w 55640"/>
                  <a:gd name="connsiteY4" fmla="*/ 1893 h 44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40" h="44204">
                    <a:moveTo>
                      <a:pt x="39456" y="1893"/>
                    </a:moveTo>
                    <a:cubicBezTo>
                      <a:pt x="25589" y="-3107"/>
                      <a:pt x="8954" y="2135"/>
                      <a:pt x="2337" y="13633"/>
                    </a:cubicBezTo>
                    <a:cubicBezTo>
                      <a:pt x="-3980" y="25227"/>
                      <a:pt x="3028" y="38344"/>
                      <a:pt x="17136" y="42692"/>
                    </a:cubicBezTo>
                    <a:cubicBezTo>
                      <a:pt x="31424" y="47088"/>
                      <a:pt x="47217" y="41556"/>
                      <a:pt x="53173" y="30590"/>
                    </a:cubicBezTo>
                    <a:cubicBezTo>
                      <a:pt x="59460" y="19744"/>
                      <a:pt x="53323" y="6894"/>
                      <a:pt x="39456" y="1893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CF4FF8B0-DA60-2ACD-0C24-211808A278FF}"/>
                  </a:ext>
                </a:extLst>
              </p:cNvPr>
              <p:cNvSpPr/>
              <p:nvPr/>
            </p:nvSpPr>
            <p:spPr>
              <a:xfrm>
                <a:off x="2468581" y="2515076"/>
                <a:ext cx="55635" cy="44082"/>
              </a:xfrm>
              <a:custGeom>
                <a:avLst/>
                <a:gdLst>
                  <a:gd name="connsiteX0" fmla="*/ 42909 w 55635"/>
                  <a:gd name="connsiteY0" fmla="*/ 3268 h 44082"/>
                  <a:gd name="connsiteX1" fmla="*/ 4075 w 55635"/>
                  <a:gd name="connsiteY1" fmla="*/ 10925 h 44082"/>
                  <a:gd name="connsiteX2" fmla="*/ 13610 w 55635"/>
                  <a:gd name="connsiteY2" fmla="*/ 41288 h 44082"/>
                  <a:gd name="connsiteX3" fmla="*/ 51482 w 55635"/>
                  <a:gd name="connsiteY3" fmla="*/ 33196 h 44082"/>
                  <a:gd name="connsiteX4" fmla="*/ 42939 w 55635"/>
                  <a:gd name="connsiteY4" fmla="*/ 3292 h 44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635" h="44082">
                    <a:moveTo>
                      <a:pt x="42909" y="3268"/>
                    </a:moveTo>
                    <a:cubicBezTo>
                      <a:pt x="30155" y="-3133"/>
                      <a:pt x="12377" y="104"/>
                      <a:pt x="4075" y="10925"/>
                    </a:cubicBezTo>
                    <a:cubicBezTo>
                      <a:pt x="-3987" y="21843"/>
                      <a:pt x="285" y="35443"/>
                      <a:pt x="13610" y="41288"/>
                    </a:cubicBezTo>
                    <a:cubicBezTo>
                      <a:pt x="26906" y="47134"/>
                      <a:pt x="43871" y="43511"/>
                      <a:pt x="51482" y="33196"/>
                    </a:cubicBezTo>
                    <a:cubicBezTo>
                      <a:pt x="59303" y="22979"/>
                      <a:pt x="55874" y="9766"/>
                      <a:pt x="42939" y="3292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79BC9760-F459-1809-E3F5-AF0E984F8389}"/>
                  </a:ext>
                </a:extLst>
              </p:cNvPr>
              <p:cNvSpPr/>
              <p:nvPr/>
            </p:nvSpPr>
            <p:spPr>
              <a:xfrm>
                <a:off x="2559990" y="2412929"/>
                <a:ext cx="55736" cy="43975"/>
              </a:xfrm>
              <a:custGeom>
                <a:avLst/>
                <a:gdLst>
                  <a:gd name="connsiteX0" fmla="*/ 6458 w 55736"/>
                  <a:gd name="connsiteY0" fmla="*/ 8528 h 43975"/>
                  <a:gd name="connsiteX1" fmla="*/ 10428 w 55736"/>
                  <a:gd name="connsiteY1" fmla="*/ 39519 h 43975"/>
                  <a:gd name="connsiteX2" fmla="*/ 49503 w 55736"/>
                  <a:gd name="connsiteY2" fmla="*/ 35630 h 43975"/>
                  <a:gd name="connsiteX3" fmla="*/ 46104 w 55736"/>
                  <a:gd name="connsiteY3" fmla="*/ 5002 h 43975"/>
                  <a:gd name="connsiteX4" fmla="*/ 6458 w 55736"/>
                  <a:gd name="connsiteY4" fmla="*/ 8528 h 43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736" h="43975">
                    <a:moveTo>
                      <a:pt x="6458" y="8528"/>
                    </a:moveTo>
                    <a:cubicBezTo>
                      <a:pt x="-3529" y="18432"/>
                      <a:pt x="-1724" y="32297"/>
                      <a:pt x="10428" y="39519"/>
                    </a:cubicBezTo>
                    <a:cubicBezTo>
                      <a:pt x="22581" y="46742"/>
                      <a:pt x="40088" y="45003"/>
                      <a:pt x="49503" y="35630"/>
                    </a:cubicBezTo>
                    <a:cubicBezTo>
                      <a:pt x="58708" y="26113"/>
                      <a:pt x="57835" y="12828"/>
                      <a:pt x="46104" y="5002"/>
                    </a:cubicBezTo>
                    <a:cubicBezTo>
                      <a:pt x="34613" y="-2680"/>
                      <a:pt x="16204" y="-1520"/>
                      <a:pt x="6458" y="8528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688A8D89-C4D8-F307-F0CC-7E260DAF31BC}"/>
                  </a:ext>
                </a:extLst>
              </p:cNvPr>
              <p:cNvSpPr/>
              <p:nvPr/>
            </p:nvSpPr>
            <p:spPr>
              <a:xfrm>
                <a:off x="2668315" y="2321534"/>
                <a:ext cx="55983" cy="43809"/>
              </a:xfrm>
              <a:custGeom>
                <a:avLst/>
                <a:gdLst>
                  <a:gd name="connsiteX0" fmla="*/ 9250 w 55983"/>
                  <a:gd name="connsiteY0" fmla="*/ 6346 h 43809"/>
                  <a:gd name="connsiteX1" fmla="*/ 7626 w 55983"/>
                  <a:gd name="connsiteY1" fmla="*/ 37361 h 43809"/>
                  <a:gd name="connsiteX2" fmla="*/ 47152 w 55983"/>
                  <a:gd name="connsiteY2" fmla="*/ 37772 h 43809"/>
                  <a:gd name="connsiteX3" fmla="*/ 49017 w 55983"/>
                  <a:gd name="connsiteY3" fmla="*/ 6974 h 43809"/>
                  <a:gd name="connsiteX4" fmla="*/ 9250 w 55983"/>
                  <a:gd name="connsiteY4" fmla="*/ 6370 h 43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5983" h="43809">
                    <a:moveTo>
                      <a:pt x="9250" y="6346"/>
                    </a:moveTo>
                    <a:cubicBezTo>
                      <a:pt x="-2421" y="15042"/>
                      <a:pt x="-3143" y="28931"/>
                      <a:pt x="7626" y="37361"/>
                    </a:cubicBezTo>
                    <a:cubicBezTo>
                      <a:pt x="18425" y="45792"/>
                      <a:pt x="36112" y="45985"/>
                      <a:pt x="47152" y="37772"/>
                    </a:cubicBezTo>
                    <a:cubicBezTo>
                      <a:pt x="58071" y="29439"/>
                      <a:pt x="59064" y="15791"/>
                      <a:pt x="49017" y="6974"/>
                    </a:cubicBezTo>
                    <a:cubicBezTo>
                      <a:pt x="38759" y="-2012"/>
                      <a:pt x="20801" y="-2422"/>
                      <a:pt x="9250" y="6370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C1A7C331-974C-7652-13C5-3D5A816E94C5}"/>
                  </a:ext>
                </a:extLst>
              </p:cNvPr>
              <p:cNvSpPr/>
              <p:nvPr/>
            </p:nvSpPr>
            <p:spPr>
              <a:xfrm>
                <a:off x="2791539" y="2242623"/>
                <a:ext cx="56337" cy="43555"/>
              </a:xfrm>
              <a:custGeom>
                <a:avLst/>
                <a:gdLst>
                  <a:gd name="connsiteX0" fmla="*/ 12395 w 56337"/>
                  <a:gd name="connsiteY0" fmla="*/ 4337 h 43555"/>
                  <a:gd name="connsiteX1" fmla="*/ 5296 w 56337"/>
                  <a:gd name="connsiteY1" fmla="*/ 34821 h 43555"/>
                  <a:gd name="connsiteX2" fmla="*/ 44461 w 56337"/>
                  <a:gd name="connsiteY2" fmla="*/ 39507 h 43555"/>
                  <a:gd name="connsiteX3" fmla="*/ 51590 w 56337"/>
                  <a:gd name="connsiteY3" fmla="*/ 9072 h 43555"/>
                  <a:gd name="connsiteX4" fmla="*/ 12395 w 56337"/>
                  <a:gd name="connsiteY4" fmla="*/ 4337 h 43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337" h="43555">
                    <a:moveTo>
                      <a:pt x="12395" y="4337"/>
                    </a:moveTo>
                    <a:cubicBezTo>
                      <a:pt x="-750" y="11656"/>
                      <a:pt x="-3969" y="25231"/>
                      <a:pt x="5296" y="34821"/>
                    </a:cubicBezTo>
                    <a:cubicBezTo>
                      <a:pt x="14440" y="44242"/>
                      <a:pt x="32037" y="46416"/>
                      <a:pt x="44461" y="39507"/>
                    </a:cubicBezTo>
                    <a:cubicBezTo>
                      <a:pt x="56884" y="32599"/>
                      <a:pt x="60072" y="18975"/>
                      <a:pt x="51590" y="9072"/>
                    </a:cubicBezTo>
                    <a:cubicBezTo>
                      <a:pt x="43107" y="-832"/>
                      <a:pt x="25540" y="-2958"/>
                      <a:pt x="12395" y="4337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63997E09-7580-E6A4-B437-0D4A5C386D5E}"/>
                  </a:ext>
                </a:extLst>
              </p:cNvPr>
              <p:cNvSpPr/>
              <p:nvPr/>
            </p:nvSpPr>
            <p:spPr>
              <a:xfrm>
                <a:off x="2927606" y="2177601"/>
                <a:ext cx="56566" cy="43279"/>
              </a:xfrm>
              <a:custGeom>
                <a:avLst/>
                <a:gdLst>
                  <a:gd name="connsiteX0" fmla="*/ 15661 w 56566"/>
                  <a:gd name="connsiteY0" fmla="*/ 2618 h 43279"/>
                  <a:gd name="connsiteX1" fmla="*/ 3388 w 56566"/>
                  <a:gd name="connsiteY1" fmla="*/ 32184 h 43279"/>
                  <a:gd name="connsiteX2" fmla="*/ 41260 w 56566"/>
                  <a:gd name="connsiteY2" fmla="*/ 40880 h 43279"/>
                  <a:gd name="connsiteX3" fmla="*/ 53743 w 56566"/>
                  <a:gd name="connsiteY3" fmla="*/ 11628 h 43279"/>
                  <a:gd name="connsiteX4" fmla="*/ 15631 w 56566"/>
                  <a:gd name="connsiteY4" fmla="*/ 2618 h 432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566" h="43279">
                    <a:moveTo>
                      <a:pt x="15661" y="2618"/>
                    </a:moveTo>
                    <a:cubicBezTo>
                      <a:pt x="1192" y="8198"/>
                      <a:pt x="-4102" y="21725"/>
                      <a:pt x="3388" y="32184"/>
                    </a:cubicBezTo>
                    <a:cubicBezTo>
                      <a:pt x="10818" y="42523"/>
                      <a:pt x="27573" y="46146"/>
                      <a:pt x="41260" y="40880"/>
                    </a:cubicBezTo>
                    <a:cubicBezTo>
                      <a:pt x="54856" y="35445"/>
                      <a:pt x="60421" y="22353"/>
                      <a:pt x="53743" y="11628"/>
                    </a:cubicBezTo>
                    <a:cubicBezTo>
                      <a:pt x="47065" y="903"/>
                      <a:pt x="30009" y="-3131"/>
                      <a:pt x="15631" y="2618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D9E3729E-798C-140B-D921-2A609224054E}"/>
                  </a:ext>
                </a:extLst>
              </p:cNvPr>
              <p:cNvSpPr/>
              <p:nvPr/>
            </p:nvSpPr>
            <p:spPr>
              <a:xfrm>
                <a:off x="3073922" y="2127719"/>
                <a:ext cx="56672" cy="43145"/>
              </a:xfrm>
              <a:custGeom>
                <a:avLst/>
                <a:gdLst>
                  <a:gd name="connsiteX0" fmla="*/ 19086 w 56672"/>
                  <a:gd name="connsiteY0" fmla="*/ 1267 h 43145"/>
                  <a:gd name="connsiteX1" fmla="*/ 1789 w 56672"/>
                  <a:gd name="connsiteY1" fmla="*/ 29408 h 43145"/>
                  <a:gd name="connsiteX2" fmla="*/ 37676 w 56672"/>
                  <a:gd name="connsiteY2" fmla="*/ 41920 h 43145"/>
                  <a:gd name="connsiteX3" fmla="*/ 55303 w 56672"/>
                  <a:gd name="connsiteY3" fmla="*/ 14480 h 43145"/>
                  <a:gd name="connsiteX4" fmla="*/ 19086 w 56672"/>
                  <a:gd name="connsiteY4" fmla="*/ 1267 h 43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672" h="43145">
                    <a:moveTo>
                      <a:pt x="19086" y="1267"/>
                    </a:moveTo>
                    <a:cubicBezTo>
                      <a:pt x="3775" y="5253"/>
                      <a:pt x="-3685" y="18441"/>
                      <a:pt x="1789" y="29408"/>
                    </a:cubicBezTo>
                    <a:cubicBezTo>
                      <a:pt x="7414" y="40640"/>
                      <a:pt x="23207" y="45664"/>
                      <a:pt x="37676" y="41920"/>
                    </a:cubicBezTo>
                    <a:cubicBezTo>
                      <a:pt x="52144" y="38104"/>
                      <a:pt x="60025" y="25833"/>
                      <a:pt x="55303" y="14480"/>
                    </a:cubicBezTo>
                    <a:cubicBezTo>
                      <a:pt x="50580" y="3151"/>
                      <a:pt x="34367" y="-2767"/>
                      <a:pt x="19086" y="1267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4D38DB61-B1AD-816F-9001-566092814B0F}"/>
                  </a:ext>
                </a:extLst>
              </p:cNvPr>
              <p:cNvSpPr/>
              <p:nvPr/>
            </p:nvSpPr>
            <p:spPr>
              <a:xfrm>
                <a:off x="3227628" y="2093865"/>
                <a:ext cx="56793" cy="43288"/>
              </a:xfrm>
              <a:custGeom>
                <a:avLst/>
                <a:gdLst>
                  <a:gd name="connsiteX0" fmla="*/ 22791 w 56793"/>
                  <a:gd name="connsiteY0" fmla="*/ 482 h 43288"/>
                  <a:gd name="connsiteX1" fmla="*/ 712 w 56793"/>
                  <a:gd name="connsiteY1" fmla="*/ 26594 h 43288"/>
                  <a:gd name="connsiteX2" fmla="*/ 34041 w 56793"/>
                  <a:gd name="connsiteY2" fmla="*/ 42730 h 43288"/>
                  <a:gd name="connsiteX3" fmla="*/ 56361 w 56793"/>
                  <a:gd name="connsiteY3" fmla="*/ 17560 h 43288"/>
                  <a:gd name="connsiteX4" fmla="*/ 22791 w 56793"/>
                  <a:gd name="connsiteY4" fmla="*/ 458 h 432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793" h="43288">
                    <a:moveTo>
                      <a:pt x="22791" y="482"/>
                    </a:moveTo>
                    <a:cubicBezTo>
                      <a:pt x="7059" y="3308"/>
                      <a:pt x="-2807" y="14999"/>
                      <a:pt x="712" y="26594"/>
                    </a:cubicBezTo>
                    <a:cubicBezTo>
                      <a:pt x="4262" y="38188"/>
                      <a:pt x="19182" y="45411"/>
                      <a:pt x="34041" y="42730"/>
                    </a:cubicBezTo>
                    <a:cubicBezTo>
                      <a:pt x="48991" y="40362"/>
                      <a:pt x="59038" y="29348"/>
                      <a:pt x="56361" y="17560"/>
                    </a:cubicBezTo>
                    <a:cubicBezTo>
                      <a:pt x="53714" y="5893"/>
                      <a:pt x="38614" y="-2030"/>
                      <a:pt x="22791" y="458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A7755E09-DC4C-06D7-0D27-FDC3765727A3}"/>
                  </a:ext>
                </a:extLst>
              </p:cNvPr>
              <p:cNvSpPr/>
              <p:nvPr/>
            </p:nvSpPr>
            <p:spPr>
              <a:xfrm>
                <a:off x="3385839" y="2077151"/>
                <a:ext cx="56845" cy="43200"/>
              </a:xfrm>
              <a:custGeom>
                <a:avLst/>
                <a:gdLst>
                  <a:gd name="connsiteX0" fmla="*/ 26595 w 56845"/>
                  <a:gd name="connsiteY0" fmla="*/ 70 h 43200"/>
                  <a:gd name="connsiteX1" fmla="*/ 124 w 56845"/>
                  <a:gd name="connsiteY1" fmla="*/ 23283 h 43200"/>
                  <a:gd name="connsiteX2" fmla="*/ 30325 w 56845"/>
                  <a:gd name="connsiteY2" fmla="*/ 43139 h 43200"/>
                  <a:gd name="connsiteX3" fmla="*/ 56826 w 56845"/>
                  <a:gd name="connsiteY3" fmla="*/ 20264 h 43200"/>
                  <a:gd name="connsiteX4" fmla="*/ 26595 w 56845"/>
                  <a:gd name="connsiteY4" fmla="*/ 94 h 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845" h="43200">
                    <a:moveTo>
                      <a:pt x="26595" y="70"/>
                    </a:moveTo>
                    <a:cubicBezTo>
                      <a:pt x="10502" y="1012"/>
                      <a:pt x="-1350" y="11423"/>
                      <a:pt x="124" y="23283"/>
                    </a:cubicBezTo>
                    <a:cubicBezTo>
                      <a:pt x="1598" y="35143"/>
                      <a:pt x="15104" y="44032"/>
                      <a:pt x="30325" y="43139"/>
                    </a:cubicBezTo>
                    <a:cubicBezTo>
                      <a:pt x="45546" y="42052"/>
                      <a:pt x="57397" y="32051"/>
                      <a:pt x="56826" y="20264"/>
                    </a:cubicBezTo>
                    <a:cubicBezTo>
                      <a:pt x="56224" y="8234"/>
                      <a:pt x="42688" y="-1041"/>
                      <a:pt x="26595" y="94"/>
                    </a:cubicBezTo>
                    <a:close/>
                  </a:path>
                </a:pathLst>
              </a:custGeom>
              <a:solidFill>
                <a:srgbClr val="0F6FB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0B00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46D915B8-4647-D82A-3F3A-436717B6FD14}"/>
                </a:ext>
              </a:extLst>
            </p:cNvPr>
            <p:cNvSpPr/>
            <p:nvPr/>
          </p:nvSpPr>
          <p:spPr>
            <a:xfrm>
              <a:off x="3555076" y="2077125"/>
              <a:ext cx="1491334" cy="1293318"/>
            </a:xfrm>
            <a:custGeom>
              <a:avLst/>
              <a:gdLst>
                <a:gd name="connsiteX0" fmla="*/ 1281373 w 1491334"/>
                <a:gd name="connsiteY0" fmla="*/ 1007417 h 1293318"/>
                <a:gd name="connsiteX1" fmla="*/ 22109 w 1491334"/>
                <a:gd name="connsiteY1" fmla="*/ 0 h 1293318"/>
                <a:gd name="connsiteX2" fmla="*/ 0 w 1491334"/>
                <a:gd name="connsiteY2" fmla="*/ 16232 h 1293318"/>
                <a:gd name="connsiteX3" fmla="*/ 22109 w 1491334"/>
                <a:gd name="connsiteY3" fmla="*/ 32465 h 1293318"/>
                <a:gd name="connsiteX4" fmla="*/ 1237064 w 1491334"/>
                <a:gd name="connsiteY4" fmla="*/ 1007417 h 1293318"/>
                <a:gd name="connsiteX5" fmla="*/ 1033569 w 1491334"/>
                <a:gd name="connsiteY5" fmla="*/ 1007417 h 1293318"/>
                <a:gd name="connsiteX6" fmla="*/ 1262452 w 1491334"/>
                <a:gd name="connsiteY6" fmla="*/ 1293319 h 1293318"/>
                <a:gd name="connsiteX7" fmla="*/ 1491335 w 1491334"/>
                <a:gd name="connsiteY7" fmla="*/ 1007417 h 1293318"/>
                <a:gd name="connsiteX8" fmla="*/ 1281373 w 1491334"/>
                <a:gd name="connsiteY8" fmla="*/ 1007417 h 1293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91334" h="1293318">
                  <a:moveTo>
                    <a:pt x="1281373" y="1007417"/>
                  </a:moveTo>
                  <a:cubicBezTo>
                    <a:pt x="1267054" y="377618"/>
                    <a:pt x="689657" y="0"/>
                    <a:pt x="22109" y="0"/>
                  </a:cubicBezTo>
                  <a:cubicBezTo>
                    <a:pt x="9897" y="0"/>
                    <a:pt x="0" y="7271"/>
                    <a:pt x="0" y="16232"/>
                  </a:cubicBezTo>
                  <a:cubicBezTo>
                    <a:pt x="0" y="25194"/>
                    <a:pt x="9897" y="32465"/>
                    <a:pt x="22109" y="32465"/>
                  </a:cubicBezTo>
                  <a:cubicBezTo>
                    <a:pt x="665262" y="32465"/>
                    <a:pt x="1211766" y="417088"/>
                    <a:pt x="1237064" y="1007417"/>
                  </a:cubicBezTo>
                  <a:lnTo>
                    <a:pt x="1033569" y="1007417"/>
                  </a:lnTo>
                  <a:lnTo>
                    <a:pt x="1262452" y="1293319"/>
                  </a:lnTo>
                  <a:lnTo>
                    <a:pt x="1491335" y="1007417"/>
                  </a:lnTo>
                  <a:lnTo>
                    <a:pt x="1281373" y="1007417"/>
                  </a:lnTo>
                  <a:close/>
                </a:path>
              </a:pathLst>
            </a:custGeom>
            <a:solidFill>
              <a:srgbClr val="63ADE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0B00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B9AEC736-ABE5-0192-DC6A-1D50AD9D0C0D}"/>
              </a:ext>
            </a:extLst>
          </p:cNvPr>
          <p:cNvGrpSpPr/>
          <p:nvPr/>
        </p:nvGrpSpPr>
        <p:grpSpPr>
          <a:xfrm>
            <a:off x="4939024" y="5023710"/>
            <a:ext cx="2090516" cy="911725"/>
            <a:chOff x="4253990" y="4975758"/>
            <a:chExt cx="3328482" cy="1357239"/>
          </a:xfrm>
        </p:grpSpPr>
        <p:sp>
          <p:nvSpPr>
            <p:cNvPr id="140" name="Rectangle 139">
              <a:extLst>
                <a:ext uri="{FF2B5EF4-FFF2-40B4-BE49-F238E27FC236}">
                  <a16:creationId xmlns:a16="http://schemas.microsoft.com/office/drawing/2014/main" id="{53A04470-7601-3247-ECBC-C0E767FBDA75}"/>
                </a:ext>
              </a:extLst>
            </p:cNvPr>
            <p:cNvSpPr/>
            <p:nvPr/>
          </p:nvSpPr>
          <p:spPr>
            <a:xfrm rot="5400000">
              <a:off x="5246858" y="3982891"/>
              <a:ext cx="1332379" cy="3318116"/>
            </a:xfrm>
            <a:prstGeom prst="rect">
              <a:avLst/>
            </a:prstGeom>
            <a:gradFill>
              <a:gsLst>
                <a:gs pos="100000">
                  <a:schemeClr val="bg1">
                    <a:lumMod val="95000"/>
                  </a:schemeClr>
                </a:gs>
                <a:gs pos="0">
                  <a:schemeClr val="bg1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B1EAFEB5-B1C0-4D01-3141-B70DCF545A8E}"/>
                </a:ext>
              </a:extLst>
            </p:cNvPr>
            <p:cNvSpPr/>
            <p:nvPr/>
          </p:nvSpPr>
          <p:spPr>
            <a:xfrm rot="16200000">
              <a:off x="5886142" y="3346780"/>
              <a:ext cx="67352" cy="3325307"/>
            </a:xfrm>
            <a:prstGeom prst="rect">
              <a:avLst/>
            </a:prstGeom>
            <a:solidFill>
              <a:srgbClr val="0F6FB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81" name="Rectangle 180">
              <a:extLst>
                <a:ext uri="{FF2B5EF4-FFF2-40B4-BE49-F238E27FC236}">
                  <a16:creationId xmlns:a16="http://schemas.microsoft.com/office/drawing/2014/main" id="{8C41EB17-04D1-BB33-7290-84FA84BBE5F1}"/>
                </a:ext>
              </a:extLst>
            </p:cNvPr>
            <p:cNvSpPr/>
            <p:nvPr/>
          </p:nvSpPr>
          <p:spPr>
            <a:xfrm rot="16200000">
              <a:off x="5886143" y="4636667"/>
              <a:ext cx="67352" cy="3325307"/>
            </a:xfrm>
            <a:prstGeom prst="rect">
              <a:avLst/>
            </a:prstGeom>
            <a:solidFill>
              <a:srgbClr val="0F6FB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0B00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84" name="TextBox 183">
            <a:extLst>
              <a:ext uri="{FF2B5EF4-FFF2-40B4-BE49-F238E27FC236}">
                <a16:creationId xmlns:a16="http://schemas.microsoft.com/office/drawing/2014/main" id="{5B9AE355-9945-71B1-12A6-81E643C88D5C}"/>
              </a:ext>
            </a:extLst>
          </p:cNvPr>
          <p:cNvSpPr txBox="1"/>
          <p:nvPr/>
        </p:nvSpPr>
        <p:spPr>
          <a:xfrm>
            <a:off x="4786326" y="5047862"/>
            <a:ext cx="22581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F6FB7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Capacity Share of Top 4 ~50% in FY24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0F6FB7"/>
                </a:solidFill>
                <a:latin typeface="Aptos Display" panose="02110004020202020204"/>
              </a:rPr>
              <a:t>and~54% in Q1FY25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F6FB7"/>
              </a:solidFill>
              <a:effectLst/>
              <a:uLnTx/>
              <a:uFillTx/>
              <a:latin typeface="Aptos Display" panose="02110004020202020204"/>
              <a:ea typeface="+mn-ea"/>
              <a:cs typeface="+mn-cs"/>
            </a:endParaRP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5973163E-A1A3-0DDE-70B2-B454DC57B8DF}"/>
              </a:ext>
            </a:extLst>
          </p:cNvPr>
          <p:cNvGrpSpPr/>
          <p:nvPr/>
        </p:nvGrpSpPr>
        <p:grpSpPr>
          <a:xfrm>
            <a:off x="7841891" y="1705826"/>
            <a:ext cx="1348254" cy="523221"/>
            <a:chOff x="2775218" y="1705826"/>
            <a:chExt cx="1348254" cy="523221"/>
          </a:xfrm>
        </p:grpSpPr>
        <p:sp>
          <p:nvSpPr>
            <p:cNvPr id="193" name="Rectangle 192">
              <a:extLst>
                <a:ext uri="{FF2B5EF4-FFF2-40B4-BE49-F238E27FC236}">
                  <a16:creationId xmlns:a16="http://schemas.microsoft.com/office/drawing/2014/main" id="{0CE46841-428C-92FD-3E19-3A8AC694F8CD}"/>
                </a:ext>
              </a:extLst>
            </p:cNvPr>
            <p:cNvSpPr/>
            <p:nvPr/>
          </p:nvSpPr>
          <p:spPr>
            <a:xfrm rot="16200000">
              <a:off x="3188954" y="1292090"/>
              <a:ext cx="520782" cy="1348254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ln>
              <a:solidFill>
                <a:srgbClr val="0F6FB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94" name="TextBox 193">
              <a:extLst>
                <a:ext uri="{FF2B5EF4-FFF2-40B4-BE49-F238E27FC236}">
                  <a16:creationId xmlns:a16="http://schemas.microsoft.com/office/drawing/2014/main" id="{C9F6B4DD-0767-43FA-5137-0DCD4A6AC636}"/>
                </a:ext>
              </a:extLst>
            </p:cNvPr>
            <p:cNvSpPr txBox="1"/>
            <p:nvPr/>
          </p:nvSpPr>
          <p:spPr>
            <a:xfrm>
              <a:off x="2862865" y="1705827"/>
              <a:ext cx="117903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110004020202020204"/>
                  <a:ea typeface="+mn-ea"/>
                  <a:cs typeface="+mn-cs"/>
                </a:rPr>
                <a:t>Capacity </a:t>
              </a:r>
              <a:b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110004020202020204"/>
                  <a:ea typeface="+mn-ea"/>
                  <a:cs typeface="+mn-cs"/>
                </a:rPr>
              </a:br>
              <a: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110004020202020204"/>
                  <a:ea typeface="+mn-ea"/>
                  <a:cs typeface="+mn-cs"/>
                </a:rPr>
                <a:t>CAGR – 7.5%</a:t>
              </a:r>
            </a:p>
          </p:txBody>
        </p:sp>
      </p:grpSp>
      <p:grpSp>
        <p:nvGrpSpPr>
          <p:cNvPr id="196" name="Group 195">
            <a:extLst>
              <a:ext uri="{FF2B5EF4-FFF2-40B4-BE49-F238E27FC236}">
                <a16:creationId xmlns:a16="http://schemas.microsoft.com/office/drawing/2014/main" id="{974FB962-931F-A7F3-9EC9-E1BA21B33EED}"/>
              </a:ext>
            </a:extLst>
          </p:cNvPr>
          <p:cNvGrpSpPr/>
          <p:nvPr/>
        </p:nvGrpSpPr>
        <p:grpSpPr>
          <a:xfrm>
            <a:off x="2775218" y="5417640"/>
            <a:ext cx="1348254" cy="523221"/>
            <a:chOff x="2775218" y="1705826"/>
            <a:chExt cx="1348254" cy="523221"/>
          </a:xfrm>
        </p:grpSpPr>
        <p:sp>
          <p:nvSpPr>
            <p:cNvPr id="197" name="Rectangle 196">
              <a:extLst>
                <a:ext uri="{FF2B5EF4-FFF2-40B4-BE49-F238E27FC236}">
                  <a16:creationId xmlns:a16="http://schemas.microsoft.com/office/drawing/2014/main" id="{5E299FD0-1B6B-D3A2-6993-8B08B2FFFC32}"/>
                </a:ext>
              </a:extLst>
            </p:cNvPr>
            <p:cNvSpPr/>
            <p:nvPr/>
          </p:nvSpPr>
          <p:spPr>
            <a:xfrm rot="16200000">
              <a:off x="3188954" y="1292090"/>
              <a:ext cx="520782" cy="1348254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ln>
              <a:solidFill>
                <a:srgbClr val="0F6FB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98" name="TextBox 197">
              <a:extLst>
                <a:ext uri="{FF2B5EF4-FFF2-40B4-BE49-F238E27FC236}">
                  <a16:creationId xmlns:a16="http://schemas.microsoft.com/office/drawing/2014/main" id="{1232B507-A374-CB81-0703-040A35E63082}"/>
                </a:ext>
              </a:extLst>
            </p:cNvPr>
            <p:cNvSpPr txBox="1"/>
            <p:nvPr/>
          </p:nvSpPr>
          <p:spPr>
            <a:xfrm>
              <a:off x="2862865" y="1705827"/>
              <a:ext cx="117903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110004020202020204"/>
                  <a:ea typeface="+mn-ea"/>
                  <a:cs typeface="+mn-cs"/>
                </a:rPr>
                <a:t>Demand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110004020202020204"/>
                  <a:ea typeface="+mn-ea"/>
                  <a:cs typeface="+mn-cs"/>
                </a:rPr>
                <a:t>CAGR – 8.9%</a:t>
              </a:r>
            </a:p>
          </p:txBody>
        </p:sp>
      </p:grpSp>
      <p:grpSp>
        <p:nvGrpSpPr>
          <p:cNvPr id="199" name="Group 198">
            <a:extLst>
              <a:ext uri="{FF2B5EF4-FFF2-40B4-BE49-F238E27FC236}">
                <a16:creationId xmlns:a16="http://schemas.microsoft.com/office/drawing/2014/main" id="{B803ED85-5491-0CB7-A041-8E10A158C0ED}"/>
              </a:ext>
            </a:extLst>
          </p:cNvPr>
          <p:cNvGrpSpPr/>
          <p:nvPr/>
        </p:nvGrpSpPr>
        <p:grpSpPr>
          <a:xfrm>
            <a:off x="7842262" y="5417640"/>
            <a:ext cx="1348254" cy="523221"/>
            <a:chOff x="2775218" y="1705826"/>
            <a:chExt cx="1348254" cy="523221"/>
          </a:xfrm>
        </p:grpSpPr>
        <p:sp>
          <p:nvSpPr>
            <p:cNvPr id="200" name="Rectangle 199">
              <a:extLst>
                <a:ext uri="{FF2B5EF4-FFF2-40B4-BE49-F238E27FC236}">
                  <a16:creationId xmlns:a16="http://schemas.microsoft.com/office/drawing/2014/main" id="{86394017-79BB-CBA9-9636-A21D7A834006}"/>
                </a:ext>
              </a:extLst>
            </p:cNvPr>
            <p:cNvSpPr/>
            <p:nvPr/>
          </p:nvSpPr>
          <p:spPr>
            <a:xfrm rot="16200000">
              <a:off x="3188954" y="1292090"/>
              <a:ext cx="520782" cy="1348254"/>
            </a:xfrm>
            <a:prstGeom prst="rect">
              <a:avLst/>
            </a:prstGeom>
            <a:gradFill>
              <a:gsLst>
                <a:gs pos="100000">
                  <a:schemeClr val="bg1"/>
                </a:gs>
                <a:gs pos="0">
                  <a:schemeClr val="accent3">
                    <a:lumMod val="20000"/>
                    <a:lumOff val="80000"/>
                  </a:schemeClr>
                </a:gs>
              </a:gsLst>
              <a:lin ang="0" scaled="0"/>
            </a:gradFill>
            <a:ln>
              <a:solidFill>
                <a:srgbClr val="0F6FB7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ptos Display" panose="020B00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01" name="TextBox 200">
              <a:extLst>
                <a:ext uri="{FF2B5EF4-FFF2-40B4-BE49-F238E27FC236}">
                  <a16:creationId xmlns:a16="http://schemas.microsoft.com/office/drawing/2014/main" id="{CB2C56D1-BCD5-5CD4-09D1-6497B8A1C4E9}"/>
                </a:ext>
              </a:extLst>
            </p:cNvPr>
            <p:cNvSpPr txBox="1"/>
            <p:nvPr/>
          </p:nvSpPr>
          <p:spPr>
            <a:xfrm>
              <a:off x="2862865" y="1705827"/>
              <a:ext cx="117903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110004020202020204"/>
                  <a:ea typeface="+mn-ea"/>
                  <a:cs typeface="+mn-cs"/>
                </a:rPr>
                <a:t>Demand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ptos Display" panose="02110004020202020204"/>
                  <a:ea typeface="+mn-ea"/>
                  <a:cs typeface="+mn-cs"/>
                </a:rPr>
                <a:t>CAGR – 7.5%</a:t>
              </a:r>
            </a:p>
          </p:txBody>
        </p:sp>
      </p:grpSp>
      <p:sp>
        <p:nvSpPr>
          <p:cNvPr id="202" name="Rectangle 201">
            <a:extLst>
              <a:ext uri="{FF2B5EF4-FFF2-40B4-BE49-F238E27FC236}">
                <a16:creationId xmlns:a16="http://schemas.microsoft.com/office/drawing/2014/main" id="{E234481E-2AB1-C5D5-C9DE-765B8EF96421}"/>
              </a:ext>
            </a:extLst>
          </p:cNvPr>
          <p:cNvSpPr/>
          <p:nvPr/>
        </p:nvSpPr>
        <p:spPr>
          <a:xfrm rot="16200000">
            <a:off x="1973825" y="2257339"/>
            <a:ext cx="766440" cy="3226873"/>
          </a:xfrm>
          <a:prstGeom prst="rect">
            <a:avLst/>
          </a:prstGeom>
          <a:gradFill>
            <a:gsLst>
              <a:gs pos="100000">
                <a:schemeClr val="bg1">
                  <a:alpha val="47000"/>
                </a:schemeClr>
              </a:gs>
              <a:gs pos="1000">
                <a:schemeClr val="accent3">
                  <a:lumMod val="20000"/>
                  <a:lumOff val="80000"/>
                  <a:alpha val="4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0B0004020202020204" pitchFamily="34" charset="0"/>
              <a:ea typeface="+mn-ea"/>
              <a:cs typeface="+mn-cs"/>
            </a:endParaRPr>
          </a:p>
        </p:txBody>
      </p:sp>
      <p:sp>
        <p:nvSpPr>
          <p:cNvPr id="203" name="TextBox 202">
            <a:extLst>
              <a:ext uri="{FF2B5EF4-FFF2-40B4-BE49-F238E27FC236}">
                <a16:creationId xmlns:a16="http://schemas.microsoft.com/office/drawing/2014/main" id="{DFB5D768-74CD-4173-F436-F8905EB16D75}"/>
              </a:ext>
            </a:extLst>
          </p:cNvPr>
          <p:cNvSpPr txBox="1"/>
          <p:nvPr/>
        </p:nvSpPr>
        <p:spPr>
          <a:xfrm>
            <a:off x="790580" y="3544187"/>
            <a:ext cx="1072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Capacity</a:t>
            </a:r>
          </a:p>
        </p:txBody>
      </p:sp>
      <p:sp>
        <p:nvSpPr>
          <p:cNvPr id="204" name="TextBox 203">
            <a:extLst>
              <a:ext uri="{FF2B5EF4-FFF2-40B4-BE49-F238E27FC236}">
                <a16:creationId xmlns:a16="http://schemas.microsoft.com/office/drawing/2014/main" id="{03088832-E77B-FA85-6154-C0694FDB03AF}"/>
              </a:ext>
            </a:extLst>
          </p:cNvPr>
          <p:cNvSpPr txBox="1"/>
          <p:nvPr/>
        </p:nvSpPr>
        <p:spPr>
          <a:xfrm>
            <a:off x="1825313" y="3544187"/>
            <a:ext cx="1072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Demand</a:t>
            </a:r>
          </a:p>
        </p:txBody>
      </p:sp>
      <p:sp>
        <p:nvSpPr>
          <p:cNvPr id="205" name="TextBox 204">
            <a:extLst>
              <a:ext uri="{FF2B5EF4-FFF2-40B4-BE49-F238E27FC236}">
                <a16:creationId xmlns:a16="http://schemas.microsoft.com/office/drawing/2014/main" id="{513C237C-D8DE-409C-9AB3-7A3E6AE6E05E}"/>
              </a:ext>
            </a:extLst>
          </p:cNvPr>
          <p:cNvSpPr txBox="1"/>
          <p:nvPr/>
        </p:nvSpPr>
        <p:spPr>
          <a:xfrm>
            <a:off x="2898427" y="3544187"/>
            <a:ext cx="1072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Surplus</a:t>
            </a: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DC658931-FD9B-6348-FEA1-DD0A2F4A9873}"/>
              </a:ext>
            </a:extLst>
          </p:cNvPr>
          <p:cNvSpPr txBox="1"/>
          <p:nvPr/>
        </p:nvSpPr>
        <p:spPr>
          <a:xfrm>
            <a:off x="758424" y="3783980"/>
            <a:ext cx="10720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F6FB7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565</a:t>
            </a: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95BE3B9C-B23A-2EFF-9A93-68D8B373CAE3}"/>
              </a:ext>
            </a:extLst>
          </p:cNvPr>
          <p:cNvSpPr txBox="1"/>
          <p:nvPr/>
        </p:nvSpPr>
        <p:spPr>
          <a:xfrm>
            <a:off x="1811818" y="3783980"/>
            <a:ext cx="10720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F6FB7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360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:a16="http://schemas.microsoft.com/office/drawing/2014/main" id="{EF3C278F-480D-4E4F-EBCB-7E8B8FD97BD5}"/>
              </a:ext>
            </a:extLst>
          </p:cNvPr>
          <p:cNvSpPr txBox="1"/>
          <p:nvPr/>
        </p:nvSpPr>
        <p:spPr>
          <a:xfrm>
            <a:off x="2875760" y="3783980"/>
            <a:ext cx="10720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F6FB7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35%</a:t>
            </a: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B34D6F87-8FEA-C2C6-979F-553E0F193B1C}"/>
              </a:ext>
            </a:extLst>
          </p:cNvPr>
          <p:cNvSpPr/>
          <p:nvPr/>
        </p:nvSpPr>
        <p:spPr>
          <a:xfrm rot="16200000">
            <a:off x="5612935" y="2257340"/>
            <a:ext cx="766440" cy="3226873"/>
          </a:xfrm>
          <a:prstGeom prst="rect">
            <a:avLst/>
          </a:prstGeom>
          <a:gradFill>
            <a:gsLst>
              <a:gs pos="100000">
                <a:schemeClr val="bg1">
                  <a:alpha val="47000"/>
                </a:schemeClr>
              </a:gs>
              <a:gs pos="1000">
                <a:schemeClr val="accent3">
                  <a:lumMod val="20000"/>
                  <a:lumOff val="80000"/>
                  <a:alpha val="4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0B0004020202020204" pitchFamily="34" charset="0"/>
              <a:ea typeface="+mn-ea"/>
              <a:cs typeface="+mn-cs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043D36CB-38CC-55D4-325A-D036AB9879D9}"/>
              </a:ext>
            </a:extLst>
          </p:cNvPr>
          <p:cNvSpPr/>
          <p:nvPr/>
        </p:nvSpPr>
        <p:spPr>
          <a:xfrm rot="16200000">
            <a:off x="9166213" y="2257340"/>
            <a:ext cx="766440" cy="3226873"/>
          </a:xfrm>
          <a:prstGeom prst="rect">
            <a:avLst/>
          </a:prstGeom>
          <a:gradFill>
            <a:gsLst>
              <a:gs pos="100000">
                <a:schemeClr val="bg1">
                  <a:alpha val="47000"/>
                </a:schemeClr>
              </a:gs>
              <a:gs pos="1000">
                <a:schemeClr val="accent3">
                  <a:lumMod val="20000"/>
                  <a:lumOff val="80000"/>
                  <a:alpha val="41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ptos Display" panose="020B0004020202020204" pitchFamily="34" charset="0"/>
              <a:ea typeface="+mn-ea"/>
              <a:cs typeface="+mn-cs"/>
            </a:endParaRP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65697C21-4B3D-71B8-609C-A97791562614}"/>
              </a:ext>
            </a:extLst>
          </p:cNvPr>
          <p:cNvSpPr txBox="1"/>
          <p:nvPr/>
        </p:nvSpPr>
        <p:spPr>
          <a:xfrm>
            <a:off x="4389983" y="3544187"/>
            <a:ext cx="1072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Capacity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99423881-DED0-E8B5-3BDB-95F1975D9E93}"/>
              </a:ext>
            </a:extLst>
          </p:cNvPr>
          <p:cNvSpPr txBox="1"/>
          <p:nvPr/>
        </p:nvSpPr>
        <p:spPr>
          <a:xfrm>
            <a:off x="5424716" y="3544187"/>
            <a:ext cx="1072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Demand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3E9E9E8D-8565-D223-6CA0-62894CB7D8C9}"/>
              </a:ext>
            </a:extLst>
          </p:cNvPr>
          <p:cNvSpPr txBox="1"/>
          <p:nvPr/>
        </p:nvSpPr>
        <p:spPr>
          <a:xfrm>
            <a:off x="6497830" y="3544187"/>
            <a:ext cx="1072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Surplus</a:t>
            </a:r>
          </a:p>
        </p:txBody>
      </p:sp>
      <p:sp>
        <p:nvSpPr>
          <p:cNvPr id="226" name="TextBox 225">
            <a:extLst>
              <a:ext uri="{FF2B5EF4-FFF2-40B4-BE49-F238E27FC236}">
                <a16:creationId xmlns:a16="http://schemas.microsoft.com/office/drawing/2014/main" id="{8329BB33-E98E-7E0D-212B-7B581623C579}"/>
              </a:ext>
            </a:extLst>
          </p:cNvPr>
          <p:cNvSpPr txBox="1"/>
          <p:nvPr/>
        </p:nvSpPr>
        <p:spPr>
          <a:xfrm>
            <a:off x="4357827" y="3783980"/>
            <a:ext cx="10720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4B88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631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55CF1FFD-90B4-D6C9-6846-3805BCB5E97E}"/>
              </a:ext>
            </a:extLst>
          </p:cNvPr>
          <p:cNvSpPr txBox="1"/>
          <p:nvPr/>
        </p:nvSpPr>
        <p:spPr>
          <a:xfrm>
            <a:off x="5411221" y="3783980"/>
            <a:ext cx="10720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4B88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433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99906A1B-CEAC-B95D-C35B-272CCC91C43B}"/>
              </a:ext>
            </a:extLst>
          </p:cNvPr>
          <p:cNvSpPr txBox="1"/>
          <p:nvPr/>
        </p:nvSpPr>
        <p:spPr>
          <a:xfrm>
            <a:off x="6475163" y="3783980"/>
            <a:ext cx="10720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04B88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31%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7A741517-D400-FDC6-F5E5-0784B01A54E5}"/>
              </a:ext>
            </a:extLst>
          </p:cNvPr>
          <p:cNvSpPr txBox="1"/>
          <p:nvPr/>
        </p:nvSpPr>
        <p:spPr>
          <a:xfrm>
            <a:off x="7968153" y="3544187"/>
            <a:ext cx="1072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Capacity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7C36647E-0513-1C0D-6267-3821E8C5E597}"/>
              </a:ext>
            </a:extLst>
          </p:cNvPr>
          <p:cNvSpPr txBox="1"/>
          <p:nvPr/>
        </p:nvSpPr>
        <p:spPr>
          <a:xfrm>
            <a:off x="9002886" y="3544187"/>
            <a:ext cx="1072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Demand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827DD90-B558-797B-D360-765FCA9C1A9B}"/>
              </a:ext>
            </a:extLst>
          </p:cNvPr>
          <p:cNvSpPr txBox="1"/>
          <p:nvPr/>
        </p:nvSpPr>
        <p:spPr>
          <a:xfrm>
            <a:off x="10076000" y="3544187"/>
            <a:ext cx="10720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Surplus</a:t>
            </a:r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D7531554-EAF6-D68A-C37F-8527FD0396D7}"/>
              </a:ext>
            </a:extLst>
          </p:cNvPr>
          <p:cNvSpPr txBox="1"/>
          <p:nvPr/>
        </p:nvSpPr>
        <p:spPr>
          <a:xfrm>
            <a:off x="7935997" y="3783980"/>
            <a:ext cx="10720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F6FB7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785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A8490D2A-B469-AB74-8478-49E51B06AC8A}"/>
              </a:ext>
            </a:extLst>
          </p:cNvPr>
          <p:cNvSpPr txBox="1"/>
          <p:nvPr/>
        </p:nvSpPr>
        <p:spPr>
          <a:xfrm>
            <a:off x="8989391" y="3783980"/>
            <a:ext cx="10720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F6FB7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538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BEBA1EA4-67F6-D1D2-B236-E8FCFE1C40DB}"/>
              </a:ext>
            </a:extLst>
          </p:cNvPr>
          <p:cNvSpPr txBox="1"/>
          <p:nvPr/>
        </p:nvSpPr>
        <p:spPr>
          <a:xfrm>
            <a:off x="10053333" y="3783980"/>
            <a:ext cx="10720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1" i="0" u="none" strike="noStrike" kern="1200" cap="none" spc="0" normalizeH="0" baseline="0" noProof="0" dirty="0">
                <a:ln>
                  <a:noFill/>
                </a:ln>
                <a:solidFill>
                  <a:srgbClr val="0F6FB7"/>
                </a:solidFill>
                <a:effectLst/>
                <a:uLnTx/>
                <a:uFillTx/>
                <a:latin typeface="Aptos Display" panose="02110004020202020204"/>
                <a:ea typeface="+mn-ea"/>
                <a:cs typeface="+mn-cs"/>
              </a:rPr>
              <a:t>31%</a:t>
            </a:r>
          </a:p>
        </p:txBody>
      </p:sp>
    </p:spTree>
    <p:extLst>
      <p:ext uri="{BB962C8B-B14F-4D97-AF65-F5344CB8AC3E}">
        <p14:creationId xmlns:p14="http://schemas.microsoft.com/office/powerpoint/2010/main" val="336034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66974" y="271915"/>
            <a:ext cx="11018090" cy="457748"/>
          </a:xfrm>
          <a:solidFill>
            <a:srgbClr val="00A039"/>
          </a:solidFill>
        </p:spPr>
        <p:txBody>
          <a:bodyPr anchor="ctr">
            <a:normAutofit/>
          </a:bodyPr>
          <a:lstStyle/>
          <a:p>
            <a:pPr algn="ctr"/>
            <a:r>
              <a:rPr lang="en-IN" b="1" dirty="0">
                <a:solidFill>
                  <a:schemeClr val="bg1"/>
                </a:solidFill>
              </a:rPr>
              <a:t> Cement Demand Supply Gap (North Zone)^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3221A98-CD5D-7F8A-7278-6F24C5E1069F}"/>
              </a:ext>
            </a:extLst>
          </p:cNvPr>
          <p:cNvSpPr txBox="1"/>
          <p:nvPr/>
        </p:nvSpPr>
        <p:spPr>
          <a:xfrm>
            <a:off x="5650024" y="6078154"/>
            <a:ext cx="6035040" cy="52397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71" tIns="37136" rIns="74271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371338">
              <a:defRPr/>
            </a:pPr>
            <a:r>
              <a:rPr lang="en-IN" sz="1200" b="1" dirty="0">
                <a:solidFill>
                  <a:srgbClr val="000000"/>
                </a:solidFill>
                <a:latin typeface="Trebuchet MS"/>
              </a:rPr>
              <a:t>*North Zone- J&amp;K, Punjab, Haryana, Himachal, Delhi, Uttarakhand and Rajastha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95E9130-117E-4FD1-8E48-6C8A66A02C5C}"/>
              </a:ext>
            </a:extLst>
          </p:cNvPr>
          <p:cNvSpPr txBox="1"/>
          <p:nvPr/>
        </p:nvSpPr>
        <p:spPr>
          <a:xfrm>
            <a:off x="1105796" y="6217923"/>
            <a:ext cx="6288913" cy="19634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71" tIns="37136" rIns="74271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71338">
              <a:defRPr/>
            </a:pPr>
            <a:r>
              <a:rPr lang="en-IN" sz="893" b="1" dirty="0">
                <a:solidFill>
                  <a:srgbClr val="000000"/>
                </a:solidFill>
                <a:latin typeface="Trebuchet MS"/>
              </a:rPr>
              <a:t>*Based on sectoral reports, industry estimat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B1FDAD9-B941-5DF8-13F8-88932E64231E}"/>
              </a:ext>
            </a:extLst>
          </p:cNvPr>
          <p:cNvGraphicFramePr>
            <a:graphicFrameLocks noGrp="1"/>
          </p:cNvGraphicFramePr>
          <p:nvPr/>
        </p:nvGraphicFramePr>
        <p:xfrm>
          <a:off x="666974" y="1163765"/>
          <a:ext cx="11018093" cy="4858174"/>
        </p:xfrm>
        <a:graphic>
          <a:graphicData uri="http://schemas.openxmlformats.org/drawingml/2006/table">
            <a:tbl>
              <a:tblPr/>
              <a:tblGrid>
                <a:gridCol w="739801">
                  <a:extLst>
                    <a:ext uri="{9D8B030D-6E8A-4147-A177-3AD203B41FA5}">
                      <a16:colId xmlns:a16="http://schemas.microsoft.com/office/drawing/2014/main" val="3162442630"/>
                    </a:ext>
                  </a:extLst>
                </a:gridCol>
                <a:gridCol w="5158873">
                  <a:extLst>
                    <a:ext uri="{9D8B030D-6E8A-4147-A177-3AD203B41FA5}">
                      <a16:colId xmlns:a16="http://schemas.microsoft.com/office/drawing/2014/main" val="3376905982"/>
                    </a:ext>
                  </a:extLst>
                </a:gridCol>
                <a:gridCol w="1114632">
                  <a:extLst>
                    <a:ext uri="{9D8B030D-6E8A-4147-A177-3AD203B41FA5}">
                      <a16:colId xmlns:a16="http://schemas.microsoft.com/office/drawing/2014/main" val="1220782328"/>
                    </a:ext>
                  </a:extLst>
                </a:gridCol>
                <a:gridCol w="1114632">
                  <a:extLst>
                    <a:ext uri="{9D8B030D-6E8A-4147-A177-3AD203B41FA5}">
                      <a16:colId xmlns:a16="http://schemas.microsoft.com/office/drawing/2014/main" val="131737794"/>
                    </a:ext>
                  </a:extLst>
                </a:gridCol>
                <a:gridCol w="1154089">
                  <a:extLst>
                    <a:ext uri="{9D8B030D-6E8A-4147-A177-3AD203B41FA5}">
                      <a16:colId xmlns:a16="http://schemas.microsoft.com/office/drawing/2014/main" val="1501079631"/>
                    </a:ext>
                  </a:extLst>
                </a:gridCol>
                <a:gridCol w="868033">
                  <a:extLst>
                    <a:ext uri="{9D8B030D-6E8A-4147-A177-3AD203B41FA5}">
                      <a16:colId xmlns:a16="http://schemas.microsoft.com/office/drawing/2014/main" val="3352587848"/>
                    </a:ext>
                  </a:extLst>
                </a:gridCol>
                <a:gridCol w="868033">
                  <a:extLst>
                    <a:ext uri="{9D8B030D-6E8A-4147-A177-3AD203B41FA5}">
                      <a16:colId xmlns:a16="http://schemas.microsoft.com/office/drawing/2014/main" val="2151848528"/>
                    </a:ext>
                  </a:extLst>
                </a:gridCol>
              </a:tblGrid>
              <a:tr h="676959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Sl. No.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FF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Particulars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FF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en-US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Actual</a:t>
                      </a: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FF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Projections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FF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9230399"/>
                  </a:ext>
                </a:extLst>
              </a:tr>
              <a:tr h="676959">
                <a:tc gridSpan="2">
                  <a:txBody>
                    <a:bodyPr/>
                    <a:lstStyle/>
                    <a:p>
                      <a:pPr algn="l" fontAlgn="auto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022 - 23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023-24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024 - 25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025 - 26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026 - 27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342896"/>
                  </a:ext>
                </a:extLst>
              </a:tr>
              <a:tr h="43803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Installed Capacity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18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27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35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39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47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5399106"/>
                  </a:ext>
                </a:extLst>
              </a:tr>
              <a:tr h="43803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Capacity Additions during the yr.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3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5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0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983612"/>
                  </a:ext>
                </a:extLst>
              </a:tr>
              <a:tr h="43803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3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Cement Production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86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92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97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02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10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7610006"/>
                  </a:ext>
                </a:extLst>
              </a:tr>
              <a:tr h="43803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Demand Growth %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5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8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2732824"/>
                  </a:ext>
                </a:extLst>
              </a:tr>
              <a:tr h="43803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5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Domestic Demand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2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6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9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84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91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8236276"/>
                  </a:ext>
                </a:extLst>
              </a:tr>
              <a:tr h="43803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Net Imports from Other Zone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4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6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8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8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9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8522244"/>
                  </a:ext>
                </a:extLst>
              </a:tr>
              <a:tr h="43803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Capacity Utilisation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3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3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2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3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5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1369545"/>
                  </a:ext>
                </a:extLst>
              </a:tr>
              <a:tr h="438032"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8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Surplus Capacity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7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7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8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7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5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3516596"/>
                  </a:ext>
                </a:extLst>
              </a:tr>
            </a:tbl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C5DE4289-D8C2-B41E-B301-F968ABCEBC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1500" y="214153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407ACB3-B678-8DCB-1BAE-2CE14A5F7A89}"/>
              </a:ext>
            </a:extLst>
          </p:cNvPr>
          <p:cNvSpPr txBox="1">
            <a:spLocks/>
          </p:cNvSpPr>
          <p:nvPr/>
        </p:nvSpPr>
        <p:spPr>
          <a:xfrm>
            <a:off x="9646207" y="757914"/>
            <a:ext cx="2064064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/>
          <a:p>
            <a:pPr algn="r">
              <a:spcBef>
                <a:spcPct val="0"/>
              </a:spcBef>
              <a:buClrTx/>
              <a:buSzTx/>
              <a:defRPr/>
            </a:pPr>
            <a:r>
              <a:rPr lang="en-US" b="1" dirty="0">
                <a:solidFill>
                  <a:srgbClr val="006600"/>
                </a:solidFill>
                <a:latin typeface="Bookman Old Style" pitchFamily="18" charset="0"/>
              </a:rPr>
              <a:t>Qty. </a:t>
            </a:r>
            <a:r>
              <a:rPr lang="en-US" b="1" dirty="0" err="1">
                <a:solidFill>
                  <a:srgbClr val="006600"/>
                </a:solidFill>
                <a:latin typeface="Bookman Old Style" pitchFamily="18" charset="0"/>
              </a:rPr>
              <a:t>Mn.Tons</a:t>
            </a:r>
            <a:endParaRPr lang="en-US" b="1" dirty="0">
              <a:solidFill>
                <a:srgbClr val="006600"/>
              </a:solidFill>
              <a:latin typeface="Bookman Old Styl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18312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27500" y="137161"/>
            <a:ext cx="11155306" cy="457747"/>
          </a:xfrm>
          <a:solidFill>
            <a:srgbClr val="00A039"/>
          </a:solidFill>
        </p:spPr>
        <p:txBody>
          <a:bodyPr vert="horz" wrap="square" lIns="74271" tIns="37136" rIns="74271" bIns="37136" rtlCol="0" anchor="ctr">
            <a:noAutofit/>
          </a:bodyPr>
          <a:lstStyle/>
          <a:p>
            <a:pPr algn="ctr"/>
            <a:r>
              <a:rPr lang="en-IN" dirty="0">
                <a:solidFill>
                  <a:schemeClr val="bg1"/>
                </a:solidFill>
                <a:latin typeface="+mj-lt"/>
              </a:rPr>
              <a:t> Cement Demand Supply Gap (West Zone)^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213EDFD-2C5D-FA70-FDB3-424A2F9DCA01}"/>
              </a:ext>
            </a:extLst>
          </p:cNvPr>
          <p:cNvSpPr txBox="1"/>
          <p:nvPr/>
        </p:nvSpPr>
        <p:spPr>
          <a:xfrm>
            <a:off x="527500" y="6335194"/>
            <a:ext cx="6288913" cy="19634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71" tIns="37136" rIns="74271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71338">
              <a:defRPr/>
            </a:pPr>
            <a:r>
              <a:rPr lang="en-IN" sz="893" b="1" dirty="0">
                <a:solidFill>
                  <a:srgbClr val="000000"/>
                </a:solidFill>
                <a:latin typeface="Trebuchet MS"/>
              </a:rPr>
              <a:t>*Based on sectoral reports, industry estimat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DD66844-CC27-EA44-3729-5A3F5616B932}"/>
              </a:ext>
            </a:extLst>
          </p:cNvPr>
          <p:cNvSpPr txBox="1"/>
          <p:nvPr/>
        </p:nvSpPr>
        <p:spPr>
          <a:xfrm>
            <a:off x="7010401" y="6158732"/>
            <a:ext cx="3886193" cy="41245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71" tIns="37136" rIns="74271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371338">
              <a:defRPr/>
            </a:pPr>
            <a:r>
              <a:rPr lang="en-IN" sz="1200" b="1" dirty="0">
                <a:solidFill>
                  <a:srgbClr val="000000"/>
                </a:solidFill>
                <a:latin typeface="Trebuchet MS"/>
              </a:rPr>
              <a:t>*West Zone- Gujarat &amp; Maharashtra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EDE08DA-D701-73CC-6A70-A7F76D6CAE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8809460"/>
              </p:ext>
            </p:extLst>
          </p:nvPr>
        </p:nvGraphicFramePr>
        <p:xfrm>
          <a:off x="527501" y="1065010"/>
          <a:ext cx="11155305" cy="5093718"/>
        </p:xfrm>
        <a:graphic>
          <a:graphicData uri="http://schemas.openxmlformats.org/drawingml/2006/table">
            <a:tbl>
              <a:tblPr/>
              <a:tblGrid>
                <a:gridCol w="749013">
                  <a:extLst>
                    <a:ext uri="{9D8B030D-6E8A-4147-A177-3AD203B41FA5}">
                      <a16:colId xmlns:a16="http://schemas.microsoft.com/office/drawing/2014/main" val="3354840263"/>
                    </a:ext>
                  </a:extLst>
                </a:gridCol>
                <a:gridCol w="5223119">
                  <a:extLst>
                    <a:ext uri="{9D8B030D-6E8A-4147-A177-3AD203B41FA5}">
                      <a16:colId xmlns:a16="http://schemas.microsoft.com/office/drawing/2014/main" val="3552717337"/>
                    </a:ext>
                  </a:extLst>
                </a:gridCol>
                <a:gridCol w="1128513">
                  <a:extLst>
                    <a:ext uri="{9D8B030D-6E8A-4147-A177-3AD203B41FA5}">
                      <a16:colId xmlns:a16="http://schemas.microsoft.com/office/drawing/2014/main" val="1681826060"/>
                    </a:ext>
                  </a:extLst>
                </a:gridCol>
                <a:gridCol w="1128513">
                  <a:extLst>
                    <a:ext uri="{9D8B030D-6E8A-4147-A177-3AD203B41FA5}">
                      <a16:colId xmlns:a16="http://schemas.microsoft.com/office/drawing/2014/main" val="3159244332"/>
                    </a:ext>
                  </a:extLst>
                </a:gridCol>
                <a:gridCol w="1168461">
                  <a:extLst>
                    <a:ext uri="{9D8B030D-6E8A-4147-A177-3AD203B41FA5}">
                      <a16:colId xmlns:a16="http://schemas.microsoft.com/office/drawing/2014/main" val="2401093341"/>
                    </a:ext>
                  </a:extLst>
                </a:gridCol>
                <a:gridCol w="878843">
                  <a:extLst>
                    <a:ext uri="{9D8B030D-6E8A-4147-A177-3AD203B41FA5}">
                      <a16:colId xmlns:a16="http://schemas.microsoft.com/office/drawing/2014/main" val="2988981443"/>
                    </a:ext>
                  </a:extLst>
                </a:gridCol>
                <a:gridCol w="878843">
                  <a:extLst>
                    <a:ext uri="{9D8B030D-6E8A-4147-A177-3AD203B41FA5}">
                      <a16:colId xmlns:a16="http://schemas.microsoft.com/office/drawing/2014/main" val="141401480"/>
                    </a:ext>
                  </a:extLst>
                </a:gridCol>
              </a:tblGrid>
              <a:tr h="721611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Sl. No.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FF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Particulars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FF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Actual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FF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Projections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FF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6067360"/>
                  </a:ext>
                </a:extLst>
              </a:tr>
              <a:tr h="721611">
                <a:tc gridSpan="2">
                  <a:txBody>
                    <a:bodyPr/>
                    <a:lstStyle/>
                    <a:p>
                      <a:pPr algn="l" fontAlgn="auto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022 - 23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023-24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024 - 25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025 - 26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026 - 27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8807538"/>
                  </a:ext>
                </a:extLst>
              </a:tr>
              <a:tr h="45631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Installed Capacity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89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92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02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17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24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195674"/>
                  </a:ext>
                </a:extLst>
              </a:tr>
              <a:tr h="45631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Capacity Additions during the yr.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8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2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0198069"/>
                  </a:ext>
                </a:extLst>
              </a:tr>
              <a:tr h="45631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3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Cement Production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51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53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58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6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2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5732727"/>
                  </a:ext>
                </a:extLst>
              </a:tr>
              <a:tr h="45631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Demand Growth %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9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9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8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8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7300868"/>
                  </a:ext>
                </a:extLst>
              </a:tr>
              <a:tr h="45631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5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Domestic Demand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1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7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82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89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96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591626"/>
                  </a:ext>
                </a:extLst>
              </a:tr>
              <a:tr h="45631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Net Imports from Other Zone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0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4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4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2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4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129088"/>
                  </a:ext>
                </a:extLst>
              </a:tr>
              <a:tr h="45631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Capacity Utilisation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57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57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57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56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58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2369065"/>
                  </a:ext>
                </a:extLst>
              </a:tr>
              <a:tr h="456312"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8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Surplus Capacity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3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3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3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4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2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735580"/>
                  </a:ext>
                </a:extLst>
              </a:tr>
            </a:tbl>
          </a:graphicData>
        </a:graphic>
      </p:graphicFrame>
      <p:sp>
        <p:nvSpPr>
          <p:cNvPr id="6" name="Rectangle 1">
            <a:extLst>
              <a:ext uri="{FF2B5EF4-FFF2-40B4-BE49-F238E27FC236}">
                <a16:creationId xmlns:a16="http://schemas.microsoft.com/office/drawing/2014/main" id="{C29B0F64-A376-0456-175F-4BBE06CCC0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1500" y="1850123"/>
            <a:ext cx="1409744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2579B44-B773-D37E-8ACB-239FA44DF21B}"/>
              </a:ext>
            </a:extLst>
          </p:cNvPr>
          <p:cNvSpPr txBox="1">
            <a:spLocks/>
          </p:cNvSpPr>
          <p:nvPr/>
        </p:nvSpPr>
        <p:spPr>
          <a:xfrm>
            <a:off x="9646207" y="553518"/>
            <a:ext cx="2064064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/>
          <a:p>
            <a:pPr algn="r">
              <a:spcBef>
                <a:spcPct val="0"/>
              </a:spcBef>
              <a:buClrTx/>
              <a:buSzTx/>
              <a:defRPr/>
            </a:pPr>
            <a:r>
              <a:rPr lang="en-US" b="1" dirty="0">
                <a:solidFill>
                  <a:srgbClr val="006600"/>
                </a:solidFill>
                <a:latin typeface="Bookman Old Style" pitchFamily="18" charset="0"/>
              </a:rPr>
              <a:t>Qty. </a:t>
            </a:r>
            <a:r>
              <a:rPr lang="en-US" b="1" dirty="0" err="1">
                <a:solidFill>
                  <a:srgbClr val="006600"/>
                </a:solidFill>
                <a:latin typeface="Bookman Old Style" pitchFamily="18" charset="0"/>
              </a:rPr>
              <a:t>Mn.Tons</a:t>
            </a:r>
            <a:endParaRPr lang="en-US" b="1" dirty="0">
              <a:solidFill>
                <a:srgbClr val="006600"/>
              </a:solidFill>
              <a:latin typeface="Bookman Old Styl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2913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16367" y="320041"/>
            <a:ext cx="11193903" cy="457747"/>
          </a:xfrm>
          <a:solidFill>
            <a:srgbClr val="00A039"/>
          </a:solidFill>
        </p:spPr>
        <p:txBody>
          <a:bodyPr anchor="ctr">
            <a:normAutofit/>
          </a:bodyPr>
          <a:lstStyle/>
          <a:p>
            <a:pPr algn="ctr"/>
            <a:r>
              <a:rPr lang="en-IN" b="1" dirty="0">
                <a:solidFill>
                  <a:schemeClr val="bg1"/>
                </a:solidFill>
              </a:rPr>
              <a:t> Cement Demand Supply Gap (East Zone)^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B1151F-E827-C475-07E2-F4E45AEFBCB4}"/>
              </a:ext>
            </a:extLst>
          </p:cNvPr>
          <p:cNvSpPr txBox="1"/>
          <p:nvPr/>
        </p:nvSpPr>
        <p:spPr>
          <a:xfrm>
            <a:off x="4998720" y="6216754"/>
            <a:ext cx="5860978" cy="36933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71" tIns="37136" rIns="74271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371338">
              <a:defRPr/>
            </a:pPr>
            <a:r>
              <a:rPr lang="en-IN" sz="1200" b="1" dirty="0">
                <a:solidFill>
                  <a:srgbClr val="000000"/>
                </a:solidFill>
                <a:latin typeface="Trebuchet MS"/>
              </a:rPr>
              <a:t>*East Zone- WB, Bihar, Jharkhand, Odisha, North East and Chhattisgarh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D559855-07C0-4B9E-8762-60A8906C886D}"/>
              </a:ext>
            </a:extLst>
          </p:cNvPr>
          <p:cNvSpPr txBox="1"/>
          <p:nvPr/>
        </p:nvSpPr>
        <p:spPr>
          <a:xfrm>
            <a:off x="367856" y="6362301"/>
            <a:ext cx="6288913" cy="19634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71" tIns="37136" rIns="74271" bIns="371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371338">
              <a:defRPr/>
            </a:pPr>
            <a:r>
              <a:rPr lang="en-IN" sz="893" b="1" dirty="0">
                <a:solidFill>
                  <a:srgbClr val="000000"/>
                </a:solidFill>
                <a:latin typeface="Trebuchet MS"/>
              </a:rPr>
              <a:t>*Based on sectoral reports, industry estimate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2C68F07-05B4-EBE6-FEFD-64B6A3CF49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5700256"/>
              </p:ext>
            </p:extLst>
          </p:nvPr>
        </p:nvGraphicFramePr>
        <p:xfrm>
          <a:off x="516367" y="1394884"/>
          <a:ext cx="11284771" cy="4756148"/>
        </p:xfrm>
        <a:graphic>
          <a:graphicData uri="http://schemas.openxmlformats.org/drawingml/2006/table">
            <a:tbl>
              <a:tblPr/>
              <a:tblGrid>
                <a:gridCol w="757706">
                  <a:extLst>
                    <a:ext uri="{9D8B030D-6E8A-4147-A177-3AD203B41FA5}">
                      <a16:colId xmlns:a16="http://schemas.microsoft.com/office/drawing/2014/main" val="3889701927"/>
                    </a:ext>
                  </a:extLst>
                </a:gridCol>
                <a:gridCol w="5283739">
                  <a:extLst>
                    <a:ext uri="{9D8B030D-6E8A-4147-A177-3AD203B41FA5}">
                      <a16:colId xmlns:a16="http://schemas.microsoft.com/office/drawing/2014/main" val="441662556"/>
                    </a:ext>
                  </a:extLst>
                </a:gridCol>
                <a:gridCol w="1141610">
                  <a:extLst>
                    <a:ext uri="{9D8B030D-6E8A-4147-A177-3AD203B41FA5}">
                      <a16:colId xmlns:a16="http://schemas.microsoft.com/office/drawing/2014/main" val="3320376445"/>
                    </a:ext>
                  </a:extLst>
                </a:gridCol>
                <a:gridCol w="1141610">
                  <a:extLst>
                    <a:ext uri="{9D8B030D-6E8A-4147-A177-3AD203B41FA5}">
                      <a16:colId xmlns:a16="http://schemas.microsoft.com/office/drawing/2014/main" val="1430503442"/>
                    </a:ext>
                  </a:extLst>
                </a:gridCol>
                <a:gridCol w="1182022">
                  <a:extLst>
                    <a:ext uri="{9D8B030D-6E8A-4147-A177-3AD203B41FA5}">
                      <a16:colId xmlns:a16="http://schemas.microsoft.com/office/drawing/2014/main" val="3255944989"/>
                    </a:ext>
                  </a:extLst>
                </a:gridCol>
                <a:gridCol w="889042">
                  <a:extLst>
                    <a:ext uri="{9D8B030D-6E8A-4147-A177-3AD203B41FA5}">
                      <a16:colId xmlns:a16="http://schemas.microsoft.com/office/drawing/2014/main" val="1011128012"/>
                    </a:ext>
                  </a:extLst>
                </a:gridCol>
                <a:gridCol w="889042">
                  <a:extLst>
                    <a:ext uri="{9D8B030D-6E8A-4147-A177-3AD203B41FA5}">
                      <a16:colId xmlns:a16="http://schemas.microsoft.com/office/drawing/2014/main" val="1741221060"/>
                    </a:ext>
                  </a:extLst>
                </a:gridCol>
              </a:tblGrid>
              <a:tr h="662742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Sl. No.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FF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Particulars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FFB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Actual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FF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ase"/>
                      <a:r>
                        <a:rPr lang="en-US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Projections</a:t>
                      </a:r>
                      <a:r>
                        <a:rPr lang="en-US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EFF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8437449"/>
                  </a:ext>
                </a:extLst>
              </a:tr>
              <a:tr h="662742">
                <a:tc gridSpan="2">
                  <a:txBody>
                    <a:bodyPr/>
                    <a:lstStyle/>
                    <a:p>
                      <a:pPr algn="l" fontAlgn="auto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022 - 23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023-24</a:t>
                      </a:r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024 - 25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025 - 26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026 - 27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D2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6738683"/>
                  </a:ext>
                </a:extLst>
              </a:tr>
              <a:tr h="428833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Installed Capacity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20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30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44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58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72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1603375"/>
                  </a:ext>
                </a:extLst>
              </a:tr>
              <a:tr h="428833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Capacity Additions during the yr.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​.2</a:t>
                      </a:r>
                      <a:endParaRPr lang="en-IN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4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.1</a:t>
                      </a:r>
                      <a:endParaRPr lang="en-IN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3.7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3​.9</a:t>
                      </a:r>
                      <a:endParaRPr lang="en-IN" b="1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5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2274855"/>
                  </a:ext>
                </a:extLst>
              </a:tr>
              <a:tr h="428833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3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Cement Production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85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92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01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10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20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0046939"/>
                  </a:ext>
                </a:extLst>
              </a:tr>
              <a:tr h="428833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4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Demand Growth %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4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2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0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9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810521"/>
                  </a:ext>
                </a:extLst>
              </a:tr>
              <a:tr h="428833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5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Domestic Demand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98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10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17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29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41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3473492"/>
                  </a:ext>
                </a:extLst>
              </a:tr>
              <a:tr h="428833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Net Imports from Other Zones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3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8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6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9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</a:t>
                      </a:r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1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4B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800185"/>
                  </a:ext>
                </a:extLst>
              </a:tr>
              <a:tr h="428833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​</a:t>
                      </a:r>
                      <a:endParaRPr lang="en-US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Capacity Utilisation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1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1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0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70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69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3739417"/>
                  </a:ext>
                </a:extLst>
              </a:tr>
              <a:tr h="428833"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8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Surplus Capacity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9%</a:t>
                      </a:r>
                      <a:r>
                        <a:rPr lang="en-IN" sz="1400" b="0" i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29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30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30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N" sz="1400" b="1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31%</a:t>
                      </a:r>
                      <a:r>
                        <a:rPr lang="en-IN" sz="1400" b="0" i="0" dirty="0">
                          <a:solidFill>
                            <a:srgbClr val="000000"/>
                          </a:solidFill>
                          <a:effectLst/>
                          <a:latin typeface="Aptos Display" panose="020B0004020202020204" pitchFamily="34" charset="0"/>
                        </a:rPr>
                        <a:t>​</a:t>
                      </a:r>
                      <a:endParaRPr lang="en-IN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812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1DE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460865"/>
                  </a:ext>
                </a:extLst>
              </a:tr>
            </a:tbl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B9751D79-BB88-9977-0DE7-8FADE0F332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-55951" y="1818373"/>
            <a:ext cx="1616440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4814D8D7-3422-F882-836D-A4382B6BB85D}"/>
              </a:ext>
            </a:extLst>
          </p:cNvPr>
          <p:cNvSpPr txBox="1">
            <a:spLocks/>
          </p:cNvSpPr>
          <p:nvPr/>
        </p:nvSpPr>
        <p:spPr>
          <a:xfrm>
            <a:off x="9646207" y="897767"/>
            <a:ext cx="2064064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/>
          <a:p>
            <a:pPr algn="r">
              <a:spcBef>
                <a:spcPct val="0"/>
              </a:spcBef>
              <a:buClrTx/>
              <a:buSzTx/>
              <a:defRPr/>
            </a:pPr>
            <a:r>
              <a:rPr lang="en-US" b="1" dirty="0">
                <a:solidFill>
                  <a:srgbClr val="006600"/>
                </a:solidFill>
                <a:latin typeface="Bookman Old Style" pitchFamily="18" charset="0"/>
              </a:rPr>
              <a:t>Qty. </a:t>
            </a:r>
            <a:r>
              <a:rPr lang="en-US" b="1" dirty="0" err="1">
                <a:solidFill>
                  <a:srgbClr val="006600"/>
                </a:solidFill>
                <a:latin typeface="Bookman Old Style" pitchFamily="18" charset="0"/>
              </a:rPr>
              <a:t>Mn.Tons</a:t>
            </a:r>
            <a:endParaRPr lang="en-US" b="1" dirty="0">
              <a:solidFill>
                <a:srgbClr val="006600"/>
              </a:solidFill>
              <a:latin typeface="Bookman Old Styl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02757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BF4000-067C-4328-A62B-2D2D4A9680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BF4000-067C-4328-A62B-2D2D4A9680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C:\Users\vinod.sharma\Downloads\IMG-20200706-WA0086.jpg">
            <a:extLst>
              <a:ext uri="{FF2B5EF4-FFF2-40B4-BE49-F238E27FC236}">
                <a16:creationId xmlns:a16="http://schemas.microsoft.com/office/drawing/2014/main" id="{BC1BFDAE-FBD6-4D56-A2A8-127209FD34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366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2">
            <a:extLst>
              <a:ext uri="{FF2B5EF4-FFF2-40B4-BE49-F238E27FC236}">
                <a16:creationId xmlns:a16="http://schemas.microsoft.com/office/drawing/2014/main" id="{9516A71F-7A06-4425-B5A5-7742B0CF5D43}"/>
              </a:ext>
            </a:extLst>
          </p:cNvPr>
          <p:cNvSpPr txBox="1">
            <a:spLocks/>
          </p:cNvSpPr>
          <p:nvPr/>
        </p:nvSpPr>
        <p:spPr bwMode="blackWhite">
          <a:xfrm>
            <a:off x="20538" y="491067"/>
            <a:ext cx="5032725" cy="7441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vert="horz" wrap="square" lIns="274320" tIns="274320" rIns="274320" bIns="137160" rtlCol="0" anchor="ctr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None/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IN" dirty="0">
                <a:solidFill>
                  <a:srgbClr val="00A039"/>
                </a:solidFill>
              </a:rPr>
              <a:t>ESG Initiatives</a:t>
            </a:r>
          </a:p>
        </p:txBody>
      </p:sp>
    </p:spTree>
    <p:extLst>
      <p:ext uri="{BB962C8B-B14F-4D97-AF65-F5344CB8AC3E}">
        <p14:creationId xmlns:p14="http://schemas.microsoft.com/office/powerpoint/2010/main" val="398186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526BC14-2ECF-45E3-8539-007A405DA6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27" imgH="327" progId="TCLayout.ActiveDocument.1">
                  <p:embed/>
                </p:oleObj>
              </mc:Choice>
              <mc:Fallback>
                <p:oleObj name="think-cell Slide" r:id="rId11" imgW="327" imgH="32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526BC14-2ECF-45E3-8539-007A405DA6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9" name="Picture 68">
            <a:extLst>
              <a:ext uri="{FF2B5EF4-FFF2-40B4-BE49-F238E27FC236}">
                <a16:creationId xmlns:a16="http://schemas.microsoft.com/office/drawing/2014/main" id="{3567F439-1D17-4854-9518-DC9FEFE2BA0E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8952" r="1048"/>
          <a:stretch/>
        </p:blipFill>
        <p:spPr>
          <a:xfrm>
            <a:off x="0" y="0"/>
            <a:ext cx="6096000" cy="6857999"/>
          </a:xfrm>
          <a:prstGeom prst="rect">
            <a:avLst/>
          </a:prstGeom>
          <a:blipFill>
            <a:blip r:embed="rId15"/>
            <a:tile tx="0" ty="0" sx="100000" sy="100000" flip="none" algn="tl"/>
          </a:blip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F2ADBB7-B021-46CD-94C1-0CEE0C5D7C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379" y="4933080"/>
            <a:ext cx="5855539" cy="1772793"/>
          </a:xfrm>
        </p:spPr>
        <p:txBody>
          <a:bodyPr vert="horz" wrap="square">
            <a:spAutoFit/>
          </a:bodyPr>
          <a:lstStyle/>
          <a:p>
            <a:r>
              <a:rPr lang="en-US" sz="36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Water Positivity Index</a:t>
            </a:r>
            <a:br>
              <a:rPr lang="en-US" sz="3600" dirty="0">
                <a:solidFill>
                  <a:schemeClr val="accent3">
                    <a:lumMod val="60000"/>
                    <a:lumOff val="40000"/>
                  </a:schemeClr>
                </a:solidFill>
              </a:rPr>
            </a:br>
            <a:br>
              <a:rPr lang="en-US" sz="3600" dirty="0">
                <a:solidFill>
                  <a:schemeClr val="accent3">
                    <a:lumMod val="60000"/>
                    <a:lumOff val="40000"/>
                  </a:schemeClr>
                </a:solidFill>
              </a:rPr>
            </a:br>
            <a:r>
              <a:rPr lang="en-US" sz="28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Target of becoming 5 times water positive by FY25</a:t>
            </a:r>
            <a:endParaRPr lang="en-US" sz="3600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8CD72F8D-2056-40B0-B3FE-89F770080AC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8963738"/>
              </p:ext>
            </p:extLst>
          </p:nvPr>
        </p:nvGraphicFramePr>
        <p:xfrm>
          <a:off x="6334073" y="529386"/>
          <a:ext cx="5713548" cy="5347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57BBE9C-75C7-494F-B83E-8FFF2861CB18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gray">
          <a:xfrm flipV="1">
            <a:off x="6781802" y="433135"/>
            <a:ext cx="4495798" cy="2082888"/>
          </a:xfrm>
          <a:prstGeom prst="line">
            <a:avLst/>
          </a:prstGeom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stealth" w="lg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CB9EC36-ABA0-491D-B7E8-DAC99B788ED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1233264" y="5951535"/>
            <a:ext cx="39528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38FADC2-BCFF-4BBE-8FCB-4D6A31A1D75C}" type="datetime'''''F''Y''''''''''25''''''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FY2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F757620-D935-4387-88C5-50D69BF27D6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955296" y="5983701"/>
            <a:ext cx="343862" cy="170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1405390D-B4A0-4F06-AD7E-9F2DFCFCD55A}" type="datetime'''''''''F''''''Y''''''''''''2''''0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FY2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5916AC0-BA9E-4CF0-ACCF-D239918C94E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885868" y="5951535"/>
            <a:ext cx="39528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588E8EF-4101-4D67-85AD-9472B2AB1ED3}" type="datetime'F''''''''Y2''''''''''''''''''''''1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FY2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9604903-2392-4DDE-9E4E-57E73C2A3B3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997866" y="5951535"/>
            <a:ext cx="39528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C3BB0F8C-8550-44C1-B6A4-A0FA96AAD583}" type="datetime'F''Y''''''2''''''''''''''''''''''''''''''''''''''''''2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FY2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F6287DF6-81B4-413F-A712-1E798CDDE215}"/>
              </a:ext>
            </a:extLst>
          </p:cNvPr>
          <p:cNvGrpSpPr>
            <a:grpSpLocks noChangeAspect="1"/>
          </p:cNvGrpSpPr>
          <p:nvPr/>
        </p:nvGrpSpPr>
        <p:grpSpPr>
          <a:xfrm>
            <a:off x="312500" y="1727200"/>
            <a:ext cx="1452500" cy="1452500"/>
            <a:chOff x="5273675" y="2606675"/>
            <a:chExt cx="1644650" cy="1644650"/>
          </a:xfrm>
        </p:grpSpPr>
        <p:sp>
          <p:nvSpPr>
            <p:cNvPr id="67" name="AutoShape 3">
              <a:extLst>
                <a:ext uri="{FF2B5EF4-FFF2-40B4-BE49-F238E27FC236}">
                  <a16:creationId xmlns:a16="http://schemas.microsoft.com/office/drawing/2014/main" id="{AED84973-E5A0-4915-A131-CC5F6375064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68" name="Freeform 7">
              <a:extLst>
                <a:ext uri="{FF2B5EF4-FFF2-40B4-BE49-F238E27FC236}">
                  <a16:creationId xmlns:a16="http://schemas.microsoft.com/office/drawing/2014/main" id="{53111E42-C811-4449-8A71-A81A48647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2034" y="2821644"/>
              <a:ext cx="890234" cy="1161394"/>
            </a:xfrm>
            <a:custGeom>
              <a:avLst/>
              <a:gdLst>
                <a:gd name="connsiteX0" fmla="*/ 443841 w 890234"/>
                <a:gd name="connsiteY0" fmla="*/ 59668 h 1161394"/>
                <a:gd name="connsiteX1" fmla="*/ 475939 w 890234"/>
                <a:gd name="connsiteY1" fmla="*/ 76817 h 1161394"/>
                <a:gd name="connsiteX2" fmla="*/ 673519 w 890234"/>
                <a:gd name="connsiteY2" fmla="*/ 365491 h 1161394"/>
                <a:gd name="connsiteX3" fmla="*/ 795491 w 890234"/>
                <a:gd name="connsiteY3" fmla="*/ 581996 h 1161394"/>
                <a:gd name="connsiteX4" fmla="*/ 828303 w 890234"/>
                <a:gd name="connsiteY4" fmla="*/ 727762 h 1161394"/>
                <a:gd name="connsiteX5" fmla="*/ 647841 w 890234"/>
                <a:gd name="connsiteY5" fmla="*/ 1042159 h 1161394"/>
                <a:gd name="connsiteX6" fmla="*/ 421015 w 890234"/>
                <a:gd name="connsiteY6" fmla="*/ 1097893 h 1161394"/>
                <a:gd name="connsiteX7" fmla="*/ 97896 w 890234"/>
                <a:gd name="connsiteY7" fmla="*/ 892820 h 1161394"/>
                <a:gd name="connsiteX8" fmla="*/ 82917 w 890234"/>
                <a:gd name="connsiteY8" fmla="*/ 609149 h 1161394"/>
                <a:gd name="connsiteX9" fmla="*/ 200610 w 890234"/>
                <a:gd name="connsiteY9" fmla="*/ 385498 h 1161394"/>
                <a:gd name="connsiteX10" fmla="*/ 365379 w 890234"/>
                <a:gd name="connsiteY10" fmla="*/ 148985 h 1161394"/>
                <a:gd name="connsiteX11" fmla="*/ 411743 w 890234"/>
                <a:gd name="connsiteY11" fmla="*/ 78246 h 1161394"/>
                <a:gd name="connsiteX12" fmla="*/ 443841 w 890234"/>
                <a:gd name="connsiteY12" fmla="*/ 59668 h 1161394"/>
                <a:gd name="connsiteX13" fmla="*/ 448570 w 890234"/>
                <a:gd name="connsiteY13" fmla="*/ 29506 h 1161394"/>
                <a:gd name="connsiteX14" fmla="*/ 406422 w 890234"/>
                <a:gd name="connsiteY14" fmla="*/ 43070 h 1161394"/>
                <a:gd name="connsiteX15" fmla="*/ 229257 w 890234"/>
                <a:gd name="connsiteY15" fmla="*/ 298651 h 1161394"/>
                <a:gd name="connsiteX16" fmla="*/ 181394 w 890234"/>
                <a:gd name="connsiteY16" fmla="*/ 371470 h 1161394"/>
                <a:gd name="connsiteX17" fmla="*/ 53521 w 890234"/>
                <a:gd name="connsiteY17" fmla="*/ 608489 h 1161394"/>
                <a:gd name="connsiteX18" fmla="*/ 75666 w 890234"/>
                <a:gd name="connsiteY18" fmla="*/ 911901 h 1161394"/>
                <a:gd name="connsiteX19" fmla="*/ 420710 w 890234"/>
                <a:gd name="connsiteY19" fmla="*/ 1129644 h 1161394"/>
                <a:gd name="connsiteX20" fmla="*/ 658597 w 890234"/>
                <a:gd name="connsiteY20" fmla="*/ 1072531 h 1161394"/>
                <a:gd name="connsiteX21" fmla="*/ 859336 w 890234"/>
                <a:gd name="connsiteY21" fmla="*/ 741990 h 1161394"/>
                <a:gd name="connsiteX22" fmla="*/ 831475 w 890234"/>
                <a:gd name="connsiteY22" fmla="*/ 587785 h 1161394"/>
                <a:gd name="connsiteX23" fmla="*/ 707889 w 890234"/>
                <a:gd name="connsiteY23" fmla="*/ 357906 h 1161394"/>
                <a:gd name="connsiteX24" fmla="*/ 697887 w 890234"/>
                <a:gd name="connsiteY24" fmla="*/ 342913 h 1161394"/>
                <a:gd name="connsiteX25" fmla="*/ 483575 w 890234"/>
                <a:gd name="connsiteY25" fmla="*/ 40929 h 1161394"/>
                <a:gd name="connsiteX26" fmla="*/ 450713 w 890234"/>
                <a:gd name="connsiteY26" fmla="*/ 30220 h 1161394"/>
                <a:gd name="connsiteX27" fmla="*/ 448570 w 890234"/>
                <a:gd name="connsiteY27" fmla="*/ 29506 h 1161394"/>
                <a:gd name="connsiteX28" fmla="*/ 451626 w 890234"/>
                <a:gd name="connsiteY28" fmla="*/ 58 h 1161394"/>
                <a:gd name="connsiteX29" fmla="*/ 508771 w 890234"/>
                <a:gd name="connsiteY29" fmla="*/ 22914 h 1161394"/>
                <a:gd name="connsiteX30" fmla="*/ 723064 w 890234"/>
                <a:gd name="connsiteY30" fmla="*/ 325747 h 1161394"/>
                <a:gd name="connsiteX31" fmla="*/ 733065 w 890234"/>
                <a:gd name="connsiteY31" fmla="*/ 341460 h 1161394"/>
                <a:gd name="connsiteX32" fmla="*/ 860212 w 890234"/>
                <a:gd name="connsiteY32" fmla="*/ 577155 h 1161394"/>
                <a:gd name="connsiteX33" fmla="*/ 890214 w 890234"/>
                <a:gd name="connsiteY33" fmla="*/ 742856 h 1161394"/>
                <a:gd name="connsiteX34" fmla="*/ 674491 w 890234"/>
                <a:gd name="connsiteY34" fmla="*/ 1099256 h 1161394"/>
                <a:gd name="connsiteX35" fmla="*/ 420910 w 890234"/>
                <a:gd name="connsiteY35" fmla="*/ 1161394 h 1161394"/>
                <a:gd name="connsiteX36" fmla="*/ 419481 w 890234"/>
                <a:gd name="connsiteY36" fmla="*/ 1161394 h 1161394"/>
                <a:gd name="connsiteX37" fmla="*/ 210188 w 890234"/>
                <a:gd name="connsiteY37" fmla="*/ 1098542 h 1161394"/>
                <a:gd name="connsiteX38" fmla="*/ 47324 w 890234"/>
                <a:gd name="connsiteY38" fmla="*/ 927127 h 1161394"/>
                <a:gd name="connsiteX39" fmla="*/ 23038 w 890234"/>
                <a:gd name="connsiteY39" fmla="*/ 599296 h 1161394"/>
                <a:gd name="connsiteX40" fmla="*/ 154471 w 890234"/>
                <a:gd name="connsiteY40" fmla="*/ 355030 h 1161394"/>
                <a:gd name="connsiteX41" fmla="*/ 203045 w 890234"/>
                <a:gd name="connsiteY41" fmla="*/ 282893 h 1161394"/>
                <a:gd name="connsiteX42" fmla="*/ 383051 w 890234"/>
                <a:gd name="connsiteY42" fmla="*/ 23628 h 1161394"/>
                <a:gd name="connsiteX43" fmla="*/ 451626 w 890234"/>
                <a:gd name="connsiteY43" fmla="*/ 58 h 1161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890234" h="1161394">
                  <a:moveTo>
                    <a:pt x="443841" y="59668"/>
                  </a:moveTo>
                  <a:cubicBezTo>
                    <a:pt x="455253" y="59668"/>
                    <a:pt x="467379" y="65384"/>
                    <a:pt x="475939" y="76817"/>
                  </a:cubicBezTo>
                  <a:cubicBezTo>
                    <a:pt x="542274" y="173280"/>
                    <a:pt x="608610" y="269743"/>
                    <a:pt x="673519" y="365491"/>
                  </a:cubicBezTo>
                  <a:cubicBezTo>
                    <a:pt x="721309" y="434087"/>
                    <a:pt x="765533" y="504111"/>
                    <a:pt x="795491" y="581996"/>
                  </a:cubicBezTo>
                  <a:cubicBezTo>
                    <a:pt x="814037" y="629156"/>
                    <a:pt x="827589" y="677744"/>
                    <a:pt x="828303" y="727762"/>
                  </a:cubicBezTo>
                  <a:cubicBezTo>
                    <a:pt x="829729" y="867097"/>
                    <a:pt x="765533" y="970705"/>
                    <a:pt x="647841" y="1042159"/>
                  </a:cubicBezTo>
                  <a:cubicBezTo>
                    <a:pt x="587211" y="1080030"/>
                    <a:pt x="516596" y="1097893"/>
                    <a:pt x="421015" y="1097893"/>
                  </a:cubicBezTo>
                  <a:cubicBezTo>
                    <a:pt x="292624" y="1091462"/>
                    <a:pt x="171365" y="1030727"/>
                    <a:pt x="97896" y="892820"/>
                  </a:cubicBezTo>
                  <a:cubicBezTo>
                    <a:pt x="48679" y="801360"/>
                    <a:pt x="50106" y="706326"/>
                    <a:pt x="82917" y="609149"/>
                  </a:cubicBezTo>
                  <a:cubicBezTo>
                    <a:pt x="110022" y="528406"/>
                    <a:pt x="152819" y="455523"/>
                    <a:pt x="200610" y="385498"/>
                  </a:cubicBezTo>
                  <a:cubicBezTo>
                    <a:pt x="255533" y="306899"/>
                    <a:pt x="311169" y="228299"/>
                    <a:pt x="365379" y="148985"/>
                  </a:cubicBezTo>
                  <a:cubicBezTo>
                    <a:pt x="381785" y="125406"/>
                    <a:pt x="396050" y="101826"/>
                    <a:pt x="411743" y="78246"/>
                  </a:cubicBezTo>
                  <a:cubicBezTo>
                    <a:pt x="419589" y="66099"/>
                    <a:pt x="431715" y="59668"/>
                    <a:pt x="443841" y="59668"/>
                  </a:cubicBezTo>
                  <a:close/>
                  <a:moveTo>
                    <a:pt x="448570" y="29506"/>
                  </a:moveTo>
                  <a:cubicBezTo>
                    <a:pt x="430711" y="29506"/>
                    <a:pt x="413566" y="35217"/>
                    <a:pt x="406422" y="43070"/>
                  </a:cubicBezTo>
                  <a:cubicBezTo>
                    <a:pt x="386420" y="66630"/>
                    <a:pt x="295694" y="200845"/>
                    <a:pt x="229257" y="298651"/>
                  </a:cubicBezTo>
                  <a:cubicBezTo>
                    <a:pt x="210683" y="327921"/>
                    <a:pt x="193538" y="352908"/>
                    <a:pt x="181394" y="371470"/>
                  </a:cubicBezTo>
                  <a:cubicBezTo>
                    <a:pt x="134959" y="440005"/>
                    <a:pt x="82810" y="520677"/>
                    <a:pt x="53521" y="608489"/>
                  </a:cubicBezTo>
                  <a:cubicBezTo>
                    <a:pt x="18516" y="712006"/>
                    <a:pt x="26374" y="819093"/>
                    <a:pt x="75666" y="911901"/>
                  </a:cubicBezTo>
                  <a:cubicBezTo>
                    <a:pt x="146389" y="1042547"/>
                    <a:pt x="272120" y="1121791"/>
                    <a:pt x="420710" y="1129644"/>
                  </a:cubicBezTo>
                  <a:cubicBezTo>
                    <a:pt x="520008" y="1128930"/>
                    <a:pt x="593588" y="1111796"/>
                    <a:pt x="658597" y="1072531"/>
                  </a:cubicBezTo>
                  <a:cubicBezTo>
                    <a:pt x="750751" y="1015418"/>
                    <a:pt x="861479" y="911187"/>
                    <a:pt x="859336" y="741990"/>
                  </a:cubicBezTo>
                  <a:cubicBezTo>
                    <a:pt x="858622" y="685591"/>
                    <a:pt x="849335" y="633475"/>
                    <a:pt x="831475" y="587785"/>
                  </a:cubicBezTo>
                  <a:cubicBezTo>
                    <a:pt x="799329" y="507827"/>
                    <a:pt x="758609" y="432152"/>
                    <a:pt x="707889" y="357906"/>
                  </a:cubicBezTo>
                  <a:cubicBezTo>
                    <a:pt x="697887" y="342913"/>
                    <a:pt x="697887" y="342913"/>
                    <a:pt x="697887" y="342913"/>
                  </a:cubicBezTo>
                  <a:cubicBezTo>
                    <a:pt x="630022" y="242966"/>
                    <a:pt x="560013" y="140162"/>
                    <a:pt x="483575" y="40929"/>
                  </a:cubicBezTo>
                  <a:cubicBezTo>
                    <a:pt x="478574" y="34504"/>
                    <a:pt x="465715" y="30220"/>
                    <a:pt x="450713" y="30220"/>
                  </a:cubicBezTo>
                  <a:cubicBezTo>
                    <a:pt x="449999" y="29506"/>
                    <a:pt x="449285" y="29506"/>
                    <a:pt x="448570" y="29506"/>
                  </a:cubicBezTo>
                  <a:close/>
                  <a:moveTo>
                    <a:pt x="451626" y="58"/>
                  </a:moveTo>
                  <a:cubicBezTo>
                    <a:pt x="477341" y="58"/>
                    <a:pt x="498056" y="8629"/>
                    <a:pt x="508771" y="22914"/>
                  </a:cubicBezTo>
                  <a:cubicBezTo>
                    <a:pt x="585202" y="122906"/>
                    <a:pt x="655205" y="226469"/>
                    <a:pt x="723064" y="325747"/>
                  </a:cubicBezTo>
                  <a:cubicBezTo>
                    <a:pt x="733065" y="341460"/>
                    <a:pt x="733065" y="341460"/>
                    <a:pt x="733065" y="341460"/>
                  </a:cubicBezTo>
                  <a:cubicBezTo>
                    <a:pt x="785210" y="417168"/>
                    <a:pt x="826640" y="494305"/>
                    <a:pt x="860212" y="577155"/>
                  </a:cubicBezTo>
                  <a:cubicBezTo>
                    <a:pt x="879499" y="626437"/>
                    <a:pt x="889499" y="682147"/>
                    <a:pt x="890214" y="742856"/>
                  </a:cubicBezTo>
                  <a:cubicBezTo>
                    <a:pt x="891642" y="887845"/>
                    <a:pt x="816639" y="1011406"/>
                    <a:pt x="674491" y="1099256"/>
                  </a:cubicBezTo>
                  <a:cubicBezTo>
                    <a:pt x="604488" y="1141396"/>
                    <a:pt x="524485" y="1161394"/>
                    <a:pt x="420910" y="1161394"/>
                  </a:cubicBezTo>
                  <a:cubicBezTo>
                    <a:pt x="419481" y="1161394"/>
                    <a:pt x="419481" y="1161394"/>
                    <a:pt x="419481" y="1161394"/>
                  </a:cubicBezTo>
                  <a:cubicBezTo>
                    <a:pt x="345193" y="1157109"/>
                    <a:pt x="273047" y="1135682"/>
                    <a:pt x="210188" y="1098542"/>
                  </a:cubicBezTo>
                  <a:cubicBezTo>
                    <a:pt x="142328" y="1057831"/>
                    <a:pt x="87326" y="999978"/>
                    <a:pt x="47324" y="927127"/>
                  </a:cubicBezTo>
                  <a:cubicBezTo>
                    <a:pt x="-5535" y="827135"/>
                    <a:pt x="-14821" y="711430"/>
                    <a:pt x="23038" y="599296"/>
                  </a:cubicBezTo>
                  <a:cubicBezTo>
                    <a:pt x="53753" y="507161"/>
                    <a:pt x="107327" y="425024"/>
                    <a:pt x="154471" y="355030"/>
                  </a:cubicBezTo>
                  <a:cubicBezTo>
                    <a:pt x="168043" y="335746"/>
                    <a:pt x="184473" y="310748"/>
                    <a:pt x="203045" y="282893"/>
                  </a:cubicBezTo>
                  <a:cubicBezTo>
                    <a:pt x="273762" y="178616"/>
                    <a:pt x="361622" y="49340"/>
                    <a:pt x="383051" y="23628"/>
                  </a:cubicBezTo>
                  <a:cubicBezTo>
                    <a:pt x="398766" y="5058"/>
                    <a:pt x="428768" y="-656"/>
                    <a:pt x="451626" y="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F271C8F4-41A6-397E-C380-C53143C4415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0179733" y="5951535"/>
            <a:ext cx="39528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FY23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17F8C5-3F61-224D-5E6E-E4AAA0A1C8EF}"/>
              </a:ext>
            </a:extLst>
          </p:cNvPr>
          <p:cNvSpPr txBox="1"/>
          <p:nvPr/>
        </p:nvSpPr>
        <p:spPr>
          <a:xfrm>
            <a:off x="9861351" y="1471664"/>
            <a:ext cx="713670" cy="2114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4X</a:t>
            </a:r>
          </a:p>
        </p:txBody>
      </p:sp>
    </p:spTree>
    <p:extLst>
      <p:ext uri="{BB962C8B-B14F-4D97-AF65-F5344CB8AC3E}">
        <p14:creationId xmlns:p14="http://schemas.microsoft.com/office/powerpoint/2010/main" val="56567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931A3FA-8311-449C-8CA7-427DD66AA8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931A3FA-8311-449C-8CA7-427DD66AA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26">
            <a:extLst>
              <a:ext uri="{FF2B5EF4-FFF2-40B4-BE49-F238E27FC236}">
                <a16:creationId xmlns:a16="http://schemas.microsoft.com/office/drawing/2014/main" id="{933A72E6-F89B-4467-8900-300465B14FA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58" r="10800"/>
          <a:stretch/>
        </p:blipFill>
        <p:spPr>
          <a:xfrm>
            <a:off x="0" y="0"/>
            <a:ext cx="4073525" cy="6368716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C01875B-A7E8-4DA8-A0F5-F06C3AE76F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950" y="320845"/>
            <a:ext cx="2880044" cy="498598"/>
          </a:xfrm>
          <a:solidFill>
            <a:schemeClr val="bg1"/>
          </a:solidFill>
        </p:spPr>
        <p:txBody>
          <a:bodyPr vert="horz"/>
          <a:lstStyle/>
          <a:p>
            <a:pPr algn="ctr"/>
            <a:r>
              <a:rPr lang="en-US" sz="3600" b="1" dirty="0">
                <a:solidFill>
                  <a:srgbClr val="00A039"/>
                </a:solidFill>
              </a:rPr>
              <a:t>Green Pow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6E1F07E-8617-4B71-9FEF-FD97B9DD9E14}"/>
              </a:ext>
            </a:extLst>
          </p:cNvPr>
          <p:cNvSpPr txBox="1"/>
          <p:nvPr/>
        </p:nvSpPr>
        <p:spPr>
          <a:xfrm>
            <a:off x="4288053" y="99607"/>
            <a:ext cx="7631231" cy="492443"/>
          </a:xfrm>
          <a:prstGeom prst="rect">
            <a:avLst/>
          </a:prstGeom>
          <a:solidFill>
            <a:srgbClr val="00A039"/>
          </a:solidFill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Share of Renewable Energy in Total Installed Captive Power Capacity (MW) a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JK Lakshmi Cement and UCWL </a:t>
            </a: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817316C3-DC0F-4A93-BCCC-33A4028E4D55}"/>
              </a:ext>
            </a:extLst>
          </p:cNvPr>
          <p:cNvGrpSpPr>
            <a:grpSpLocks noChangeAspect="1"/>
          </p:cNvGrpSpPr>
          <p:nvPr/>
        </p:nvGrpSpPr>
        <p:grpSpPr>
          <a:xfrm>
            <a:off x="528652" y="1824438"/>
            <a:ext cx="1223948" cy="1222767"/>
            <a:chOff x="5273675" y="2606675"/>
            <a:chExt cx="1646238" cy="1644650"/>
          </a:xfrm>
        </p:grpSpPr>
        <p:sp>
          <p:nvSpPr>
            <p:cNvPr id="127" name="AutoShape 3">
              <a:extLst>
                <a:ext uri="{FF2B5EF4-FFF2-40B4-BE49-F238E27FC236}">
                  <a16:creationId xmlns:a16="http://schemas.microsoft.com/office/drawing/2014/main" id="{BFF174EC-2333-4A66-9D0F-7C5A74D69AD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sp>
          <p:nvSpPr>
            <p:cNvPr id="128" name="Freeform 32">
              <a:extLst>
                <a:ext uri="{FF2B5EF4-FFF2-40B4-BE49-F238E27FC236}">
                  <a16:creationId xmlns:a16="http://schemas.microsoft.com/office/drawing/2014/main" id="{8D68A881-551F-42B5-9FC8-AEEF10B643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8195" y="3009900"/>
              <a:ext cx="1337198" cy="1120775"/>
            </a:xfrm>
            <a:custGeom>
              <a:avLst/>
              <a:gdLst>
                <a:gd name="connsiteX0" fmla="*/ 414450 w 1337198"/>
                <a:gd name="connsiteY0" fmla="*/ 965200 h 1120775"/>
                <a:gd name="connsiteX1" fmla="*/ 921162 w 1337198"/>
                <a:gd name="connsiteY1" fmla="*/ 965200 h 1120775"/>
                <a:gd name="connsiteX2" fmla="*/ 937576 w 1337198"/>
                <a:gd name="connsiteY2" fmla="*/ 981614 h 1120775"/>
                <a:gd name="connsiteX3" fmla="*/ 937576 w 1337198"/>
                <a:gd name="connsiteY3" fmla="*/ 1011587 h 1120775"/>
                <a:gd name="connsiteX4" fmla="*/ 976829 w 1337198"/>
                <a:gd name="connsiteY4" fmla="*/ 1011587 h 1120775"/>
                <a:gd name="connsiteX5" fmla="*/ 993243 w 1337198"/>
                <a:gd name="connsiteY5" fmla="*/ 1028001 h 1120775"/>
                <a:gd name="connsiteX6" fmla="*/ 993243 w 1337198"/>
                <a:gd name="connsiteY6" fmla="*/ 1104361 h 1120775"/>
                <a:gd name="connsiteX7" fmla="*/ 976829 w 1337198"/>
                <a:gd name="connsiteY7" fmla="*/ 1120775 h 1120775"/>
                <a:gd name="connsiteX8" fmla="*/ 358783 w 1337198"/>
                <a:gd name="connsiteY8" fmla="*/ 1120775 h 1120775"/>
                <a:gd name="connsiteX9" fmla="*/ 342368 w 1337198"/>
                <a:gd name="connsiteY9" fmla="*/ 1104361 h 1120775"/>
                <a:gd name="connsiteX10" fmla="*/ 342368 w 1337198"/>
                <a:gd name="connsiteY10" fmla="*/ 1028001 h 1120775"/>
                <a:gd name="connsiteX11" fmla="*/ 358783 w 1337198"/>
                <a:gd name="connsiteY11" fmla="*/ 1011587 h 1120775"/>
                <a:gd name="connsiteX12" fmla="*/ 397322 w 1337198"/>
                <a:gd name="connsiteY12" fmla="*/ 1011587 h 1120775"/>
                <a:gd name="connsiteX13" fmla="*/ 397322 w 1337198"/>
                <a:gd name="connsiteY13" fmla="*/ 981614 h 1120775"/>
                <a:gd name="connsiteX14" fmla="*/ 414450 w 1337198"/>
                <a:gd name="connsiteY14" fmla="*/ 965200 h 1120775"/>
                <a:gd name="connsiteX15" fmla="*/ 1078202 w 1337198"/>
                <a:gd name="connsiteY15" fmla="*/ 461963 h 1120775"/>
                <a:gd name="connsiteX16" fmla="*/ 1208008 w 1337198"/>
                <a:gd name="connsiteY16" fmla="*/ 461963 h 1120775"/>
                <a:gd name="connsiteX17" fmla="*/ 1215180 w 1337198"/>
                <a:gd name="connsiteY17" fmla="*/ 468428 h 1120775"/>
                <a:gd name="connsiteX18" fmla="*/ 1233826 w 1337198"/>
                <a:gd name="connsiteY18" fmla="*/ 612812 h 1120775"/>
                <a:gd name="connsiteX19" fmla="*/ 1226654 w 1337198"/>
                <a:gd name="connsiteY19" fmla="*/ 620713 h 1120775"/>
                <a:gd name="connsiteX20" fmla="*/ 1092545 w 1337198"/>
                <a:gd name="connsiteY20" fmla="*/ 620713 h 1120775"/>
                <a:gd name="connsiteX21" fmla="*/ 1085373 w 1337198"/>
                <a:gd name="connsiteY21" fmla="*/ 614248 h 1120775"/>
                <a:gd name="connsiteX22" fmla="*/ 1071030 w 1337198"/>
                <a:gd name="connsiteY22" fmla="*/ 469865 h 1120775"/>
                <a:gd name="connsiteX23" fmla="*/ 1078202 w 1337198"/>
                <a:gd name="connsiteY23" fmla="*/ 461963 h 1120775"/>
                <a:gd name="connsiteX24" fmla="*/ 889255 w 1337198"/>
                <a:gd name="connsiteY24" fmla="*/ 461963 h 1120775"/>
                <a:gd name="connsiteX25" fmla="*/ 1018425 w 1337198"/>
                <a:gd name="connsiteY25" fmla="*/ 461963 h 1120775"/>
                <a:gd name="connsiteX26" fmla="*/ 1025561 w 1337198"/>
                <a:gd name="connsiteY26" fmla="*/ 468428 h 1120775"/>
                <a:gd name="connsiteX27" fmla="*/ 1037693 w 1337198"/>
                <a:gd name="connsiteY27" fmla="*/ 613530 h 1120775"/>
                <a:gd name="connsiteX28" fmla="*/ 1030557 w 1337198"/>
                <a:gd name="connsiteY28" fmla="*/ 620713 h 1120775"/>
                <a:gd name="connsiteX29" fmla="*/ 896391 w 1337198"/>
                <a:gd name="connsiteY29" fmla="*/ 620713 h 1120775"/>
                <a:gd name="connsiteX30" fmla="*/ 889255 w 1337198"/>
                <a:gd name="connsiteY30" fmla="*/ 614248 h 1120775"/>
                <a:gd name="connsiteX31" fmla="*/ 882118 w 1337198"/>
                <a:gd name="connsiteY31" fmla="*/ 469146 h 1120775"/>
                <a:gd name="connsiteX32" fmla="*/ 889255 w 1337198"/>
                <a:gd name="connsiteY32" fmla="*/ 461963 h 1120775"/>
                <a:gd name="connsiteX33" fmla="*/ 700345 w 1337198"/>
                <a:gd name="connsiteY33" fmla="*/ 461963 h 1120775"/>
                <a:gd name="connsiteX34" fmla="*/ 828864 w 1337198"/>
                <a:gd name="connsiteY34" fmla="*/ 461963 h 1120775"/>
                <a:gd name="connsiteX35" fmla="*/ 836004 w 1337198"/>
                <a:gd name="connsiteY35" fmla="*/ 468428 h 1120775"/>
                <a:gd name="connsiteX36" fmla="*/ 841716 w 1337198"/>
                <a:gd name="connsiteY36" fmla="*/ 613530 h 1120775"/>
                <a:gd name="connsiteX37" fmla="*/ 834576 w 1337198"/>
                <a:gd name="connsiteY37" fmla="*/ 620713 h 1120775"/>
                <a:gd name="connsiteX38" fmla="*/ 701059 w 1337198"/>
                <a:gd name="connsiteY38" fmla="*/ 620713 h 1120775"/>
                <a:gd name="connsiteX39" fmla="*/ 693919 w 1337198"/>
                <a:gd name="connsiteY39" fmla="*/ 613530 h 1120775"/>
                <a:gd name="connsiteX40" fmla="*/ 693205 w 1337198"/>
                <a:gd name="connsiteY40" fmla="*/ 469146 h 1120775"/>
                <a:gd name="connsiteX41" fmla="*/ 700345 w 1337198"/>
                <a:gd name="connsiteY41" fmla="*/ 461963 h 1120775"/>
                <a:gd name="connsiteX42" fmla="*/ 511509 w 1337198"/>
                <a:gd name="connsiteY42" fmla="*/ 461963 h 1120775"/>
                <a:gd name="connsiteX43" fmla="*/ 640028 w 1337198"/>
                <a:gd name="connsiteY43" fmla="*/ 461963 h 1120775"/>
                <a:gd name="connsiteX44" fmla="*/ 647168 w 1337198"/>
                <a:gd name="connsiteY44" fmla="*/ 469146 h 1120775"/>
                <a:gd name="connsiteX45" fmla="*/ 646454 w 1337198"/>
                <a:gd name="connsiteY45" fmla="*/ 613530 h 1120775"/>
                <a:gd name="connsiteX46" fmla="*/ 639314 w 1337198"/>
                <a:gd name="connsiteY46" fmla="*/ 620713 h 1120775"/>
                <a:gd name="connsiteX47" fmla="*/ 505797 w 1337198"/>
                <a:gd name="connsiteY47" fmla="*/ 620713 h 1120775"/>
                <a:gd name="connsiteX48" fmla="*/ 498657 w 1337198"/>
                <a:gd name="connsiteY48" fmla="*/ 613530 h 1120775"/>
                <a:gd name="connsiteX49" fmla="*/ 504369 w 1337198"/>
                <a:gd name="connsiteY49" fmla="*/ 468428 h 1120775"/>
                <a:gd name="connsiteX50" fmla="*/ 511509 w 1337198"/>
                <a:gd name="connsiteY50" fmla="*/ 461963 h 1120775"/>
                <a:gd name="connsiteX51" fmla="*/ 322057 w 1337198"/>
                <a:gd name="connsiteY51" fmla="*/ 461963 h 1120775"/>
                <a:gd name="connsiteX52" fmla="*/ 452667 w 1337198"/>
                <a:gd name="connsiteY52" fmla="*/ 461963 h 1120775"/>
                <a:gd name="connsiteX53" fmla="*/ 459843 w 1337198"/>
                <a:gd name="connsiteY53" fmla="*/ 469146 h 1120775"/>
                <a:gd name="connsiteX54" fmla="*/ 452667 w 1337198"/>
                <a:gd name="connsiteY54" fmla="*/ 614248 h 1120775"/>
                <a:gd name="connsiteX55" fmla="*/ 445490 w 1337198"/>
                <a:gd name="connsiteY55" fmla="*/ 620713 h 1120775"/>
                <a:gd name="connsiteX56" fmla="*/ 309857 w 1337198"/>
                <a:gd name="connsiteY56" fmla="*/ 620713 h 1120775"/>
                <a:gd name="connsiteX57" fmla="*/ 302680 w 1337198"/>
                <a:gd name="connsiteY57" fmla="*/ 613530 h 1120775"/>
                <a:gd name="connsiteX58" fmla="*/ 314880 w 1337198"/>
                <a:gd name="connsiteY58" fmla="*/ 468428 h 1120775"/>
                <a:gd name="connsiteX59" fmla="*/ 322057 w 1337198"/>
                <a:gd name="connsiteY59" fmla="*/ 461963 h 1120775"/>
                <a:gd name="connsiteX60" fmla="*/ 133098 w 1337198"/>
                <a:gd name="connsiteY60" fmla="*/ 461963 h 1120775"/>
                <a:gd name="connsiteX61" fmla="*/ 262210 w 1337198"/>
                <a:gd name="connsiteY61" fmla="*/ 461963 h 1120775"/>
                <a:gd name="connsiteX62" fmla="*/ 269343 w 1337198"/>
                <a:gd name="connsiteY62" fmla="*/ 469865 h 1120775"/>
                <a:gd name="connsiteX63" fmla="*/ 255790 w 1337198"/>
                <a:gd name="connsiteY63" fmla="*/ 614248 h 1120775"/>
                <a:gd name="connsiteX64" fmla="*/ 248657 w 1337198"/>
                <a:gd name="connsiteY64" fmla="*/ 620713 h 1120775"/>
                <a:gd name="connsiteX65" fmla="*/ 114552 w 1337198"/>
                <a:gd name="connsiteY65" fmla="*/ 620713 h 1120775"/>
                <a:gd name="connsiteX66" fmla="*/ 107418 w 1337198"/>
                <a:gd name="connsiteY66" fmla="*/ 612812 h 1120775"/>
                <a:gd name="connsiteX67" fmla="*/ 125965 w 1337198"/>
                <a:gd name="connsiteY67" fmla="*/ 468428 h 1120775"/>
                <a:gd name="connsiteX68" fmla="*/ 133098 w 1337198"/>
                <a:gd name="connsiteY68" fmla="*/ 461963 h 1120775"/>
                <a:gd name="connsiteX69" fmla="*/ 1059109 w 1337198"/>
                <a:gd name="connsiteY69" fmla="*/ 266700 h 1120775"/>
                <a:gd name="connsiteX70" fmla="*/ 1181729 w 1337198"/>
                <a:gd name="connsiteY70" fmla="*/ 266700 h 1120775"/>
                <a:gd name="connsiteX71" fmla="*/ 1188146 w 1337198"/>
                <a:gd name="connsiteY71" fmla="*/ 273169 h 1120775"/>
                <a:gd name="connsiteX72" fmla="*/ 1205255 w 1337198"/>
                <a:gd name="connsiteY72" fmla="*/ 403257 h 1120775"/>
                <a:gd name="connsiteX73" fmla="*/ 1198126 w 1337198"/>
                <a:gd name="connsiteY73" fmla="*/ 411163 h 1120775"/>
                <a:gd name="connsiteX74" fmla="*/ 1071942 w 1337198"/>
                <a:gd name="connsiteY74" fmla="*/ 411163 h 1120775"/>
                <a:gd name="connsiteX75" fmla="*/ 1064813 w 1337198"/>
                <a:gd name="connsiteY75" fmla="*/ 404695 h 1120775"/>
                <a:gd name="connsiteX76" fmla="*/ 1051980 w 1337198"/>
                <a:gd name="connsiteY76" fmla="*/ 274606 h 1120775"/>
                <a:gd name="connsiteX77" fmla="*/ 1059109 w 1337198"/>
                <a:gd name="connsiteY77" fmla="*/ 266700 h 1120775"/>
                <a:gd name="connsiteX78" fmla="*/ 879726 w 1337198"/>
                <a:gd name="connsiteY78" fmla="*/ 266700 h 1120775"/>
                <a:gd name="connsiteX79" fmla="*/ 1002401 w 1337198"/>
                <a:gd name="connsiteY79" fmla="*/ 266700 h 1120775"/>
                <a:gd name="connsiteX80" fmla="*/ 1008820 w 1337198"/>
                <a:gd name="connsiteY80" fmla="*/ 273169 h 1120775"/>
                <a:gd name="connsiteX81" fmla="*/ 1020231 w 1337198"/>
                <a:gd name="connsiteY81" fmla="*/ 403976 h 1120775"/>
                <a:gd name="connsiteX82" fmla="*/ 1013099 w 1337198"/>
                <a:gd name="connsiteY82" fmla="*/ 411163 h 1120775"/>
                <a:gd name="connsiteX83" fmla="*/ 886145 w 1337198"/>
                <a:gd name="connsiteY83" fmla="*/ 411163 h 1120775"/>
                <a:gd name="connsiteX84" fmla="*/ 879012 w 1337198"/>
                <a:gd name="connsiteY84" fmla="*/ 404695 h 1120775"/>
                <a:gd name="connsiteX85" fmla="*/ 872593 w 1337198"/>
                <a:gd name="connsiteY85" fmla="*/ 274606 h 1120775"/>
                <a:gd name="connsiteX86" fmla="*/ 879726 w 1337198"/>
                <a:gd name="connsiteY86" fmla="*/ 266700 h 1120775"/>
                <a:gd name="connsiteX87" fmla="*/ 698798 w 1337198"/>
                <a:gd name="connsiteY87" fmla="*/ 266700 h 1120775"/>
                <a:gd name="connsiteX88" fmla="*/ 822288 w 1337198"/>
                <a:gd name="connsiteY88" fmla="*/ 266700 h 1120775"/>
                <a:gd name="connsiteX89" fmla="*/ 829467 w 1337198"/>
                <a:gd name="connsiteY89" fmla="*/ 273887 h 1120775"/>
                <a:gd name="connsiteX90" fmla="*/ 834493 w 1337198"/>
                <a:gd name="connsiteY90" fmla="*/ 403976 h 1120775"/>
                <a:gd name="connsiteX91" fmla="*/ 827314 w 1337198"/>
                <a:gd name="connsiteY91" fmla="*/ 411163 h 1120775"/>
                <a:gd name="connsiteX92" fmla="*/ 699516 w 1337198"/>
                <a:gd name="connsiteY92" fmla="*/ 411163 h 1120775"/>
                <a:gd name="connsiteX93" fmla="*/ 692336 w 1337198"/>
                <a:gd name="connsiteY93" fmla="*/ 403976 h 1120775"/>
                <a:gd name="connsiteX94" fmla="*/ 691618 w 1337198"/>
                <a:gd name="connsiteY94" fmla="*/ 273887 h 1120775"/>
                <a:gd name="connsiteX95" fmla="*/ 698798 w 1337198"/>
                <a:gd name="connsiteY95" fmla="*/ 266700 h 1120775"/>
                <a:gd name="connsiteX96" fmla="*/ 519538 w 1337198"/>
                <a:gd name="connsiteY96" fmla="*/ 266700 h 1120775"/>
                <a:gd name="connsiteX97" fmla="*/ 641656 w 1337198"/>
                <a:gd name="connsiteY97" fmla="*/ 266700 h 1120775"/>
                <a:gd name="connsiteX98" fmla="*/ 648756 w 1337198"/>
                <a:gd name="connsiteY98" fmla="*/ 273887 h 1120775"/>
                <a:gd name="connsiteX99" fmla="*/ 648046 w 1337198"/>
                <a:gd name="connsiteY99" fmla="*/ 403976 h 1120775"/>
                <a:gd name="connsiteX100" fmla="*/ 640946 w 1337198"/>
                <a:gd name="connsiteY100" fmla="*/ 411163 h 1120775"/>
                <a:gd name="connsiteX101" fmla="*/ 514568 w 1337198"/>
                <a:gd name="connsiteY101" fmla="*/ 411163 h 1120775"/>
                <a:gd name="connsiteX102" fmla="*/ 507468 w 1337198"/>
                <a:gd name="connsiteY102" fmla="*/ 403976 h 1120775"/>
                <a:gd name="connsiteX103" fmla="*/ 512438 w 1337198"/>
                <a:gd name="connsiteY103" fmla="*/ 273887 h 1120775"/>
                <a:gd name="connsiteX104" fmla="*/ 519538 w 1337198"/>
                <a:gd name="connsiteY104" fmla="*/ 266700 h 1120775"/>
                <a:gd name="connsiteX105" fmla="*/ 338079 w 1337198"/>
                <a:gd name="connsiteY105" fmla="*/ 266700 h 1120775"/>
                <a:gd name="connsiteX106" fmla="*/ 461477 w 1337198"/>
                <a:gd name="connsiteY106" fmla="*/ 266700 h 1120775"/>
                <a:gd name="connsiteX107" fmla="*/ 468651 w 1337198"/>
                <a:gd name="connsiteY107" fmla="*/ 274606 h 1120775"/>
                <a:gd name="connsiteX108" fmla="*/ 462194 w 1337198"/>
                <a:gd name="connsiteY108" fmla="*/ 404695 h 1120775"/>
                <a:gd name="connsiteX109" fmla="*/ 455020 w 1337198"/>
                <a:gd name="connsiteY109" fmla="*/ 411163 h 1120775"/>
                <a:gd name="connsiteX110" fmla="*/ 327318 w 1337198"/>
                <a:gd name="connsiteY110" fmla="*/ 411163 h 1120775"/>
                <a:gd name="connsiteX111" fmla="*/ 320143 w 1337198"/>
                <a:gd name="connsiteY111" fmla="*/ 403976 h 1120775"/>
                <a:gd name="connsiteX112" fmla="*/ 330905 w 1337198"/>
                <a:gd name="connsiteY112" fmla="*/ 273169 h 1120775"/>
                <a:gd name="connsiteX113" fmla="*/ 338079 w 1337198"/>
                <a:gd name="connsiteY113" fmla="*/ 266700 h 1120775"/>
                <a:gd name="connsiteX114" fmla="*/ 158644 w 1337198"/>
                <a:gd name="connsiteY114" fmla="*/ 266700 h 1120775"/>
                <a:gd name="connsiteX115" fmla="*/ 280551 w 1337198"/>
                <a:gd name="connsiteY115" fmla="*/ 266700 h 1120775"/>
                <a:gd name="connsiteX116" fmla="*/ 287680 w 1337198"/>
                <a:gd name="connsiteY116" fmla="*/ 274606 h 1120775"/>
                <a:gd name="connsiteX117" fmla="*/ 275561 w 1337198"/>
                <a:gd name="connsiteY117" fmla="*/ 404695 h 1120775"/>
                <a:gd name="connsiteX118" fmla="*/ 268432 w 1337198"/>
                <a:gd name="connsiteY118" fmla="*/ 411163 h 1120775"/>
                <a:gd name="connsiteX119" fmla="*/ 142247 w 1337198"/>
                <a:gd name="connsiteY119" fmla="*/ 411163 h 1120775"/>
                <a:gd name="connsiteX120" fmla="*/ 135118 w 1337198"/>
                <a:gd name="connsiteY120" fmla="*/ 403257 h 1120775"/>
                <a:gd name="connsiteX121" fmla="*/ 151515 w 1337198"/>
                <a:gd name="connsiteY121" fmla="*/ 273169 h 1120775"/>
                <a:gd name="connsiteX122" fmla="*/ 158644 w 1337198"/>
                <a:gd name="connsiteY122" fmla="*/ 266700 h 1120775"/>
                <a:gd name="connsiteX123" fmla="*/ 1041720 w 1337198"/>
                <a:gd name="connsiteY123" fmla="*/ 88900 h 1120775"/>
                <a:gd name="connsiteX124" fmla="*/ 1159110 w 1337198"/>
                <a:gd name="connsiteY124" fmla="*/ 88900 h 1120775"/>
                <a:gd name="connsiteX125" fmla="*/ 1166312 w 1337198"/>
                <a:gd name="connsiteY125" fmla="*/ 95380 h 1120775"/>
                <a:gd name="connsiteX126" fmla="*/ 1181436 w 1337198"/>
                <a:gd name="connsiteY126" fmla="*/ 212743 h 1120775"/>
                <a:gd name="connsiteX127" fmla="*/ 1174234 w 1337198"/>
                <a:gd name="connsiteY127" fmla="*/ 220663 h 1120775"/>
                <a:gd name="connsiteX128" fmla="*/ 1053243 w 1337198"/>
                <a:gd name="connsiteY128" fmla="*/ 220663 h 1120775"/>
                <a:gd name="connsiteX129" fmla="*/ 1046041 w 1337198"/>
                <a:gd name="connsiteY129" fmla="*/ 214183 h 1120775"/>
                <a:gd name="connsiteX130" fmla="*/ 1035238 w 1337198"/>
                <a:gd name="connsiteY130" fmla="*/ 96820 h 1120775"/>
                <a:gd name="connsiteX131" fmla="*/ 1041720 w 1337198"/>
                <a:gd name="connsiteY131" fmla="*/ 88900 h 1120775"/>
                <a:gd name="connsiteX132" fmla="*/ 870918 w 1337198"/>
                <a:gd name="connsiteY132" fmla="*/ 88900 h 1120775"/>
                <a:gd name="connsiteX133" fmla="*/ 986517 w 1337198"/>
                <a:gd name="connsiteY133" fmla="*/ 88900 h 1120775"/>
                <a:gd name="connsiteX134" fmla="*/ 993653 w 1337198"/>
                <a:gd name="connsiteY134" fmla="*/ 95380 h 1120775"/>
                <a:gd name="connsiteX135" fmla="*/ 1003643 w 1337198"/>
                <a:gd name="connsiteY135" fmla="*/ 213463 h 1120775"/>
                <a:gd name="connsiteX136" fmla="*/ 996507 w 1337198"/>
                <a:gd name="connsiteY136" fmla="*/ 220663 h 1120775"/>
                <a:gd name="connsiteX137" fmla="*/ 876626 w 1337198"/>
                <a:gd name="connsiteY137" fmla="*/ 220663 h 1120775"/>
                <a:gd name="connsiteX138" fmla="*/ 869490 w 1337198"/>
                <a:gd name="connsiteY138" fmla="*/ 214183 h 1120775"/>
                <a:gd name="connsiteX139" fmla="*/ 863782 w 1337198"/>
                <a:gd name="connsiteY139" fmla="*/ 96100 h 1120775"/>
                <a:gd name="connsiteX140" fmla="*/ 870918 w 1337198"/>
                <a:gd name="connsiteY140" fmla="*/ 88900 h 1120775"/>
                <a:gd name="connsiteX141" fmla="*/ 698758 w 1337198"/>
                <a:gd name="connsiteY141" fmla="*/ 88900 h 1120775"/>
                <a:gd name="connsiteX142" fmla="*/ 815133 w 1337198"/>
                <a:gd name="connsiteY142" fmla="*/ 88900 h 1120775"/>
                <a:gd name="connsiteX143" fmla="*/ 822273 w 1337198"/>
                <a:gd name="connsiteY143" fmla="*/ 96100 h 1120775"/>
                <a:gd name="connsiteX144" fmla="*/ 826556 w 1337198"/>
                <a:gd name="connsiteY144" fmla="*/ 213463 h 1120775"/>
                <a:gd name="connsiteX145" fmla="*/ 819417 w 1337198"/>
                <a:gd name="connsiteY145" fmla="*/ 220663 h 1120775"/>
                <a:gd name="connsiteX146" fmla="*/ 699472 w 1337198"/>
                <a:gd name="connsiteY146" fmla="*/ 220663 h 1120775"/>
                <a:gd name="connsiteX147" fmla="*/ 692332 w 1337198"/>
                <a:gd name="connsiteY147" fmla="*/ 213463 h 1120775"/>
                <a:gd name="connsiteX148" fmla="*/ 691618 w 1337198"/>
                <a:gd name="connsiteY148" fmla="*/ 96100 h 1120775"/>
                <a:gd name="connsiteX149" fmla="*/ 698758 w 1337198"/>
                <a:gd name="connsiteY149" fmla="*/ 88900 h 1120775"/>
                <a:gd name="connsiteX150" fmla="*/ 526034 w 1337198"/>
                <a:gd name="connsiteY150" fmla="*/ 88900 h 1120775"/>
                <a:gd name="connsiteX151" fmla="*/ 643158 w 1337198"/>
                <a:gd name="connsiteY151" fmla="*/ 88900 h 1120775"/>
                <a:gd name="connsiteX152" fmla="*/ 650343 w 1337198"/>
                <a:gd name="connsiteY152" fmla="*/ 96100 h 1120775"/>
                <a:gd name="connsiteX153" fmla="*/ 649625 w 1337198"/>
                <a:gd name="connsiteY153" fmla="*/ 213463 h 1120775"/>
                <a:gd name="connsiteX154" fmla="*/ 642439 w 1337198"/>
                <a:gd name="connsiteY154" fmla="*/ 220663 h 1120775"/>
                <a:gd name="connsiteX155" fmla="*/ 521722 w 1337198"/>
                <a:gd name="connsiteY155" fmla="*/ 220663 h 1120775"/>
                <a:gd name="connsiteX156" fmla="*/ 514537 w 1337198"/>
                <a:gd name="connsiteY156" fmla="*/ 213463 h 1120775"/>
                <a:gd name="connsiteX157" fmla="*/ 518848 w 1337198"/>
                <a:gd name="connsiteY157" fmla="*/ 96100 h 1120775"/>
                <a:gd name="connsiteX158" fmla="*/ 526034 w 1337198"/>
                <a:gd name="connsiteY158" fmla="*/ 88900 h 1120775"/>
                <a:gd name="connsiteX159" fmla="*/ 353144 w 1337198"/>
                <a:gd name="connsiteY159" fmla="*/ 88900 h 1120775"/>
                <a:gd name="connsiteX160" fmla="*/ 470170 w 1337198"/>
                <a:gd name="connsiteY160" fmla="*/ 88900 h 1120775"/>
                <a:gd name="connsiteX161" fmla="*/ 477306 w 1337198"/>
                <a:gd name="connsiteY161" fmla="*/ 96100 h 1120775"/>
                <a:gd name="connsiteX162" fmla="*/ 471598 w 1337198"/>
                <a:gd name="connsiteY162" fmla="*/ 214183 h 1120775"/>
                <a:gd name="connsiteX163" fmla="*/ 464462 w 1337198"/>
                <a:gd name="connsiteY163" fmla="*/ 220663 h 1120775"/>
                <a:gd name="connsiteX164" fmla="*/ 343154 w 1337198"/>
                <a:gd name="connsiteY164" fmla="*/ 220663 h 1120775"/>
                <a:gd name="connsiteX165" fmla="*/ 336018 w 1337198"/>
                <a:gd name="connsiteY165" fmla="*/ 213463 h 1120775"/>
                <a:gd name="connsiteX166" fmla="*/ 346008 w 1337198"/>
                <a:gd name="connsiteY166" fmla="*/ 95380 h 1120775"/>
                <a:gd name="connsiteX167" fmla="*/ 353144 w 1337198"/>
                <a:gd name="connsiteY167" fmla="*/ 88900 h 1120775"/>
                <a:gd name="connsiteX168" fmla="*/ 181758 w 1337198"/>
                <a:gd name="connsiteY168" fmla="*/ 88900 h 1120775"/>
                <a:gd name="connsiteX169" fmla="*/ 297187 w 1337198"/>
                <a:gd name="connsiteY169" fmla="*/ 88900 h 1120775"/>
                <a:gd name="connsiteX170" fmla="*/ 304268 w 1337198"/>
                <a:gd name="connsiteY170" fmla="*/ 96820 h 1120775"/>
                <a:gd name="connsiteX171" fmla="*/ 292938 w 1337198"/>
                <a:gd name="connsiteY171" fmla="*/ 214183 h 1120775"/>
                <a:gd name="connsiteX172" fmla="*/ 286564 w 1337198"/>
                <a:gd name="connsiteY172" fmla="*/ 220663 h 1120775"/>
                <a:gd name="connsiteX173" fmla="*/ 166887 w 1337198"/>
                <a:gd name="connsiteY173" fmla="*/ 220663 h 1120775"/>
                <a:gd name="connsiteX174" fmla="*/ 159805 w 1337198"/>
                <a:gd name="connsiteY174" fmla="*/ 212743 h 1120775"/>
                <a:gd name="connsiteX175" fmla="*/ 174676 w 1337198"/>
                <a:gd name="connsiteY175" fmla="*/ 95380 h 1120775"/>
                <a:gd name="connsiteX176" fmla="*/ 181758 w 1337198"/>
                <a:gd name="connsiteY176" fmla="*/ 88900 h 1120775"/>
                <a:gd name="connsiteX177" fmla="*/ 133667 w 1337198"/>
                <a:gd name="connsiteY177" fmla="*/ 30163 h 1120775"/>
                <a:gd name="connsiteX178" fmla="*/ 34393 w 1337198"/>
                <a:gd name="connsiteY178" fmla="*/ 706438 h 1120775"/>
                <a:gd name="connsiteX179" fmla="*/ 1302806 w 1337198"/>
                <a:gd name="connsiteY179" fmla="*/ 706438 h 1120775"/>
                <a:gd name="connsiteX180" fmla="*/ 1203533 w 1337198"/>
                <a:gd name="connsiteY180" fmla="*/ 30163 h 1120775"/>
                <a:gd name="connsiteX181" fmla="*/ 133667 w 1337198"/>
                <a:gd name="connsiteY181" fmla="*/ 30163 h 1120775"/>
                <a:gd name="connsiteX182" fmla="*/ 119569 w 1337198"/>
                <a:gd name="connsiteY182" fmla="*/ 0 h 1120775"/>
                <a:gd name="connsiteX183" fmla="*/ 1217631 w 1337198"/>
                <a:gd name="connsiteY183" fmla="*/ 0 h 1120775"/>
                <a:gd name="connsiteX184" fmla="*/ 1233358 w 1337198"/>
                <a:gd name="connsiteY184" fmla="*/ 13557 h 1120775"/>
                <a:gd name="connsiteX185" fmla="*/ 1337016 w 1337198"/>
                <a:gd name="connsiteY185" fmla="*/ 719946 h 1120775"/>
                <a:gd name="connsiteX186" fmla="*/ 1333442 w 1337198"/>
                <a:gd name="connsiteY186" fmla="*/ 732076 h 1120775"/>
                <a:gd name="connsiteX187" fmla="*/ 1321289 w 1337198"/>
                <a:gd name="connsiteY187" fmla="*/ 737784 h 1120775"/>
                <a:gd name="connsiteX188" fmla="*/ 727220 w 1337198"/>
                <a:gd name="connsiteY188" fmla="*/ 737784 h 1120775"/>
                <a:gd name="connsiteX189" fmla="*/ 727220 w 1337198"/>
                <a:gd name="connsiteY189" fmla="*/ 739212 h 1120775"/>
                <a:gd name="connsiteX190" fmla="*/ 727220 w 1337198"/>
                <a:gd name="connsiteY190" fmla="*/ 931863 h 1120775"/>
                <a:gd name="connsiteX191" fmla="*/ 695765 w 1337198"/>
                <a:gd name="connsiteY191" fmla="*/ 931863 h 1120775"/>
                <a:gd name="connsiteX192" fmla="*/ 695765 w 1337198"/>
                <a:gd name="connsiteY192" fmla="*/ 739212 h 1120775"/>
                <a:gd name="connsiteX193" fmla="*/ 695765 w 1337198"/>
                <a:gd name="connsiteY193" fmla="*/ 737784 h 1120775"/>
                <a:gd name="connsiteX194" fmla="*/ 641434 w 1337198"/>
                <a:gd name="connsiteY194" fmla="*/ 737784 h 1120775"/>
                <a:gd name="connsiteX195" fmla="*/ 641434 w 1337198"/>
                <a:gd name="connsiteY195" fmla="*/ 739212 h 1120775"/>
                <a:gd name="connsiteX196" fmla="*/ 641434 w 1337198"/>
                <a:gd name="connsiteY196" fmla="*/ 931863 h 1120775"/>
                <a:gd name="connsiteX197" fmla="*/ 609979 w 1337198"/>
                <a:gd name="connsiteY197" fmla="*/ 931863 h 1120775"/>
                <a:gd name="connsiteX198" fmla="*/ 609979 w 1337198"/>
                <a:gd name="connsiteY198" fmla="*/ 739212 h 1120775"/>
                <a:gd name="connsiteX199" fmla="*/ 609979 w 1337198"/>
                <a:gd name="connsiteY199" fmla="*/ 737784 h 1120775"/>
                <a:gd name="connsiteX200" fmla="*/ 15911 w 1337198"/>
                <a:gd name="connsiteY200" fmla="*/ 737784 h 1120775"/>
                <a:gd name="connsiteX201" fmla="*/ 3758 w 1337198"/>
                <a:gd name="connsiteY201" fmla="*/ 732076 h 1120775"/>
                <a:gd name="connsiteX202" fmla="*/ 183 w 1337198"/>
                <a:gd name="connsiteY202" fmla="*/ 719946 h 1120775"/>
                <a:gd name="connsiteX203" fmla="*/ 103841 w 1337198"/>
                <a:gd name="connsiteY203" fmla="*/ 13557 h 1120775"/>
                <a:gd name="connsiteX204" fmla="*/ 119569 w 1337198"/>
                <a:gd name="connsiteY204" fmla="*/ 0 h 1120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</a:cxnLst>
              <a:rect l="l" t="t" r="r" b="b"/>
              <a:pathLst>
                <a:path w="1337198" h="1120775">
                  <a:moveTo>
                    <a:pt x="414450" y="965200"/>
                  </a:moveTo>
                  <a:cubicBezTo>
                    <a:pt x="921162" y="965200"/>
                    <a:pt x="921162" y="965200"/>
                    <a:pt x="921162" y="965200"/>
                  </a:cubicBezTo>
                  <a:cubicBezTo>
                    <a:pt x="930439" y="965200"/>
                    <a:pt x="937576" y="972337"/>
                    <a:pt x="937576" y="981614"/>
                  </a:cubicBezTo>
                  <a:cubicBezTo>
                    <a:pt x="937576" y="1011587"/>
                    <a:pt x="937576" y="1011587"/>
                    <a:pt x="937576" y="1011587"/>
                  </a:cubicBezTo>
                  <a:cubicBezTo>
                    <a:pt x="976829" y="1011587"/>
                    <a:pt x="976829" y="1011587"/>
                    <a:pt x="976829" y="1011587"/>
                  </a:cubicBezTo>
                  <a:cubicBezTo>
                    <a:pt x="985393" y="1011587"/>
                    <a:pt x="993243" y="1019437"/>
                    <a:pt x="993243" y="1028001"/>
                  </a:cubicBezTo>
                  <a:cubicBezTo>
                    <a:pt x="993243" y="1104361"/>
                    <a:pt x="993243" y="1104361"/>
                    <a:pt x="993243" y="1104361"/>
                  </a:cubicBezTo>
                  <a:cubicBezTo>
                    <a:pt x="993243" y="1112925"/>
                    <a:pt x="985393" y="1120775"/>
                    <a:pt x="976829" y="1120775"/>
                  </a:cubicBezTo>
                  <a:cubicBezTo>
                    <a:pt x="358783" y="1120775"/>
                    <a:pt x="358783" y="1120775"/>
                    <a:pt x="358783" y="1120775"/>
                  </a:cubicBezTo>
                  <a:cubicBezTo>
                    <a:pt x="349505" y="1120775"/>
                    <a:pt x="342368" y="1112925"/>
                    <a:pt x="342368" y="1104361"/>
                  </a:cubicBezTo>
                  <a:cubicBezTo>
                    <a:pt x="342368" y="1028001"/>
                    <a:pt x="342368" y="1028001"/>
                    <a:pt x="342368" y="1028001"/>
                  </a:cubicBezTo>
                  <a:cubicBezTo>
                    <a:pt x="342368" y="1019437"/>
                    <a:pt x="349505" y="1011587"/>
                    <a:pt x="358783" y="1011587"/>
                  </a:cubicBezTo>
                  <a:cubicBezTo>
                    <a:pt x="397322" y="1011587"/>
                    <a:pt x="397322" y="1011587"/>
                    <a:pt x="397322" y="1011587"/>
                  </a:cubicBezTo>
                  <a:cubicBezTo>
                    <a:pt x="397322" y="981614"/>
                    <a:pt x="397322" y="981614"/>
                    <a:pt x="397322" y="981614"/>
                  </a:cubicBezTo>
                  <a:cubicBezTo>
                    <a:pt x="397322" y="972337"/>
                    <a:pt x="405172" y="965200"/>
                    <a:pt x="414450" y="965200"/>
                  </a:cubicBezTo>
                  <a:close/>
                  <a:moveTo>
                    <a:pt x="1078202" y="461963"/>
                  </a:moveTo>
                  <a:cubicBezTo>
                    <a:pt x="1078202" y="461963"/>
                    <a:pt x="1078202" y="461963"/>
                    <a:pt x="1208008" y="461963"/>
                  </a:cubicBezTo>
                  <a:cubicBezTo>
                    <a:pt x="1211594" y="461963"/>
                    <a:pt x="1214463" y="464836"/>
                    <a:pt x="1215180" y="468428"/>
                  </a:cubicBezTo>
                  <a:cubicBezTo>
                    <a:pt x="1215180" y="468428"/>
                    <a:pt x="1215180" y="468428"/>
                    <a:pt x="1233826" y="612812"/>
                  </a:cubicBezTo>
                  <a:cubicBezTo>
                    <a:pt x="1234543" y="617122"/>
                    <a:pt x="1230957" y="620713"/>
                    <a:pt x="1226654" y="620713"/>
                  </a:cubicBezTo>
                  <a:cubicBezTo>
                    <a:pt x="1226654" y="620713"/>
                    <a:pt x="1226654" y="620713"/>
                    <a:pt x="1092545" y="620713"/>
                  </a:cubicBezTo>
                  <a:cubicBezTo>
                    <a:pt x="1088242" y="620713"/>
                    <a:pt x="1085373" y="618558"/>
                    <a:pt x="1085373" y="614248"/>
                  </a:cubicBezTo>
                  <a:cubicBezTo>
                    <a:pt x="1085373" y="614248"/>
                    <a:pt x="1085373" y="614248"/>
                    <a:pt x="1071030" y="469865"/>
                  </a:cubicBezTo>
                  <a:cubicBezTo>
                    <a:pt x="1071030" y="465555"/>
                    <a:pt x="1073899" y="461963"/>
                    <a:pt x="1078202" y="461963"/>
                  </a:cubicBezTo>
                  <a:close/>
                  <a:moveTo>
                    <a:pt x="889255" y="461963"/>
                  </a:moveTo>
                  <a:cubicBezTo>
                    <a:pt x="889255" y="461963"/>
                    <a:pt x="889255" y="461963"/>
                    <a:pt x="1018425" y="461963"/>
                  </a:cubicBezTo>
                  <a:cubicBezTo>
                    <a:pt x="1021993" y="461963"/>
                    <a:pt x="1024848" y="464836"/>
                    <a:pt x="1025561" y="468428"/>
                  </a:cubicBezTo>
                  <a:cubicBezTo>
                    <a:pt x="1025561" y="468428"/>
                    <a:pt x="1025561" y="468428"/>
                    <a:pt x="1037693" y="613530"/>
                  </a:cubicBezTo>
                  <a:cubicBezTo>
                    <a:pt x="1037693" y="617122"/>
                    <a:pt x="1034839" y="620713"/>
                    <a:pt x="1030557" y="620713"/>
                  </a:cubicBezTo>
                  <a:cubicBezTo>
                    <a:pt x="1030557" y="620713"/>
                    <a:pt x="1030557" y="620713"/>
                    <a:pt x="896391" y="620713"/>
                  </a:cubicBezTo>
                  <a:cubicBezTo>
                    <a:pt x="892823" y="620713"/>
                    <a:pt x="889968" y="617840"/>
                    <a:pt x="889255" y="614248"/>
                  </a:cubicBezTo>
                  <a:cubicBezTo>
                    <a:pt x="889255" y="614248"/>
                    <a:pt x="889255" y="614248"/>
                    <a:pt x="882118" y="469146"/>
                  </a:cubicBezTo>
                  <a:cubicBezTo>
                    <a:pt x="882118" y="465555"/>
                    <a:pt x="884973" y="461963"/>
                    <a:pt x="889255" y="461963"/>
                  </a:cubicBezTo>
                  <a:close/>
                  <a:moveTo>
                    <a:pt x="700345" y="461963"/>
                  </a:moveTo>
                  <a:cubicBezTo>
                    <a:pt x="700345" y="461963"/>
                    <a:pt x="700345" y="461963"/>
                    <a:pt x="828864" y="461963"/>
                  </a:cubicBezTo>
                  <a:cubicBezTo>
                    <a:pt x="833148" y="461963"/>
                    <a:pt x="836004" y="464836"/>
                    <a:pt x="836004" y="468428"/>
                  </a:cubicBezTo>
                  <a:cubicBezTo>
                    <a:pt x="836004" y="468428"/>
                    <a:pt x="836004" y="468428"/>
                    <a:pt x="841716" y="613530"/>
                  </a:cubicBezTo>
                  <a:cubicBezTo>
                    <a:pt x="842430" y="617840"/>
                    <a:pt x="838860" y="620713"/>
                    <a:pt x="834576" y="620713"/>
                  </a:cubicBezTo>
                  <a:cubicBezTo>
                    <a:pt x="834576" y="620713"/>
                    <a:pt x="834576" y="620713"/>
                    <a:pt x="701059" y="620713"/>
                  </a:cubicBezTo>
                  <a:cubicBezTo>
                    <a:pt x="696775" y="620713"/>
                    <a:pt x="693919" y="617840"/>
                    <a:pt x="693919" y="613530"/>
                  </a:cubicBezTo>
                  <a:cubicBezTo>
                    <a:pt x="693919" y="613530"/>
                    <a:pt x="693919" y="613530"/>
                    <a:pt x="693205" y="469146"/>
                  </a:cubicBezTo>
                  <a:cubicBezTo>
                    <a:pt x="693205" y="464836"/>
                    <a:pt x="696061" y="461963"/>
                    <a:pt x="700345" y="461963"/>
                  </a:cubicBezTo>
                  <a:close/>
                  <a:moveTo>
                    <a:pt x="511509" y="461963"/>
                  </a:moveTo>
                  <a:cubicBezTo>
                    <a:pt x="511509" y="461963"/>
                    <a:pt x="511509" y="461963"/>
                    <a:pt x="640028" y="461963"/>
                  </a:cubicBezTo>
                  <a:cubicBezTo>
                    <a:pt x="644312" y="461963"/>
                    <a:pt x="647168" y="464836"/>
                    <a:pt x="647168" y="469146"/>
                  </a:cubicBezTo>
                  <a:cubicBezTo>
                    <a:pt x="647168" y="469146"/>
                    <a:pt x="647168" y="469146"/>
                    <a:pt x="646454" y="613530"/>
                  </a:cubicBezTo>
                  <a:cubicBezTo>
                    <a:pt x="646454" y="617840"/>
                    <a:pt x="643598" y="620713"/>
                    <a:pt x="639314" y="620713"/>
                  </a:cubicBezTo>
                  <a:cubicBezTo>
                    <a:pt x="639314" y="620713"/>
                    <a:pt x="639314" y="620713"/>
                    <a:pt x="505797" y="620713"/>
                  </a:cubicBezTo>
                  <a:cubicBezTo>
                    <a:pt x="501513" y="620713"/>
                    <a:pt x="497943" y="617840"/>
                    <a:pt x="498657" y="613530"/>
                  </a:cubicBezTo>
                  <a:cubicBezTo>
                    <a:pt x="498657" y="613530"/>
                    <a:pt x="498657" y="613530"/>
                    <a:pt x="504369" y="468428"/>
                  </a:cubicBezTo>
                  <a:cubicBezTo>
                    <a:pt x="504369" y="464836"/>
                    <a:pt x="507225" y="461963"/>
                    <a:pt x="511509" y="461963"/>
                  </a:cubicBezTo>
                  <a:close/>
                  <a:moveTo>
                    <a:pt x="322057" y="461963"/>
                  </a:moveTo>
                  <a:cubicBezTo>
                    <a:pt x="322057" y="461963"/>
                    <a:pt x="322057" y="461963"/>
                    <a:pt x="452667" y="461963"/>
                  </a:cubicBezTo>
                  <a:cubicBezTo>
                    <a:pt x="456973" y="461963"/>
                    <a:pt x="459843" y="465555"/>
                    <a:pt x="459843" y="469146"/>
                  </a:cubicBezTo>
                  <a:cubicBezTo>
                    <a:pt x="459843" y="469146"/>
                    <a:pt x="459843" y="469146"/>
                    <a:pt x="452667" y="614248"/>
                  </a:cubicBezTo>
                  <a:cubicBezTo>
                    <a:pt x="452667" y="617840"/>
                    <a:pt x="449079" y="620713"/>
                    <a:pt x="445490" y="620713"/>
                  </a:cubicBezTo>
                  <a:cubicBezTo>
                    <a:pt x="445490" y="620713"/>
                    <a:pt x="445490" y="620713"/>
                    <a:pt x="309857" y="620713"/>
                  </a:cubicBezTo>
                  <a:cubicBezTo>
                    <a:pt x="306268" y="620713"/>
                    <a:pt x="302680" y="617122"/>
                    <a:pt x="302680" y="613530"/>
                  </a:cubicBezTo>
                  <a:cubicBezTo>
                    <a:pt x="302680" y="613530"/>
                    <a:pt x="302680" y="613530"/>
                    <a:pt x="314880" y="468428"/>
                  </a:cubicBezTo>
                  <a:cubicBezTo>
                    <a:pt x="315598" y="464836"/>
                    <a:pt x="318468" y="461963"/>
                    <a:pt x="322057" y="461963"/>
                  </a:cubicBezTo>
                  <a:close/>
                  <a:moveTo>
                    <a:pt x="133098" y="461963"/>
                  </a:moveTo>
                  <a:cubicBezTo>
                    <a:pt x="133098" y="461963"/>
                    <a:pt x="133098" y="461963"/>
                    <a:pt x="262210" y="461963"/>
                  </a:cubicBezTo>
                  <a:cubicBezTo>
                    <a:pt x="266490" y="461963"/>
                    <a:pt x="269343" y="465555"/>
                    <a:pt x="269343" y="469865"/>
                  </a:cubicBezTo>
                  <a:cubicBezTo>
                    <a:pt x="269343" y="469865"/>
                    <a:pt x="269343" y="469865"/>
                    <a:pt x="255790" y="614248"/>
                  </a:cubicBezTo>
                  <a:cubicBezTo>
                    <a:pt x="255077" y="618558"/>
                    <a:pt x="252223" y="620713"/>
                    <a:pt x="248657" y="620713"/>
                  </a:cubicBezTo>
                  <a:cubicBezTo>
                    <a:pt x="248657" y="620713"/>
                    <a:pt x="248657" y="620713"/>
                    <a:pt x="114552" y="620713"/>
                  </a:cubicBezTo>
                  <a:cubicBezTo>
                    <a:pt x="110272" y="620713"/>
                    <a:pt x="107418" y="617122"/>
                    <a:pt x="107418" y="612812"/>
                  </a:cubicBezTo>
                  <a:cubicBezTo>
                    <a:pt x="107418" y="612812"/>
                    <a:pt x="107418" y="612812"/>
                    <a:pt x="125965" y="468428"/>
                  </a:cubicBezTo>
                  <a:cubicBezTo>
                    <a:pt x="126678" y="464836"/>
                    <a:pt x="129531" y="461963"/>
                    <a:pt x="133098" y="461963"/>
                  </a:cubicBezTo>
                  <a:close/>
                  <a:moveTo>
                    <a:pt x="1059109" y="266700"/>
                  </a:moveTo>
                  <a:cubicBezTo>
                    <a:pt x="1059109" y="266700"/>
                    <a:pt x="1059109" y="266700"/>
                    <a:pt x="1181729" y="266700"/>
                  </a:cubicBezTo>
                  <a:cubicBezTo>
                    <a:pt x="1185294" y="266700"/>
                    <a:pt x="1188146" y="269575"/>
                    <a:pt x="1188146" y="273169"/>
                  </a:cubicBezTo>
                  <a:cubicBezTo>
                    <a:pt x="1188146" y="273169"/>
                    <a:pt x="1188146" y="273169"/>
                    <a:pt x="1205255" y="403257"/>
                  </a:cubicBezTo>
                  <a:cubicBezTo>
                    <a:pt x="1205968" y="407570"/>
                    <a:pt x="1202404" y="411163"/>
                    <a:pt x="1198126" y="411163"/>
                  </a:cubicBezTo>
                  <a:cubicBezTo>
                    <a:pt x="1198126" y="411163"/>
                    <a:pt x="1198126" y="411163"/>
                    <a:pt x="1071942" y="411163"/>
                  </a:cubicBezTo>
                  <a:cubicBezTo>
                    <a:pt x="1067664" y="411163"/>
                    <a:pt x="1064813" y="408288"/>
                    <a:pt x="1064813" y="404695"/>
                  </a:cubicBezTo>
                  <a:cubicBezTo>
                    <a:pt x="1064813" y="404695"/>
                    <a:pt x="1064813" y="404695"/>
                    <a:pt x="1051980" y="274606"/>
                  </a:cubicBezTo>
                  <a:cubicBezTo>
                    <a:pt x="1051980" y="270294"/>
                    <a:pt x="1054832" y="266700"/>
                    <a:pt x="1059109" y="266700"/>
                  </a:cubicBezTo>
                  <a:close/>
                  <a:moveTo>
                    <a:pt x="879726" y="266700"/>
                  </a:moveTo>
                  <a:cubicBezTo>
                    <a:pt x="879726" y="266700"/>
                    <a:pt x="879726" y="266700"/>
                    <a:pt x="1002401" y="266700"/>
                  </a:cubicBezTo>
                  <a:cubicBezTo>
                    <a:pt x="1005967" y="266700"/>
                    <a:pt x="1008820" y="269575"/>
                    <a:pt x="1008820" y="273169"/>
                  </a:cubicBezTo>
                  <a:cubicBezTo>
                    <a:pt x="1008820" y="273169"/>
                    <a:pt x="1008820" y="273169"/>
                    <a:pt x="1020231" y="403976"/>
                  </a:cubicBezTo>
                  <a:cubicBezTo>
                    <a:pt x="1020231" y="407570"/>
                    <a:pt x="1017378" y="411163"/>
                    <a:pt x="1013099" y="411163"/>
                  </a:cubicBezTo>
                  <a:cubicBezTo>
                    <a:pt x="1013099" y="411163"/>
                    <a:pt x="1013099" y="411163"/>
                    <a:pt x="886145" y="411163"/>
                  </a:cubicBezTo>
                  <a:cubicBezTo>
                    <a:pt x="882578" y="411163"/>
                    <a:pt x="879726" y="408288"/>
                    <a:pt x="879012" y="404695"/>
                  </a:cubicBezTo>
                  <a:cubicBezTo>
                    <a:pt x="879012" y="404695"/>
                    <a:pt x="879012" y="404695"/>
                    <a:pt x="872593" y="274606"/>
                  </a:cubicBezTo>
                  <a:cubicBezTo>
                    <a:pt x="872593" y="270294"/>
                    <a:pt x="875446" y="266700"/>
                    <a:pt x="879726" y="266700"/>
                  </a:cubicBezTo>
                  <a:close/>
                  <a:moveTo>
                    <a:pt x="698798" y="266700"/>
                  </a:moveTo>
                  <a:cubicBezTo>
                    <a:pt x="698798" y="266700"/>
                    <a:pt x="698798" y="266700"/>
                    <a:pt x="822288" y="266700"/>
                  </a:cubicBezTo>
                  <a:cubicBezTo>
                    <a:pt x="825878" y="266700"/>
                    <a:pt x="828750" y="270294"/>
                    <a:pt x="829467" y="273887"/>
                  </a:cubicBezTo>
                  <a:cubicBezTo>
                    <a:pt x="829467" y="273887"/>
                    <a:pt x="829467" y="273887"/>
                    <a:pt x="834493" y="403976"/>
                  </a:cubicBezTo>
                  <a:cubicBezTo>
                    <a:pt x="834493" y="408288"/>
                    <a:pt x="830903" y="411163"/>
                    <a:pt x="827314" y="411163"/>
                  </a:cubicBezTo>
                  <a:cubicBezTo>
                    <a:pt x="827314" y="411163"/>
                    <a:pt x="827314" y="411163"/>
                    <a:pt x="699516" y="411163"/>
                  </a:cubicBezTo>
                  <a:cubicBezTo>
                    <a:pt x="695926" y="411163"/>
                    <a:pt x="692336" y="408288"/>
                    <a:pt x="692336" y="403976"/>
                  </a:cubicBezTo>
                  <a:cubicBezTo>
                    <a:pt x="692336" y="403976"/>
                    <a:pt x="692336" y="403976"/>
                    <a:pt x="691618" y="273887"/>
                  </a:cubicBezTo>
                  <a:cubicBezTo>
                    <a:pt x="691618" y="270294"/>
                    <a:pt x="695208" y="266700"/>
                    <a:pt x="698798" y="266700"/>
                  </a:cubicBezTo>
                  <a:close/>
                  <a:moveTo>
                    <a:pt x="519538" y="266700"/>
                  </a:moveTo>
                  <a:cubicBezTo>
                    <a:pt x="519538" y="266700"/>
                    <a:pt x="519538" y="266700"/>
                    <a:pt x="641656" y="266700"/>
                  </a:cubicBezTo>
                  <a:cubicBezTo>
                    <a:pt x="645206" y="266700"/>
                    <a:pt x="648756" y="270294"/>
                    <a:pt x="648756" y="273887"/>
                  </a:cubicBezTo>
                  <a:cubicBezTo>
                    <a:pt x="648756" y="273887"/>
                    <a:pt x="648756" y="273887"/>
                    <a:pt x="648046" y="403976"/>
                  </a:cubicBezTo>
                  <a:cubicBezTo>
                    <a:pt x="648046" y="408288"/>
                    <a:pt x="644496" y="411163"/>
                    <a:pt x="640946" y="411163"/>
                  </a:cubicBezTo>
                  <a:cubicBezTo>
                    <a:pt x="640946" y="411163"/>
                    <a:pt x="640946" y="411163"/>
                    <a:pt x="514568" y="411163"/>
                  </a:cubicBezTo>
                  <a:cubicBezTo>
                    <a:pt x="510308" y="411163"/>
                    <a:pt x="507468" y="408288"/>
                    <a:pt x="507468" y="403976"/>
                  </a:cubicBezTo>
                  <a:cubicBezTo>
                    <a:pt x="507468" y="403976"/>
                    <a:pt x="507468" y="403976"/>
                    <a:pt x="512438" y="273887"/>
                  </a:cubicBezTo>
                  <a:cubicBezTo>
                    <a:pt x="512438" y="270294"/>
                    <a:pt x="515988" y="266700"/>
                    <a:pt x="519538" y="266700"/>
                  </a:cubicBezTo>
                  <a:close/>
                  <a:moveTo>
                    <a:pt x="338079" y="266700"/>
                  </a:moveTo>
                  <a:cubicBezTo>
                    <a:pt x="338079" y="266700"/>
                    <a:pt x="338079" y="266700"/>
                    <a:pt x="461477" y="266700"/>
                  </a:cubicBezTo>
                  <a:cubicBezTo>
                    <a:pt x="465781" y="266700"/>
                    <a:pt x="469368" y="270294"/>
                    <a:pt x="468651" y="274606"/>
                  </a:cubicBezTo>
                  <a:cubicBezTo>
                    <a:pt x="468651" y="274606"/>
                    <a:pt x="468651" y="274606"/>
                    <a:pt x="462194" y="404695"/>
                  </a:cubicBezTo>
                  <a:cubicBezTo>
                    <a:pt x="462194" y="408288"/>
                    <a:pt x="459324" y="411163"/>
                    <a:pt x="455020" y="411163"/>
                  </a:cubicBezTo>
                  <a:cubicBezTo>
                    <a:pt x="455020" y="411163"/>
                    <a:pt x="455020" y="411163"/>
                    <a:pt x="327318" y="411163"/>
                  </a:cubicBezTo>
                  <a:cubicBezTo>
                    <a:pt x="323013" y="411163"/>
                    <a:pt x="320143" y="407570"/>
                    <a:pt x="320143" y="403976"/>
                  </a:cubicBezTo>
                  <a:cubicBezTo>
                    <a:pt x="320143" y="403976"/>
                    <a:pt x="320143" y="403976"/>
                    <a:pt x="330905" y="273169"/>
                  </a:cubicBezTo>
                  <a:cubicBezTo>
                    <a:pt x="331622" y="269575"/>
                    <a:pt x="334492" y="266700"/>
                    <a:pt x="338079" y="266700"/>
                  </a:cubicBezTo>
                  <a:close/>
                  <a:moveTo>
                    <a:pt x="158644" y="266700"/>
                  </a:moveTo>
                  <a:cubicBezTo>
                    <a:pt x="158644" y="266700"/>
                    <a:pt x="158644" y="266700"/>
                    <a:pt x="280551" y="266700"/>
                  </a:cubicBezTo>
                  <a:cubicBezTo>
                    <a:pt x="284829" y="266700"/>
                    <a:pt x="288393" y="270294"/>
                    <a:pt x="287680" y="274606"/>
                  </a:cubicBezTo>
                  <a:cubicBezTo>
                    <a:pt x="287680" y="274606"/>
                    <a:pt x="287680" y="274606"/>
                    <a:pt x="275561" y="404695"/>
                  </a:cubicBezTo>
                  <a:cubicBezTo>
                    <a:pt x="275561" y="408288"/>
                    <a:pt x="271996" y="411163"/>
                    <a:pt x="268432" y="411163"/>
                  </a:cubicBezTo>
                  <a:cubicBezTo>
                    <a:pt x="268432" y="411163"/>
                    <a:pt x="268432" y="411163"/>
                    <a:pt x="142247" y="411163"/>
                  </a:cubicBezTo>
                  <a:cubicBezTo>
                    <a:pt x="137970" y="411163"/>
                    <a:pt x="134405" y="407570"/>
                    <a:pt x="135118" y="403257"/>
                  </a:cubicBezTo>
                  <a:cubicBezTo>
                    <a:pt x="135118" y="403257"/>
                    <a:pt x="135118" y="403257"/>
                    <a:pt x="151515" y="273169"/>
                  </a:cubicBezTo>
                  <a:cubicBezTo>
                    <a:pt x="152228" y="269575"/>
                    <a:pt x="155080" y="266700"/>
                    <a:pt x="158644" y="266700"/>
                  </a:cubicBezTo>
                  <a:close/>
                  <a:moveTo>
                    <a:pt x="1041720" y="88900"/>
                  </a:moveTo>
                  <a:cubicBezTo>
                    <a:pt x="1041720" y="88900"/>
                    <a:pt x="1041720" y="88900"/>
                    <a:pt x="1159110" y="88900"/>
                  </a:cubicBezTo>
                  <a:cubicBezTo>
                    <a:pt x="1162711" y="88900"/>
                    <a:pt x="1166312" y="91780"/>
                    <a:pt x="1166312" y="95380"/>
                  </a:cubicBezTo>
                  <a:cubicBezTo>
                    <a:pt x="1166312" y="95380"/>
                    <a:pt x="1166312" y="95380"/>
                    <a:pt x="1181436" y="212743"/>
                  </a:cubicBezTo>
                  <a:cubicBezTo>
                    <a:pt x="1182156" y="217063"/>
                    <a:pt x="1178555" y="220663"/>
                    <a:pt x="1174234" y="220663"/>
                  </a:cubicBezTo>
                  <a:cubicBezTo>
                    <a:pt x="1174234" y="220663"/>
                    <a:pt x="1174234" y="220663"/>
                    <a:pt x="1053243" y="220663"/>
                  </a:cubicBezTo>
                  <a:cubicBezTo>
                    <a:pt x="1049642" y="220663"/>
                    <a:pt x="1046761" y="217783"/>
                    <a:pt x="1046041" y="214183"/>
                  </a:cubicBezTo>
                  <a:cubicBezTo>
                    <a:pt x="1046041" y="214183"/>
                    <a:pt x="1046041" y="214183"/>
                    <a:pt x="1035238" y="96820"/>
                  </a:cubicBezTo>
                  <a:cubicBezTo>
                    <a:pt x="1034518" y="92500"/>
                    <a:pt x="1038119" y="88900"/>
                    <a:pt x="1041720" y="88900"/>
                  </a:cubicBezTo>
                  <a:close/>
                  <a:moveTo>
                    <a:pt x="870918" y="88900"/>
                  </a:moveTo>
                  <a:cubicBezTo>
                    <a:pt x="870918" y="88900"/>
                    <a:pt x="870918" y="88900"/>
                    <a:pt x="986517" y="88900"/>
                  </a:cubicBezTo>
                  <a:cubicBezTo>
                    <a:pt x="990798" y="88900"/>
                    <a:pt x="993653" y="91780"/>
                    <a:pt x="993653" y="95380"/>
                  </a:cubicBezTo>
                  <a:cubicBezTo>
                    <a:pt x="993653" y="95380"/>
                    <a:pt x="993653" y="95380"/>
                    <a:pt x="1003643" y="213463"/>
                  </a:cubicBezTo>
                  <a:cubicBezTo>
                    <a:pt x="1004356" y="217063"/>
                    <a:pt x="1000788" y="220663"/>
                    <a:pt x="996507" y="220663"/>
                  </a:cubicBezTo>
                  <a:cubicBezTo>
                    <a:pt x="996507" y="220663"/>
                    <a:pt x="996507" y="220663"/>
                    <a:pt x="876626" y="220663"/>
                  </a:cubicBezTo>
                  <a:cubicBezTo>
                    <a:pt x="873058" y="220663"/>
                    <a:pt x="869490" y="217783"/>
                    <a:pt x="869490" y="214183"/>
                  </a:cubicBezTo>
                  <a:cubicBezTo>
                    <a:pt x="869490" y="214183"/>
                    <a:pt x="869490" y="214183"/>
                    <a:pt x="863782" y="96100"/>
                  </a:cubicBezTo>
                  <a:cubicBezTo>
                    <a:pt x="863068" y="92500"/>
                    <a:pt x="866636" y="88900"/>
                    <a:pt x="870918" y="88900"/>
                  </a:cubicBezTo>
                  <a:close/>
                  <a:moveTo>
                    <a:pt x="698758" y="88900"/>
                  </a:moveTo>
                  <a:cubicBezTo>
                    <a:pt x="698758" y="88900"/>
                    <a:pt x="698758" y="88900"/>
                    <a:pt x="815133" y="88900"/>
                  </a:cubicBezTo>
                  <a:cubicBezTo>
                    <a:pt x="818703" y="88900"/>
                    <a:pt x="821559" y="91780"/>
                    <a:pt x="822273" y="96100"/>
                  </a:cubicBezTo>
                  <a:cubicBezTo>
                    <a:pt x="822273" y="96100"/>
                    <a:pt x="822273" y="96100"/>
                    <a:pt x="826556" y="213463"/>
                  </a:cubicBezTo>
                  <a:cubicBezTo>
                    <a:pt x="826556" y="217783"/>
                    <a:pt x="823700" y="220663"/>
                    <a:pt x="819417" y="220663"/>
                  </a:cubicBezTo>
                  <a:cubicBezTo>
                    <a:pt x="819417" y="220663"/>
                    <a:pt x="819417" y="220663"/>
                    <a:pt x="699472" y="220663"/>
                  </a:cubicBezTo>
                  <a:cubicBezTo>
                    <a:pt x="695188" y="220663"/>
                    <a:pt x="692332" y="217783"/>
                    <a:pt x="692332" y="213463"/>
                  </a:cubicBezTo>
                  <a:cubicBezTo>
                    <a:pt x="692332" y="213463"/>
                    <a:pt x="692332" y="213463"/>
                    <a:pt x="691618" y="96100"/>
                  </a:cubicBezTo>
                  <a:cubicBezTo>
                    <a:pt x="691618" y="91780"/>
                    <a:pt x="694474" y="88900"/>
                    <a:pt x="698758" y="88900"/>
                  </a:cubicBezTo>
                  <a:close/>
                  <a:moveTo>
                    <a:pt x="526034" y="88900"/>
                  </a:moveTo>
                  <a:cubicBezTo>
                    <a:pt x="526034" y="88900"/>
                    <a:pt x="526034" y="88900"/>
                    <a:pt x="643158" y="88900"/>
                  </a:cubicBezTo>
                  <a:cubicBezTo>
                    <a:pt x="646750" y="88900"/>
                    <a:pt x="650343" y="91780"/>
                    <a:pt x="650343" y="96100"/>
                  </a:cubicBezTo>
                  <a:cubicBezTo>
                    <a:pt x="650343" y="96100"/>
                    <a:pt x="650343" y="96100"/>
                    <a:pt x="649625" y="213463"/>
                  </a:cubicBezTo>
                  <a:cubicBezTo>
                    <a:pt x="649625" y="217783"/>
                    <a:pt x="646032" y="220663"/>
                    <a:pt x="642439" y="220663"/>
                  </a:cubicBezTo>
                  <a:cubicBezTo>
                    <a:pt x="642439" y="220663"/>
                    <a:pt x="642439" y="220663"/>
                    <a:pt x="521722" y="220663"/>
                  </a:cubicBezTo>
                  <a:cubicBezTo>
                    <a:pt x="517411" y="220663"/>
                    <a:pt x="513818" y="217783"/>
                    <a:pt x="514537" y="213463"/>
                  </a:cubicBezTo>
                  <a:cubicBezTo>
                    <a:pt x="514537" y="213463"/>
                    <a:pt x="514537" y="213463"/>
                    <a:pt x="518848" y="96100"/>
                  </a:cubicBezTo>
                  <a:cubicBezTo>
                    <a:pt x="518848" y="91780"/>
                    <a:pt x="521722" y="88900"/>
                    <a:pt x="526034" y="88900"/>
                  </a:cubicBezTo>
                  <a:close/>
                  <a:moveTo>
                    <a:pt x="353144" y="88900"/>
                  </a:moveTo>
                  <a:cubicBezTo>
                    <a:pt x="353144" y="88900"/>
                    <a:pt x="353144" y="88900"/>
                    <a:pt x="470170" y="88900"/>
                  </a:cubicBezTo>
                  <a:cubicBezTo>
                    <a:pt x="474452" y="88900"/>
                    <a:pt x="477306" y="92500"/>
                    <a:pt x="477306" y="96100"/>
                  </a:cubicBezTo>
                  <a:cubicBezTo>
                    <a:pt x="477306" y="96100"/>
                    <a:pt x="477306" y="96100"/>
                    <a:pt x="471598" y="214183"/>
                  </a:cubicBezTo>
                  <a:cubicBezTo>
                    <a:pt x="470884" y="217783"/>
                    <a:pt x="468030" y="220663"/>
                    <a:pt x="464462" y="220663"/>
                  </a:cubicBezTo>
                  <a:cubicBezTo>
                    <a:pt x="464462" y="220663"/>
                    <a:pt x="464462" y="220663"/>
                    <a:pt x="343154" y="220663"/>
                  </a:cubicBezTo>
                  <a:cubicBezTo>
                    <a:pt x="339586" y="220663"/>
                    <a:pt x="336018" y="217063"/>
                    <a:pt x="336018" y="213463"/>
                  </a:cubicBezTo>
                  <a:cubicBezTo>
                    <a:pt x="336018" y="213463"/>
                    <a:pt x="336018" y="213463"/>
                    <a:pt x="346008" y="95380"/>
                  </a:cubicBezTo>
                  <a:cubicBezTo>
                    <a:pt x="346008" y="91780"/>
                    <a:pt x="349576" y="88900"/>
                    <a:pt x="353144" y="88900"/>
                  </a:cubicBezTo>
                  <a:close/>
                  <a:moveTo>
                    <a:pt x="181758" y="88900"/>
                  </a:moveTo>
                  <a:cubicBezTo>
                    <a:pt x="181758" y="88900"/>
                    <a:pt x="181758" y="88900"/>
                    <a:pt x="297187" y="88900"/>
                  </a:cubicBezTo>
                  <a:cubicBezTo>
                    <a:pt x="301436" y="88900"/>
                    <a:pt x="304268" y="92500"/>
                    <a:pt x="304268" y="96820"/>
                  </a:cubicBezTo>
                  <a:cubicBezTo>
                    <a:pt x="304268" y="96820"/>
                    <a:pt x="304268" y="96820"/>
                    <a:pt x="292938" y="214183"/>
                  </a:cubicBezTo>
                  <a:cubicBezTo>
                    <a:pt x="292938" y="217783"/>
                    <a:pt x="290105" y="220663"/>
                    <a:pt x="286564" y="220663"/>
                  </a:cubicBezTo>
                  <a:cubicBezTo>
                    <a:pt x="286564" y="220663"/>
                    <a:pt x="286564" y="220663"/>
                    <a:pt x="166887" y="220663"/>
                  </a:cubicBezTo>
                  <a:cubicBezTo>
                    <a:pt x="162638" y="220663"/>
                    <a:pt x="159805" y="217063"/>
                    <a:pt x="159805" y="212743"/>
                  </a:cubicBezTo>
                  <a:cubicBezTo>
                    <a:pt x="159805" y="212743"/>
                    <a:pt x="159805" y="212743"/>
                    <a:pt x="174676" y="95380"/>
                  </a:cubicBezTo>
                  <a:cubicBezTo>
                    <a:pt x="175385" y="91780"/>
                    <a:pt x="178217" y="88900"/>
                    <a:pt x="181758" y="88900"/>
                  </a:cubicBezTo>
                  <a:close/>
                  <a:moveTo>
                    <a:pt x="133667" y="30163"/>
                  </a:moveTo>
                  <a:cubicBezTo>
                    <a:pt x="133667" y="30163"/>
                    <a:pt x="133667" y="30163"/>
                    <a:pt x="34393" y="706438"/>
                  </a:cubicBezTo>
                  <a:cubicBezTo>
                    <a:pt x="34393" y="706438"/>
                    <a:pt x="34393" y="706438"/>
                    <a:pt x="1302806" y="706438"/>
                  </a:cubicBezTo>
                  <a:cubicBezTo>
                    <a:pt x="1302806" y="706438"/>
                    <a:pt x="1302806" y="706438"/>
                    <a:pt x="1203533" y="30163"/>
                  </a:cubicBezTo>
                  <a:cubicBezTo>
                    <a:pt x="1203533" y="30163"/>
                    <a:pt x="1203533" y="30163"/>
                    <a:pt x="133667" y="30163"/>
                  </a:cubicBezTo>
                  <a:close/>
                  <a:moveTo>
                    <a:pt x="119569" y="0"/>
                  </a:moveTo>
                  <a:cubicBezTo>
                    <a:pt x="119569" y="0"/>
                    <a:pt x="119569" y="0"/>
                    <a:pt x="1217631" y="0"/>
                  </a:cubicBezTo>
                  <a:cubicBezTo>
                    <a:pt x="1225494" y="0"/>
                    <a:pt x="1232643" y="5708"/>
                    <a:pt x="1233358" y="13557"/>
                  </a:cubicBezTo>
                  <a:cubicBezTo>
                    <a:pt x="1233358" y="13557"/>
                    <a:pt x="1233358" y="13557"/>
                    <a:pt x="1337016" y="719946"/>
                  </a:cubicBezTo>
                  <a:cubicBezTo>
                    <a:pt x="1337731" y="724228"/>
                    <a:pt x="1336301" y="729222"/>
                    <a:pt x="1333442" y="732076"/>
                  </a:cubicBezTo>
                  <a:cubicBezTo>
                    <a:pt x="1329867" y="735644"/>
                    <a:pt x="1325578" y="737784"/>
                    <a:pt x="1321289" y="737784"/>
                  </a:cubicBezTo>
                  <a:cubicBezTo>
                    <a:pt x="1321289" y="737784"/>
                    <a:pt x="1321289" y="737784"/>
                    <a:pt x="727220" y="737784"/>
                  </a:cubicBezTo>
                  <a:cubicBezTo>
                    <a:pt x="727220" y="738498"/>
                    <a:pt x="727220" y="738498"/>
                    <a:pt x="727220" y="739212"/>
                  </a:cubicBezTo>
                  <a:cubicBezTo>
                    <a:pt x="727220" y="739212"/>
                    <a:pt x="727220" y="739212"/>
                    <a:pt x="727220" y="931863"/>
                  </a:cubicBezTo>
                  <a:cubicBezTo>
                    <a:pt x="727220" y="931863"/>
                    <a:pt x="727220" y="931863"/>
                    <a:pt x="695765" y="931863"/>
                  </a:cubicBezTo>
                  <a:cubicBezTo>
                    <a:pt x="695765" y="931863"/>
                    <a:pt x="695765" y="931863"/>
                    <a:pt x="695765" y="739212"/>
                  </a:cubicBezTo>
                  <a:cubicBezTo>
                    <a:pt x="695765" y="738498"/>
                    <a:pt x="695765" y="738498"/>
                    <a:pt x="695765" y="737784"/>
                  </a:cubicBezTo>
                  <a:cubicBezTo>
                    <a:pt x="695765" y="737784"/>
                    <a:pt x="695765" y="737784"/>
                    <a:pt x="641434" y="737784"/>
                  </a:cubicBezTo>
                  <a:cubicBezTo>
                    <a:pt x="641434" y="738498"/>
                    <a:pt x="641434" y="738498"/>
                    <a:pt x="641434" y="739212"/>
                  </a:cubicBezTo>
                  <a:cubicBezTo>
                    <a:pt x="641434" y="739212"/>
                    <a:pt x="641434" y="739212"/>
                    <a:pt x="641434" y="931863"/>
                  </a:cubicBezTo>
                  <a:cubicBezTo>
                    <a:pt x="641434" y="931863"/>
                    <a:pt x="641434" y="931863"/>
                    <a:pt x="609979" y="931863"/>
                  </a:cubicBezTo>
                  <a:cubicBezTo>
                    <a:pt x="609979" y="931863"/>
                    <a:pt x="609979" y="931863"/>
                    <a:pt x="609979" y="739212"/>
                  </a:cubicBezTo>
                  <a:cubicBezTo>
                    <a:pt x="609979" y="738498"/>
                    <a:pt x="609979" y="738498"/>
                    <a:pt x="609979" y="737784"/>
                  </a:cubicBezTo>
                  <a:cubicBezTo>
                    <a:pt x="609979" y="737784"/>
                    <a:pt x="609979" y="737784"/>
                    <a:pt x="15911" y="737784"/>
                  </a:cubicBezTo>
                  <a:cubicBezTo>
                    <a:pt x="11621" y="737784"/>
                    <a:pt x="7332" y="735644"/>
                    <a:pt x="3758" y="732076"/>
                  </a:cubicBezTo>
                  <a:cubicBezTo>
                    <a:pt x="898" y="729222"/>
                    <a:pt x="-532" y="724228"/>
                    <a:pt x="183" y="719946"/>
                  </a:cubicBezTo>
                  <a:cubicBezTo>
                    <a:pt x="183" y="719946"/>
                    <a:pt x="183" y="719946"/>
                    <a:pt x="103841" y="13557"/>
                  </a:cubicBezTo>
                  <a:cubicBezTo>
                    <a:pt x="104556" y="5708"/>
                    <a:pt x="111705" y="0"/>
                    <a:pt x="11956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6CECC29E-E7FF-470A-82AC-F522515DD048}"/>
              </a:ext>
            </a:extLst>
          </p:cNvPr>
          <p:cNvSpPr/>
          <p:nvPr/>
        </p:nvSpPr>
        <p:spPr>
          <a:xfrm>
            <a:off x="4268837" y="720386"/>
            <a:ext cx="3846465" cy="341777"/>
          </a:xfrm>
          <a:prstGeom prst="rect">
            <a:avLst/>
          </a:prstGeom>
          <a:solidFill>
            <a:srgbClr val="00A039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dirty="0">
                <a:solidFill>
                  <a:schemeClr val="bg1"/>
                </a:solidFill>
              </a:rPr>
              <a:t>JKLC – Captive Power (205 MW)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B9D276D-4FAF-4F09-88C0-BF2EBF7D8BA1}"/>
              </a:ext>
            </a:extLst>
          </p:cNvPr>
          <p:cNvSpPr/>
          <p:nvPr/>
        </p:nvSpPr>
        <p:spPr>
          <a:xfrm>
            <a:off x="8871285" y="728408"/>
            <a:ext cx="3047999" cy="333755"/>
          </a:xfrm>
          <a:prstGeom prst="rect">
            <a:avLst/>
          </a:prstGeom>
          <a:solidFill>
            <a:srgbClr val="00A039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dirty="0">
                <a:solidFill>
                  <a:schemeClr val="bg1"/>
                </a:solidFill>
              </a:rPr>
              <a:t>UCWL – Captive Power (28 MW)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0BDAA7F-BADA-4CD1-BAA6-1643B53B156D}"/>
              </a:ext>
            </a:extLst>
          </p:cNvPr>
          <p:cNvSpPr/>
          <p:nvPr/>
        </p:nvSpPr>
        <p:spPr>
          <a:xfrm>
            <a:off x="5531101" y="3579477"/>
            <a:ext cx="5431697" cy="344326"/>
          </a:xfrm>
          <a:prstGeom prst="rect">
            <a:avLst/>
          </a:prstGeom>
          <a:solidFill>
            <a:srgbClr val="00A039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dirty="0">
                <a:solidFill>
                  <a:schemeClr val="bg1"/>
                </a:solidFill>
              </a:rPr>
              <a:t>Share of Green Energy in Total Power Requirement (%) *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5EBAF5-5AD2-5BE3-F970-62E8E3DABA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86821" y="816638"/>
            <a:ext cx="3846465" cy="269578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519AD9D-EA5B-2FD6-9518-AB9CE3453D6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40302" y="629541"/>
            <a:ext cx="4268996" cy="28613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16E5E30-1CBC-4DF5-D65F-929FFE90E29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02674" y="3920049"/>
            <a:ext cx="4960620" cy="26206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B650708-AFBE-AA7F-D3DA-506CF20F62AD}"/>
              </a:ext>
            </a:extLst>
          </p:cNvPr>
          <p:cNvSpPr/>
          <p:nvPr/>
        </p:nvSpPr>
        <p:spPr>
          <a:xfrm>
            <a:off x="6759268" y="6443618"/>
            <a:ext cx="2987164" cy="226129"/>
          </a:xfrm>
          <a:prstGeom prst="rect">
            <a:avLst/>
          </a:prstGeom>
          <a:noFill/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200" b="1" dirty="0">
                <a:solidFill>
                  <a:schemeClr val="tx2">
                    <a:lumMod val="50000"/>
                  </a:schemeClr>
                </a:solidFill>
              </a:rPr>
              <a:t>* For Six Months period Apr’24-Sept’24</a:t>
            </a:r>
          </a:p>
        </p:txBody>
      </p:sp>
    </p:spTree>
    <p:extLst>
      <p:ext uri="{BB962C8B-B14F-4D97-AF65-F5344CB8AC3E}">
        <p14:creationId xmlns:p14="http://schemas.microsoft.com/office/powerpoint/2010/main" val="719961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4F2479F-542A-4347-BD71-1E661D833F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4F2479F-542A-4347-BD71-1E661D833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1AF4C0-6786-490B-B07E-5E33B9677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352926"/>
            <a:ext cx="7262716" cy="629898"/>
          </a:xfrm>
          <a:solidFill>
            <a:srgbClr val="00A039"/>
          </a:solidFill>
        </p:spPr>
        <p:txBody>
          <a:bodyPr vert="horz" anchor="ctr"/>
          <a:lstStyle/>
          <a:p>
            <a:r>
              <a:rPr lang="en-US" dirty="0">
                <a:solidFill>
                  <a:schemeClr val="bg1"/>
                </a:solidFill>
              </a:rPr>
              <a:t>Increasing Thermal Substitution Rate </a:t>
            </a:r>
          </a:p>
        </p:txBody>
      </p:sp>
      <p:sp>
        <p:nvSpPr>
          <p:cNvPr id="19" name="Freeform 2">
            <a:extLst>
              <a:ext uri="{FF2B5EF4-FFF2-40B4-BE49-F238E27FC236}">
                <a16:creationId xmlns:a16="http://schemas.microsoft.com/office/drawing/2014/main" id="{533EE3F6-6CC1-4FB2-93C5-6EEF628E3226}"/>
              </a:ext>
            </a:extLst>
          </p:cNvPr>
          <p:cNvSpPr/>
          <p:nvPr/>
        </p:nvSpPr>
        <p:spPr>
          <a:xfrm>
            <a:off x="681453" y="1636272"/>
            <a:ext cx="1061115" cy="1219673"/>
          </a:xfrm>
          <a:custGeom>
            <a:avLst/>
            <a:gdLst>
              <a:gd name="connsiteX0" fmla="*/ 0 w 2008628"/>
              <a:gd name="connsiteY0" fmla="*/ 873753 h 1747506"/>
              <a:gd name="connsiteX1" fmla="*/ 436877 w 2008628"/>
              <a:gd name="connsiteY1" fmla="*/ 0 h 1747506"/>
              <a:gd name="connsiteX2" fmla="*/ 1571752 w 2008628"/>
              <a:gd name="connsiteY2" fmla="*/ 0 h 1747506"/>
              <a:gd name="connsiteX3" fmla="*/ 2008628 w 2008628"/>
              <a:gd name="connsiteY3" fmla="*/ 873753 h 1747506"/>
              <a:gd name="connsiteX4" fmla="*/ 1571752 w 2008628"/>
              <a:gd name="connsiteY4" fmla="*/ 1747506 h 1747506"/>
              <a:gd name="connsiteX5" fmla="*/ 436877 w 2008628"/>
              <a:gd name="connsiteY5" fmla="*/ 1747506 h 1747506"/>
              <a:gd name="connsiteX6" fmla="*/ 0 w 2008628"/>
              <a:gd name="connsiteY6" fmla="*/ 873753 h 1747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08628" h="1747506">
                <a:moveTo>
                  <a:pt x="1004314" y="0"/>
                </a:moveTo>
                <a:lnTo>
                  <a:pt x="2008627" y="380083"/>
                </a:lnTo>
                <a:lnTo>
                  <a:pt x="2008627" y="1367424"/>
                </a:lnTo>
                <a:lnTo>
                  <a:pt x="1004314" y="1747506"/>
                </a:lnTo>
                <a:lnTo>
                  <a:pt x="1" y="1367424"/>
                </a:lnTo>
                <a:lnTo>
                  <a:pt x="1" y="380083"/>
                </a:lnTo>
                <a:lnTo>
                  <a:pt x="1004314" y="0"/>
                </a:lnTo>
                <a:close/>
              </a:path>
            </a:pathLst>
          </a:custGeom>
          <a:solidFill>
            <a:srgbClr val="00A039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82810" tIns="423501" rIns="382810" bIns="423501" numCol="1" spcCol="1270" anchor="ctr" anchorCtr="0">
            <a:noAutofit/>
          </a:bodyPr>
          <a:lstStyle/>
          <a:p>
            <a:pPr lvl="0" algn="ctr" defTabSz="1289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4800" kern="1200" dirty="0">
              <a:solidFill>
                <a:srgbClr val="FFFFFF"/>
              </a:solidFill>
            </a:endParaRPr>
          </a:p>
        </p:txBody>
      </p:sp>
      <p:sp>
        <p:nvSpPr>
          <p:cNvPr id="22" name="ee4pContent1">
            <a:extLst>
              <a:ext uri="{FF2B5EF4-FFF2-40B4-BE49-F238E27FC236}">
                <a16:creationId xmlns:a16="http://schemas.microsoft.com/office/drawing/2014/main" id="{FFEF76A8-CEA0-49F4-B1DA-0967A6CF39EB}"/>
              </a:ext>
            </a:extLst>
          </p:cNvPr>
          <p:cNvSpPr txBox="1"/>
          <p:nvPr/>
        </p:nvSpPr>
        <p:spPr>
          <a:xfrm>
            <a:off x="1872181" y="2025692"/>
            <a:ext cx="10062398" cy="405176"/>
          </a:xfrm>
          <a:prstGeom prst="rect">
            <a:avLst/>
          </a:prstGeom>
        </p:spPr>
        <p:txBody>
          <a:bodyPr vert="horz" wrap="square" lIns="274320" tIns="45720" rIns="45720" bIns="45720" rtlCol="0" anchor="ctr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>
              <a:buNone/>
            </a:pPr>
            <a:r>
              <a:rPr lang="en-US" sz="2000" dirty="0"/>
              <a:t>In FY24, JKLC  has achieved a TSR% of 7% </a:t>
            </a:r>
          </a:p>
        </p:txBody>
      </p:sp>
      <p:sp>
        <p:nvSpPr>
          <p:cNvPr id="25" name="Freeform 2">
            <a:extLst>
              <a:ext uri="{FF2B5EF4-FFF2-40B4-BE49-F238E27FC236}">
                <a16:creationId xmlns:a16="http://schemas.microsoft.com/office/drawing/2014/main" id="{9EE51466-2EE0-4AB0-92CC-FA554C436B70}"/>
              </a:ext>
            </a:extLst>
          </p:cNvPr>
          <p:cNvSpPr/>
          <p:nvPr/>
        </p:nvSpPr>
        <p:spPr>
          <a:xfrm>
            <a:off x="713534" y="3021705"/>
            <a:ext cx="1061115" cy="1219673"/>
          </a:xfrm>
          <a:custGeom>
            <a:avLst/>
            <a:gdLst>
              <a:gd name="connsiteX0" fmla="*/ 0 w 2008628"/>
              <a:gd name="connsiteY0" fmla="*/ 873753 h 1747506"/>
              <a:gd name="connsiteX1" fmla="*/ 436877 w 2008628"/>
              <a:gd name="connsiteY1" fmla="*/ 0 h 1747506"/>
              <a:gd name="connsiteX2" fmla="*/ 1571752 w 2008628"/>
              <a:gd name="connsiteY2" fmla="*/ 0 h 1747506"/>
              <a:gd name="connsiteX3" fmla="*/ 2008628 w 2008628"/>
              <a:gd name="connsiteY3" fmla="*/ 873753 h 1747506"/>
              <a:gd name="connsiteX4" fmla="*/ 1571752 w 2008628"/>
              <a:gd name="connsiteY4" fmla="*/ 1747506 h 1747506"/>
              <a:gd name="connsiteX5" fmla="*/ 436877 w 2008628"/>
              <a:gd name="connsiteY5" fmla="*/ 1747506 h 1747506"/>
              <a:gd name="connsiteX6" fmla="*/ 0 w 2008628"/>
              <a:gd name="connsiteY6" fmla="*/ 873753 h 1747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08628" h="1747506">
                <a:moveTo>
                  <a:pt x="1004314" y="0"/>
                </a:moveTo>
                <a:lnTo>
                  <a:pt x="2008627" y="380083"/>
                </a:lnTo>
                <a:lnTo>
                  <a:pt x="2008627" y="1367424"/>
                </a:lnTo>
                <a:lnTo>
                  <a:pt x="1004314" y="1747506"/>
                </a:lnTo>
                <a:lnTo>
                  <a:pt x="1" y="1367424"/>
                </a:lnTo>
                <a:lnTo>
                  <a:pt x="1" y="380083"/>
                </a:lnTo>
                <a:lnTo>
                  <a:pt x="1004314" y="0"/>
                </a:lnTo>
                <a:close/>
              </a:path>
            </a:pathLst>
          </a:custGeom>
          <a:solidFill>
            <a:srgbClr val="00A039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82810" tIns="423501" rIns="382810" bIns="423501" numCol="1" spcCol="1270" anchor="ctr" anchorCtr="0">
            <a:noAutofit/>
          </a:bodyPr>
          <a:lstStyle/>
          <a:p>
            <a:pPr lvl="0" algn="ctr" defTabSz="1289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4800" kern="1200" dirty="0">
              <a:solidFill>
                <a:srgbClr val="FFFFFF"/>
              </a:solidFill>
            </a:endParaRPr>
          </a:p>
        </p:txBody>
      </p:sp>
      <p:sp>
        <p:nvSpPr>
          <p:cNvPr id="27" name="ee4pContent1">
            <a:extLst>
              <a:ext uri="{FF2B5EF4-FFF2-40B4-BE49-F238E27FC236}">
                <a16:creationId xmlns:a16="http://schemas.microsoft.com/office/drawing/2014/main" id="{8510E92B-0BE2-44D9-A6B8-F309BCDC9E88}"/>
              </a:ext>
            </a:extLst>
          </p:cNvPr>
          <p:cNvSpPr txBox="1"/>
          <p:nvPr/>
        </p:nvSpPr>
        <p:spPr>
          <a:xfrm>
            <a:off x="1872181" y="3440268"/>
            <a:ext cx="10062398" cy="405176"/>
          </a:xfrm>
          <a:prstGeom prst="rect">
            <a:avLst/>
          </a:prstGeom>
        </p:spPr>
        <p:txBody>
          <a:bodyPr vert="horz" wrap="square" lIns="274320" tIns="45720" rIns="45720" bIns="45720" rtlCol="0" anchor="ctr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sz="2000" dirty="0"/>
              <a:t>To enhance the TSR%, we have ordered pre &amp; co processing facilities </a:t>
            </a:r>
          </a:p>
        </p:txBody>
      </p:sp>
      <p:sp>
        <p:nvSpPr>
          <p:cNvPr id="28" name="ee4pContent1">
            <a:extLst>
              <a:ext uri="{FF2B5EF4-FFF2-40B4-BE49-F238E27FC236}">
                <a16:creationId xmlns:a16="http://schemas.microsoft.com/office/drawing/2014/main" id="{6645D998-4BCE-4646-8E16-DD848F4B0007}"/>
              </a:ext>
            </a:extLst>
          </p:cNvPr>
          <p:cNvSpPr txBox="1"/>
          <p:nvPr/>
        </p:nvSpPr>
        <p:spPr>
          <a:xfrm>
            <a:off x="1872181" y="4921086"/>
            <a:ext cx="10062398" cy="405176"/>
          </a:xfrm>
          <a:prstGeom prst="rect">
            <a:avLst/>
          </a:prstGeom>
        </p:spPr>
        <p:txBody>
          <a:bodyPr vert="horz" wrap="square" lIns="274320" tIns="45720" rIns="45720" bIns="45720" rtlCol="0" anchor="ctr">
            <a:sp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284400" lvl="1" indent="-1728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511200" lvl="2" indent="-16560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269875" lvl="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r>
              <a:rPr lang="en-US" sz="2000" dirty="0"/>
              <a:t>TSR% to be increased to 20% at JKLC FY 30</a:t>
            </a:r>
          </a:p>
        </p:txBody>
      </p:sp>
      <p:grpSp>
        <p:nvGrpSpPr>
          <p:cNvPr id="33" name="bcgBugsWhite_Increased Volatility">
            <a:extLst>
              <a:ext uri="{FF2B5EF4-FFF2-40B4-BE49-F238E27FC236}">
                <a16:creationId xmlns:a16="http://schemas.microsoft.com/office/drawing/2014/main" id="{8D2D56AD-4838-40EC-A174-3BF0365BD2E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48796" y="1852863"/>
            <a:ext cx="790074" cy="790074"/>
            <a:chOff x="1625" y="1338"/>
            <a:chExt cx="288" cy="288"/>
          </a:xfrm>
        </p:grpSpPr>
        <p:sp>
          <p:nvSpPr>
            <p:cNvPr id="34" name="AutoShape 15">
              <a:extLst>
                <a:ext uri="{FF2B5EF4-FFF2-40B4-BE49-F238E27FC236}">
                  <a16:creationId xmlns:a16="http://schemas.microsoft.com/office/drawing/2014/main" id="{BDC29463-42DC-4F06-8C58-BB59332659E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25" y="1338"/>
              <a:ext cx="288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93056732-31AA-4C85-8CDA-DDA49550A9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41" y="1401"/>
              <a:ext cx="256" cy="161"/>
            </a:xfrm>
            <a:custGeom>
              <a:avLst/>
              <a:gdLst>
                <a:gd name="T0" fmla="*/ 738 w 886"/>
                <a:gd name="T1" fmla="*/ 209 h 558"/>
                <a:gd name="T2" fmla="*/ 554 w 886"/>
                <a:gd name="T3" fmla="*/ 370 h 558"/>
                <a:gd name="T4" fmla="*/ 412 w 886"/>
                <a:gd name="T5" fmla="*/ 276 h 558"/>
                <a:gd name="T6" fmla="*/ 327 w 886"/>
                <a:gd name="T7" fmla="*/ 337 h 558"/>
                <a:gd name="T8" fmla="*/ 226 w 886"/>
                <a:gd name="T9" fmla="*/ 446 h 558"/>
                <a:gd name="T10" fmla="*/ 53 w 886"/>
                <a:gd name="T11" fmla="*/ 508 h 558"/>
                <a:gd name="T12" fmla="*/ 23 w 886"/>
                <a:gd name="T13" fmla="*/ 515 h 558"/>
                <a:gd name="T14" fmla="*/ 47 w 886"/>
                <a:gd name="T15" fmla="*/ 558 h 558"/>
                <a:gd name="T16" fmla="*/ 863 w 886"/>
                <a:gd name="T17" fmla="*/ 534 h 558"/>
                <a:gd name="T18" fmla="*/ 855 w 886"/>
                <a:gd name="T19" fmla="*/ 116 h 558"/>
                <a:gd name="T20" fmla="*/ 879 w 886"/>
                <a:gd name="T21" fmla="*/ 10 h 558"/>
                <a:gd name="T22" fmla="*/ 780 w 886"/>
                <a:gd name="T23" fmla="*/ 63 h 558"/>
                <a:gd name="T24" fmla="*/ 701 w 886"/>
                <a:gd name="T25" fmla="*/ 109 h 558"/>
                <a:gd name="T26" fmla="*/ 703 w 886"/>
                <a:gd name="T27" fmla="*/ 124 h 558"/>
                <a:gd name="T28" fmla="*/ 580 w 886"/>
                <a:gd name="T29" fmla="*/ 223 h 558"/>
                <a:gd name="T30" fmla="*/ 520 w 886"/>
                <a:gd name="T31" fmla="*/ 229 h 558"/>
                <a:gd name="T32" fmla="*/ 519 w 886"/>
                <a:gd name="T33" fmla="*/ 230 h 558"/>
                <a:gd name="T34" fmla="*/ 427 w 886"/>
                <a:gd name="T35" fmla="*/ 184 h 558"/>
                <a:gd name="T36" fmla="*/ 375 w 886"/>
                <a:gd name="T37" fmla="*/ 130 h 558"/>
                <a:gd name="T38" fmla="*/ 327 w 886"/>
                <a:gd name="T39" fmla="*/ 202 h 558"/>
                <a:gd name="T40" fmla="*/ 328 w 886"/>
                <a:gd name="T41" fmla="*/ 204 h 558"/>
                <a:gd name="T42" fmla="*/ 226 w 886"/>
                <a:gd name="T43" fmla="*/ 293 h 558"/>
                <a:gd name="T44" fmla="*/ 174 w 886"/>
                <a:gd name="T45" fmla="*/ 348 h 558"/>
                <a:gd name="T46" fmla="*/ 174 w 886"/>
                <a:gd name="T47" fmla="*/ 349 h 558"/>
                <a:gd name="T48" fmla="*/ 5 w 886"/>
                <a:gd name="T49" fmla="*/ 456 h 558"/>
                <a:gd name="T50" fmla="*/ 32 w 886"/>
                <a:gd name="T51" fmla="*/ 465 h 558"/>
                <a:gd name="T52" fmla="*/ 226 w 886"/>
                <a:gd name="T53" fmla="*/ 398 h 558"/>
                <a:gd name="T54" fmla="*/ 273 w 886"/>
                <a:gd name="T55" fmla="*/ 323 h 558"/>
                <a:gd name="T56" fmla="*/ 375 w 886"/>
                <a:gd name="T57" fmla="*/ 234 h 558"/>
                <a:gd name="T58" fmla="*/ 502 w 886"/>
                <a:gd name="T59" fmla="*/ 265 h 558"/>
                <a:gd name="T60" fmla="*/ 501 w 886"/>
                <a:gd name="T61" fmla="*/ 267 h 558"/>
                <a:gd name="T62" fmla="*/ 554 w 886"/>
                <a:gd name="T63" fmla="*/ 321 h 558"/>
                <a:gd name="T64" fmla="*/ 605 w 886"/>
                <a:gd name="T65" fmla="*/ 256 h 558"/>
                <a:gd name="T66" fmla="*/ 605 w 886"/>
                <a:gd name="T67" fmla="*/ 254 h 558"/>
                <a:gd name="T68" fmla="*/ 754 w 886"/>
                <a:gd name="T69" fmla="*/ 162 h 558"/>
                <a:gd name="T70" fmla="*/ 805 w 886"/>
                <a:gd name="T71" fmla="*/ 96 h 558"/>
                <a:gd name="T72" fmla="*/ 876 w 886"/>
                <a:gd name="T73" fmla="*/ 37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86" h="558">
                  <a:moveTo>
                    <a:pt x="754" y="211"/>
                  </a:moveTo>
                  <a:cubicBezTo>
                    <a:pt x="749" y="211"/>
                    <a:pt x="744" y="210"/>
                    <a:pt x="738" y="209"/>
                  </a:cubicBezTo>
                  <a:cubicBezTo>
                    <a:pt x="655" y="276"/>
                    <a:pt x="655" y="276"/>
                    <a:pt x="655" y="276"/>
                  </a:cubicBezTo>
                  <a:cubicBezTo>
                    <a:pt x="652" y="328"/>
                    <a:pt x="608" y="370"/>
                    <a:pt x="554" y="370"/>
                  </a:cubicBezTo>
                  <a:cubicBezTo>
                    <a:pt x="509" y="370"/>
                    <a:pt x="470" y="339"/>
                    <a:pt x="457" y="298"/>
                  </a:cubicBezTo>
                  <a:cubicBezTo>
                    <a:pt x="412" y="276"/>
                    <a:pt x="412" y="276"/>
                    <a:pt x="412" y="276"/>
                  </a:cubicBezTo>
                  <a:cubicBezTo>
                    <a:pt x="400" y="280"/>
                    <a:pt x="388" y="283"/>
                    <a:pt x="376" y="283"/>
                  </a:cubicBezTo>
                  <a:cubicBezTo>
                    <a:pt x="327" y="337"/>
                    <a:pt x="327" y="337"/>
                    <a:pt x="327" y="337"/>
                  </a:cubicBezTo>
                  <a:cubicBezTo>
                    <a:pt x="327" y="340"/>
                    <a:pt x="327" y="343"/>
                    <a:pt x="327" y="346"/>
                  </a:cubicBezTo>
                  <a:cubicBezTo>
                    <a:pt x="327" y="401"/>
                    <a:pt x="282" y="446"/>
                    <a:pt x="226" y="446"/>
                  </a:cubicBezTo>
                  <a:cubicBezTo>
                    <a:pt x="214" y="446"/>
                    <a:pt x="202" y="444"/>
                    <a:pt x="191" y="440"/>
                  </a:cubicBezTo>
                  <a:cubicBezTo>
                    <a:pt x="53" y="508"/>
                    <a:pt x="53" y="508"/>
                    <a:pt x="53" y="508"/>
                  </a:cubicBezTo>
                  <a:cubicBezTo>
                    <a:pt x="44" y="513"/>
                    <a:pt x="33" y="515"/>
                    <a:pt x="23" y="515"/>
                  </a:cubicBezTo>
                  <a:cubicBezTo>
                    <a:pt x="23" y="515"/>
                    <a:pt x="23" y="515"/>
                    <a:pt x="23" y="515"/>
                  </a:cubicBezTo>
                  <a:cubicBezTo>
                    <a:pt x="23" y="534"/>
                    <a:pt x="23" y="534"/>
                    <a:pt x="23" y="534"/>
                  </a:cubicBezTo>
                  <a:cubicBezTo>
                    <a:pt x="23" y="547"/>
                    <a:pt x="34" y="558"/>
                    <a:pt x="47" y="558"/>
                  </a:cubicBezTo>
                  <a:cubicBezTo>
                    <a:pt x="839" y="558"/>
                    <a:pt x="839" y="558"/>
                    <a:pt x="839" y="558"/>
                  </a:cubicBezTo>
                  <a:cubicBezTo>
                    <a:pt x="852" y="558"/>
                    <a:pt x="863" y="547"/>
                    <a:pt x="863" y="534"/>
                  </a:cubicBezTo>
                  <a:cubicBezTo>
                    <a:pt x="863" y="110"/>
                    <a:pt x="863" y="110"/>
                    <a:pt x="863" y="110"/>
                  </a:cubicBezTo>
                  <a:cubicBezTo>
                    <a:pt x="855" y="116"/>
                    <a:pt x="855" y="116"/>
                    <a:pt x="855" y="116"/>
                  </a:cubicBezTo>
                  <a:cubicBezTo>
                    <a:pt x="852" y="169"/>
                    <a:pt x="808" y="211"/>
                    <a:pt x="754" y="211"/>
                  </a:cubicBezTo>
                  <a:close/>
                  <a:moveTo>
                    <a:pt x="879" y="10"/>
                  </a:moveTo>
                  <a:cubicBezTo>
                    <a:pt x="872" y="1"/>
                    <a:pt x="859" y="0"/>
                    <a:pt x="851" y="6"/>
                  </a:cubicBezTo>
                  <a:cubicBezTo>
                    <a:pt x="780" y="63"/>
                    <a:pt x="780" y="63"/>
                    <a:pt x="780" y="63"/>
                  </a:cubicBezTo>
                  <a:cubicBezTo>
                    <a:pt x="772" y="59"/>
                    <a:pt x="763" y="56"/>
                    <a:pt x="754" y="56"/>
                  </a:cubicBezTo>
                  <a:cubicBezTo>
                    <a:pt x="725" y="56"/>
                    <a:pt x="701" y="80"/>
                    <a:pt x="701" y="109"/>
                  </a:cubicBezTo>
                  <a:cubicBezTo>
                    <a:pt x="701" y="113"/>
                    <a:pt x="702" y="117"/>
                    <a:pt x="703" y="122"/>
                  </a:cubicBezTo>
                  <a:cubicBezTo>
                    <a:pt x="703" y="124"/>
                    <a:pt x="703" y="124"/>
                    <a:pt x="703" y="124"/>
                  </a:cubicBezTo>
                  <a:cubicBezTo>
                    <a:pt x="703" y="124"/>
                    <a:pt x="703" y="124"/>
                    <a:pt x="703" y="124"/>
                  </a:cubicBezTo>
                  <a:cubicBezTo>
                    <a:pt x="580" y="223"/>
                    <a:pt x="580" y="223"/>
                    <a:pt x="580" y="223"/>
                  </a:cubicBezTo>
                  <a:cubicBezTo>
                    <a:pt x="572" y="219"/>
                    <a:pt x="564" y="217"/>
                    <a:pt x="554" y="217"/>
                  </a:cubicBezTo>
                  <a:cubicBezTo>
                    <a:pt x="542" y="217"/>
                    <a:pt x="530" y="221"/>
                    <a:pt x="520" y="229"/>
                  </a:cubicBezTo>
                  <a:cubicBezTo>
                    <a:pt x="519" y="229"/>
                    <a:pt x="519" y="229"/>
                    <a:pt x="519" y="229"/>
                  </a:cubicBezTo>
                  <a:cubicBezTo>
                    <a:pt x="519" y="230"/>
                    <a:pt x="519" y="230"/>
                    <a:pt x="519" y="230"/>
                  </a:cubicBezTo>
                  <a:cubicBezTo>
                    <a:pt x="427" y="185"/>
                    <a:pt x="427" y="185"/>
                    <a:pt x="427" y="185"/>
                  </a:cubicBezTo>
                  <a:cubicBezTo>
                    <a:pt x="427" y="184"/>
                    <a:pt x="427" y="184"/>
                    <a:pt x="427" y="184"/>
                  </a:cubicBezTo>
                  <a:cubicBezTo>
                    <a:pt x="427" y="182"/>
                    <a:pt x="427" y="182"/>
                    <a:pt x="427" y="182"/>
                  </a:cubicBezTo>
                  <a:cubicBezTo>
                    <a:pt x="427" y="153"/>
                    <a:pt x="404" y="130"/>
                    <a:pt x="375" y="130"/>
                  </a:cubicBezTo>
                  <a:cubicBezTo>
                    <a:pt x="346" y="130"/>
                    <a:pt x="323" y="153"/>
                    <a:pt x="323" y="182"/>
                  </a:cubicBezTo>
                  <a:cubicBezTo>
                    <a:pt x="323" y="189"/>
                    <a:pt x="324" y="195"/>
                    <a:pt x="327" y="202"/>
                  </a:cubicBezTo>
                  <a:cubicBezTo>
                    <a:pt x="328" y="204"/>
                    <a:pt x="328" y="204"/>
                    <a:pt x="328" y="204"/>
                  </a:cubicBezTo>
                  <a:cubicBezTo>
                    <a:pt x="328" y="204"/>
                    <a:pt x="328" y="204"/>
                    <a:pt x="328" y="204"/>
                  </a:cubicBezTo>
                  <a:cubicBezTo>
                    <a:pt x="244" y="297"/>
                    <a:pt x="244" y="297"/>
                    <a:pt x="244" y="297"/>
                  </a:cubicBezTo>
                  <a:cubicBezTo>
                    <a:pt x="238" y="294"/>
                    <a:pt x="233" y="293"/>
                    <a:pt x="226" y="293"/>
                  </a:cubicBezTo>
                  <a:cubicBezTo>
                    <a:pt x="197" y="293"/>
                    <a:pt x="174" y="317"/>
                    <a:pt x="174" y="346"/>
                  </a:cubicBezTo>
                  <a:cubicBezTo>
                    <a:pt x="174" y="348"/>
                    <a:pt x="174" y="348"/>
                    <a:pt x="174" y="348"/>
                  </a:cubicBezTo>
                  <a:cubicBezTo>
                    <a:pt x="174" y="349"/>
                    <a:pt x="174" y="349"/>
                    <a:pt x="174" y="349"/>
                  </a:cubicBezTo>
                  <a:cubicBezTo>
                    <a:pt x="174" y="349"/>
                    <a:pt x="174" y="349"/>
                    <a:pt x="174" y="349"/>
                  </a:cubicBezTo>
                  <a:cubicBezTo>
                    <a:pt x="14" y="429"/>
                    <a:pt x="14" y="429"/>
                    <a:pt x="14" y="429"/>
                  </a:cubicBezTo>
                  <a:cubicBezTo>
                    <a:pt x="4" y="434"/>
                    <a:pt x="0" y="446"/>
                    <a:pt x="5" y="456"/>
                  </a:cubicBezTo>
                  <a:cubicBezTo>
                    <a:pt x="9" y="463"/>
                    <a:pt x="16" y="467"/>
                    <a:pt x="23" y="467"/>
                  </a:cubicBezTo>
                  <a:cubicBezTo>
                    <a:pt x="26" y="467"/>
                    <a:pt x="29" y="466"/>
                    <a:pt x="32" y="465"/>
                  </a:cubicBezTo>
                  <a:cubicBezTo>
                    <a:pt x="192" y="385"/>
                    <a:pt x="192" y="385"/>
                    <a:pt x="192" y="385"/>
                  </a:cubicBezTo>
                  <a:cubicBezTo>
                    <a:pt x="201" y="393"/>
                    <a:pt x="214" y="398"/>
                    <a:pt x="226" y="398"/>
                  </a:cubicBezTo>
                  <a:cubicBezTo>
                    <a:pt x="255" y="398"/>
                    <a:pt x="278" y="374"/>
                    <a:pt x="278" y="346"/>
                  </a:cubicBezTo>
                  <a:cubicBezTo>
                    <a:pt x="278" y="338"/>
                    <a:pt x="277" y="331"/>
                    <a:pt x="273" y="323"/>
                  </a:cubicBezTo>
                  <a:cubicBezTo>
                    <a:pt x="358" y="231"/>
                    <a:pt x="358" y="231"/>
                    <a:pt x="358" y="231"/>
                  </a:cubicBezTo>
                  <a:cubicBezTo>
                    <a:pt x="363" y="233"/>
                    <a:pt x="369" y="234"/>
                    <a:pt x="375" y="234"/>
                  </a:cubicBezTo>
                  <a:cubicBezTo>
                    <a:pt x="388" y="234"/>
                    <a:pt x="400" y="229"/>
                    <a:pt x="410" y="221"/>
                  </a:cubicBezTo>
                  <a:cubicBezTo>
                    <a:pt x="502" y="265"/>
                    <a:pt x="502" y="265"/>
                    <a:pt x="502" y="265"/>
                  </a:cubicBezTo>
                  <a:cubicBezTo>
                    <a:pt x="502" y="265"/>
                    <a:pt x="501" y="266"/>
                    <a:pt x="501" y="266"/>
                  </a:cubicBezTo>
                  <a:cubicBezTo>
                    <a:pt x="501" y="267"/>
                    <a:pt x="501" y="267"/>
                    <a:pt x="501" y="267"/>
                  </a:cubicBezTo>
                  <a:cubicBezTo>
                    <a:pt x="501" y="269"/>
                    <a:pt x="501" y="269"/>
                    <a:pt x="501" y="269"/>
                  </a:cubicBezTo>
                  <a:cubicBezTo>
                    <a:pt x="501" y="298"/>
                    <a:pt x="525" y="321"/>
                    <a:pt x="554" y="321"/>
                  </a:cubicBezTo>
                  <a:cubicBezTo>
                    <a:pt x="583" y="321"/>
                    <a:pt x="607" y="298"/>
                    <a:pt x="607" y="269"/>
                  </a:cubicBezTo>
                  <a:cubicBezTo>
                    <a:pt x="607" y="263"/>
                    <a:pt x="606" y="259"/>
                    <a:pt x="605" y="256"/>
                  </a:cubicBezTo>
                  <a:cubicBezTo>
                    <a:pt x="605" y="255"/>
                    <a:pt x="605" y="255"/>
                    <a:pt x="605" y="255"/>
                  </a:cubicBezTo>
                  <a:cubicBezTo>
                    <a:pt x="605" y="254"/>
                    <a:pt x="605" y="254"/>
                    <a:pt x="605" y="254"/>
                  </a:cubicBezTo>
                  <a:cubicBezTo>
                    <a:pt x="728" y="155"/>
                    <a:pt x="728" y="155"/>
                    <a:pt x="728" y="155"/>
                  </a:cubicBezTo>
                  <a:cubicBezTo>
                    <a:pt x="736" y="160"/>
                    <a:pt x="745" y="162"/>
                    <a:pt x="754" y="162"/>
                  </a:cubicBezTo>
                  <a:cubicBezTo>
                    <a:pt x="783" y="162"/>
                    <a:pt x="807" y="138"/>
                    <a:pt x="807" y="109"/>
                  </a:cubicBezTo>
                  <a:cubicBezTo>
                    <a:pt x="807" y="104"/>
                    <a:pt x="806" y="98"/>
                    <a:pt x="805" y="96"/>
                  </a:cubicBezTo>
                  <a:cubicBezTo>
                    <a:pt x="805" y="95"/>
                    <a:pt x="805" y="95"/>
                    <a:pt x="805" y="94"/>
                  </a:cubicBezTo>
                  <a:cubicBezTo>
                    <a:pt x="876" y="37"/>
                    <a:pt x="876" y="37"/>
                    <a:pt x="876" y="37"/>
                  </a:cubicBezTo>
                  <a:cubicBezTo>
                    <a:pt x="884" y="31"/>
                    <a:pt x="886" y="18"/>
                    <a:pt x="879" y="10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A7C51D4B-9B2D-4F8D-82FA-42C3AA9F59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28" imgH="328" progId="TCLayout.ActiveDocument.1">
                  <p:embed/>
                </p:oleObj>
              </mc:Choice>
              <mc:Fallback>
                <p:oleObj name="think-cell Slide" r:id="rId7" imgW="328" imgH="328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A7C51D4B-9B2D-4F8D-82FA-42C3AA9F5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0" name="bcgBugsWhite_Factory">
            <a:extLst>
              <a:ext uri="{FF2B5EF4-FFF2-40B4-BE49-F238E27FC236}">
                <a16:creationId xmlns:a16="http://schemas.microsoft.com/office/drawing/2014/main" id="{445A350C-CC0F-40B8-B912-0831840C9829}"/>
              </a:ext>
            </a:extLst>
          </p:cNvPr>
          <p:cNvGrpSpPr>
            <a:grpSpLocks noChangeAspect="1"/>
          </p:cNvGrpSpPr>
          <p:nvPr/>
        </p:nvGrpSpPr>
        <p:grpSpPr>
          <a:xfrm>
            <a:off x="887813" y="3245882"/>
            <a:ext cx="687381" cy="687381"/>
            <a:chOff x="5867400" y="3200400"/>
            <a:chExt cx="457200" cy="457200"/>
          </a:xfrm>
        </p:grpSpPr>
        <p:sp>
          <p:nvSpPr>
            <p:cNvPr id="41" name="AutoShape 92">
              <a:extLst>
                <a:ext uri="{FF2B5EF4-FFF2-40B4-BE49-F238E27FC236}">
                  <a16:creationId xmlns:a16="http://schemas.microsoft.com/office/drawing/2014/main" id="{3E732DDD-4837-4BC7-988F-43424E3C4A3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867400" y="3200400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94">
              <a:extLst>
                <a:ext uri="{FF2B5EF4-FFF2-40B4-BE49-F238E27FC236}">
                  <a16:creationId xmlns:a16="http://schemas.microsoft.com/office/drawing/2014/main" id="{4FC2637F-0D82-4F30-A29B-D7A13FC954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94388" y="3248025"/>
              <a:ext cx="403225" cy="363538"/>
            </a:xfrm>
            <a:custGeom>
              <a:avLst/>
              <a:gdLst>
                <a:gd name="T0" fmla="*/ 835 w 880"/>
                <a:gd name="T1" fmla="*/ 728 h 794"/>
                <a:gd name="T2" fmla="*/ 825 w 880"/>
                <a:gd name="T3" fmla="*/ 701 h 794"/>
                <a:gd name="T4" fmla="*/ 812 w 880"/>
                <a:gd name="T5" fmla="*/ 281 h 794"/>
                <a:gd name="T6" fmla="*/ 790 w 880"/>
                <a:gd name="T7" fmla="*/ 271 h 794"/>
                <a:gd name="T8" fmla="*/ 768 w 880"/>
                <a:gd name="T9" fmla="*/ 7 h 794"/>
                <a:gd name="T10" fmla="*/ 667 w 880"/>
                <a:gd name="T11" fmla="*/ 0 h 794"/>
                <a:gd name="T12" fmla="*/ 638 w 880"/>
                <a:gd name="T13" fmla="*/ 268 h 794"/>
                <a:gd name="T14" fmla="*/ 581 w 880"/>
                <a:gd name="T15" fmla="*/ 271 h 794"/>
                <a:gd name="T16" fmla="*/ 320 w 880"/>
                <a:gd name="T17" fmla="*/ 189 h 794"/>
                <a:gd name="T18" fmla="*/ 316 w 880"/>
                <a:gd name="T19" fmla="*/ 266 h 794"/>
                <a:gd name="T20" fmla="*/ 71 w 880"/>
                <a:gd name="T21" fmla="*/ 189 h 794"/>
                <a:gd name="T22" fmla="*/ 67 w 880"/>
                <a:gd name="T23" fmla="*/ 701 h 794"/>
                <a:gd name="T24" fmla="*/ 45 w 880"/>
                <a:gd name="T25" fmla="*/ 711 h 794"/>
                <a:gd name="T26" fmla="*/ 10 w 880"/>
                <a:gd name="T27" fmla="*/ 728 h 794"/>
                <a:gd name="T28" fmla="*/ 0 w 880"/>
                <a:gd name="T29" fmla="*/ 784 h 794"/>
                <a:gd name="T30" fmla="*/ 870 w 880"/>
                <a:gd name="T31" fmla="*/ 794 h 794"/>
                <a:gd name="T32" fmla="*/ 880 w 880"/>
                <a:gd name="T33" fmla="*/ 738 h 794"/>
                <a:gd name="T34" fmla="*/ 270 w 880"/>
                <a:gd name="T35" fmla="*/ 519 h 794"/>
                <a:gd name="T36" fmla="*/ 143 w 880"/>
                <a:gd name="T37" fmla="*/ 524 h 794"/>
                <a:gd name="T38" fmla="*/ 139 w 880"/>
                <a:gd name="T39" fmla="*/ 449 h 794"/>
                <a:gd name="T40" fmla="*/ 266 w 880"/>
                <a:gd name="T41" fmla="*/ 444 h 794"/>
                <a:gd name="T42" fmla="*/ 270 w 880"/>
                <a:gd name="T43" fmla="*/ 519 h 794"/>
                <a:gd name="T44" fmla="*/ 266 w 880"/>
                <a:gd name="T45" fmla="*/ 416 h 794"/>
                <a:gd name="T46" fmla="*/ 139 w 880"/>
                <a:gd name="T47" fmla="*/ 412 h 794"/>
                <a:gd name="T48" fmla="*/ 143 w 880"/>
                <a:gd name="T49" fmla="*/ 336 h 794"/>
                <a:gd name="T50" fmla="*/ 270 w 880"/>
                <a:gd name="T51" fmla="*/ 341 h 794"/>
                <a:gd name="T52" fmla="*/ 426 w 880"/>
                <a:gd name="T53" fmla="*/ 519 h 794"/>
                <a:gd name="T54" fmla="*/ 300 w 880"/>
                <a:gd name="T55" fmla="*/ 524 h 794"/>
                <a:gd name="T56" fmla="*/ 296 w 880"/>
                <a:gd name="T57" fmla="*/ 449 h 794"/>
                <a:gd name="T58" fmla="*/ 422 w 880"/>
                <a:gd name="T59" fmla="*/ 444 h 794"/>
                <a:gd name="T60" fmla="*/ 426 w 880"/>
                <a:gd name="T61" fmla="*/ 519 h 794"/>
                <a:gd name="T62" fmla="*/ 422 w 880"/>
                <a:gd name="T63" fmla="*/ 416 h 794"/>
                <a:gd name="T64" fmla="*/ 296 w 880"/>
                <a:gd name="T65" fmla="*/ 412 h 794"/>
                <a:gd name="T66" fmla="*/ 300 w 880"/>
                <a:gd name="T67" fmla="*/ 336 h 794"/>
                <a:gd name="T68" fmla="*/ 426 w 880"/>
                <a:gd name="T69" fmla="*/ 341 h 794"/>
                <a:gd name="T70" fmla="*/ 583 w 880"/>
                <a:gd name="T71" fmla="*/ 519 h 794"/>
                <a:gd name="T72" fmla="*/ 457 w 880"/>
                <a:gd name="T73" fmla="*/ 524 h 794"/>
                <a:gd name="T74" fmla="*/ 453 w 880"/>
                <a:gd name="T75" fmla="*/ 449 h 794"/>
                <a:gd name="T76" fmla="*/ 579 w 880"/>
                <a:gd name="T77" fmla="*/ 444 h 794"/>
                <a:gd name="T78" fmla="*/ 583 w 880"/>
                <a:gd name="T79" fmla="*/ 519 h 794"/>
                <a:gd name="T80" fmla="*/ 579 w 880"/>
                <a:gd name="T81" fmla="*/ 416 h 794"/>
                <a:gd name="T82" fmla="*/ 453 w 880"/>
                <a:gd name="T83" fmla="*/ 412 h 794"/>
                <a:gd name="T84" fmla="*/ 457 w 880"/>
                <a:gd name="T85" fmla="*/ 336 h 794"/>
                <a:gd name="T86" fmla="*/ 583 w 880"/>
                <a:gd name="T87" fmla="*/ 341 h 794"/>
                <a:gd name="T88" fmla="*/ 740 w 880"/>
                <a:gd name="T89" fmla="*/ 519 h 794"/>
                <a:gd name="T90" fmla="*/ 613 w 880"/>
                <a:gd name="T91" fmla="*/ 524 h 794"/>
                <a:gd name="T92" fmla="*/ 609 w 880"/>
                <a:gd name="T93" fmla="*/ 449 h 794"/>
                <a:gd name="T94" fmla="*/ 736 w 880"/>
                <a:gd name="T95" fmla="*/ 444 h 794"/>
                <a:gd name="T96" fmla="*/ 740 w 880"/>
                <a:gd name="T97" fmla="*/ 519 h 794"/>
                <a:gd name="T98" fmla="*/ 736 w 880"/>
                <a:gd name="T99" fmla="*/ 416 h 794"/>
                <a:gd name="T100" fmla="*/ 609 w 880"/>
                <a:gd name="T101" fmla="*/ 412 h 794"/>
                <a:gd name="T102" fmla="*/ 613 w 880"/>
                <a:gd name="T103" fmla="*/ 336 h 794"/>
                <a:gd name="T104" fmla="*/ 740 w 880"/>
                <a:gd name="T105" fmla="*/ 341 h 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0" h="794">
                  <a:moveTo>
                    <a:pt x="870" y="728"/>
                  </a:moveTo>
                  <a:cubicBezTo>
                    <a:pt x="870" y="728"/>
                    <a:pt x="870" y="728"/>
                    <a:pt x="835" y="728"/>
                  </a:cubicBezTo>
                  <a:cubicBezTo>
                    <a:pt x="835" y="728"/>
                    <a:pt x="835" y="728"/>
                    <a:pt x="835" y="711"/>
                  </a:cubicBezTo>
                  <a:cubicBezTo>
                    <a:pt x="835" y="706"/>
                    <a:pt x="831" y="701"/>
                    <a:pt x="825" y="701"/>
                  </a:cubicBezTo>
                  <a:cubicBezTo>
                    <a:pt x="825" y="701"/>
                    <a:pt x="825" y="701"/>
                    <a:pt x="812" y="701"/>
                  </a:cubicBezTo>
                  <a:cubicBezTo>
                    <a:pt x="812" y="281"/>
                    <a:pt x="812" y="281"/>
                    <a:pt x="812" y="281"/>
                  </a:cubicBezTo>
                  <a:cubicBezTo>
                    <a:pt x="812" y="275"/>
                    <a:pt x="808" y="271"/>
                    <a:pt x="803" y="271"/>
                  </a:cubicBezTo>
                  <a:cubicBezTo>
                    <a:pt x="798" y="271"/>
                    <a:pt x="794" y="271"/>
                    <a:pt x="790" y="271"/>
                  </a:cubicBezTo>
                  <a:cubicBezTo>
                    <a:pt x="790" y="270"/>
                    <a:pt x="790" y="269"/>
                    <a:pt x="790" y="268"/>
                  </a:cubicBezTo>
                  <a:cubicBezTo>
                    <a:pt x="790" y="268"/>
                    <a:pt x="790" y="268"/>
                    <a:pt x="768" y="7"/>
                  </a:cubicBezTo>
                  <a:cubicBezTo>
                    <a:pt x="768" y="3"/>
                    <a:pt x="765" y="0"/>
                    <a:pt x="761" y="0"/>
                  </a:cubicBezTo>
                  <a:cubicBezTo>
                    <a:pt x="761" y="0"/>
                    <a:pt x="761" y="0"/>
                    <a:pt x="667" y="0"/>
                  </a:cubicBezTo>
                  <a:cubicBezTo>
                    <a:pt x="664" y="0"/>
                    <a:pt x="660" y="3"/>
                    <a:pt x="660" y="7"/>
                  </a:cubicBezTo>
                  <a:cubicBezTo>
                    <a:pt x="660" y="7"/>
                    <a:pt x="660" y="7"/>
                    <a:pt x="638" y="268"/>
                  </a:cubicBezTo>
                  <a:cubicBezTo>
                    <a:pt x="638" y="269"/>
                    <a:pt x="638" y="270"/>
                    <a:pt x="638" y="271"/>
                  </a:cubicBezTo>
                  <a:cubicBezTo>
                    <a:pt x="581" y="271"/>
                    <a:pt x="581" y="271"/>
                    <a:pt x="581" y="271"/>
                  </a:cubicBezTo>
                  <a:cubicBezTo>
                    <a:pt x="329" y="188"/>
                    <a:pt x="329" y="188"/>
                    <a:pt x="329" y="188"/>
                  </a:cubicBezTo>
                  <a:cubicBezTo>
                    <a:pt x="326" y="187"/>
                    <a:pt x="322" y="187"/>
                    <a:pt x="320" y="189"/>
                  </a:cubicBezTo>
                  <a:cubicBezTo>
                    <a:pt x="317" y="191"/>
                    <a:pt x="316" y="194"/>
                    <a:pt x="316" y="197"/>
                  </a:cubicBezTo>
                  <a:cubicBezTo>
                    <a:pt x="316" y="266"/>
                    <a:pt x="316" y="266"/>
                    <a:pt x="316" y="266"/>
                  </a:cubicBezTo>
                  <a:cubicBezTo>
                    <a:pt x="79" y="188"/>
                    <a:pt x="79" y="188"/>
                    <a:pt x="79" y="188"/>
                  </a:cubicBezTo>
                  <a:cubicBezTo>
                    <a:pt x="76" y="187"/>
                    <a:pt x="73" y="187"/>
                    <a:pt x="71" y="189"/>
                  </a:cubicBezTo>
                  <a:cubicBezTo>
                    <a:pt x="68" y="191"/>
                    <a:pt x="67" y="194"/>
                    <a:pt x="67" y="197"/>
                  </a:cubicBezTo>
                  <a:cubicBezTo>
                    <a:pt x="67" y="682"/>
                    <a:pt x="67" y="701"/>
                    <a:pt x="67" y="701"/>
                  </a:cubicBezTo>
                  <a:cubicBezTo>
                    <a:pt x="63" y="701"/>
                    <a:pt x="59" y="701"/>
                    <a:pt x="55" y="701"/>
                  </a:cubicBezTo>
                  <a:cubicBezTo>
                    <a:pt x="49" y="701"/>
                    <a:pt x="45" y="706"/>
                    <a:pt x="45" y="711"/>
                  </a:cubicBezTo>
                  <a:cubicBezTo>
                    <a:pt x="45" y="711"/>
                    <a:pt x="45" y="711"/>
                    <a:pt x="45" y="728"/>
                  </a:cubicBezTo>
                  <a:cubicBezTo>
                    <a:pt x="45" y="728"/>
                    <a:pt x="45" y="728"/>
                    <a:pt x="10" y="728"/>
                  </a:cubicBezTo>
                  <a:cubicBezTo>
                    <a:pt x="4" y="728"/>
                    <a:pt x="0" y="733"/>
                    <a:pt x="0" y="738"/>
                  </a:cubicBezTo>
                  <a:cubicBezTo>
                    <a:pt x="0" y="738"/>
                    <a:pt x="0" y="738"/>
                    <a:pt x="0" y="784"/>
                  </a:cubicBezTo>
                  <a:cubicBezTo>
                    <a:pt x="0" y="789"/>
                    <a:pt x="4" y="794"/>
                    <a:pt x="10" y="794"/>
                  </a:cubicBezTo>
                  <a:cubicBezTo>
                    <a:pt x="10" y="794"/>
                    <a:pt x="10" y="794"/>
                    <a:pt x="870" y="794"/>
                  </a:cubicBezTo>
                  <a:cubicBezTo>
                    <a:pt x="876" y="794"/>
                    <a:pt x="880" y="789"/>
                    <a:pt x="880" y="784"/>
                  </a:cubicBezTo>
                  <a:cubicBezTo>
                    <a:pt x="880" y="784"/>
                    <a:pt x="880" y="784"/>
                    <a:pt x="880" y="738"/>
                  </a:cubicBezTo>
                  <a:cubicBezTo>
                    <a:pt x="880" y="733"/>
                    <a:pt x="876" y="728"/>
                    <a:pt x="870" y="728"/>
                  </a:cubicBezTo>
                  <a:close/>
                  <a:moveTo>
                    <a:pt x="270" y="519"/>
                  </a:moveTo>
                  <a:cubicBezTo>
                    <a:pt x="270" y="522"/>
                    <a:pt x="268" y="524"/>
                    <a:pt x="266" y="524"/>
                  </a:cubicBezTo>
                  <a:cubicBezTo>
                    <a:pt x="266" y="524"/>
                    <a:pt x="266" y="524"/>
                    <a:pt x="143" y="524"/>
                  </a:cubicBezTo>
                  <a:cubicBezTo>
                    <a:pt x="141" y="524"/>
                    <a:pt x="139" y="522"/>
                    <a:pt x="139" y="519"/>
                  </a:cubicBezTo>
                  <a:cubicBezTo>
                    <a:pt x="139" y="519"/>
                    <a:pt x="139" y="519"/>
                    <a:pt x="139" y="449"/>
                  </a:cubicBezTo>
                  <a:cubicBezTo>
                    <a:pt x="139" y="446"/>
                    <a:pt x="141" y="444"/>
                    <a:pt x="143" y="444"/>
                  </a:cubicBezTo>
                  <a:cubicBezTo>
                    <a:pt x="143" y="444"/>
                    <a:pt x="143" y="444"/>
                    <a:pt x="266" y="444"/>
                  </a:cubicBezTo>
                  <a:cubicBezTo>
                    <a:pt x="268" y="444"/>
                    <a:pt x="270" y="446"/>
                    <a:pt x="270" y="449"/>
                  </a:cubicBezTo>
                  <a:cubicBezTo>
                    <a:pt x="270" y="449"/>
                    <a:pt x="270" y="449"/>
                    <a:pt x="270" y="519"/>
                  </a:cubicBezTo>
                  <a:close/>
                  <a:moveTo>
                    <a:pt x="270" y="412"/>
                  </a:moveTo>
                  <a:cubicBezTo>
                    <a:pt x="270" y="414"/>
                    <a:pt x="268" y="416"/>
                    <a:pt x="266" y="416"/>
                  </a:cubicBezTo>
                  <a:cubicBezTo>
                    <a:pt x="143" y="416"/>
                    <a:pt x="143" y="416"/>
                    <a:pt x="143" y="416"/>
                  </a:cubicBezTo>
                  <a:cubicBezTo>
                    <a:pt x="141" y="416"/>
                    <a:pt x="139" y="414"/>
                    <a:pt x="139" y="412"/>
                  </a:cubicBezTo>
                  <a:cubicBezTo>
                    <a:pt x="139" y="341"/>
                    <a:pt x="139" y="341"/>
                    <a:pt x="139" y="341"/>
                  </a:cubicBezTo>
                  <a:cubicBezTo>
                    <a:pt x="139" y="339"/>
                    <a:pt x="141" y="336"/>
                    <a:pt x="143" y="336"/>
                  </a:cubicBezTo>
                  <a:cubicBezTo>
                    <a:pt x="266" y="336"/>
                    <a:pt x="266" y="336"/>
                    <a:pt x="266" y="336"/>
                  </a:cubicBezTo>
                  <a:cubicBezTo>
                    <a:pt x="268" y="336"/>
                    <a:pt x="270" y="339"/>
                    <a:pt x="270" y="341"/>
                  </a:cubicBezTo>
                  <a:cubicBezTo>
                    <a:pt x="270" y="412"/>
                    <a:pt x="270" y="412"/>
                    <a:pt x="270" y="412"/>
                  </a:cubicBezTo>
                  <a:close/>
                  <a:moveTo>
                    <a:pt x="426" y="519"/>
                  </a:moveTo>
                  <a:cubicBezTo>
                    <a:pt x="426" y="522"/>
                    <a:pt x="425" y="524"/>
                    <a:pt x="422" y="524"/>
                  </a:cubicBezTo>
                  <a:cubicBezTo>
                    <a:pt x="422" y="524"/>
                    <a:pt x="422" y="524"/>
                    <a:pt x="300" y="524"/>
                  </a:cubicBezTo>
                  <a:cubicBezTo>
                    <a:pt x="298" y="524"/>
                    <a:pt x="296" y="522"/>
                    <a:pt x="296" y="519"/>
                  </a:cubicBezTo>
                  <a:cubicBezTo>
                    <a:pt x="296" y="519"/>
                    <a:pt x="296" y="519"/>
                    <a:pt x="296" y="449"/>
                  </a:cubicBezTo>
                  <a:cubicBezTo>
                    <a:pt x="296" y="446"/>
                    <a:pt x="298" y="444"/>
                    <a:pt x="300" y="444"/>
                  </a:cubicBezTo>
                  <a:cubicBezTo>
                    <a:pt x="300" y="444"/>
                    <a:pt x="300" y="444"/>
                    <a:pt x="422" y="444"/>
                  </a:cubicBezTo>
                  <a:cubicBezTo>
                    <a:pt x="425" y="444"/>
                    <a:pt x="426" y="446"/>
                    <a:pt x="426" y="449"/>
                  </a:cubicBezTo>
                  <a:cubicBezTo>
                    <a:pt x="426" y="449"/>
                    <a:pt x="426" y="449"/>
                    <a:pt x="426" y="519"/>
                  </a:cubicBezTo>
                  <a:close/>
                  <a:moveTo>
                    <a:pt x="426" y="412"/>
                  </a:moveTo>
                  <a:cubicBezTo>
                    <a:pt x="426" y="414"/>
                    <a:pt x="425" y="416"/>
                    <a:pt x="422" y="416"/>
                  </a:cubicBezTo>
                  <a:cubicBezTo>
                    <a:pt x="422" y="416"/>
                    <a:pt x="422" y="416"/>
                    <a:pt x="300" y="416"/>
                  </a:cubicBezTo>
                  <a:cubicBezTo>
                    <a:pt x="298" y="416"/>
                    <a:pt x="296" y="414"/>
                    <a:pt x="296" y="412"/>
                  </a:cubicBezTo>
                  <a:cubicBezTo>
                    <a:pt x="296" y="412"/>
                    <a:pt x="296" y="412"/>
                    <a:pt x="296" y="341"/>
                  </a:cubicBezTo>
                  <a:cubicBezTo>
                    <a:pt x="296" y="339"/>
                    <a:pt x="298" y="336"/>
                    <a:pt x="300" y="336"/>
                  </a:cubicBezTo>
                  <a:cubicBezTo>
                    <a:pt x="300" y="336"/>
                    <a:pt x="300" y="336"/>
                    <a:pt x="422" y="336"/>
                  </a:cubicBezTo>
                  <a:cubicBezTo>
                    <a:pt x="425" y="336"/>
                    <a:pt x="426" y="339"/>
                    <a:pt x="426" y="341"/>
                  </a:cubicBezTo>
                  <a:cubicBezTo>
                    <a:pt x="426" y="341"/>
                    <a:pt x="426" y="341"/>
                    <a:pt x="426" y="412"/>
                  </a:cubicBezTo>
                  <a:close/>
                  <a:moveTo>
                    <a:pt x="583" y="519"/>
                  </a:moveTo>
                  <a:cubicBezTo>
                    <a:pt x="583" y="522"/>
                    <a:pt x="581" y="524"/>
                    <a:pt x="579" y="524"/>
                  </a:cubicBezTo>
                  <a:cubicBezTo>
                    <a:pt x="579" y="524"/>
                    <a:pt x="579" y="524"/>
                    <a:pt x="457" y="524"/>
                  </a:cubicBezTo>
                  <a:cubicBezTo>
                    <a:pt x="454" y="524"/>
                    <a:pt x="453" y="522"/>
                    <a:pt x="453" y="519"/>
                  </a:cubicBezTo>
                  <a:cubicBezTo>
                    <a:pt x="453" y="519"/>
                    <a:pt x="453" y="519"/>
                    <a:pt x="453" y="449"/>
                  </a:cubicBezTo>
                  <a:cubicBezTo>
                    <a:pt x="453" y="446"/>
                    <a:pt x="454" y="444"/>
                    <a:pt x="457" y="444"/>
                  </a:cubicBezTo>
                  <a:cubicBezTo>
                    <a:pt x="457" y="444"/>
                    <a:pt x="457" y="444"/>
                    <a:pt x="579" y="444"/>
                  </a:cubicBezTo>
                  <a:cubicBezTo>
                    <a:pt x="581" y="444"/>
                    <a:pt x="583" y="446"/>
                    <a:pt x="583" y="449"/>
                  </a:cubicBezTo>
                  <a:cubicBezTo>
                    <a:pt x="583" y="449"/>
                    <a:pt x="583" y="449"/>
                    <a:pt x="583" y="519"/>
                  </a:cubicBezTo>
                  <a:close/>
                  <a:moveTo>
                    <a:pt x="583" y="412"/>
                  </a:moveTo>
                  <a:cubicBezTo>
                    <a:pt x="583" y="414"/>
                    <a:pt x="581" y="416"/>
                    <a:pt x="579" y="416"/>
                  </a:cubicBezTo>
                  <a:cubicBezTo>
                    <a:pt x="579" y="416"/>
                    <a:pt x="579" y="416"/>
                    <a:pt x="457" y="416"/>
                  </a:cubicBezTo>
                  <a:cubicBezTo>
                    <a:pt x="454" y="416"/>
                    <a:pt x="453" y="414"/>
                    <a:pt x="453" y="412"/>
                  </a:cubicBezTo>
                  <a:cubicBezTo>
                    <a:pt x="453" y="412"/>
                    <a:pt x="453" y="412"/>
                    <a:pt x="453" y="341"/>
                  </a:cubicBezTo>
                  <a:cubicBezTo>
                    <a:pt x="453" y="339"/>
                    <a:pt x="454" y="336"/>
                    <a:pt x="457" y="336"/>
                  </a:cubicBezTo>
                  <a:cubicBezTo>
                    <a:pt x="457" y="336"/>
                    <a:pt x="457" y="336"/>
                    <a:pt x="579" y="336"/>
                  </a:cubicBezTo>
                  <a:cubicBezTo>
                    <a:pt x="581" y="336"/>
                    <a:pt x="583" y="339"/>
                    <a:pt x="583" y="341"/>
                  </a:cubicBezTo>
                  <a:cubicBezTo>
                    <a:pt x="583" y="341"/>
                    <a:pt x="583" y="341"/>
                    <a:pt x="583" y="412"/>
                  </a:cubicBezTo>
                  <a:close/>
                  <a:moveTo>
                    <a:pt x="740" y="519"/>
                  </a:moveTo>
                  <a:cubicBezTo>
                    <a:pt x="740" y="522"/>
                    <a:pt x="738" y="524"/>
                    <a:pt x="736" y="524"/>
                  </a:cubicBezTo>
                  <a:cubicBezTo>
                    <a:pt x="736" y="524"/>
                    <a:pt x="736" y="524"/>
                    <a:pt x="613" y="524"/>
                  </a:cubicBezTo>
                  <a:cubicBezTo>
                    <a:pt x="611" y="524"/>
                    <a:pt x="609" y="522"/>
                    <a:pt x="609" y="519"/>
                  </a:cubicBezTo>
                  <a:cubicBezTo>
                    <a:pt x="609" y="519"/>
                    <a:pt x="609" y="519"/>
                    <a:pt x="609" y="449"/>
                  </a:cubicBezTo>
                  <a:cubicBezTo>
                    <a:pt x="609" y="446"/>
                    <a:pt x="611" y="444"/>
                    <a:pt x="613" y="444"/>
                  </a:cubicBezTo>
                  <a:cubicBezTo>
                    <a:pt x="613" y="444"/>
                    <a:pt x="613" y="444"/>
                    <a:pt x="736" y="444"/>
                  </a:cubicBezTo>
                  <a:cubicBezTo>
                    <a:pt x="738" y="444"/>
                    <a:pt x="740" y="446"/>
                    <a:pt x="740" y="449"/>
                  </a:cubicBezTo>
                  <a:cubicBezTo>
                    <a:pt x="740" y="449"/>
                    <a:pt x="740" y="449"/>
                    <a:pt x="740" y="519"/>
                  </a:cubicBezTo>
                  <a:close/>
                  <a:moveTo>
                    <a:pt x="740" y="412"/>
                  </a:moveTo>
                  <a:cubicBezTo>
                    <a:pt x="740" y="414"/>
                    <a:pt x="738" y="416"/>
                    <a:pt x="736" y="416"/>
                  </a:cubicBezTo>
                  <a:cubicBezTo>
                    <a:pt x="736" y="416"/>
                    <a:pt x="736" y="416"/>
                    <a:pt x="613" y="416"/>
                  </a:cubicBezTo>
                  <a:cubicBezTo>
                    <a:pt x="611" y="416"/>
                    <a:pt x="609" y="414"/>
                    <a:pt x="609" y="412"/>
                  </a:cubicBezTo>
                  <a:cubicBezTo>
                    <a:pt x="609" y="412"/>
                    <a:pt x="609" y="412"/>
                    <a:pt x="609" y="341"/>
                  </a:cubicBezTo>
                  <a:cubicBezTo>
                    <a:pt x="609" y="339"/>
                    <a:pt x="611" y="336"/>
                    <a:pt x="613" y="336"/>
                  </a:cubicBezTo>
                  <a:cubicBezTo>
                    <a:pt x="613" y="336"/>
                    <a:pt x="613" y="336"/>
                    <a:pt x="736" y="336"/>
                  </a:cubicBezTo>
                  <a:cubicBezTo>
                    <a:pt x="738" y="336"/>
                    <a:pt x="740" y="339"/>
                    <a:pt x="740" y="341"/>
                  </a:cubicBezTo>
                  <a:cubicBezTo>
                    <a:pt x="740" y="341"/>
                    <a:pt x="740" y="341"/>
                    <a:pt x="740" y="412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" name="Freeform 3">
            <a:extLst>
              <a:ext uri="{FF2B5EF4-FFF2-40B4-BE49-F238E27FC236}">
                <a16:creationId xmlns:a16="http://schemas.microsoft.com/office/drawing/2014/main" id="{90386876-45D4-4B15-92BE-F3BDE3F83D98}"/>
              </a:ext>
            </a:extLst>
          </p:cNvPr>
          <p:cNvSpPr/>
          <p:nvPr/>
        </p:nvSpPr>
        <p:spPr>
          <a:xfrm>
            <a:off x="703957" y="4486468"/>
            <a:ext cx="1061115" cy="1219673"/>
          </a:xfrm>
          <a:custGeom>
            <a:avLst/>
            <a:gdLst>
              <a:gd name="connsiteX0" fmla="*/ 0 w 2008628"/>
              <a:gd name="connsiteY0" fmla="*/ 873753 h 1747506"/>
              <a:gd name="connsiteX1" fmla="*/ 436877 w 2008628"/>
              <a:gd name="connsiteY1" fmla="*/ 0 h 1747506"/>
              <a:gd name="connsiteX2" fmla="*/ 1571752 w 2008628"/>
              <a:gd name="connsiteY2" fmla="*/ 0 h 1747506"/>
              <a:gd name="connsiteX3" fmla="*/ 2008628 w 2008628"/>
              <a:gd name="connsiteY3" fmla="*/ 873753 h 1747506"/>
              <a:gd name="connsiteX4" fmla="*/ 1571752 w 2008628"/>
              <a:gd name="connsiteY4" fmla="*/ 1747506 h 1747506"/>
              <a:gd name="connsiteX5" fmla="*/ 436877 w 2008628"/>
              <a:gd name="connsiteY5" fmla="*/ 1747506 h 1747506"/>
              <a:gd name="connsiteX6" fmla="*/ 0 w 2008628"/>
              <a:gd name="connsiteY6" fmla="*/ 873753 h 1747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08628" h="1747506">
                <a:moveTo>
                  <a:pt x="1004314" y="0"/>
                </a:moveTo>
                <a:lnTo>
                  <a:pt x="2008627" y="380083"/>
                </a:lnTo>
                <a:lnTo>
                  <a:pt x="2008627" y="1367424"/>
                </a:lnTo>
                <a:lnTo>
                  <a:pt x="1004314" y="1747506"/>
                </a:lnTo>
                <a:lnTo>
                  <a:pt x="1" y="1367424"/>
                </a:lnTo>
                <a:lnTo>
                  <a:pt x="1" y="380083"/>
                </a:lnTo>
                <a:lnTo>
                  <a:pt x="1004314" y="0"/>
                </a:lnTo>
                <a:close/>
              </a:path>
            </a:pathLst>
          </a:custGeom>
          <a:solidFill>
            <a:srgbClr val="00A039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72320" tIns="313011" rIns="272320" bIns="313011" numCol="1" spcCol="1270" anchor="ctr" anchorCtr="0">
            <a:noAutofit/>
          </a:bodyPr>
          <a:lstStyle/>
          <a:p>
            <a:pPr lvl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4800" kern="1200" dirty="0">
              <a:solidFill>
                <a:srgbClr val="FFFFFF"/>
              </a:solidFill>
            </a:endParaRPr>
          </a:p>
        </p:txBody>
      </p:sp>
      <p:grpSp>
        <p:nvGrpSpPr>
          <p:cNvPr id="31" name="bcgIconsWhite_Align">
            <a:extLst>
              <a:ext uri="{FF2B5EF4-FFF2-40B4-BE49-F238E27FC236}">
                <a16:creationId xmlns:a16="http://schemas.microsoft.com/office/drawing/2014/main" id="{A954D9BB-2778-48B2-8BF1-071639DEDFA8}"/>
              </a:ext>
            </a:extLst>
          </p:cNvPr>
          <p:cNvGrpSpPr>
            <a:grpSpLocks noChangeAspect="1"/>
          </p:cNvGrpSpPr>
          <p:nvPr/>
        </p:nvGrpSpPr>
        <p:grpSpPr>
          <a:xfrm>
            <a:off x="796923" y="4574854"/>
            <a:ext cx="1010820" cy="1010820"/>
            <a:chOff x="5273675" y="2606675"/>
            <a:chExt cx="1644650" cy="1644650"/>
          </a:xfrm>
        </p:grpSpPr>
        <p:sp>
          <p:nvSpPr>
            <p:cNvPr id="32" name="AutoShape 3">
              <a:extLst>
                <a:ext uri="{FF2B5EF4-FFF2-40B4-BE49-F238E27FC236}">
                  <a16:creationId xmlns:a16="http://schemas.microsoft.com/office/drawing/2014/main" id="{4E11D08F-5DFF-4223-94A1-60EAD411478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869C50BD-D195-41BC-8DF2-3A16B96F8E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9616" y="2882899"/>
              <a:ext cx="1094072" cy="1092200"/>
            </a:xfrm>
            <a:custGeom>
              <a:avLst/>
              <a:gdLst>
                <a:gd name="connsiteX0" fmla="*/ 648614 w 1094072"/>
                <a:gd name="connsiteY0" fmla="*/ 561975 h 1092200"/>
                <a:gd name="connsiteX1" fmla="*/ 808322 w 1094072"/>
                <a:gd name="connsiteY1" fmla="*/ 593417 h 1092200"/>
                <a:gd name="connsiteX2" fmla="*/ 655744 w 1094072"/>
                <a:gd name="connsiteY2" fmla="*/ 624859 h 1092200"/>
                <a:gd name="connsiteX3" fmla="*/ 58978 w 1094072"/>
                <a:gd name="connsiteY3" fmla="*/ 1075050 h 1092200"/>
                <a:gd name="connsiteX4" fmla="*/ 31171 w 1094072"/>
                <a:gd name="connsiteY4" fmla="*/ 1092200 h 1092200"/>
                <a:gd name="connsiteX5" fmla="*/ 16912 w 1094072"/>
                <a:gd name="connsiteY5" fmla="*/ 1088627 h 1092200"/>
                <a:gd name="connsiteX6" fmla="*/ 3365 w 1094072"/>
                <a:gd name="connsiteY6" fmla="*/ 1046466 h 1092200"/>
                <a:gd name="connsiteX7" fmla="*/ 292836 w 1094072"/>
                <a:gd name="connsiteY7" fmla="*/ 718470 h 1092200"/>
                <a:gd name="connsiteX8" fmla="*/ 641484 w 1094072"/>
                <a:gd name="connsiteY8" fmla="*/ 563404 h 1092200"/>
                <a:gd name="connsiteX9" fmla="*/ 648614 w 1094072"/>
                <a:gd name="connsiteY9" fmla="*/ 561975 h 1092200"/>
                <a:gd name="connsiteX10" fmla="*/ 31189 w 1094072"/>
                <a:gd name="connsiteY10" fmla="*/ 0 h 1092200"/>
                <a:gd name="connsiteX11" fmla="*/ 59010 w 1094072"/>
                <a:gd name="connsiteY11" fmla="*/ 17123 h 1092200"/>
                <a:gd name="connsiteX12" fmla="*/ 656079 w 1094072"/>
                <a:gd name="connsiteY12" fmla="*/ 466607 h 1092200"/>
                <a:gd name="connsiteX13" fmla="*/ 979937 w 1094072"/>
                <a:gd name="connsiteY13" fmla="*/ 513696 h 1092200"/>
                <a:gd name="connsiteX14" fmla="*/ 857242 w 1094072"/>
                <a:gd name="connsiteY14" fmla="*/ 398114 h 1092200"/>
                <a:gd name="connsiteX15" fmla="*/ 855815 w 1094072"/>
                <a:gd name="connsiteY15" fmla="*/ 353879 h 1092200"/>
                <a:gd name="connsiteX16" fmla="*/ 879356 w 1094072"/>
                <a:gd name="connsiteY16" fmla="*/ 343891 h 1092200"/>
                <a:gd name="connsiteX17" fmla="*/ 900756 w 1094072"/>
                <a:gd name="connsiteY17" fmla="*/ 352452 h 1092200"/>
                <a:gd name="connsiteX18" fmla="*/ 1084085 w 1094072"/>
                <a:gd name="connsiteY18" fmla="*/ 525111 h 1092200"/>
                <a:gd name="connsiteX19" fmla="*/ 1094072 w 1094072"/>
                <a:gd name="connsiteY19" fmla="*/ 547942 h 1092200"/>
                <a:gd name="connsiteX20" fmla="*/ 1084085 w 1094072"/>
                <a:gd name="connsiteY20" fmla="*/ 571487 h 1092200"/>
                <a:gd name="connsiteX21" fmla="*/ 900043 w 1094072"/>
                <a:gd name="connsiteY21" fmla="*/ 739152 h 1092200"/>
                <a:gd name="connsiteX22" fmla="*/ 879356 w 1094072"/>
                <a:gd name="connsiteY22" fmla="*/ 747713 h 1092200"/>
                <a:gd name="connsiteX23" fmla="*/ 855815 w 1094072"/>
                <a:gd name="connsiteY23" fmla="*/ 737011 h 1092200"/>
                <a:gd name="connsiteX24" fmla="*/ 857955 w 1094072"/>
                <a:gd name="connsiteY24" fmla="*/ 692776 h 1092200"/>
                <a:gd name="connsiteX25" fmla="*/ 983504 w 1094072"/>
                <a:gd name="connsiteY25" fmla="*/ 577908 h 1092200"/>
                <a:gd name="connsiteX26" fmla="*/ 984931 w 1094072"/>
                <a:gd name="connsiteY26" fmla="*/ 576481 h 1092200"/>
                <a:gd name="connsiteX27" fmla="*/ 718140 w 1094072"/>
                <a:gd name="connsiteY27" fmla="*/ 545802 h 1092200"/>
                <a:gd name="connsiteX28" fmla="*/ 641812 w 1094072"/>
                <a:gd name="connsiteY28" fmla="*/ 527965 h 1092200"/>
                <a:gd name="connsiteX29" fmla="*/ 292987 w 1094072"/>
                <a:gd name="connsiteY29" fmla="*/ 373143 h 1092200"/>
                <a:gd name="connsiteX30" fmla="*/ 3369 w 1094072"/>
                <a:gd name="connsiteY30" fmla="*/ 45662 h 1092200"/>
                <a:gd name="connsiteX31" fmla="*/ 16923 w 1094072"/>
                <a:gd name="connsiteY31" fmla="*/ 3567 h 1092200"/>
                <a:gd name="connsiteX32" fmla="*/ 31189 w 1094072"/>
                <a:gd name="connsiteY32" fmla="*/ 0 h 1092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094072" h="1092200">
                  <a:moveTo>
                    <a:pt x="648614" y="561975"/>
                  </a:moveTo>
                  <a:cubicBezTo>
                    <a:pt x="704940" y="576267"/>
                    <a:pt x="759126" y="586271"/>
                    <a:pt x="808322" y="593417"/>
                  </a:cubicBezTo>
                  <a:cubicBezTo>
                    <a:pt x="761265" y="600563"/>
                    <a:pt x="709218" y="610567"/>
                    <a:pt x="655744" y="624859"/>
                  </a:cubicBezTo>
                  <a:cubicBezTo>
                    <a:pt x="372690" y="700605"/>
                    <a:pt x="171629" y="852098"/>
                    <a:pt x="58978" y="1075050"/>
                  </a:cubicBezTo>
                  <a:cubicBezTo>
                    <a:pt x="53987" y="1085769"/>
                    <a:pt x="42579" y="1092200"/>
                    <a:pt x="31171" y="1092200"/>
                  </a:cubicBezTo>
                  <a:cubicBezTo>
                    <a:pt x="26180" y="1092200"/>
                    <a:pt x="21903" y="1091486"/>
                    <a:pt x="16912" y="1088627"/>
                  </a:cubicBezTo>
                  <a:cubicBezTo>
                    <a:pt x="1939" y="1080767"/>
                    <a:pt x="-4478" y="1062187"/>
                    <a:pt x="3365" y="1046466"/>
                  </a:cubicBezTo>
                  <a:cubicBezTo>
                    <a:pt x="70385" y="914267"/>
                    <a:pt x="167351" y="804221"/>
                    <a:pt x="292836" y="718470"/>
                  </a:cubicBezTo>
                  <a:cubicBezTo>
                    <a:pt x="392653" y="650584"/>
                    <a:pt x="509583" y="598419"/>
                    <a:pt x="641484" y="563404"/>
                  </a:cubicBezTo>
                  <a:cubicBezTo>
                    <a:pt x="643623" y="562690"/>
                    <a:pt x="645762" y="562690"/>
                    <a:pt x="648614" y="561975"/>
                  </a:cubicBezTo>
                  <a:close/>
                  <a:moveTo>
                    <a:pt x="31189" y="0"/>
                  </a:moveTo>
                  <a:cubicBezTo>
                    <a:pt x="42603" y="0"/>
                    <a:pt x="54016" y="6421"/>
                    <a:pt x="59010" y="17123"/>
                  </a:cubicBezTo>
                  <a:cubicBezTo>
                    <a:pt x="171718" y="239725"/>
                    <a:pt x="372881" y="390980"/>
                    <a:pt x="656079" y="466607"/>
                  </a:cubicBezTo>
                  <a:cubicBezTo>
                    <a:pt x="787334" y="501567"/>
                    <a:pt x="907176" y="511555"/>
                    <a:pt x="979937" y="513696"/>
                  </a:cubicBezTo>
                  <a:cubicBezTo>
                    <a:pt x="979937" y="513696"/>
                    <a:pt x="979937" y="513696"/>
                    <a:pt x="857242" y="398114"/>
                  </a:cubicBezTo>
                  <a:cubicBezTo>
                    <a:pt x="845115" y="386699"/>
                    <a:pt x="844402" y="366722"/>
                    <a:pt x="855815" y="353879"/>
                  </a:cubicBezTo>
                  <a:cubicBezTo>
                    <a:pt x="862235" y="347458"/>
                    <a:pt x="870795" y="343891"/>
                    <a:pt x="879356" y="343891"/>
                  </a:cubicBezTo>
                  <a:cubicBezTo>
                    <a:pt x="886489" y="343891"/>
                    <a:pt x="894336" y="346745"/>
                    <a:pt x="900756" y="352452"/>
                  </a:cubicBezTo>
                  <a:cubicBezTo>
                    <a:pt x="900756" y="352452"/>
                    <a:pt x="900756" y="352452"/>
                    <a:pt x="1084085" y="525111"/>
                  </a:cubicBezTo>
                  <a:cubicBezTo>
                    <a:pt x="1090505" y="530819"/>
                    <a:pt x="1094072" y="539381"/>
                    <a:pt x="1094072" y="547942"/>
                  </a:cubicBezTo>
                  <a:cubicBezTo>
                    <a:pt x="1094072" y="557217"/>
                    <a:pt x="1090505" y="565066"/>
                    <a:pt x="1084085" y="571487"/>
                  </a:cubicBezTo>
                  <a:cubicBezTo>
                    <a:pt x="1084085" y="571487"/>
                    <a:pt x="1084085" y="571487"/>
                    <a:pt x="900043" y="739152"/>
                  </a:cubicBezTo>
                  <a:cubicBezTo>
                    <a:pt x="894336" y="744859"/>
                    <a:pt x="886489" y="747713"/>
                    <a:pt x="879356" y="747713"/>
                  </a:cubicBezTo>
                  <a:cubicBezTo>
                    <a:pt x="870795" y="747713"/>
                    <a:pt x="862235" y="744146"/>
                    <a:pt x="855815" y="737011"/>
                  </a:cubicBezTo>
                  <a:cubicBezTo>
                    <a:pt x="844402" y="724169"/>
                    <a:pt x="845115" y="704905"/>
                    <a:pt x="857955" y="692776"/>
                  </a:cubicBezTo>
                  <a:cubicBezTo>
                    <a:pt x="857955" y="692776"/>
                    <a:pt x="857955" y="692776"/>
                    <a:pt x="983504" y="577908"/>
                  </a:cubicBezTo>
                  <a:cubicBezTo>
                    <a:pt x="983504" y="577908"/>
                    <a:pt x="983504" y="577908"/>
                    <a:pt x="984931" y="576481"/>
                  </a:cubicBezTo>
                  <a:cubicBezTo>
                    <a:pt x="922870" y="575054"/>
                    <a:pt x="827995" y="568633"/>
                    <a:pt x="718140" y="545802"/>
                  </a:cubicBezTo>
                  <a:cubicBezTo>
                    <a:pt x="693173" y="540808"/>
                    <a:pt x="668206" y="534386"/>
                    <a:pt x="641812" y="527965"/>
                  </a:cubicBezTo>
                  <a:cubicBezTo>
                    <a:pt x="509843" y="493005"/>
                    <a:pt x="392855" y="440922"/>
                    <a:pt x="292987" y="373143"/>
                  </a:cubicBezTo>
                  <a:cubicBezTo>
                    <a:pt x="167438" y="287527"/>
                    <a:pt x="70423" y="177653"/>
                    <a:pt x="3369" y="45662"/>
                  </a:cubicBezTo>
                  <a:cubicBezTo>
                    <a:pt x="-4478" y="29965"/>
                    <a:pt x="1942" y="11415"/>
                    <a:pt x="16923" y="3567"/>
                  </a:cubicBezTo>
                  <a:cubicBezTo>
                    <a:pt x="21916" y="713"/>
                    <a:pt x="26196" y="0"/>
                    <a:pt x="31189" y="0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063819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0" y="456681"/>
            <a:ext cx="5040000" cy="468000"/>
          </a:xfrm>
          <a:solidFill>
            <a:srgbClr val="00A039"/>
          </a:solidFill>
        </p:spPr>
        <p:txBody>
          <a:bodyPr vert="horz" wrap="square" lIns="0" tIns="0" rIns="0" bIns="0" rtlCol="0" anchor="ctr">
            <a:spAutoFit/>
          </a:bodyPr>
          <a:lstStyle/>
          <a:p>
            <a:br>
              <a:rPr lang="en-US" sz="2400" dirty="0">
                <a:solidFill>
                  <a:schemeClr val="bg1"/>
                </a:solidFill>
                <a:latin typeface="Trebuchet MS" panose="020B0603020202020204" pitchFamily="34" charset="0"/>
              </a:rPr>
            </a:br>
            <a:r>
              <a:rPr lang="en-US" sz="2400" dirty="0">
                <a:solidFill>
                  <a:schemeClr val="bg1"/>
                </a:solidFill>
                <a:latin typeface="Trebuchet MS" panose="020B0603020202020204" pitchFamily="34" charset="0"/>
              </a:rPr>
              <a:t>JK Organisation – Vision and Values</a:t>
            </a:r>
            <a:br>
              <a:rPr lang="en-US" sz="2400" dirty="0">
                <a:solidFill>
                  <a:schemeClr val="bg1"/>
                </a:solidFill>
                <a:latin typeface="Trebuchet MS" panose="020B0603020202020204" pitchFamily="34" charset="0"/>
              </a:rPr>
            </a:br>
            <a:endParaRPr lang="en-IN" sz="2400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19459" name="Picture 2" descr="http://cache4.asset-cache.net/xr/102092967.jpg?v=1&amp;c=NewsMaker&amp;k=3&amp;d=6C4008C0FD9EB5A53EFD462F3DBE1A5743774D2DD4A07EE426010B8805AF348DEC7C5022FB410D56"/>
          <p:cNvPicPr>
            <a:picLocks noChangeAspect="1" noChangeArrowheads="1"/>
          </p:cNvPicPr>
          <p:nvPr/>
        </p:nvPicPr>
        <p:blipFill>
          <a:blip r:embed="rId2" cstate="print"/>
          <a:srcRect t="16164"/>
          <a:stretch>
            <a:fillRect/>
          </a:stretch>
        </p:blipFill>
        <p:spPr bwMode="auto">
          <a:xfrm>
            <a:off x="1524000" y="1500188"/>
            <a:ext cx="3238500" cy="1852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0" name="Rectangle 5"/>
          <p:cNvSpPr>
            <a:spLocks noChangeArrowheads="1"/>
          </p:cNvSpPr>
          <p:nvPr/>
        </p:nvSpPr>
        <p:spPr bwMode="auto">
          <a:xfrm>
            <a:off x="4810126" y="1447801"/>
            <a:ext cx="5248275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/>
            <a:r>
              <a:rPr lang="en-IN" b="1" dirty="0">
                <a:latin typeface="Calibri" panose="020F0502020204030204" pitchFamily="34" charset="0"/>
              </a:rPr>
              <a:t>Vision</a:t>
            </a:r>
          </a:p>
          <a:p>
            <a:pPr algn="l"/>
            <a:br>
              <a:rPr lang="en-IN" b="1" dirty="0">
                <a:latin typeface="Calibri" panose="020F0502020204030204" pitchFamily="34" charset="0"/>
              </a:rPr>
            </a:br>
            <a:r>
              <a:rPr lang="en-IN" b="1" dirty="0">
                <a:latin typeface="Calibri" panose="020F0502020204030204" pitchFamily="34" charset="0"/>
              </a:rPr>
              <a:t>- Dynamic &amp; Successful Business Organisation</a:t>
            </a:r>
            <a:br>
              <a:rPr lang="en-IN" b="1" dirty="0">
                <a:latin typeface="Calibri" panose="020F0502020204030204" pitchFamily="34" charset="0"/>
              </a:rPr>
            </a:br>
            <a:endParaRPr lang="en-IN" b="1" dirty="0">
              <a:latin typeface="Calibri" panose="020F0502020204030204" pitchFamily="34" charset="0"/>
            </a:endParaRPr>
          </a:p>
          <a:p>
            <a:pPr algn="l">
              <a:buFontTx/>
              <a:buChar char="-"/>
            </a:pPr>
            <a:r>
              <a:rPr lang="en-IN" b="1" dirty="0">
                <a:latin typeface="Calibri" panose="020F0502020204030204" pitchFamily="34" charset="0"/>
              </a:rPr>
              <a:t> A Socially-Valued Enterprise</a:t>
            </a:r>
            <a:br>
              <a:rPr lang="en-IN" b="1" dirty="0">
                <a:latin typeface="Calibri" panose="020F0502020204030204" pitchFamily="34" charset="0"/>
              </a:rPr>
            </a:br>
            <a:endParaRPr lang="en-IN" b="1" dirty="0">
              <a:latin typeface="Calibri" panose="020F0502020204030204" pitchFamily="34" charset="0"/>
            </a:endParaRPr>
          </a:p>
          <a:p>
            <a:pPr algn="l">
              <a:buFontTx/>
              <a:buChar char="-"/>
            </a:pPr>
            <a:r>
              <a:rPr lang="en-IN" b="1" dirty="0">
                <a:latin typeface="Calibri" panose="020F0502020204030204" pitchFamily="34" charset="0"/>
              </a:rPr>
              <a:t> Business Integrity</a:t>
            </a:r>
          </a:p>
        </p:txBody>
      </p:sp>
      <p:pic>
        <p:nvPicPr>
          <p:cNvPr id="19461" name="Picture 4" descr="http://cache3.asset-cache.net/xr/98900462.jpg?v=1&amp;c=NewsMaker&amp;k=3&amp;d=A7B69CF049AC9005DD52C621DEFDB9104B5AF272DA3EED6935514457DC5F9118EC7C5022FB410D56"/>
          <p:cNvPicPr>
            <a:picLocks noChangeAspect="1" noChangeArrowheads="1"/>
          </p:cNvPicPr>
          <p:nvPr/>
        </p:nvPicPr>
        <p:blipFill>
          <a:blip r:embed="rId3" cstate="print"/>
          <a:srcRect t="16592"/>
          <a:stretch>
            <a:fillRect/>
          </a:stretch>
        </p:blipFill>
        <p:spPr bwMode="auto">
          <a:xfrm>
            <a:off x="6656388" y="4071939"/>
            <a:ext cx="4011612" cy="222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2" name="Rectangle 7"/>
          <p:cNvSpPr>
            <a:spLocks noChangeArrowheads="1"/>
          </p:cNvSpPr>
          <p:nvPr/>
        </p:nvSpPr>
        <p:spPr bwMode="auto">
          <a:xfrm>
            <a:off x="1624265" y="4038600"/>
            <a:ext cx="4903787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/>
            <a:r>
              <a:rPr lang="en-IN" b="1" dirty="0">
                <a:latin typeface="Calibri" panose="020F0502020204030204" pitchFamily="34" charset="0"/>
              </a:rPr>
              <a:t>Core Values</a:t>
            </a:r>
          </a:p>
          <a:p>
            <a:pPr algn="l"/>
            <a:br>
              <a:rPr lang="en-IN" b="1" dirty="0">
                <a:latin typeface="Calibri" panose="020F0502020204030204" pitchFamily="34" charset="0"/>
              </a:rPr>
            </a:br>
            <a:r>
              <a:rPr lang="en-IN" b="1" dirty="0">
                <a:latin typeface="Calibri" panose="020F0502020204030204" pitchFamily="34" charset="0"/>
              </a:rPr>
              <a:t>- Caring for People</a:t>
            </a:r>
            <a:br>
              <a:rPr lang="en-IN" b="1" dirty="0">
                <a:latin typeface="Calibri" panose="020F0502020204030204" pitchFamily="34" charset="0"/>
              </a:rPr>
            </a:br>
            <a:endParaRPr lang="en-IN" b="1" dirty="0">
              <a:latin typeface="Calibri" panose="020F0502020204030204" pitchFamily="34" charset="0"/>
            </a:endParaRPr>
          </a:p>
          <a:p>
            <a:pPr algn="l"/>
            <a:r>
              <a:rPr lang="en-IN" b="1" dirty="0">
                <a:latin typeface="Calibri" panose="020F0502020204030204" pitchFamily="34" charset="0"/>
              </a:rPr>
              <a:t>- Integrity including Intellectual </a:t>
            </a:r>
          </a:p>
          <a:p>
            <a:pPr algn="l"/>
            <a:r>
              <a:rPr lang="en-IN" b="1" dirty="0">
                <a:latin typeface="Calibri" panose="020F0502020204030204" pitchFamily="34" charset="0"/>
              </a:rPr>
              <a:t>  Honesty, Openness, Fairness &amp; Trust</a:t>
            </a:r>
            <a:br>
              <a:rPr lang="en-IN" b="1" dirty="0">
                <a:latin typeface="Calibri" panose="020F0502020204030204" pitchFamily="34" charset="0"/>
              </a:rPr>
            </a:br>
            <a:endParaRPr lang="en-IN" b="1" dirty="0">
              <a:latin typeface="Calibri" panose="020F0502020204030204" pitchFamily="34" charset="0"/>
            </a:endParaRPr>
          </a:p>
          <a:p>
            <a:pPr algn="l"/>
            <a:r>
              <a:rPr lang="en-IN" b="1" dirty="0">
                <a:latin typeface="Calibri" panose="020F0502020204030204" pitchFamily="34" charset="0"/>
              </a:rPr>
              <a:t>- Commitment to Excellence</a:t>
            </a:r>
          </a:p>
        </p:txBody>
      </p:sp>
    </p:spTree>
    <p:extLst>
      <p:ext uri="{BB962C8B-B14F-4D97-AF65-F5344CB8AC3E}">
        <p14:creationId xmlns:p14="http://schemas.microsoft.com/office/powerpoint/2010/main" val="17881390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BF4000-067C-4328-A62B-2D2D4A9680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BF4000-067C-4328-A62B-2D2D4A9680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>
            <a:extLst>
              <a:ext uri="{FF2B5EF4-FFF2-40B4-BE49-F238E27FC236}">
                <a16:creationId xmlns:a16="http://schemas.microsoft.com/office/drawing/2014/main" id="{7E59365B-18C3-45D4-9E79-C543C98F7C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" y="0"/>
            <a:ext cx="12192000" cy="6432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2B077894-B152-4DFE-BD51-463008776651}"/>
              </a:ext>
            </a:extLst>
          </p:cNvPr>
          <p:cNvSpPr txBox="1">
            <a:spLocks/>
          </p:cNvSpPr>
          <p:nvPr/>
        </p:nvSpPr>
        <p:spPr bwMode="blackWhite">
          <a:xfrm>
            <a:off x="1" y="5037222"/>
            <a:ext cx="12191998" cy="1379620"/>
          </a:xfrm>
          <a:prstGeom prst="rect">
            <a:avLst/>
          </a:prstGeom>
          <a:gradFill>
            <a:gsLst>
              <a:gs pos="0">
                <a:schemeClr val="bg1"/>
              </a:gs>
              <a:gs pos="23000">
                <a:srgbClr val="00A039"/>
              </a:gs>
            </a:gsLst>
            <a:lin ang="8100000" scaled="1"/>
          </a:gradFill>
          <a:ln w="9525">
            <a:noFill/>
          </a:ln>
        </p:spPr>
        <p:txBody>
          <a:bodyPr vert="horz" wrap="square" lIns="274320" tIns="274320" rIns="274320" bIns="137160" rtlCol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None/>
              <a:defRPr lang="en-US" sz="5400" kern="1200" baseline="0" dirty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pPr algn="ctr"/>
            <a:r>
              <a:rPr lang="en-IN" sz="3600" dirty="0"/>
              <a:t>J K Lakshmi Cement:</a:t>
            </a:r>
            <a:br>
              <a:rPr lang="en-IN" sz="3600" dirty="0"/>
            </a:br>
            <a:r>
              <a:rPr lang="en-IN" sz="3600" dirty="0"/>
              <a:t>Operational &amp; Financial Performance Q2FY25</a:t>
            </a:r>
          </a:p>
        </p:txBody>
      </p:sp>
    </p:spTree>
    <p:extLst>
      <p:ext uri="{BB962C8B-B14F-4D97-AF65-F5344CB8AC3E}">
        <p14:creationId xmlns:p14="http://schemas.microsoft.com/office/powerpoint/2010/main" val="2398286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Volume Growth (Sales) - Quarterly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DF750ED-E9C4-AE10-754C-19DBADD7B642}"/>
              </a:ext>
            </a:extLst>
          </p:cNvPr>
          <p:cNvSpPr txBox="1"/>
          <p:nvPr/>
        </p:nvSpPr>
        <p:spPr>
          <a:xfrm>
            <a:off x="522514" y="1531916"/>
            <a:ext cx="3384467" cy="45126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KLC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7F3A8F-CD47-0D45-6F82-8C816F6F14A2}"/>
              </a:ext>
            </a:extLst>
          </p:cNvPr>
          <p:cNvSpPr txBox="1"/>
          <p:nvPr/>
        </p:nvSpPr>
        <p:spPr>
          <a:xfrm>
            <a:off x="4427514" y="1458686"/>
            <a:ext cx="3384467" cy="45126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CWL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715767B-065A-0BB8-6E3E-1AF03F2D9F0A}"/>
              </a:ext>
            </a:extLst>
          </p:cNvPr>
          <p:cNvSpPr txBox="1"/>
          <p:nvPr/>
        </p:nvSpPr>
        <p:spPr>
          <a:xfrm>
            <a:off x="8332514" y="1421083"/>
            <a:ext cx="3384467" cy="45126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ted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F6BB4988-4E3D-78A9-FD1C-4CC19A266633}"/>
              </a:ext>
            </a:extLst>
          </p:cNvPr>
          <p:cNvSpPr/>
          <p:nvPr/>
        </p:nvSpPr>
        <p:spPr>
          <a:xfrm>
            <a:off x="10806545" y="469080"/>
            <a:ext cx="1330035" cy="516494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kh Tons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818B8F-5945-EEAF-64A7-EC5C37F300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438" y="2278380"/>
            <a:ext cx="3901440" cy="332635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6CD45B9-52E7-DB61-56B9-5C2F351DEB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5280" y="2278380"/>
            <a:ext cx="3901440" cy="332635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3028FF1-7C9C-7DF1-E88E-E90639B5F9C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50932" y="2278379"/>
            <a:ext cx="3893820" cy="332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96410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Volume Growth (Sales) – (Six Months ended 30.09.2024)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DF750ED-E9C4-AE10-754C-19DBADD7B642}"/>
              </a:ext>
            </a:extLst>
          </p:cNvPr>
          <p:cNvSpPr txBox="1"/>
          <p:nvPr/>
        </p:nvSpPr>
        <p:spPr>
          <a:xfrm>
            <a:off x="522514" y="1444833"/>
            <a:ext cx="3384467" cy="57843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KLC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7F3A8F-CD47-0D45-6F82-8C816F6F14A2}"/>
              </a:ext>
            </a:extLst>
          </p:cNvPr>
          <p:cNvSpPr txBox="1"/>
          <p:nvPr/>
        </p:nvSpPr>
        <p:spPr>
          <a:xfrm>
            <a:off x="4427514" y="1458686"/>
            <a:ext cx="3384467" cy="564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CWL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715767B-065A-0BB8-6E3E-1AF03F2D9F0A}"/>
              </a:ext>
            </a:extLst>
          </p:cNvPr>
          <p:cNvSpPr txBox="1"/>
          <p:nvPr/>
        </p:nvSpPr>
        <p:spPr>
          <a:xfrm>
            <a:off x="8451266" y="1444834"/>
            <a:ext cx="3384467" cy="57843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ted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7F1A9C0-1FB3-EA87-9830-29BDB968FE6A}"/>
              </a:ext>
            </a:extLst>
          </p:cNvPr>
          <p:cNvSpPr/>
          <p:nvPr/>
        </p:nvSpPr>
        <p:spPr>
          <a:xfrm>
            <a:off x="10826340" y="475095"/>
            <a:ext cx="1330035" cy="516494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kh Tons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16379E3-C84A-FD8D-DB7A-1CAA2338FE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24" y="2274569"/>
            <a:ext cx="3985482" cy="330864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16D2863-7BF7-5D22-6116-006B7CD689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8054" y="2274569"/>
            <a:ext cx="3924526" cy="33086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1AC3C0C-5708-90B0-C34F-366B6B4A02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72448" y="2254845"/>
            <a:ext cx="3924525" cy="3308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44024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245" y="309893"/>
            <a:ext cx="3474811" cy="335564"/>
          </a:xfrm>
          <a:solidFill>
            <a:srgbClr val="00A039"/>
          </a:solidFill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latin typeface="Bookman Old Style" pitchFamily="18" charset="0"/>
                <a:ea typeface="+mn-ea"/>
                <a:cs typeface="+mn-cs"/>
              </a:rPr>
              <a:t>Capacity </a:t>
            </a:r>
            <a:r>
              <a:rPr lang="en-US" b="1" dirty="0" err="1">
                <a:solidFill>
                  <a:schemeClr val="bg1"/>
                </a:solidFill>
                <a:latin typeface="Bookman Old Style" pitchFamily="18" charset="0"/>
                <a:ea typeface="+mn-ea"/>
                <a:cs typeface="+mn-cs"/>
              </a:rPr>
              <a:t>Utilisation</a:t>
            </a:r>
            <a:endParaRPr lang="en-US" b="1" dirty="0">
              <a:solidFill>
                <a:schemeClr val="bg1"/>
              </a:solidFill>
              <a:latin typeface="Bookman Old Style" pitchFamily="18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C9BE55C-D1FD-E2EE-DFB4-5F779800CF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750" y="731519"/>
            <a:ext cx="11307874" cy="5647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926660"/>
      </p:ext>
    </p:extLst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245" y="352925"/>
            <a:ext cx="7708229" cy="332399"/>
          </a:xfrm>
          <a:solidFill>
            <a:srgbClr val="00A039"/>
          </a:solidFill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latin typeface="Bookman Old Style" pitchFamily="18" charset="0"/>
                <a:ea typeface="+mn-ea"/>
                <a:cs typeface="+mn-cs"/>
              </a:rPr>
              <a:t>Region-wise Cement Sales – North/West (JKLC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26BC0D-A413-73ED-5757-5D6BB6DE68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141" y="903638"/>
            <a:ext cx="11331905" cy="4905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810428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245" y="352926"/>
            <a:ext cx="6553197" cy="332399"/>
          </a:xfrm>
          <a:solidFill>
            <a:srgbClr val="00A039"/>
          </a:solidFill>
          <a:ln w="127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b="1" dirty="0">
                <a:solidFill>
                  <a:schemeClr val="bg1"/>
                </a:solidFill>
                <a:latin typeface="Bookman Old Style" pitchFamily="18" charset="0"/>
                <a:ea typeface="+mn-ea"/>
                <a:cs typeface="+mn-cs"/>
              </a:rPr>
              <a:t>Region-wise Cement Sales – East (JKLC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BC2F53B-9D7B-2302-D3AD-B001889E75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610" y="835059"/>
            <a:ext cx="11439481" cy="484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047883"/>
      </p:ext>
    </p:extLst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Revenue Growth - Quarterly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DF750ED-E9C4-AE10-754C-19DBADD7B642}"/>
              </a:ext>
            </a:extLst>
          </p:cNvPr>
          <p:cNvSpPr txBox="1"/>
          <p:nvPr/>
        </p:nvSpPr>
        <p:spPr>
          <a:xfrm>
            <a:off x="522514" y="1531916"/>
            <a:ext cx="3384467" cy="45126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KLC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7F3A8F-CD47-0D45-6F82-8C816F6F14A2}"/>
              </a:ext>
            </a:extLst>
          </p:cNvPr>
          <p:cNvSpPr txBox="1"/>
          <p:nvPr/>
        </p:nvSpPr>
        <p:spPr>
          <a:xfrm>
            <a:off x="4427514" y="1458686"/>
            <a:ext cx="3384467" cy="45126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CWL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715767B-065A-0BB8-6E3E-1AF03F2D9F0A}"/>
              </a:ext>
            </a:extLst>
          </p:cNvPr>
          <p:cNvSpPr txBox="1"/>
          <p:nvPr/>
        </p:nvSpPr>
        <p:spPr>
          <a:xfrm>
            <a:off x="8332514" y="1421083"/>
            <a:ext cx="3384467" cy="45126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ted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F6BB4988-4E3D-78A9-FD1C-4CC19A266633}"/>
              </a:ext>
            </a:extLst>
          </p:cNvPr>
          <p:cNvSpPr/>
          <p:nvPr/>
        </p:nvSpPr>
        <p:spPr>
          <a:xfrm>
            <a:off x="10806545" y="469080"/>
            <a:ext cx="1330035" cy="516494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6909732-5059-08CF-6857-D93F34CC5C03}"/>
              </a:ext>
            </a:extLst>
          </p:cNvPr>
          <p:cNvSpPr/>
          <p:nvPr/>
        </p:nvSpPr>
        <p:spPr>
          <a:xfrm>
            <a:off x="522514" y="6267011"/>
            <a:ext cx="4833257" cy="516494"/>
          </a:xfrm>
          <a:prstGeom prst="round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SBS ~ Smart Building Solution </a:t>
            </a:r>
            <a:endParaRPr lang="en-IN" sz="1600" b="1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A3F769-8561-F519-EBD2-F5A542B761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413" y="1987923"/>
            <a:ext cx="3901440" cy="360605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C55492F-200D-6B44-10EF-04652CB42A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5280" y="1998678"/>
            <a:ext cx="3901440" cy="360605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28A328D-DA51-0935-5A40-7F7D18F217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29414" y="2009435"/>
            <a:ext cx="3893820" cy="3606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07598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Revenue Growth – (Six Months ended 30.09.2024)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DF750ED-E9C4-AE10-754C-19DBADD7B642}"/>
              </a:ext>
            </a:extLst>
          </p:cNvPr>
          <p:cNvSpPr txBox="1"/>
          <p:nvPr/>
        </p:nvSpPr>
        <p:spPr>
          <a:xfrm>
            <a:off x="522514" y="1444833"/>
            <a:ext cx="3384467" cy="57843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KLC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7F3A8F-CD47-0D45-6F82-8C816F6F14A2}"/>
              </a:ext>
            </a:extLst>
          </p:cNvPr>
          <p:cNvSpPr txBox="1"/>
          <p:nvPr/>
        </p:nvSpPr>
        <p:spPr>
          <a:xfrm>
            <a:off x="4427514" y="1458686"/>
            <a:ext cx="3384467" cy="564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CWL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715767B-065A-0BB8-6E3E-1AF03F2D9F0A}"/>
              </a:ext>
            </a:extLst>
          </p:cNvPr>
          <p:cNvSpPr txBox="1"/>
          <p:nvPr/>
        </p:nvSpPr>
        <p:spPr>
          <a:xfrm>
            <a:off x="8451266" y="1444834"/>
            <a:ext cx="3384467" cy="57843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ted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B71053EA-DE2C-5BD5-D945-F35E86564D1C}"/>
              </a:ext>
            </a:extLst>
          </p:cNvPr>
          <p:cNvSpPr/>
          <p:nvPr/>
        </p:nvSpPr>
        <p:spPr>
          <a:xfrm>
            <a:off x="10806545" y="469080"/>
            <a:ext cx="1330035" cy="516494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34A1642-69A6-9173-3131-28D937D3E89B}"/>
              </a:ext>
            </a:extLst>
          </p:cNvPr>
          <p:cNvSpPr/>
          <p:nvPr/>
        </p:nvSpPr>
        <p:spPr>
          <a:xfrm>
            <a:off x="712519" y="6409511"/>
            <a:ext cx="4833257" cy="371297"/>
          </a:xfrm>
          <a:prstGeom prst="round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SBS ~ Smart Building Solution </a:t>
            </a:r>
            <a:endParaRPr lang="en-IN" sz="1600" b="1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70471D-0E5C-DCA9-4999-130718A94E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433" y="2070170"/>
            <a:ext cx="3832860" cy="356683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11CAD71-19D6-86F9-39D8-C1E93D3F42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7447" y="2070173"/>
            <a:ext cx="3942454" cy="356683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AF4B785-F6B7-BC3B-DF33-287583C4CA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6720" y="2080930"/>
            <a:ext cx="4021348" cy="356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51581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Cost Trend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DF750ED-E9C4-AE10-754C-19DBADD7B642}"/>
              </a:ext>
            </a:extLst>
          </p:cNvPr>
          <p:cNvSpPr txBox="1"/>
          <p:nvPr/>
        </p:nvSpPr>
        <p:spPr>
          <a:xfrm>
            <a:off x="47503" y="482935"/>
            <a:ext cx="4773879" cy="57843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l Cost and Lead Distance - JKLC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7F3A8F-CD47-0D45-6F82-8C816F6F14A2}"/>
              </a:ext>
            </a:extLst>
          </p:cNvPr>
          <p:cNvSpPr txBox="1"/>
          <p:nvPr/>
        </p:nvSpPr>
        <p:spPr>
          <a:xfrm>
            <a:off x="1078676" y="1458686"/>
            <a:ext cx="3384467" cy="564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l Cost ₹ / </a:t>
            </a:r>
            <a:r>
              <a:rPr lang="en-US" b="1" u="sng" dirty="0" err="1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.Cal</a:t>
            </a:r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D898DE-A3BD-8220-179B-93921B676368}"/>
              </a:ext>
            </a:extLst>
          </p:cNvPr>
          <p:cNvSpPr txBox="1"/>
          <p:nvPr/>
        </p:nvSpPr>
        <p:spPr>
          <a:xfrm>
            <a:off x="7608121" y="1444830"/>
            <a:ext cx="3384467" cy="564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 Distance (Kms.)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C71DC72-4945-8139-82DD-65A1657A45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577" y="2042160"/>
            <a:ext cx="5789745" cy="356257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1083D9A-F252-ABC5-1274-4B01D7ED3E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4335" y="2042160"/>
            <a:ext cx="5779728" cy="356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54030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Renewable Energy - Quarterly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7F3A8F-CD47-0D45-6F82-8C816F6F14A2}"/>
              </a:ext>
            </a:extLst>
          </p:cNvPr>
          <p:cNvSpPr txBox="1"/>
          <p:nvPr/>
        </p:nvSpPr>
        <p:spPr>
          <a:xfrm>
            <a:off x="449285" y="1719942"/>
            <a:ext cx="3384467" cy="564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KLC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35DFDA9-CBE0-13C8-6F7E-098A4FB96171}"/>
              </a:ext>
            </a:extLst>
          </p:cNvPr>
          <p:cNvSpPr txBox="1"/>
          <p:nvPr/>
        </p:nvSpPr>
        <p:spPr>
          <a:xfrm>
            <a:off x="4366163" y="1729839"/>
            <a:ext cx="3384467" cy="564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CWL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4CA6952-AE14-345F-CB42-2A61DB7477E6}"/>
              </a:ext>
            </a:extLst>
          </p:cNvPr>
          <p:cNvSpPr txBox="1"/>
          <p:nvPr/>
        </p:nvSpPr>
        <p:spPr>
          <a:xfrm>
            <a:off x="8425540" y="1787238"/>
            <a:ext cx="3384467" cy="564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ted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D2272E5-F825-BE35-F586-5C3328F974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435" y="2252160"/>
            <a:ext cx="3894036" cy="334181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B7D82D2-B97F-5929-5EF8-82FA91A59E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4296" y="2262918"/>
            <a:ext cx="3858174" cy="334181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EC9F4B8-6E54-C9C1-26EF-AC1DDF5399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29878" y="2284434"/>
            <a:ext cx="3858174" cy="3309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3929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86063" y="315117"/>
            <a:ext cx="10282989" cy="424732"/>
          </a:xfrm>
          <a:solidFill>
            <a:srgbClr val="00A039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pPr algn="ctr" defTabSz="457200"/>
            <a:r>
              <a:rPr lang="en-US" sz="2400" b="1" dirty="0">
                <a:solidFill>
                  <a:schemeClr val="bg1"/>
                </a:solidFill>
                <a:latin typeface="Bookman Old Style" panose="02050604050505020204" pitchFamily="18" charset="0"/>
                <a:ea typeface="+mn-ea"/>
                <a:cs typeface="Arial" panose="020B0604020202020204" pitchFamily="34" charset="0"/>
              </a:rPr>
              <a:t>JK Organisation</a:t>
            </a:r>
            <a:endParaRPr lang="en-IN" sz="2400" b="1" dirty="0">
              <a:solidFill>
                <a:schemeClr val="bg1"/>
              </a:solidFill>
              <a:latin typeface="Bookman Old Style" panose="02050604050505020204" pitchFamily="18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607AC64-2578-D434-B3DF-7D886296EB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4860" y="771934"/>
            <a:ext cx="9542033" cy="5661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5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Renewable Energy – (Six Months ended 30.09.2024)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7F3A8F-CD47-0D45-6F82-8C816F6F14A2}"/>
              </a:ext>
            </a:extLst>
          </p:cNvPr>
          <p:cNvSpPr txBox="1"/>
          <p:nvPr/>
        </p:nvSpPr>
        <p:spPr>
          <a:xfrm>
            <a:off x="449285" y="1719942"/>
            <a:ext cx="3384467" cy="564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KLC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35DFDA9-CBE0-13C8-6F7E-098A4FB96171}"/>
              </a:ext>
            </a:extLst>
          </p:cNvPr>
          <p:cNvSpPr txBox="1"/>
          <p:nvPr/>
        </p:nvSpPr>
        <p:spPr>
          <a:xfrm>
            <a:off x="4366163" y="1729839"/>
            <a:ext cx="3384467" cy="564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CWL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4CA6952-AE14-345F-CB42-2A61DB7477E6}"/>
              </a:ext>
            </a:extLst>
          </p:cNvPr>
          <p:cNvSpPr txBox="1"/>
          <p:nvPr/>
        </p:nvSpPr>
        <p:spPr>
          <a:xfrm>
            <a:off x="8425540" y="1739738"/>
            <a:ext cx="3384467" cy="564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ted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4E7CAD-0360-5252-4109-9F56899131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491" y="2198369"/>
            <a:ext cx="3665220" cy="338484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72B1033-F061-30E4-61F1-326063C1FE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1416" y="2198369"/>
            <a:ext cx="3665220" cy="33848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3AA2B6F-2962-53E1-2FE1-C2331C89C9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0373" y="2198369"/>
            <a:ext cx="3665220" cy="3384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9784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Product Mix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DF750ED-E9C4-AE10-754C-19DBADD7B642}"/>
              </a:ext>
            </a:extLst>
          </p:cNvPr>
          <p:cNvSpPr txBox="1"/>
          <p:nvPr/>
        </p:nvSpPr>
        <p:spPr>
          <a:xfrm>
            <a:off x="47503" y="482935"/>
            <a:ext cx="4773879" cy="57843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ended Cement - Quarterly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7F3A8F-CD47-0D45-6F82-8C816F6F14A2}"/>
              </a:ext>
            </a:extLst>
          </p:cNvPr>
          <p:cNvSpPr txBox="1"/>
          <p:nvPr/>
        </p:nvSpPr>
        <p:spPr>
          <a:xfrm>
            <a:off x="449285" y="1719942"/>
            <a:ext cx="3384467" cy="564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KLC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35DFDA9-CBE0-13C8-6F7E-098A4FB96171}"/>
              </a:ext>
            </a:extLst>
          </p:cNvPr>
          <p:cNvSpPr txBox="1"/>
          <p:nvPr/>
        </p:nvSpPr>
        <p:spPr>
          <a:xfrm>
            <a:off x="4366163" y="1729839"/>
            <a:ext cx="3384467" cy="564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CWL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4CA6952-AE14-345F-CB42-2A61DB7477E6}"/>
              </a:ext>
            </a:extLst>
          </p:cNvPr>
          <p:cNvSpPr txBox="1"/>
          <p:nvPr/>
        </p:nvSpPr>
        <p:spPr>
          <a:xfrm>
            <a:off x="8425540" y="1739738"/>
            <a:ext cx="3384467" cy="564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ted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3C27C3-B525-900A-64C0-5DF53BC285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728" y="2252159"/>
            <a:ext cx="3729318" cy="33848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4E8F6FD-B8C8-61C4-D447-45ED44FBA3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0417" y="2252159"/>
            <a:ext cx="3970242" cy="33848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75E2675-11E8-B3C4-908E-E3D5386D13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57030" y="2252159"/>
            <a:ext cx="3970242" cy="3384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92957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Product Mix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DF750ED-E9C4-AE10-754C-19DBADD7B642}"/>
              </a:ext>
            </a:extLst>
          </p:cNvPr>
          <p:cNvSpPr txBox="1"/>
          <p:nvPr/>
        </p:nvSpPr>
        <p:spPr>
          <a:xfrm>
            <a:off x="47503" y="482935"/>
            <a:ext cx="5955264" cy="57843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ended Cement – (Six Months ended 30.09.2024)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7F3A8F-CD47-0D45-6F82-8C816F6F14A2}"/>
              </a:ext>
            </a:extLst>
          </p:cNvPr>
          <p:cNvSpPr txBox="1"/>
          <p:nvPr/>
        </p:nvSpPr>
        <p:spPr>
          <a:xfrm>
            <a:off x="449285" y="1719942"/>
            <a:ext cx="3384467" cy="564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KLC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35DFDA9-CBE0-13C8-6F7E-098A4FB96171}"/>
              </a:ext>
            </a:extLst>
          </p:cNvPr>
          <p:cNvSpPr txBox="1"/>
          <p:nvPr/>
        </p:nvSpPr>
        <p:spPr>
          <a:xfrm>
            <a:off x="4366163" y="1729839"/>
            <a:ext cx="3384467" cy="564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CWL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4CA6952-AE14-345F-CB42-2A61DB7477E6}"/>
              </a:ext>
            </a:extLst>
          </p:cNvPr>
          <p:cNvSpPr txBox="1"/>
          <p:nvPr/>
        </p:nvSpPr>
        <p:spPr>
          <a:xfrm>
            <a:off x="8425540" y="1739738"/>
            <a:ext cx="3384467" cy="5645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ted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4170E51-1925-4F19-9651-F9C9460E33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650" y="2198370"/>
            <a:ext cx="3672840" cy="340636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C8ECD1E-99DC-22EC-1DE4-2237DE3F89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9143" y="2198370"/>
            <a:ext cx="3985132" cy="34063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D86B77D-8B59-07BD-2811-D80930F3BE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88353" y="2198370"/>
            <a:ext cx="3985133" cy="3406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5187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Profitability - Quarterly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DF750ED-E9C4-AE10-754C-19DBADD7B642}"/>
              </a:ext>
            </a:extLst>
          </p:cNvPr>
          <p:cNvSpPr txBox="1"/>
          <p:nvPr/>
        </p:nvSpPr>
        <p:spPr>
          <a:xfrm>
            <a:off x="0" y="883355"/>
            <a:ext cx="12089081" cy="2566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BIDTA* - ₹ in Crore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7F3A8F-CD47-0D45-6F82-8C816F6F14A2}"/>
              </a:ext>
            </a:extLst>
          </p:cNvPr>
          <p:cNvSpPr txBox="1"/>
          <p:nvPr/>
        </p:nvSpPr>
        <p:spPr>
          <a:xfrm>
            <a:off x="401785" y="484913"/>
            <a:ext cx="3384467" cy="49135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KLC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35DFDA9-CBE0-13C8-6F7E-098A4FB96171}"/>
              </a:ext>
            </a:extLst>
          </p:cNvPr>
          <p:cNvSpPr txBox="1"/>
          <p:nvPr/>
        </p:nvSpPr>
        <p:spPr>
          <a:xfrm>
            <a:off x="4366163" y="530436"/>
            <a:ext cx="3384467" cy="36021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CWL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4CA6952-AE14-345F-CB42-2A61DB7477E6}"/>
              </a:ext>
            </a:extLst>
          </p:cNvPr>
          <p:cNvSpPr txBox="1"/>
          <p:nvPr/>
        </p:nvSpPr>
        <p:spPr>
          <a:xfrm>
            <a:off x="8425540" y="492829"/>
            <a:ext cx="3384467" cy="48343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ted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3C2D3A-395E-5158-75D9-AF29198B9018}"/>
              </a:ext>
            </a:extLst>
          </p:cNvPr>
          <p:cNvSpPr txBox="1"/>
          <p:nvPr/>
        </p:nvSpPr>
        <p:spPr>
          <a:xfrm>
            <a:off x="45525" y="3719578"/>
            <a:ext cx="12089081" cy="2566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BIDTA* - ₹ / Ton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0E0CC93-BFFA-C8C7-0F8D-E7BBC3590E4F}"/>
              </a:ext>
            </a:extLst>
          </p:cNvPr>
          <p:cNvSpPr txBox="1"/>
          <p:nvPr/>
        </p:nvSpPr>
        <p:spPr>
          <a:xfrm>
            <a:off x="568036" y="6545898"/>
            <a:ext cx="4073233" cy="2566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EBIDTA ~ excluding Other Income</a:t>
            </a:r>
            <a:endParaRPr lang="en-IN" sz="1000" b="1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5E3E37A-1C71-9F73-9713-7E967F8852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2549" y="1190290"/>
            <a:ext cx="3877870" cy="2476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4A1D1DA-FA6E-0C26-10F4-AFFCC0DC27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8349" y="1179530"/>
            <a:ext cx="3966935" cy="24765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0975CBF-FDF9-787F-733F-07FA1D6B64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1582" y="1179529"/>
            <a:ext cx="3813325" cy="24765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1974AAA-442C-35F3-E3E9-F3A88F3C8A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3301" y="4019559"/>
            <a:ext cx="3838750" cy="24765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4F7C575-E549-1EBC-644C-9AC3E59B01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98349" y="4030314"/>
            <a:ext cx="3966935" cy="24765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6A8C368-E77E-917E-BBDD-DBB7670C95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71582" y="3987282"/>
            <a:ext cx="3813325" cy="247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22930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Profitability – (Six Months ended 30.09.2024)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DF750ED-E9C4-AE10-754C-19DBADD7B642}"/>
              </a:ext>
            </a:extLst>
          </p:cNvPr>
          <p:cNvSpPr txBox="1"/>
          <p:nvPr/>
        </p:nvSpPr>
        <p:spPr>
          <a:xfrm>
            <a:off x="0" y="883355"/>
            <a:ext cx="12089081" cy="2566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BIDTA* - ₹ in Crore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07F3A8F-CD47-0D45-6F82-8C816F6F14A2}"/>
              </a:ext>
            </a:extLst>
          </p:cNvPr>
          <p:cNvSpPr txBox="1"/>
          <p:nvPr/>
        </p:nvSpPr>
        <p:spPr>
          <a:xfrm>
            <a:off x="401785" y="484913"/>
            <a:ext cx="3384467" cy="49135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KLC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35DFDA9-CBE0-13C8-6F7E-098A4FB96171}"/>
              </a:ext>
            </a:extLst>
          </p:cNvPr>
          <p:cNvSpPr txBox="1"/>
          <p:nvPr/>
        </p:nvSpPr>
        <p:spPr>
          <a:xfrm>
            <a:off x="4366163" y="530436"/>
            <a:ext cx="3384467" cy="36021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CWL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4CA6952-AE14-345F-CB42-2A61DB7477E6}"/>
              </a:ext>
            </a:extLst>
          </p:cNvPr>
          <p:cNvSpPr txBox="1"/>
          <p:nvPr/>
        </p:nvSpPr>
        <p:spPr>
          <a:xfrm>
            <a:off x="8425540" y="492829"/>
            <a:ext cx="3384467" cy="48343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ted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3C2D3A-395E-5158-75D9-AF29198B9018}"/>
              </a:ext>
            </a:extLst>
          </p:cNvPr>
          <p:cNvSpPr txBox="1"/>
          <p:nvPr/>
        </p:nvSpPr>
        <p:spPr>
          <a:xfrm>
            <a:off x="45525" y="3719578"/>
            <a:ext cx="12089081" cy="2566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BIDTA* - ₹ / Ton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D935C25-4A95-AB1E-11B5-071A437A80B2}"/>
              </a:ext>
            </a:extLst>
          </p:cNvPr>
          <p:cNvSpPr txBox="1"/>
          <p:nvPr/>
        </p:nvSpPr>
        <p:spPr>
          <a:xfrm>
            <a:off x="615536" y="6545898"/>
            <a:ext cx="4073233" cy="2566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EBIDTA ~ excluding Other Income</a:t>
            </a:r>
            <a:endParaRPr lang="en-IN" sz="1000" b="1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D5E184-E0F0-9AAC-01DD-1306986614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060" y="1222562"/>
            <a:ext cx="3844481" cy="2476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FB7384A-7726-798E-B1C5-9C1B12AEB5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3775" y="1226368"/>
            <a:ext cx="3876749" cy="246888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72671AA-B019-B1DD-B271-D7B8631774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83459" y="1226373"/>
            <a:ext cx="3876750" cy="24688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3D6B7B7-DF91-D13F-D2A9-F726C4340CF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060" y="4030317"/>
            <a:ext cx="3844481" cy="24765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E4BF173-3A1B-56EB-4AA5-6A35BE2E6A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33774" y="4051816"/>
            <a:ext cx="3876750" cy="24765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E510997-D2C5-9E14-3B1E-73FE4E9F49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83459" y="4030317"/>
            <a:ext cx="3844483" cy="2454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59717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JKLC (Standalone) Financial Statement - Quarterly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2E9E9C-6708-9A20-C40D-90D60791864B}"/>
              </a:ext>
            </a:extLst>
          </p:cNvPr>
          <p:cNvSpPr/>
          <p:nvPr/>
        </p:nvSpPr>
        <p:spPr>
          <a:xfrm>
            <a:off x="10806545" y="53445"/>
            <a:ext cx="1330035" cy="338439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EC4D24-04FE-DE9A-F748-5C36C79E3D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222" y="534040"/>
            <a:ext cx="11671070" cy="5780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28278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UCWL (Standalone) Financial Statement - Quarterly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2E9E9C-6708-9A20-C40D-90D60791864B}"/>
              </a:ext>
            </a:extLst>
          </p:cNvPr>
          <p:cNvSpPr/>
          <p:nvPr/>
        </p:nvSpPr>
        <p:spPr>
          <a:xfrm>
            <a:off x="10806545" y="53445"/>
            <a:ext cx="1330035" cy="338439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079D07-546F-F90A-62B7-D63FEFC08A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308" y="527123"/>
            <a:ext cx="10972800" cy="5744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36353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Consolidated Financial Statement - Quarterly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2E9E9C-6708-9A20-C40D-90D60791864B}"/>
              </a:ext>
            </a:extLst>
          </p:cNvPr>
          <p:cNvSpPr/>
          <p:nvPr/>
        </p:nvSpPr>
        <p:spPr>
          <a:xfrm>
            <a:off x="10806545" y="53445"/>
            <a:ext cx="1330035" cy="338439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D2E5DC-63FD-D474-B300-206974BFB2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448" y="523283"/>
            <a:ext cx="11792062" cy="576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62966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20124"/>
            <a:ext cx="12192000" cy="458074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sz="2200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sz="2200" dirty="0">
                <a:solidFill>
                  <a:schemeClr val="bg1"/>
                </a:solidFill>
                <a:latin typeface="Bookman Old Style" panose="02050604050505020204" pitchFamily="18" charset="0"/>
              </a:rPr>
              <a:t>JKLC (Standalone) Financial Statement – (Six Months ended 30.09.2024)</a:t>
            </a:r>
            <a:endParaRPr lang="en-IN" sz="2200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2E9E9C-6708-9A20-C40D-90D60791864B}"/>
              </a:ext>
            </a:extLst>
          </p:cNvPr>
          <p:cNvSpPr/>
          <p:nvPr/>
        </p:nvSpPr>
        <p:spPr>
          <a:xfrm>
            <a:off x="10806545" y="53445"/>
            <a:ext cx="1330035" cy="338439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448D4E-DCB2-3FBB-C067-F100166D09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083" y="544798"/>
            <a:ext cx="11804562" cy="5759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13788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20124"/>
            <a:ext cx="12192000" cy="458074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sz="2200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sz="2200" dirty="0">
                <a:solidFill>
                  <a:schemeClr val="bg1"/>
                </a:solidFill>
                <a:latin typeface="Bookman Old Style" panose="02050604050505020204" pitchFamily="18" charset="0"/>
              </a:rPr>
              <a:t>UCWL (Standalone) Financial Statement – (Six Months ended 30.09.2024)</a:t>
            </a:r>
            <a:endParaRPr lang="en-IN" sz="2200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2E9E9C-6708-9A20-C40D-90D60791864B}"/>
              </a:ext>
            </a:extLst>
          </p:cNvPr>
          <p:cNvSpPr/>
          <p:nvPr/>
        </p:nvSpPr>
        <p:spPr>
          <a:xfrm>
            <a:off x="10806545" y="53445"/>
            <a:ext cx="1330035" cy="338439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3DC2BC-CE03-AE40-2BDC-ACCA3146CE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139" y="512524"/>
            <a:ext cx="11098306" cy="590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5132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37937" y="252001"/>
            <a:ext cx="10491537" cy="424732"/>
          </a:xfrm>
          <a:solidFill>
            <a:srgbClr val="00A039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pPr algn="ctr" defTabSz="457200"/>
            <a:r>
              <a:rPr lang="en-US" sz="2400" b="1" dirty="0">
                <a:solidFill>
                  <a:schemeClr val="bg1"/>
                </a:solidFill>
                <a:latin typeface="Bookman Old Style" panose="02050604050505020204" pitchFamily="18" charset="0"/>
                <a:ea typeface="+mn-ea"/>
                <a:cs typeface="Arial" panose="020B0604020202020204" pitchFamily="34" charset="0"/>
              </a:rPr>
              <a:t>JK Organisation – Eastern Zone</a:t>
            </a:r>
            <a:endParaRPr lang="en-IN" sz="2400" b="1" dirty="0">
              <a:solidFill>
                <a:schemeClr val="bg1"/>
              </a:solidFill>
              <a:latin typeface="Bookman Old Style" panose="02050604050505020204" pitchFamily="18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C13F83-37F5-769A-F245-FA66D7350E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7165" y="731519"/>
            <a:ext cx="10491538" cy="5550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9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Consolidated Financial Statement – (Six Months ended 30.09.2024)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2E9E9C-6708-9A20-C40D-90D60791864B}"/>
              </a:ext>
            </a:extLst>
          </p:cNvPr>
          <p:cNvSpPr/>
          <p:nvPr/>
        </p:nvSpPr>
        <p:spPr>
          <a:xfrm>
            <a:off x="10806545" y="53445"/>
            <a:ext cx="1330035" cy="338439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2E768F-1919-D74F-5F5F-807652151C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7126" y="516365"/>
            <a:ext cx="11058860" cy="5819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63327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20124"/>
            <a:ext cx="12192000" cy="458074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sz="2200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sz="2200" dirty="0">
                <a:solidFill>
                  <a:schemeClr val="bg1"/>
                </a:solidFill>
                <a:latin typeface="Bookman Old Style" panose="02050604050505020204" pitchFamily="18" charset="0"/>
              </a:rPr>
              <a:t>JKLC (Standalone) Financial Statement – (Twelve Months ended 31.03.2024)</a:t>
            </a:r>
            <a:endParaRPr lang="en-IN" sz="2200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2E9E9C-6708-9A20-C40D-90D60791864B}"/>
              </a:ext>
            </a:extLst>
          </p:cNvPr>
          <p:cNvSpPr/>
          <p:nvPr/>
        </p:nvSpPr>
        <p:spPr>
          <a:xfrm>
            <a:off x="10806545" y="53445"/>
            <a:ext cx="1330035" cy="338439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C22794D-26BB-B119-DAD6-DA68D5F810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147" y="580910"/>
            <a:ext cx="11556701" cy="562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64456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20124"/>
            <a:ext cx="12192000" cy="458074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sz="2200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sz="2200" dirty="0">
                <a:solidFill>
                  <a:schemeClr val="bg1"/>
                </a:solidFill>
                <a:latin typeface="Bookman Old Style" panose="02050604050505020204" pitchFamily="18" charset="0"/>
              </a:rPr>
              <a:t>UCWL (Standalone) Financial Statement – (Twelve Months ended 31.03.2024)</a:t>
            </a:r>
            <a:endParaRPr lang="en-IN" sz="2200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2E9E9C-6708-9A20-C40D-90D60791864B}"/>
              </a:ext>
            </a:extLst>
          </p:cNvPr>
          <p:cNvSpPr/>
          <p:nvPr/>
        </p:nvSpPr>
        <p:spPr>
          <a:xfrm>
            <a:off x="10806545" y="53445"/>
            <a:ext cx="1330035" cy="338439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CBD5684-B049-7A90-A347-9B19607670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934" y="523282"/>
            <a:ext cx="11300094" cy="5791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53709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Consolidated Financial Statement – (Twelve Months ended 31.03.2024)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2E9E9C-6708-9A20-C40D-90D60791864B}"/>
              </a:ext>
            </a:extLst>
          </p:cNvPr>
          <p:cNvSpPr/>
          <p:nvPr/>
        </p:nvSpPr>
        <p:spPr>
          <a:xfrm>
            <a:off x="10806545" y="53445"/>
            <a:ext cx="1330035" cy="338439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6C5E4D-56EC-CC5E-F2BB-EF7D81CA67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243" y="494847"/>
            <a:ext cx="11553713" cy="5916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83076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JKLC Standalone Balance Sheet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2E9E9C-6708-9A20-C40D-90D60791864B}"/>
              </a:ext>
            </a:extLst>
          </p:cNvPr>
          <p:cNvSpPr/>
          <p:nvPr/>
        </p:nvSpPr>
        <p:spPr>
          <a:xfrm>
            <a:off x="10806545" y="53445"/>
            <a:ext cx="1330035" cy="338439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292F55A-4466-065B-326E-A7589E8839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155" y="551328"/>
            <a:ext cx="10574767" cy="5870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71968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JKLC Consolidated Balance Sheet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2E9E9C-6708-9A20-C40D-90D60791864B}"/>
              </a:ext>
            </a:extLst>
          </p:cNvPr>
          <p:cNvSpPr/>
          <p:nvPr/>
        </p:nvSpPr>
        <p:spPr>
          <a:xfrm>
            <a:off x="10806545" y="53445"/>
            <a:ext cx="1330035" cy="338439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68E5E0-FDCB-085C-BE10-210F17D153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459" y="548641"/>
            <a:ext cx="10757649" cy="5820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9193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Debt Profile 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8BFBA8E-89BD-1945-93CE-2ED2073388A7}"/>
              </a:ext>
            </a:extLst>
          </p:cNvPr>
          <p:cNvGrpSpPr/>
          <p:nvPr/>
        </p:nvGrpSpPr>
        <p:grpSpPr>
          <a:xfrm>
            <a:off x="188033" y="971802"/>
            <a:ext cx="3208313" cy="279862"/>
            <a:chOff x="639292" y="484913"/>
            <a:chExt cx="3384467" cy="491352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C32E9E9C-6708-9A20-C40D-90D60791864B}"/>
                </a:ext>
              </a:extLst>
            </p:cNvPr>
            <p:cNvSpPr/>
            <p:nvPr/>
          </p:nvSpPr>
          <p:spPr>
            <a:xfrm>
              <a:off x="783769" y="741219"/>
              <a:ext cx="724395" cy="225631"/>
            </a:xfrm>
            <a:prstGeom prst="roundRect">
              <a:avLst/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en-US" sz="8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₹ in Crore</a:t>
              </a:r>
              <a:endParaRPr lang="en-IN" sz="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22E3B5B-BF7F-AB0E-1B5C-DE8750A9B230}"/>
                </a:ext>
              </a:extLst>
            </p:cNvPr>
            <p:cNvSpPr txBox="1"/>
            <p:nvPr/>
          </p:nvSpPr>
          <p:spPr>
            <a:xfrm>
              <a:off x="639292" y="484913"/>
              <a:ext cx="3384467" cy="491352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b="1" u="sng" dirty="0">
                  <a:solidFill>
                    <a:srgbClr val="57575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ross Debt</a:t>
              </a:r>
            </a:p>
            <a:p>
              <a:endParaRPr lang="en-IN" b="1" u="sng" dirty="0" err="1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32C8AD0-D0A3-72B5-C6AE-E917BED30D23}"/>
              </a:ext>
            </a:extLst>
          </p:cNvPr>
          <p:cNvGrpSpPr/>
          <p:nvPr/>
        </p:nvGrpSpPr>
        <p:grpSpPr>
          <a:xfrm>
            <a:off x="4218114" y="959012"/>
            <a:ext cx="3208313" cy="282949"/>
            <a:chOff x="783769" y="470079"/>
            <a:chExt cx="3384467" cy="496771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11560D31-8D57-4B30-7C4C-BEB3878A15FD}"/>
                </a:ext>
              </a:extLst>
            </p:cNvPr>
            <p:cNvSpPr/>
            <p:nvPr/>
          </p:nvSpPr>
          <p:spPr>
            <a:xfrm>
              <a:off x="783769" y="741219"/>
              <a:ext cx="724395" cy="225631"/>
            </a:xfrm>
            <a:prstGeom prst="roundRect">
              <a:avLst/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en-US" sz="8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₹ in Crore</a:t>
              </a:r>
              <a:endParaRPr lang="en-IN" sz="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0362D2A-4C6C-330A-4804-4D13FF903B84}"/>
                </a:ext>
              </a:extLst>
            </p:cNvPr>
            <p:cNvSpPr txBox="1"/>
            <p:nvPr/>
          </p:nvSpPr>
          <p:spPr>
            <a:xfrm>
              <a:off x="783769" y="470079"/>
              <a:ext cx="3384467" cy="491352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b="1" u="sng" dirty="0">
                  <a:solidFill>
                    <a:srgbClr val="57575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h</a:t>
              </a:r>
            </a:p>
            <a:p>
              <a:endParaRPr lang="en-IN" b="1" u="sng" dirty="0" err="1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1BD19F3-00BB-9967-20AA-04DA077DC9B2}"/>
              </a:ext>
            </a:extLst>
          </p:cNvPr>
          <p:cNvGrpSpPr/>
          <p:nvPr/>
        </p:nvGrpSpPr>
        <p:grpSpPr>
          <a:xfrm>
            <a:off x="8241875" y="967049"/>
            <a:ext cx="3208313" cy="279862"/>
            <a:chOff x="608387" y="418665"/>
            <a:chExt cx="3384467" cy="548185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B3489062-A9DE-54A3-60AF-92B51B4FF104}"/>
                </a:ext>
              </a:extLst>
            </p:cNvPr>
            <p:cNvSpPr/>
            <p:nvPr/>
          </p:nvSpPr>
          <p:spPr>
            <a:xfrm>
              <a:off x="783769" y="741219"/>
              <a:ext cx="724395" cy="225631"/>
            </a:xfrm>
            <a:prstGeom prst="roundRect">
              <a:avLst/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en-US" sz="8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₹ in Crore</a:t>
              </a:r>
              <a:endParaRPr lang="en-IN" sz="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417AB12-6704-DC41-0043-353F5392C836}"/>
                </a:ext>
              </a:extLst>
            </p:cNvPr>
            <p:cNvSpPr txBox="1"/>
            <p:nvPr/>
          </p:nvSpPr>
          <p:spPr>
            <a:xfrm>
              <a:off x="608387" y="418665"/>
              <a:ext cx="3384467" cy="491352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b="1" u="sng" dirty="0">
                  <a:solidFill>
                    <a:srgbClr val="57575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t Debt</a:t>
              </a:r>
            </a:p>
            <a:p>
              <a:endParaRPr lang="en-IN" b="1" u="sng" dirty="0" err="1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B34CF625-142A-629B-4545-94077C8340E0}"/>
              </a:ext>
            </a:extLst>
          </p:cNvPr>
          <p:cNvSpPr txBox="1">
            <a:spLocks/>
          </p:cNvSpPr>
          <p:nvPr/>
        </p:nvSpPr>
        <p:spPr>
          <a:xfrm>
            <a:off x="154379" y="481923"/>
            <a:ext cx="3208313" cy="369332"/>
          </a:xfrm>
          <a:prstGeom prst="rect">
            <a:avLst/>
          </a:prstGeo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800" dirty="0">
                <a:solidFill>
                  <a:schemeClr val="bg1"/>
                </a:solidFill>
                <a:latin typeface="Bookman Old Style" panose="02050604050505020204" pitchFamily="18" charset="0"/>
              </a:rPr>
              <a:t>Standalone</a:t>
            </a:r>
            <a:endParaRPr lang="en-IN" sz="1800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DF362080-D6C4-C107-FED6-34EF3783A04F}"/>
              </a:ext>
            </a:extLst>
          </p:cNvPr>
          <p:cNvSpPr txBox="1">
            <a:spLocks/>
          </p:cNvSpPr>
          <p:nvPr/>
        </p:nvSpPr>
        <p:spPr>
          <a:xfrm>
            <a:off x="104900" y="3472525"/>
            <a:ext cx="3208313" cy="369332"/>
          </a:xfrm>
          <a:prstGeom prst="rect">
            <a:avLst/>
          </a:prstGeo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800" dirty="0">
                <a:solidFill>
                  <a:schemeClr val="bg1"/>
                </a:solidFill>
                <a:latin typeface="Bookman Old Style" panose="02050604050505020204" pitchFamily="18" charset="0"/>
              </a:rPr>
              <a:t>Consolidated</a:t>
            </a:r>
            <a:endParaRPr lang="en-IN" sz="1800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1DBEE66-A0D5-A2F5-3351-18F67DF60867}"/>
              </a:ext>
            </a:extLst>
          </p:cNvPr>
          <p:cNvGrpSpPr/>
          <p:nvPr/>
        </p:nvGrpSpPr>
        <p:grpSpPr>
          <a:xfrm>
            <a:off x="176158" y="3905001"/>
            <a:ext cx="3208313" cy="358235"/>
            <a:chOff x="639292" y="484913"/>
            <a:chExt cx="3384467" cy="491352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3BDE2D23-2A17-B1CE-8464-8B6508E30A70}"/>
                </a:ext>
              </a:extLst>
            </p:cNvPr>
            <p:cNvSpPr/>
            <p:nvPr/>
          </p:nvSpPr>
          <p:spPr>
            <a:xfrm>
              <a:off x="783769" y="741219"/>
              <a:ext cx="724395" cy="225631"/>
            </a:xfrm>
            <a:prstGeom prst="roundRect">
              <a:avLst/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en-US" sz="8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₹ in Crore</a:t>
              </a:r>
              <a:endParaRPr lang="en-IN" sz="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D3B0CE23-9E94-918F-1923-EB98C8F6F40B}"/>
                </a:ext>
              </a:extLst>
            </p:cNvPr>
            <p:cNvSpPr txBox="1"/>
            <p:nvPr/>
          </p:nvSpPr>
          <p:spPr>
            <a:xfrm>
              <a:off x="639292" y="484913"/>
              <a:ext cx="3384467" cy="491352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b="1" u="sng" dirty="0">
                  <a:solidFill>
                    <a:srgbClr val="57575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ross Debt</a:t>
              </a:r>
            </a:p>
            <a:p>
              <a:endParaRPr lang="en-IN" b="1" u="sng" dirty="0" err="1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78A7620-E052-6A7C-82D4-8DCC0BA12769}"/>
              </a:ext>
            </a:extLst>
          </p:cNvPr>
          <p:cNvGrpSpPr/>
          <p:nvPr/>
        </p:nvGrpSpPr>
        <p:grpSpPr>
          <a:xfrm>
            <a:off x="4206239" y="3892210"/>
            <a:ext cx="3208313" cy="362186"/>
            <a:chOff x="783769" y="470079"/>
            <a:chExt cx="3384467" cy="496771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id="{9BC6A8D7-FDE9-E924-E97F-E11D1F3E3C28}"/>
                </a:ext>
              </a:extLst>
            </p:cNvPr>
            <p:cNvSpPr/>
            <p:nvPr/>
          </p:nvSpPr>
          <p:spPr>
            <a:xfrm>
              <a:off x="783769" y="741219"/>
              <a:ext cx="724395" cy="225631"/>
            </a:xfrm>
            <a:prstGeom prst="roundRect">
              <a:avLst/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en-US" sz="8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₹ in Crore</a:t>
              </a:r>
              <a:endParaRPr lang="en-IN" sz="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34DF34D9-D041-338B-9EC9-FE76FAACD3ED}"/>
                </a:ext>
              </a:extLst>
            </p:cNvPr>
            <p:cNvSpPr txBox="1"/>
            <p:nvPr/>
          </p:nvSpPr>
          <p:spPr>
            <a:xfrm>
              <a:off x="783769" y="470079"/>
              <a:ext cx="3384467" cy="491352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b="1" u="sng" dirty="0">
                  <a:solidFill>
                    <a:srgbClr val="57575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h</a:t>
              </a:r>
            </a:p>
            <a:p>
              <a:endParaRPr lang="en-IN" b="1" u="sng" dirty="0" err="1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90D662CF-525F-71A4-017C-333A3E7748FA}"/>
              </a:ext>
            </a:extLst>
          </p:cNvPr>
          <p:cNvGrpSpPr/>
          <p:nvPr/>
        </p:nvGrpSpPr>
        <p:grpSpPr>
          <a:xfrm>
            <a:off x="8230000" y="3876500"/>
            <a:ext cx="3208313" cy="358235"/>
            <a:chOff x="608387" y="418665"/>
            <a:chExt cx="3384467" cy="548185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E7D85866-7658-9EA3-A0D7-3FA28BF3F111}"/>
                </a:ext>
              </a:extLst>
            </p:cNvPr>
            <p:cNvSpPr/>
            <p:nvPr/>
          </p:nvSpPr>
          <p:spPr>
            <a:xfrm>
              <a:off x="783769" y="741219"/>
              <a:ext cx="724395" cy="225631"/>
            </a:xfrm>
            <a:prstGeom prst="roundRect">
              <a:avLst/>
            </a:prstGeom>
            <a:solidFill>
              <a:schemeClr val="tx2"/>
            </a:solidFill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en-US" sz="8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₹ in Crore</a:t>
              </a:r>
              <a:endParaRPr lang="en-IN" sz="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AD7BB8EC-68F9-D817-9A49-F6868E5D7970}"/>
                </a:ext>
              </a:extLst>
            </p:cNvPr>
            <p:cNvSpPr txBox="1"/>
            <p:nvPr/>
          </p:nvSpPr>
          <p:spPr>
            <a:xfrm>
              <a:off x="608387" y="418665"/>
              <a:ext cx="3384467" cy="491352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b="1" u="sng" dirty="0">
                  <a:solidFill>
                    <a:srgbClr val="57575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t Debt</a:t>
              </a:r>
            </a:p>
            <a:p>
              <a:endParaRPr lang="en-IN" b="1" u="sng" dirty="0" err="1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AF484DDD-97F6-DAC3-438D-586630C37B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311" y="1279936"/>
            <a:ext cx="3883929" cy="21055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4EB5674-082F-586A-D248-AFB548EC32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7870" y="1279937"/>
            <a:ext cx="3978937" cy="210553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4D2CBC5-D6CF-6984-69B3-EBEE037F5F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52049" y="1290465"/>
            <a:ext cx="3945639" cy="208014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637C08B-665F-7AEF-B2E5-CE06497945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6772" y="4295934"/>
            <a:ext cx="3861468" cy="208014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4C3694B0-6A6A-0CA0-3E67-407B8A9FC4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36359" y="4324803"/>
            <a:ext cx="4000448" cy="205127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FA3CFE0-856E-0E76-5A9B-1352DE1FBF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45775" y="4324802"/>
            <a:ext cx="3945638" cy="2051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65935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Standalone Debt Profile 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BA35A5-09FC-8BAA-DD73-78177FE71308}"/>
              </a:ext>
            </a:extLst>
          </p:cNvPr>
          <p:cNvSpPr txBox="1"/>
          <p:nvPr/>
        </p:nvSpPr>
        <p:spPr>
          <a:xfrm>
            <a:off x="2572982" y="669601"/>
            <a:ext cx="3208313" cy="35823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Debt/EBIDTA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F1EA2FE-855E-2C91-7928-B036E453E07D}"/>
              </a:ext>
            </a:extLst>
          </p:cNvPr>
          <p:cNvSpPr txBox="1"/>
          <p:nvPr/>
        </p:nvSpPr>
        <p:spPr>
          <a:xfrm>
            <a:off x="7558636" y="691380"/>
            <a:ext cx="3208313" cy="35823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Debt/Equity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4F36596-C689-8902-8E60-3EE69DE89066}"/>
              </a:ext>
            </a:extLst>
          </p:cNvPr>
          <p:cNvSpPr txBox="1">
            <a:spLocks/>
          </p:cNvSpPr>
          <p:nvPr/>
        </p:nvSpPr>
        <p:spPr>
          <a:xfrm>
            <a:off x="59382" y="484695"/>
            <a:ext cx="2529439" cy="369332"/>
          </a:xfrm>
          <a:prstGeom prst="rect">
            <a:avLst/>
          </a:prstGeo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800" dirty="0">
                <a:solidFill>
                  <a:schemeClr val="bg1"/>
                </a:solidFill>
                <a:latin typeface="Bookman Old Style" panose="02050604050505020204" pitchFamily="18" charset="0"/>
              </a:rPr>
              <a:t>Standalone</a:t>
            </a:r>
            <a:endParaRPr lang="en-IN" sz="1800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B57D85A-EF6E-BA5E-6890-37D62519DBB6}"/>
              </a:ext>
            </a:extLst>
          </p:cNvPr>
          <p:cNvSpPr txBox="1">
            <a:spLocks/>
          </p:cNvSpPr>
          <p:nvPr/>
        </p:nvSpPr>
        <p:spPr>
          <a:xfrm>
            <a:off x="106888" y="3418614"/>
            <a:ext cx="2149427" cy="369332"/>
          </a:xfrm>
          <a:prstGeom prst="rect">
            <a:avLst/>
          </a:prstGeo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800" dirty="0">
                <a:solidFill>
                  <a:schemeClr val="bg1"/>
                </a:solidFill>
                <a:latin typeface="Bookman Old Style" panose="02050604050505020204" pitchFamily="18" charset="0"/>
              </a:rPr>
              <a:t>Consolidated</a:t>
            </a:r>
            <a:endParaRPr lang="en-IN" sz="1800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7DFAF02-E2AC-3BE5-C667-062CB2EDBDFD}"/>
              </a:ext>
            </a:extLst>
          </p:cNvPr>
          <p:cNvSpPr txBox="1"/>
          <p:nvPr/>
        </p:nvSpPr>
        <p:spPr>
          <a:xfrm>
            <a:off x="1991615" y="3602801"/>
            <a:ext cx="4081364" cy="35823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Debt/EBIDTA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5A33781-73FD-E5F9-D4B9-5C6F11FF4F88}"/>
              </a:ext>
            </a:extLst>
          </p:cNvPr>
          <p:cNvSpPr txBox="1"/>
          <p:nvPr/>
        </p:nvSpPr>
        <p:spPr>
          <a:xfrm>
            <a:off x="7273208" y="3612705"/>
            <a:ext cx="3948153" cy="35823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u="sng" dirty="0">
                <a:solidFill>
                  <a:srgbClr val="5757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 Debt/Equity</a:t>
            </a:r>
            <a:endParaRPr lang="en-IN" b="1" u="sng" dirty="0" err="1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086511A-3D27-DCB7-D221-9846224B38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9892" y="1069935"/>
            <a:ext cx="4953408" cy="22969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4F316D3-7CC5-04FC-7BB2-C5C9D16B24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3408" y="1068363"/>
            <a:ext cx="4772520" cy="22969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1C9B9E4-3B25-65B4-06F3-0BBCEBBAE8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89892" y="4007223"/>
            <a:ext cx="4955909" cy="244994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569F8BF-DA10-3C5B-DF2A-C81DAB7202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93408" y="4017983"/>
            <a:ext cx="4772520" cy="2439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35070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Ongoing CAPEX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2E9E9C-6708-9A20-C40D-90D60791864B}"/>
              </a:ext>
            </a:extLst>
          </p:cNvPr>
          <p:cNvSpPr/>
          <p:nvPr/>
        </p:nvSpPr>
        <p:spPr>
          <a:xfrm>
            <a:off x="10806545" y="53445"/>
            <a:ext cx="1330035" cy="338439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F038FA2-101A-EBAF-1FF6-BAB3A8BAB1A6}"/>
              </a:ext>
            </a:extLst>
          </p:cNvPr>
          <p:cNvGrpSpPr/>
          <p:nvPr/>
        </p:nvGrpSpPr>
        <p:grpSpPr>
          <a:xfrm>
            <a:off x="98634" y="625433"/>
            <a:ext cx="3618342" cy="2058391"/>
            <a:chOff x="-1" y="1105083"/>
            <a:chExt cx="2768170" cy="3321826"/>
          </a:xfrm>
        </p:grpSpPr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4EA92210-AF6E-3912-6810-5331E8A41D7A}"/>
                </a:ext>
              </a:extLst>
            </p:cNvPr>
            <p:cNvSpPr/>
            <p:nvPr/>
          </p:nvSpPr>
          <p:spPr>
            <a:xfrm>
              <a:off x="0" y="1105083"/>
              <a:ext cx="2768169" cy="3321826"/>
            </a:xfrm>
            <a:prstGeom prst="homePlate">
              <a:avLst/>
            </a:prstGeom>
            <a:solidFill>
              <a:srgbClr val="00A03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8" name="Arrow: Pentagon 4">
              <a:extLst>
                <a:ext uri="{FF2B5EF4-FFF2-40B4-BE49-F238E27FC236}">
                  <a16:creationId xmlns:a16="http://schemas.microsoft.com/office/drawing/2014/main" id="{66399390-FFD9-7B31-9AD6-A1CF39DBC6F9}"/>
                </a:ext>
              </a:extLst>
            </p:cNvPr>
            <p:cNvSpPr txBox="1"/>
            <p:nvPr/>
          </p:nvSpPr>
          <p:spPr>
            <a:xfrm>
              <a:off x="-1" y="2008734"/>
              <a:ext cx="2422936" cy="143021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>
                  <a:solidFill>
                    <a:schemeClr val="bg1"/>
                  </a:solidFill>
                </a:rPr>
                <a:t>2.50 Mn. Ton</a:t>
              </a:r>
            </a:p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>
                  <a:solidFill>
                    <a:schemeClr val="bg1"/>
                  </a:solidFill>
                </a:rPr>
                <a:t> Expansion Project</a:t>
              </a:r>
            </a:p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>
                  <a:solidFill>
                    <a:schemeClr val="bg1"/>
                  </a:solidFill>
                </a:rPr>
                <a:t> at </a:t>
              </a:r>
            </a:p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>
                  <a:solidFill>
                    <a:schemeClr val="bg1"/>
                  </a:solidFill>
                </a:rPr>
                <a:t>UCWL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7DD673AB-571C-28DD-9A36-6E7B354990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95" t="4377" r="1190" b="16403"/>
          <a:stretch/>
        </p:blipFill>
        <p:spPr>
          <a:xfrm>
            <a:off x="120109" y="2707574"/>
            <a:ext cx="5858372" cy="369322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22E914C-FE55-56BC-F98D-ECF83E4933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49859" y="625433"/>
            <a:ext cx="5956095" cy="5775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57784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Ongoing CAPEX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2E9E9C-6708-9A20-C40D-90D60791864B}"/>
              </a:ext>
            </a:extLst>
          </p:cNvPr>
          <p:cNvSpPr/>
          <p:nvPr/>
        </p:nvSpPr>
        <p:spPr>
          <a:xfrm>
            <a:off x="10806545" y="53445"/>
            <a:ext cx="1330035" cy="338439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525B99-FB62-B0A3-6387-7949F9D098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864" y="665019"/>
            <a:ext cx="7562850" cy="5652655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EF038FA2-101A-EBAF-1FF6-BAB3A8BAB1A6}"/>
              </a:ext>
            </a:extLst>
          </p:cNvPr>
          <p:cNvGrpSpPr/>
          <p:nvPr/>
        </p:nvGrpSpPr>
        <p:grpSpPr>
          <a:xfrm>
            <a:off x="86760" y="649183"/>
            <a:ext cx="3618341" cy="2058391"/>
            <a:chOff x="0" y="1105083"/>
            <a:chExt cx="2768169" cy="3321826"/>
          </a:xfrm>
        </p:grpSpPr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4EA92210-AF6E-3912-6810-5331E8A41D7A}"/>
                </a:ext>
              </a:extLst>
            </p:cNvPr>
            <p:cNvSpPr/>
            <p:nvPr/>
          </p:nvSpPr>
          <p:spPr>
            <a:xfrm>
              <a:off x="0" y="1105083"/>
              <a:ext cx="2768169" cy="3321826"/>
            </a:xfrm>
            <a:prstGeom prst="homePlate">
              <a:avLst/>
            </a:prstGeom>
            <a:solidFill>
              <a:srgbClr val="00A03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8" name="Arrow: Pentagon 4">
              <a:extLst>
                <a:ext uri="{FF2B5EF4-FFF2-40B4-BE49-F238E27FC236}">
                  <a16:creationId xmlns:a16="http://schemas.microsoft.com/office/drawing/2014/main" id="{66399390-FFD9-7B31-9AD6-A1CF39DBC6F9}"/>
                </a:ext>
              </a:extLst>
            </p:cNvPr>
            <p:cNvSpPr txBox="1"/>
            <p:nvPr/>
          </p:nvSpPr>
          <p:spPr>
            <a:xfrm>
              <a:off x="0" y="2008734"/>
              <a:ext cx="2076127" cy="143021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>
                  <a:solidFill>
                    <a:schemeClr val="bg1"/>
                  </a:solidFill>
                </a:rPr>
                <a:t>Railway Siding at Dur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605662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2936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91640" y="2790908"/>
            <a:ext cx="19050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6" name="Text Box 4"/>
          <p:cNvSpPr txBox="1">
            <a:spLocks noChangeArrowheads="1"/>
          </p:cNvSpPr>
          <p:nvPr/>
        </p:nvSpPr>
        <p:spPr bwMode="auto">
          <a:xfrm>
            <a:off x="1645096" y="207715"/>
            <a:ext cx="8915400" cy="424732"/>
          </a:xfrm>
          <a:prstGeom prst="rect">
            <a:avLst/>
          </a:prstGeom>
          <a:solidFill>
            <a:srgbClr val="00A039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>
            <a:lvl1pPr algn="ctr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chemeClr val="accent5">
                    <a:lumMod val="50000"/>
                  </a:schemeClr>
                </a:solidFill>
                <a:latin typeface="Bookman Old Style" panose="02050604050505020204" pitchFamily="18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Prominent Businesses of JK Eastern Zone Group</a:t>
            </a:r>
            <a:endParaRPr lang="en-IN" dirty="0">
              <a:solidFill>
                <a:schemeClr val="bg1"/>
              </a:solidFill>
            </a:endParaRPr>
          </a:p>
        </p:txBody>
      </p:sp>
      <p:pic>
        <p:nvPicPr>
          <p:cNvPr id="28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915400" y="1125640"/>
            <a:ext cx="1324004" cy="57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ext Box 13"/>
          <p:cNvSpPr txBox="1">
            <a:spLocks noChangeArrowheads="1"/>
          </p:cNvSpPr>
          <p:nvPr/>
        </p:nvSpPr>
        <p:spPr bwMode="auto">
          <a:xfrm>
            <a:off x="9067800" y="804813"/>
            <a:ext cx="9906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 err="1">
                <a:cs typeface="Arial" charset="0"/>
              </a:rPr>
              <a:t>Tyre</a:t>
            </a:r>
            <a:endParaRPr lang="en-IN" sz="1400" b="1" dirty="0">
              <a:cs typeface="Arial" charset="0"/>
            </a:endParaRPr>
          </a:p>
        </p:txBody>
      </p:sp>
      <p:sp>
        <p:nvSpPr>
          <p:cNvPr id="32" name="Text Box 14"/>
          <p:cNvSpPr txBox="1">
            <a:spLocks noChangeArrowheads="1"/>
          </p:cNvSpPr>
          <p:nvPr/>
        </p:nvSpPr>
        <p:spPr bwMode="auto">
          <a:xfrm>
            <a:off x="5618496" y="639745"/>
            <a:ext cx="9906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>
                <a:cs typeface="Arial" charset="0"/>
              </a:rPr>
              <a:t>Cement</a:t>
            </a:r>
            <a:endParaRPr lang="en-IN" sz="1400" b="1" dirty="0">
              <a:cs typeface="Arial" charset="0"/>
            </a:endParaRPr>
          </a:p>
        </p:txBody>
      </p:sp>
      <p:sp>
        <p:nvSpPr>
          <p:cNvPr id="33" name="Text Box 15"/>
          <p:cNvSpPr txBox="1">
            <a:spLocks noChangeArrowheads="1"/>
          </p:cNvSpPr>
          <p:nvPr/>
        </p:nvSpPr>
        <p:spPr bwMode="auto">
          <a:xfrm>
            <a:off x="1905000" y="2650774"/>
            <a:ext cx="1524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 err="1">
                <a:cs typeface="Arial" charset="0"/>
              </a:rPr>
              <a:t>Agri</a:t>
            </a:r>
            <a:r>
              <a:rPr lang="en-US" sz="1400" b="1" dirty="0">
                <a:cs typeface="Arial" charset="0"/>
              </a:rPr>
              <a:t> Genetics</a:t>
            </a:r>
            <a:endParaRPr lang="en-IN" sz="1400" b="1" dirty="0">
              <a:cs typeface="Arial" charset="0"/>
            </a:endParaRPr>
          </a:p>
        </p:txBody>
      </p:sp>
      <p:sp>
        <p:nvSpPr>
          <p:cNvPr id="34" name="Text Box 18"/>
          <p:cNvSpPr txBox="1">
            <a:spLocks noChangeArrowheads="1"/>
          </p:cNvSpPr>
          <p:nvPr/>
        </p:nvSpPr>
        <p:spPr bwMode="auto">
          <a:xfrm>
            <a:off x="8417376" y="2480647"/>
            <a:ext cx="2475214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/>
              <a:t>V-Belts- Oil Seals &amp; Power Transmission Systems</a:t>
            </a:r>
            <a:endParaRPr lang="en-IN" sz="1400" b="1" dirty="0"/>
          </a:p>
        </p:txBody>
      </p:sp>
      <p:sp>
        <p:nvSpPr>
          <p:cNvPr id="35" name="Text Box 19"/>
          <p:cNvSpPr txBox="1">
            <a:spLocks noChangeArrowheads="1"/>
          </p:cNvSpPr>
          <p:nvPr/>
        </p:nvSpPr>
        <p:spPr bwMode="auto">
          <a:xfrm>
            <a:off x="9184292" y="4627304"/>
            <a:ext cx="9906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>
                <a:cs typeface="Arial" charset="0"/>
              </a:rPr>
              <a:t>Clinical Research</a:t>
            </a:r>
            <a:endParaRPr lang="en-IN" sz="1400" b="1" dirty="0">
              <a:cs typeface="Arial" charset="0"/>
            </a:endParaRPr>
          </a:p>
        </p:txBody>
      </p:sp>
      <p:sp>
        <p:nvSpPr>
          <p:cNvPr id="36" name="Text Box 20"/>
          <p:cNvSpPr txBox="1">
            <a:spLocks noChangeArrowheads="1"/>
          </p:cNvSpPr>
          <p:nvPr/>
        </p:nvSpPr>
        <p:spPr bwMode="auto">
          <a:xfrm>
            <a:off x="6881818" y="4549584"/>
            <a:ext cx="18288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>
                <a:cs typeface="Arial" charset="0"/>
              </a:rPr>
              <a:t>Hospital &amp; Health services</a:t>
            </a:r>
            <a:endParaRPr lang="en-IN" sz="1400" b="1" dirty="0">
              <a:cs typeface="Arial" charset="0"/>
            </a:endParaRPr>
          </a:p>
        </p:txBody>
      </p:sp>
      <p:sp>
        <p:nvSpPr>
          <p:cNvPr id="37" name="Text Box 21"/>
          <p:cNvSpPr txBox="1">
            <a:spLocks noChangeArrowheads="1"/>
          </p:cNvSpPr>
          <p:nvPr/>
        </p:nvSpPr>
        <p:spPr bwMode="auto">
          <a:xfrm>
            <a:off x="4405745" y="2647616"/>
            <a:ext cx="3200400" cy="216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rgbClr val="FF3300"/>
                </a:solidFill>
                <a:cs typeface="Arial" charset="0"/>
              </a:rPr>
              <a:t>USD 4 Billion</a:t>
            </a:r>
          </a:p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rgbClr val="FF3300"/>
                </a:solidFill>
                <a:cs typeface="Arial" charset="0"/>
              </a:rPr>
              <a:t>30 manufacturing plants</a:t>
            </a:r>
          </a:p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rgbClr val="FF3300"/>
                </a:solidFill>
                <a:cs typeface="Arial" charset="0"/>
              </a:rPr>
              <a:t>Present in over 100 countries</a:t>
            </a:r>
          </a:p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rgbClr val="FF3300"/>
                </a:solidFill>
                <a:cs typeface="Arial" charset="0"/>
              </a:rPr>
              <a:t>More than 40,000 employment</a:t>
            </a:r>
            <a:endParaRPr lang="en-IN" b="1" dirty="0">
              <a:solidFill>
                <a:srgbClr val="FF3300"/>
              </a:solidFill>
              <a:cs typeface="Arial" charset="0"/>
            </a:endParaRPr>
          </a:p>
        </p:txBody>
      </p:sp>
      <p:pic>
        <p:nvPicPr>
          <p:cNvPr id="38" name="Picture 25" descr="clinirx_logo_new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999808" y="5356562"/>
            <a:ext cx="12954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Picture 26" descr="dairy2-a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118787" y="4903152"/>
            <a:ext cx="8477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011592" y="921954"/>
            <a:ext cx="1508586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Text Box 14"/>
          <p:cNvSpPr txBox="1">
            <a:spLocks noChangeArrowheads="1"/>
          </p:cNvSpPr>
          <p:nvPr/>
        </p:nvSpPr>
        <p:spPr bwMode="auto">
          <a:xfrm>
            <a:off x="2285788" y="635113"/>
            <a:ext cx="9906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>
                <a:cs typeface="Arial" charset="0"/>
              </a:rPr>
              <a:t>Paper</a:t>
            </a:r>
            <a:endParaRPr lang="en-IN" sz="1400" b="1" dirty="0">
              <a:cs typeface="Arial" charset="0"/>
            </a:endParaRPr>
          </a:p>
        </p:txBody>
      </p:sp>
      <p:sp>
        <p:nvSpPr>
          <p:cNvPr id="42" name="Text Box 16"/>
          <p:cNvSpPr txBox="1">
            <a:spLocks noChangeArrowheads="1"/>
          </p:cNvSpPr>
          <p:nvPr/>
        </p:nvSpPr>
        <p:spPr bwMode="auto">
          <a:xfrm>
            <a:off x="3552480" y="4698854"/>
            <a:ext cx="111461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>
                <a:cs typeface="Arial" charset="0"/>
              </a:rPr>
              <a:t>Education</a:t>
            </a:r>
            <a:endParaRPr lang="en-IN" sz="1400" b="1" dirty="0">
              <a:cs typeface="Arial" charset="0"/>
            </a:endParaRPr>
          </a:p>
        </p:txBody>
      </p:sp>
      <p:pic>
        <p:nvPicPr>
          <p:cNvPr id="43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459962" y="5192410"/>
            <a:ext cx="1403574" cy="972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4" name="Text Box 17"/>
          <p:cNvSpPr txBox="1">
            <a:spLocks noChangeArrowheads="1"/>
          </p:cNvSpPr>
          <p:nvPr/>
        </p:nvSpPr>
        <p:spPr bwMode="auto">
          <a:xfrm>
            <a:off x="1936554" y="4226785"/>
            <a:ext cx="12954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/>
              <a:t>Dairy Products </a:t>
            </a:r>
            <a:endParaRPr lang="en-IN" sz="1400" b="1" dirty="0"/>
          </a:p>
        </p:txBody>
      </p:sp>
      <p:pic>
        <p:nvPicPr>
          <p:cNvPr id="45" name="Picture 4" descr="logo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196054" y="5590530"/>
            <a:ext cx="1524000" cy="471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Text Box 18"/>
          <p:cNvSpPr txBox="1">
            <a:spLocks noChangeArrowheads="1"/>
          </p:cNvSpPr>
          <p:nvPr/>
        </p:nvSpPr>
        <p:spPr bwMode="auto">
          <a:xfrm>
            <a:off x="4913638" y="5091133"/>
            <a:ext cx="22098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IN" sz="1400" b="1" dirty="0"/>
              <a:t>Defence Electronics</a:t>
            </a:r>
          </a:p>
        </p:txBody>
      </p:sp>
      <p:pic>
        <p:nvPicPr>
          <p:cNvPr id="47" name="Picture 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182586" y="1986486"/>
            <a:ext cx="1857390" cy="639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8" name="Picture 3" descr="https://encrypted-tbn2.gstatic.com/images?q=tbn:ANd9GcQuk5e1XiBfdOM1A3CxeJB7hbtEXLyO5xuja_Xb2hFqu3d0PmGq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167570" y="5054910"/>
            <a:ext cx="1428750" cy="1000132"/>
          </a:xfrm>
          <a:prstGeom prst="rect">
            <a:avLst/>
          </a:prstGeom>
          <a:noFill/>
        </p:spPr>
      </p:pic>
      <p:pic>
        <p:nvPicPr>
          <p:cNvPr id="49" name="Picture 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963056" y="3037540"/>
            <a:ext cx="1419227" cy="714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2" name="TextBox 51"/>
          <p:cNvSpPr txBox="1"/>
          <p:nvPr/>
        </p:nvSpPr>
        <p:spPr>
          <a:xfrm>
            <a:off x="1996438" y="6209508"/>
            <a:ext cx="83667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b="1" dirty="0"/>
              <a:t>Revenue is for FY 2023-24 </a:t>
            </a: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81294" y="917651"/>
            <a:ext cx="2173598" cy="48884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2B5477-7FBF-6F44-4348-12B2966F1FA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068390" y="1792488"/>
            <a:ext cx="1363980" cy="41148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E9C53D5-ADE1-C2E9-E5B9-7C0E083C79E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068385" y="3380142"/>
            <a:ext cx="1363980" cy="44196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8BF5E90-5F6B-8958-D15B-8A190A340A8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850106" y="5650006"/>
            <a:ext cx="1348740" cy="4419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3051120-2242-EFC0-7331-FC5C1D3E824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920998" y="1727940"/>
            <a:ext cx="1363980" cy="41148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3156904-AD20-BB41-A34D-94159B4919E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981068" y="3775937"/>
            <a:ext cx="1394460" cy="6400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08A1C49-7166-C6F6-F38A-E3AC714C3A7D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435526" y="1478505"/>
            <a:ext cx="1363980" cy="480060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Ongoing CAPEX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2E9E9C-6708-9A20-C40D-90D60791864B}"/>
              </a:ext>
            </a:extLst>
          </p:cNvPr>
          <p:cNvSpPr/>
          <p:nvPr/>
        </p:nvSpPr>
        <p:spPr>
          <a:xfrm>
            <a:off x="10806545" y="53445"/>
            <a:ext cx="1330035" cy="338439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F038FA2-101A-EBAF-1FF6-BAB3A8BAB1A6}"/>
              </a:ext>
            </a:extLst>
          </p:cNvPr>
          <p:cNvGrpSpPr/>
          <p:nvPr/>
        </p:nvGrpSpPr>
        <p:grpSpPr>
          <a:xfrm>
            <a:off x="86760" y="649183"/>
            <a:ext cx="3618341" cy="2058391"/>
            <a:chOff x="0" y="1105083"/>
            <a:chExt cx="2768169" cy="3321826"/>
          </a:xfrm>
        </p:grpSpPr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4EA92210-AF6E-3912-6810-5331E8A41D7A}"/>
                </a:ext>
              </a:extLst>
            </p:cNvPr>
            <p:cNvSpPr/>
            <p:nvPr/>
          </p:nvSpPr>
          <p:spPr>
            <a:xfrm>
              <a:off x="0" y="1105083"/>
              <a:ext cx="2768169" cy="3321826"/>
            </a:xfrm>
            <a:prstGeom prst="homePlate">
              <a:avLst/>
            </a:prstGeom>
            <a:solidFill>
              <a:srgbClr val="00A03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8" name="Arrow: Pentagon 4">
              <a:extLst>
                <a:ext uri="{FF2B5EF4-FFF2-40B4-BE49-F238E27FC236}">
                  <a16:creationId xmlns:a16="http://schemas.microsoft.com/office/drawing/2014/main" id="{66399390-FFD9-7B31-9AD6-A1CF39DBC6F9}"/>
                </a:ext>
              </a:extLst>
            </p:cNvPr>
            <p:cNvSpPr txBox="1"/>
            <p:nvPr/>
          </p:nvSpPr>
          <p:spPr>
            <a:xfrm>
              <a:off x="0" y="2008734"/>
              <a:ext cx="2076127" cy="143021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>
                  <a:solidFill>
                    <a:schemeClr val="bg1"/>
                  </a:solidFill>
                </a:rPr>
                <a:t>Surat Grinding Unit - Expansion</a:t>
              </a: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C5F69C14-82A8-8BF3-3C47-74195E090D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5106" y="581352"/>
            <a:ext cx="8078602" cy="5878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09557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-36763"/>
            <a:ext cx="12192000" cy="491353"/>
          </a:xfrm>
          <a:solidFill>
            <a:srgbClr val="00A039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50000"/>
              </a:lnSpc>
            </a:pPr>
            <a:b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</a:br>
            <a:r>
              <a:rPr lang="en-US" dirty="0">
                <a:solidFill>
                  <a:schemeClr val="bg1"/>
                </a:solidFill>
                <a:latin typeface="Bookman Old Style" panose="02050604050505020204" pitchFamily="18" charset="0"/>
              </a:rPr>
              <a:t>Ongoing CAPEX</a:t>
            </a:r>
            <a:endParaRPr lang="en-IN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32E9E9C-6708-9A20-C40D-90D60791864B}"/>
              </a:ext>
            </a:extLst>
          </p:cNvPr>
          <p:cNvSpPr/>
          <p:nvPr/>
        </p:nvSpPr>
        <p:spPr>
          <a:xfrm>
            <a:off x="10806545" y="53445"/>
            <a:ext cx="1330035" cy="338439"/>
          </a:xfrm>
          <a:prstGeom prst="round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₹ in Crore</a:t>
            </a:r>
            <a:endParaRPr lang="en-IN" sz="1600" b="1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F038FA2-101A-EBAF-1FF6-BAB3A8BAB1A6}"/>
              </a:ext>
            </a:extLst>
          </p:cNvPr>
          <p:cNvGrpSpPr/>
          <p:nvPr/>
        </p:nvGrpSpPr>
        <p:grpSpPr>
          <a:xfrm>
            <a:off x="86760" y="649183"/>
            <a:ext cx="3618341" cy="2058391"/>
            <a:chOff x="0" y="1105083"/>
            <a:chExt cx="2768169" cy="3321826"/>
          </a:xfrm>
        </p:grpSpPr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4EA92210-AF6E-3912-6810-5331E8A41D7A}"/>
                </a:ext>
              </a:extLst>
            </p:cNvPr>
            <p:cNvSpPr/>
            <p:nvPr/>
          </p:nvSpPr>
          <p:spPr>
            <a:xfrm>
              <a:off x="0" y="1105083"/>
              <a:ext cx="2768169" cy="3321826"/>
            </a:xfrm>
            <a:prstGeom prst="homePlate">
              <a:avLst/>
            </a:prstGeom>
            <a:solidFill>
              <a:srgbClr val="00A03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8" name="Arrow: Pentagon 4">
              <a:extLst>
                <a:ext uri="{FF2B5EF4-FFF2-40B4-BE49-F238E27FC236}">
                  <a16:creationId xmlns:a16="http://schemas.microsoft.com/office/drawing/2014/main" id="{66399390-FFD9-7B31-9AD6-A1CF39DBC6F9}"/>
                </a:ext>
              </a:extLst>
            </p:cNvPr>
            <p:cNvSpPr txBox="1"/>
            <p:nvPr/>
          </p:nvSpPr>
          <p:spPr>
            <a:xfrm>
              <a:off x="0" y="2008734"/>
              <a:ext cx="2076127" cy="143021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dirty="0">
                  <a:solidFill>
                    <a:schemeClr val="bg1"/>
                  </a:solidFill>
                </a:rPr>
                <a:t>Durg - Expansion</a:t>
              </a: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FB0FBE4C-4EB1-A58A-6038-4A25822D31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9393" y="649183"/>
            <a:ext cx="7868431" cy="5822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94236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4F2479F-542A-4347-BD71-1E661D833F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4F2479F-542A-4347-BD71-1E661D833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A7C51D4B-9B2D-4F8D-82FA-42C3AA9F59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28" imgH="328" progId="TCLayout.ActiveDocument.1">
                  <p:embed/>
                </p:oleObj>
              </mc:Choice>
              <mc:Fallback>
                <p:oleObj name="think-cell Slide" r:id="rId7" imgW="328" imgH="328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A7C51D4B-9B2D-4F8D-82FA-42C3AA9F5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60462FCB-A2BD-464A-893C-99232B839FC0}"/>
              </a:ext>
            </a:extLst>
          </p:cNvPr>
          <p:cNvGrpSpPr/>
          <p:nvPr/>
        </p:nvGrpSpPr>
        <p:grpSpPr>
          <a:xfrm>
            <a:off x="153845" y="401052"/>
            <a:ext cx="3638666" cy="4258521"/>
            <a:chOff x="-26468" y="426979"/>
            <a:chExt cx="2794637" cy="3466837"/>
          </a:xfrm>
        </p:grpSpPr>
        <p:sp>
          <p:nvSpPr>
            <p:cNvPr id="10" name="Arrow: Pentagon 9">
              <a:extLst>
                <a:ext uri="{FF2B5EF4-FFF2-40B4-BE49-F238E27FC236}">
                  <a16:creationId xmlns:a16="http://schemas.microsoft.com/office/drawing/2014/main" id="{4FD566C6-BCB9-4F84-8087-1F7EE6C42F4D}"/>
                </a:ext>
              </a:extLst>
            </p:cNvPr>
            <p:cNvSpPr/>
            <p:nvPr/>
          </p:nvSpPr>
          <p:spPr>
            <a:xfrm>
              <a:off x="0" y="571990"/>
              <a:ext cx="2768169" cy="3321826"/>
            </a:xfrm>
            <a:prstGeom prst="homePlate">
              <a:avLst/>
            </a:prstGeom>
            <a:solidFill>
              <a:srgbClr val="00A03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1" name="Arrow: Pentagon 4">
              <a:extLst>
                <a:ext uri="{FF2B5EF4-FFF2-40B4-BE49-F238E27FC236}">
                  <a16:creationId xmlns:a16="http://schemas.microsoft.com/office/drawing/2014/main" id="{5BE2A014-244E-4F89-B8C4-ABCD219729EA}"/>
                </a:ext>
              </a:extLst>
            </p:cNvPr>
            <p:cNvSpPr txBox="1"/>
            <p:nvPr/>
          </p:nvSpPr>
          <p:spPr>
            <a:xfrm>
              <a:off x="-26468" y="426979"/>
              <a:ext cx="2076127" cy="33218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u="sng" dirty="0">
                  <a:solidFill>
                    <a:schemeClr val="bg1"/>
                  </a:solidFill>
                </a:rPr>
                <a:t>JKLC</a:t>
              </a:r>
            </a:p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2400" b="1" u="sng" dirty="0">
                <a:solidFill>
                  <a:schemeClr val="bg1"/>
                </a:solidFill>
              </a:endParaRPr>
            </a:p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i="0" u="sng" kern="1200" dirty="0">
                  <a:solidFill>
                    <a:schemeClr val="bg1"/>
                  </a:solidFill>
                </a:rPr>
                <a:t>Shareholding Pattern </a:t>
              </a:r>
            </a:p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2400" b="1" i="0" u="sng" kern="1200" dirty="0">
                <a:solidFill>
                  <a:schemeClr val="bg1"/>
                </a:solidFill>
              </a:endParaRPr>
            </a:p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i="0" kern="1200" dirty="0">
                  <a:solidFill>
                    <a:schemeClr val="bg1"/>
                  </a:solidFill>
                </a:rPr>
                <a:t>As on </a:t>
              </a:r>
            </a:p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i="0" kern="1200" dirty="0">
                  <a:solidFill>
                    <a:schemeClr val="bg1"/>
                  </a:solidFill>
                </a:rPr>
                <a:t>30.09.2024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FE73D76D-14E1-4F7D-649D-B84BC238066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20311" y="612956"/>
            <a:ext cx="8030500" cy="5637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25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4F2479F-542A-4347-BD71-1E661D833F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4F2479F-542A-4347-BD71-1E661D833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A7C51D4B-9B2D-4F8D-82FA-42C3AA9F59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28" imgH="328" progId="TCLayout.ActiveDocument.1">
                  <p:embed/>
                </p:oleObj>
              </mc:Choice>
              <mc:Fallback>
                <p:oleObj name="think-cell Slide" r:id="rId7" imgW="328" imgH="328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A7C51D4B-9B2D-4F8D-82FA-42C3AA9F5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60462FCB-A2BD-464A-893C-99232B839FC0}"/>
              </a:ext>
            </a:extLst>
          </p:cNvPr>
          <p:cNvGrpSpPr/>
          <p:nvPr/>
        </p:nvGrpSpPr>
        <p:grpSpPr>
          <a:xfrm>
            <a:off x="-148566" y="627300"/>
            <a:ext cx="3982629" cy="4144559"/>
            <a:chOff x="-259275" y="271614"/>
            <a:chExt cx="3064407" cy="3374067"/>
          </a:xfrm>
        </p:grpSpPr>
        <p:sp>
          <p:nvSpPr>
            <p:cNvPr id="10" name="Arrow: Pentagon 9">
              <a:extLst>
                <a:ext uri="{FF2B5EF4-FFF2-40B4-BE49-F238E27FC236}">
                  <a16:creationId xmlns:a16="http://schemas.microsoft.com/office/drawing/2014/main" id="{4FD566C6-BCB9-4F84-8087-1F7EE6C42F4D}"/>
                </a:ext>
              </a:extLst>
            </p:cNvPr>
            <p:cNvSpPr/>
            <p:nvPr/>
          </p:nvSpPr>
          <p:spPr>
            <a:xfrm>
              <a:off x="36963" y="323855"/>
              <a:ext cx="2768169" cy="3321826"/>
            </a:xfrm>
            <a:prstGeom prst="homePlate">
              <a:avLst/>
            </a:prstGeom>
            <a:solidFill>
              <a:srgbClr val="00A03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1" name="Arrow: Pentagon 4">
              <a:extLst>
                <a:ext uri="{FF2B5EF4-FFF2-40B4-BE49-F238E27FC236}">
                  <a16:creationId xmlns:a16="http://schemas.microsoft.com/office/drawing/2014/main" id="{5BE2A014-244E-4F89-B8C4-ABCD219729EA}"/>
                </a:ext>
              </a:extLst>
            </p:cNvPr>
            <p:cNvSpPr txBox="1"/>
            <p:nvPr/>
          </p:nvSpPr>
          <p:spPr>
            <a:xfrm>
              <a:off x="-259275" y="271614"/>
              <a:ext cx="2336147" cy="33218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u="sng" dirty="0">
                  <a:solidFill>
                    <a:schemeClr val="bg1"/>
                  </a:solidFill>
                </a:rPr>
                <a:t>UCWL</a:t>
              </a:r>
            </a:p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2400" b="1" u="sng" dirty="0">
                <a:solidFill>
                  <a:schemeClr val="bg1"/>
                </a:solidFill>
              </a:endParaRPr>
            </a:p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i="0" u="sng" kern="1200" dirty="0">
                  <a:solidFill>
                    <a:schemeClr val="bg1"/>
                  </a:solidFill>
                </a:rPr>
                <a:t>Shareholding Pattern </a:t>
              </a:r>
            </a:p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2400" b="1" i="0" u="sng" kern="1200" dirty="0">
                <a:solidFill>
                  <a:schemeClr val="bg1"/>
                </a:solidFill>
              </a:endParaRPr>
            </a:p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i="0" kern="1200" dirty="0">
                  <a:solidFill>
                    <a:schemeClr val="bg1"/>
                  </a:solidFill>
                </a:rPr>
                <a:t>As on </a:t>
              </a:r>
            </a:p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i="0" kern="1200" dirty="0">
                  <a:solidFill>
                    <a:schemeClr val="bg1"/>
                  </a:solidFill>
                </a:rPr>
                <a:t>30.09.2024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4A39EA28-CBB7-C3C3-B101-BD37028FAD2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17127" y="573294"/>
            <a:ext cx="7840981" cy="5703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970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4F2479F-542A-4347-BD71-1E661D833F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4F2479F-542A-4347-BD71-1E661D833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A7C51D4B-9B2D-4F8D-82FA-42C3AA9F59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28" imgH="328" progId="TCLayout.ActiveDocument.1">
                  <p:embed/>
                </p:oleObj>
              </mc:Choice>
              <mc:Fallback>
                <p:oleObj name="think-cell Slide" r:id="rId7" imgW="328" imgH="328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A7C51D4B-9B2D-4F8D-82FA-42C3AA9F5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60462FCB-A2BD-464A-893C-99232B839FC0}"/>
              </a:ext>
            </a:extLst>
          </p:cNvPr>
          <p:cNvGrpSpPr/>
          <p:nvPr/>
        </p:nvGrpSpPr>
        <p:grpSpPr>
          <a:xfrm>
            <a:off x="169886" y="802099"/>
            <a:ext cx="4594619" cy="4467069"/>
            <a:chOff x="-14147" y="100485"/>
            <a:chExt cx="2782316" cy="3636616"/>
          </a:xfrm>
        </p:grpSpPr>
        <p:sp>
          <p:nvSpPr>
            <p:cNvPr id="10" name="Arrow: Pentagon 9">
              <a:extLst>
                <a:ext uri="{FF2B5EF4-FFF2-40B4-BE49-F238E27FC236}">
                  <a16:creationId xmlns:a16="http://schemas.microsoft.com/office/drawing/2014/main" id="{4FD566C6-BCB9-4F84-8087-1F7EE6C42F4D}"/>
                </a:ext>
              </a:extLst>
            </p:cNvPr>
            <p:cNvSpPr/>
            <p:nvPr/>
          </p:nvSpPr>
          <p:spPr>
            <a:xfrm>
              <a:off x="0" y="415275"/>
              <a:ext cx="2768169" cy="3321826"/>
            </a:xfrm>
            <a:prstGeom prst="homePlate">
              <a:avLst/>
            </a:prstGeom>
            <a:solidFill>
              <a:srgbClr val="00A039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/>
            <a:p>
              <a:endParaRPr lang="en-IN">
                <a:solidFill>
                  <a:schemeClr val="bg1"/>
                </a:solidFill>
              </a:endParaRPr>
            </a:p>
          </p:txBody>
        </p:sp>
        <p:sp>
          <p:nvSpPr>
            <p:cNvPr id="11" name="Arrow: Pentagon 4">
              <a:extLst>
                <a:ext uri="{FF2B5EF4-FFF2-40B4-BE49-F238E27FC236}">
                  <a16:creationId xmlns:a16="http://schemas.microsoft.com/office/drawing/2014/main" id="{5BE2A014-244E-4F89-B8C4-ABCD219729EA}"/>
                </a:ext>
              </a:extLst>
            </p:cNvPr>
            <p:cNvSpPr txBox="1"/>
            <p:nvPr/>
          </p:nvSpPr>
          <p:spPr>
            <a:xfrm>
              <a:off x="-14147" y="100485"/>
              <a:ext cx="2076127" cy="33218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u="sng" dirty="0">
                  <a:solidFill>
                    <a:schemeClr val="bg1"/>
                  </a:solidFill>
                </a:rPr>
                <a:t>JKLC</a:t>
              </a:r>
            </a:p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2400" b="1" u="sng" dirty="0">
                <a:solidFill>
                  <a:schemeClr val="bg1"/>
                </a:solidFill>
              </a:endParaRPr>
            </a:p>
            <a:p>
              <a:pPr marL="0" lvl="0" indent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1" i="0" u="sng" kern="1200" dirty="0">
                  <a:solidFill>
                    <a:schemeClr val="bg1"/>
                  </a:solidFill>
                </a:rPr>
                <a:t>Shareholder’s Friendly Initiatives</a:t>
              </a:r>
              <a:endParaRPr lang="en-US" sz="2400" b="1" i="0" kern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Rectangle 2">
            <a:extLst>
              <a:ext uri="{FF2B5EF4-FFF2-40B4-BE49-F238E27FC236}">
                <a16:creationId xmlns:a16="http://schemas.microsoft.com/office/drawing/2014/main" id="{56A97A19-7DC4-47B7-92C1-6BD7B4D7594F}"/>
              </a:ext>
            </a:extLst>
          </p:cNvPr>
          <p:cNvSpPr txBox="1">
            <a:spLocks noChangeArrowheads="1"/>
          </p:cNvSpPr>
          <p:nvPr/>
        </p:nvSpPr>
        <p:spPr>
          <a:xfrm>
            <a:off x="3284624" y="164433"/>
            <a:ext cx="6934201" cy="627246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53975" lvl="2" indent="0" algn="ctr">
              <a:lnSpc>
                <a:spcPts val="1300"/>
              </a:lnSpc>
              <a:spcBef>
                <a:spcPts val="500"/>
              </a:spcBef>
              <a:buFont typeface="Trebuchet MS" panose="020B0603020202020204" pitchFamily="34" charset="0"/>
              <a:buNone/>
            </a:pPr>
            <a:r>
              <a:rPr lang="en-US" sz="2000" b="1" dirty="0">
                <a:solidFill>
                  <a:srgbClr val="AA062D"/>
                </a:solidFill>
              </a:rPr>
              <a:t>	</a:t>
            </a:r>
            <a:r>
              <a:rPr lang="en-US" sz="2000" b="1" u="sng" dirty="0">
                <a:solidFill>
                  <a:srgbClr val="00A039"/>
                </a:solidFill>
              </a:rPr>
              <a:t>Consistent Dividend Payout Ratio</a:t>
            </a:r>
          </a:p>
          <a:p>
            <a:pPr marL="53975" lvl="2" indent="0" algn="ctr">
              <a:lnSpc>
                <a:spcPts val="1300"/>
              </a:lnSpc>
              <a:spcBef>
                <a:spcPts val="500"/>
              </a:spcBef>
              <a:buFont typeface="Trebuchet MS" panose="020B0603020202020204" pitchFamily="34" charset="0"/>
              <a:buNone/>
            </a:pPr>
            <a:endParaRPr lang="en-US" sz="2000" b="1" u="sng" dirty="0">
              <a:solidFill>
                <a:srgbClr val="AA062D"/>
              </a:solidFill>
            </a:endParaRPr>
          </a:p>
          <a:p>
            <a:pPr lvl="2" algn="ctr">
              <a:lnSpc>
                <a:spcPts val="1300"/>
              </a:lnSpc>
              <a:spcBef>
                <a:spcPts val="500"/>
              </a:spcBef>
              <a:buFont typeface="Trebuchet MS" panose="020B0603020202020204" pitchFamily="34" charset="0"/>
              <a:buBlip>
                <a:blip r:embed="rId9"/>
              </a:buBlip>
            </a:pPr>
            <a:r>
              <a:rPr lang="en-US" sz="2000" b="1" dirty="0"/>
              <a:t>18% for FY 2024.</a:t>
            </a:r>
          </a:p>
          <a:p>
            <a:pPr marL="2598738" lvl="2" indent="-2246313" algn="ctr">
              <a:lnSpc>
                <a:spcPts val="1300"/>
              </a:lnSpc>
              <a:spcBef>
                <a:spcPts val="500"/>
              </a:spcBef>
              <a:buFont typeface="Trebuchet MS" panose="020B0603020202020204" pitchFamily="34" charset="0"/>
              <a:buBlip>
                <a:blip r:embed="rId9"/>
              </a:buBlip>
            </a:pPr>
            <a:endParaRPr lang="en-US" sz="2000" b="1" dirty="0"/>
          </a:p>
          <a:p>
            <a:pPr lvl="2" algn="ctr">
              <a:lnSpc>
                <a:spcPts val="1300"/>
              </a:lnSpc>
              <a:spcBef>
                <a:spcPts val="500"/>
              </a:spcBef>
              <a:buBlip>
                <a:blip r:embed="rId9"/>
              </a:buBlip>
            </a:pPr>
            <a:r>
              <a:rPr lang="en-US" sz="2000" b="1" dirty="0"/>
              <a:t>13% for FY 2023.</a:t>
            </a:r>
          </a:p>
          <a:p>
            <a:pPr marL="2598738" lvl="2" indent="-2246313" algn="ctr">
              <a:lnSpc>
                <a:spcPts val="1300"/>
              </a:lnSpc>
              <a:spcBef>
                <a:spcPts val="500"/>
              </a:spcBef>
              <a:buFont typeface="Trebuchet MS" panose="020B0603020202020204" pitchFamily="34" charset="0"/>
              <a:buBlip>
                <a:blip r:embed="rId9"/>
              </a:buBlip>
            </a:pPr>
            <a:endParaRPr lang="en-US" sz="2000" b="1" dirty="0"/>
          </a:p>
          <a:p>
            <a:pPr lvl="2" algn="ctr">
              <a:lnSpc>
                <a:spcPts val="1300"/>
              </a:lnSpc>
              <a:spcBef>
                <a:spcPts val="500"/>
              </a:spcBef>
              <a:buFont typeface="Trebuchet MS" panose="020B0603020202020204" pitchFamily="34" charset="0"/>
              <a:buBlip>
                <a:blip r:embed="rId9"/>
              </a:buBlip>
            </a:pPr>
            <a:r>
              <a:rPr lang="en-US" sz="2000" b="1" dirty="0"/>
              <a:t>14% for FY 2022.</a:t>
            </a:r>
          </a:p>
          <a:p>
            <a:pPr marL="719138" lvl="2" indent="0" algn="ctr" defTabSz="674688">
              <a:lnSpc>
                <a:spcPts val="1300"/>
              </a:lnSpc>
              <a:spcBef>
                <a:spcPts val="500"/>
              </a:spcBef>
              <a:buFont typeface="Trebuchet MS" panose="020B0603020202020204" pitchFamily="34" charset="0"/>
              <a:buNone/>
            </a:pPr>
            <a:endParaRPr lang="en-US" sz="2000" b="1" dirty="0"/>
          </a:p>
          <a:p>
            <a:pPr lvl="2" algn="ctr">
              <a:lnSpc>
                <a:spcPts val="1300"/>
              </a:lnSpc>
              <a:spcBef>
                <a:spcPts val="500"/>
              </a:spcBef>
              <a:buFont typeface="Trebuchet MS" panose="020B0603020202020204" pitchFamily="34" charset="0"/>
              <a:buBlip>
                <a:blip r:embed="rId9"/>
              </a:buBlip>
            </a:pPr>
            <a:r>
              <a:rPr lang="en-US" sz="2000" b="1" dirty="0"/>
              <a:t>12% for FY 2021.</a:t>
            </a:r>
          </a:p>
          <a:p>
            <a:pPr marL="914400" lvl="2" indent="0" algn="ctr">
              <a:lnSpc>
                <a:spcPts val="1300"/>
              </a:lnSpc>
              <a:spcBef>
                <a:spcPts val="500"/>
              </a:spcBef>
              <a:buFont typeface="Trebuchet MS" panose="020B0603020202020204" pitchFamily="34" charset="0"/>
              <a:buNone/>
            </a:pPr>
            <a:endParaRPr lang="en-US" sz="2000" b="1" dirty="0"/>
          </a:p>
          <a:p>
            <a:pPr marL="2692400" lvl="5" indent="-266700" defTabSz="920750">
              <a:lnSpc>
                <a:spcPts val="1300"/>
              </a:lnSpc>
              <a:spcBef>
                <a:spcPts val="500"/>
              </a:spcBef>
              <a:buFont typeface="Arial" panose="020B0604020202020204" pitchFamily="34" charset="0"/>
              <a:buBlip>
                <a:blip r:embed="rId9"/>
              </a:buBlip>
            </a:pPr>
            <a:r>
              <a:rPr lang="en-US" sz="2000" b="1" dirty="0"/>
              <a:t>15% for FY 2020.</a:t>
            </a:r>
          </a:p>
          <a:p>
            <a:pPr marL="914400" lvl="2" indent="0" algn="ctr">
              <a:lnSpc>
                <a:spcPts val="1300"/>
              </a:lnSpc>
              <a:spcBef>
                <a:spcPts val="500"/>
              </a:spcBef>
              <a:buFont typeface="Trebuchet MS" panose="020B0603020202020204" pitchFamily="34" charset="0"/>
              <a:buNone/>
            </a:pPr>
            <a:endParaRPr lang="en-US" sz="2000" b="1" dirty="0"/>
          </a:p>
          <a:p>
            <a:pPr lvl="2" algn="ctr">
              <a:lnSpc>
                <a:spcPts val="1300"/>
              </a:lnSpc>
              <a:spcBef>
                <a:spcPts val="500"/>
              </a:spcBef>
              <a:buFont typeface="Trebuchet MS" panose="020B0603020202020204" pitchFamily="34" charset="0"/>
              <a:buBlip>
                <a:blip r:embed="rId9"/>
              </a:buBlip>
            </a:pPr>
            <a:r>
              <a:rPr lang="en-US" sz="2000" b="1" dirty="0"/>
              <a:t> 13% for FY 2019.</a:t>
            </a:r>
          </a:p>
          <a:p>
            <a:pPr marL="2328863" lvl="5" indent="-42863">
              <a:lnSpc>
                <a:spcPts val="1300"/>
              </a:lnSpc>
              <a:spcBef>
                <a:spcPts val="500"/>
              </a:spcBef>
              <a:buFont typeface="Arial" panose="020B0604020202020204" pitchFamily="34" charset="0"/>
              <a:buNone/>
            </a:pPr>
            <a:endParaRPr lang="en-US" sz="2000" b="1" dirty="0"/>
          </a:p>
          <a:p>
            <a:pPr marL="2692400" lvl="5" indent="-266700">
              <a:lnSpc>
                <a:spcPts val="1300"/>
              </a:lnSpc>
              <a:spcBef>
                <a:spcPts val="500"/>
              </a:spcBef>
              <a:buFont typeface="Arial" panose="020B0604020202020204" pitchFamily="34" charset="0"/>
              <a:buBlip>
                <a:blip r:embed="rId9"/>
              </a:buBlip>
            </a:pPr>
            <a:r>
              <a:rPr lang="en-US" sz="2000" b="1" dirty="0"/>
              <a:t>13% for FY 2018.</a:t>
            </a:r>
          </a:p>
          <a:p>
            <a:pPr marL="914400" lvl="2" indent="0" algn="ctr">
              <a:lnSpc>
                <a:spcPts val="1300"/>
              </a:lnSpc>
              <a:spcBef>
                <a:spcPts val="500"/>
              </a:spcBef>
              <a:buFont typeface="Trebuchet MS" panose="020B0603020202020204" pitchFamily="34" charset="0"/>
              <a:buNone/>
            </a:pPr>
            <a:endParaRPr lang="en-US" sz="2000" b="1" dirty="0"/>
          </a:p>
          <a:p>
            <a:pPr marL="2692400" lvl="5" indent="-266700" defTabSz="747713">
              <a:lnSpc>
                <a:spcPts val="1300"/>
              </a:lnSpc>
              <a:spcBef>
                <a:spcPts val="500"/>
              </a:spcBef>
              <a:buFont typeface="Arial" panose="020B0604020202020204" pitchFamily="34" charset="0"/>
              <a:buBlip>
                <a:blip r:embed="rId9"/>
              </a:buBlip>
            </a:pPr>
            <a:r>
              <a:rPr lang="en-US" sz="2000" b="1" dirty="0"/>
              <a:t>13% for FY 2017.</a:t>
            </a:r>
          </a:p>
          <a:p>
            <a:pPr marL="914400" lvl="2" indent="0" algn="ctr">
              <a:lnSpc>
                <a:spcPts val="1300"/>
              </a:lnSpc>
              <a:spcBef>
                <a:spcPts val="500"/>
              </a:spcBef>
              <a:buFont typeface="Trebuchet MS" panose="020B0603020202020204" pitchFamily="34" charset="0"/>
              <a:buNone/>
            </a:pPr>
            <a:endParaRPr lang="en-US" sz="2000" b="1" dirty="0"/>
          </a:p>
          <a:p>
            <a:pPr lvl="2" algn="ctr">
              <a:lnSpc>
                <a:spcPts val="1300"/>
              </a:lnSpc>
              <a:spcBef>
                <a:spcPts val="500"/>
              </a:spcBef>
              <a:buFont typeface="Trebuchet MS" panose="020B0603020202020204" pitchFamily="34" charset="0"/>
              <a:buBlip>
                <a:blip r:embed="rId9"/>
              </a:buBlip>
            </a:pPr>
            <a:r>
              <a:rPr lang="en-US" sz="2000" b="1" dirty="0"/>
              <a:t>56% for FY 2016.</a:t>
            </a:r>
          </a:p>
          <a:p>
            <a:pPr marL="2286000" lvl="5" indent="0">
              <a:lnSpc>
                <a:spcPts val="1300"/>
              </a:lnSpc>
              <a:spcBef>
                <a:spcPts val="500"/>
              </a:spcBef>
              <a:buFont typeface="Arial" panose="020B0604020202020204" pitchFamily="34" charset="0"/>
              <a:buNone/>
            </a:pPr>
            <a:endParaRPr lang="en-US" sz="2000" b="1" dirty="0"/>
          </a:p>
          <a:p>
            <a:pPr marL="2603500" lvl="5" indent="-177800">
              <a:lnSpc>
                <a:spcPts val="1300"/>
              </a:lnSpc>
              <a:spcBef>
                <a:spcPts val="500"/>
              </a:spcBef>
              <a:buFont typeface="Arial" panose="020B0604020202020204" pitchFamily="34" charset="0"/>
              <a:buBlip>
                <a:blip r:embed="rId9"/>
              </a:buBlip>
            </a:pPr>
            <a:r>
              <a:rPr lang="en-US" sz="2000" b="1" dirty="0"/>
              <a:t>30% for FY 2015.</a:t>
            </a:r>
          </a:p>
          <a:p>
            <a:pPr lvl="2" algn="ctr">
              <a:lnSpc>
                <a:spcPts val="1300"/>
              </a:lnSpc>
              <a:spcBef>
                <a:spcPts val="500"/>
              </a:spcBef>
              <a:buFont typeface="Trebuchet MS" panose="020B0603020202020204" pitchFamily="34" charset="0"/>
              <a:buNone/>
            </a:pPr>
            <a:endParaRPr lang="en-US" sz="2000" b="1" dirty="0"/>
          </a:p>
          <a:p>
            <a:pPr marL="2603500" lvl="2" indent="-177800">
              <a:lnSpc>
                <a:spcPts val="1300"/>
              </a:lnSpc>
              <a:spcBef>
                <a:spcPts val="500"/>
              </a:spcBef>
              <a:buFont typeface="Trebuchet MS" panose="020B0603020202020204" pitchFamily="34" charset="0"/>
              <a:buBlip>
                <a:blip r:embed="rId9"/>
              </a:buBlip>
            </a:pPr>
            <a:r>
              <a:rPr lang="en-US" sz="2000" b="1" u="sng" dirty="0">
                <a:solidFill>
                  <a:srgbClr val="00A039"/>
                </a:solidFill>
              </a:rPr>
              <a:t>20% Average for last 10 Years</a:t>
            </a:r>
          </a:p>
          <a:p>
            <a:pPr lvl="1" algn="just">
              <a:lnSpc>
                <a:spcPts val="1300"/>
              </a:lnSpc>
              <a:spcBef>
                <a:spcPts val="500"/>
              </a:spcBef>
              <a:buFont typeface="Arial" panose="020B0604020202020204" pitchFamily="34" charset="0"/>
              <a:buNone/>
            </a:pPr>
            <a:endParaRPr lang="en-US" sz="2000" b="1" u="sng" dirty="0"/>
          </a:p>
          <a:p>
            <a:pPr lvl="1" algn="just">
              <a:lnSpc>
                <a:spcPts val="1300"/>
              </a:lnSpc>
              <a:spcBef>
                <a:spcPts val="500"/>
              </a:spcBef>
              <a:buFont typeface="Arial" panose="020B0604020202020204" pitchFamily="34" charset="0"/>
              <a:buNone/>
            </a:pPr>
            <a:endParaRPr lang="en-US" sz="2000" b="1" dirty="0"/>
          </a:p>
          <a:p>
            <a:pPr lvl="1" algn="just">
              <a:lnSpc>
                <a:spcPts val="1300"/>
              </a:lnSpc>
              <a:spcBef>
                <a:spcPts val="500"/>
              </a:spcBef>
              <a:buFont typeface="Arial" panose="020B0604020202020204" pitchFamily="34" charset="0"/>
              <a:buNone/>
            </a:pPr>
            <a:endParaRPr lang="en-US" sz="2000" b="1" dirty="0"/>
          </a:p>
          <a:p>
            <a:pPr lvl="1" algn="just">
              <a:lnSpc>
                <a:spcPts val="1300"/>
              </a:lnSpc>
              <a:spcBef>
                <a:spcPts val="500"/>
              </a:spcBef>
              <a:buFont typeface="Arial" panose="020B0604020202020204" pitchFamily="34" charset="0"/>
              <a:buBlip>
                <a:blip r:embed="rId9"/>
              </a:buBlip>
            </a:pPr>
            <a:endParaRPr lang="en-US" sz="2000" b="1" dirty="0"/>
          </a:p>
          <a:p>
            <a:pPr lvl="1" algn="just">
              <a:lnSpc>
                <a:spcPts val="1300"/>
              </a:lnSpc>
              <a:spcBef>
                <a:spcPts val="500"/>
              </a:spcBef>
              <a:buFont typeface="Arial" panose="020B0604020202020204" pitchFamily="34" charset="0"/>
              <a:buBlip>
                <a:blip r:embed="rId9"/>
              </a:buBlip>
            </a:pPr>
            <a:endParaRPr lang="en-US" sz="2000" b="1" dirty="0"/>
          </a:p>
          <a:p>
            <a:pPr lvl="1" algn="just">
              <a:lnSpc>
                <a:spcPts val="1300"/>
              </a:lnSpc>
              <a:spcBef>
                <a:spcPts val="500"/>
              </a:spcBef>
              <a:buFont typeface="Arial" panose="020B0604020202020204" pitchFamily="34" charset="0"/>
              <a:buBlip>
                <a:blip r:embed="rId9"/>
              </a:buBlip>
            </a:pPr>
            <a:endParaRPr lang="en-US" sz="2000" b="1" dirty="0"/>
          </a:p>
          <a:p>
            <a:pPr lvl="1" algn="just">
              <a:lnSpc>
                <a:spcPts val="1300"/>
              </a:lnSpc>
              <a:spcBef>
                <a:spcPts val="500"/>
              </a:spcBef>
              <a:buFont typeface="Arial" panose="020B0604020202020204" pitchFamily="34" charset="0"/>
              <a:buNone/>
            </a:pPr>
            <a:endParaRPr lang="en-US" sz="2000" b="1" dirty="0"/>
          </a:p>
          <a:p>
            <a:pPr lvl="1" algn="just">
              <a:lnSpc>
                <a:spcPts val="1300"/>
              </a:lnSpc>
              <a:spcBef>
                <a:spcPts val="500"/>
              </a:spcBef>
              <a:buFontTx/>
              <a:buNone/>
            </a:pP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872771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BF4000-067C-4328-A62B-2D2D4A9680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BF4000-067C-4328-A62B-2D2D4A9680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7170" name="d743a2c3-3a93-4610-8c58-ee66e06384e7" descr="Image">
            <a:extLst>
              <a:ext uri="{FF2B5EF4-FFF2-40B4-BE49-F238E27FC236}">
                <a16:creationId xmlns:a16="http://schemas.microsoft.com/office/drawing/2014/main" id="{ADBD4B54-1E83-454E-8DB1-F20758D5B3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2192000" cy="6336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DD400186-D0AD-4736-90ED-0F8EDC2468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2021" y="657726"/>
            <a:ext cx="5807242" cy="1668380"/>
          </a:xfrm>
          <a:solidFill>
            <a:schemeClr val="accent5">
              <a:lumMod val="20000"/>
              <a:lumOff val="80000"/>
            </a:schemeClr>
          </a:solidFill>
          <a:ln>
            <a:solidFill>
              <a:srgbClr val="00A039"/>
            </a:solidFill>
          </a:ln>
        </p:spPr>
        <p:txBody>
          <a:bodyPr vert="horz"/>
          <a:lstStyle/>
          <a:p>
            <a:r>
              <a:rPr lang="en-US" dirty="0">
                <a:solidFill>
                  <a:srgbClr val="00A039"/>
                </a:solidFill>
              </a:rPr>
              <a:t>Corporate Social Responsibility</a:t>
            </a:r>
          </a:p>
        </p:txBody>
      </p:sp>
    </p:spTree>
    <p:extLst>
      <p:ext uri="{BB962C8B-B14F-4D97-AF65-F5344CB8AC3E}">
        <p14:creationId xmlns:p14="http://schemas.microsoft.com/office/powerpoint/2010/main" val="1293387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A0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C41895-D73E-4733-ACA4-6855F945CD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C41895-D73E-4733-ACA4-6855F945CD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6F9DD9E-101F-4A49-B5E9-D34327404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50" y="2210206"/>
            <a:ext cx="3702983" cy="2437590"/>
          </a:xfrm>
        </p:spPr>
        <p:txBody>
          <a:bodyPr vert="horz" wrap="square">
            <a:spAutoFit/>
          </a:bodyPr>
          <a:lstStyle/>
          <a:p>
            <a:r>
              <a:rPr lang="fr-FR" dirty="0"/>
              <a:t>Our </a:t>
            </a:r>
            <a:r>
              <a:rPr lang="fr-FR" dirty="0" err="1"/>
              <a:t>CSR</a:t>
            </a:r>
            <a:r>
              <a:rPr lang="fr-FR" dirty="0"/>
              <a:t> </a:t>
            </a:r>
            <a:r>
              <a:rPr lang="fr-FR" dirty="0" err="1"/>
              <a:t>Footprints</a:t>
            </a:r>
            <a:r>
              <a:rPr lang="fr-FR" dirty="0"/>
              <a:t> &amp; Population </a:t>
            </a:r>
            <a:r>
              <a:rPr lang="fr-FR" dirty="0" err="1"/>
              <a:t>Coverage</a:t>
            </a:r>
            <a:r>
              <a:rPr lang="fr-FR" dirty="0"/>
              <a:t> – </a:t>
            </a:r>
            <a:br>
              <a:rPr lang="fr-FR" dirty="0"/>
            </a:br>
            <a:br>
              <a:rPr lang="fr-FR" dirty="0"/>
            </a:br>
            <a:r>
              <a:rPr lang="fr-FR" sz="2400" dirty="0" err="1"/>
              <a:t>Directly</a:t>
            </a:r>
            <a:r>
              <a:rPr lang="fr-FR" sz="2400" dirty="0"/>
              <a:t> </a:t>
            </a:r>
            <a:r>
              <a:rPr lang="fr-FR" sz="2400" dirty="0" err="1"/>
              <a:t>Impacting</a:t>
            </a:r>
            <a:r>
              <a:rPr lang="fr-FR" sz="2400" dirty="0"/>
              <a:t> more </a:t>
            </a:r>
            <a:r>
              <a:rPr lang="fr-FR" sz="2400" dirty="0" err="1"/>
              <a:t>than</a:t>
            </a:r>
            <a:r>
              <a:rPr lang="fr-FR" sz="2400" dirty="0"/>
              <a:t> 2.25 L people</a:t>
            </a:r>
            <a:endParaRPr lang="en-US" sz="2400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47397D4-74DC-4A06-90FB-1F2258698164}"/>
              </a:ext>
            </a:extLst>
          </p:cNvPr>
          <p:cNvGrpSpPr/>
          <p:nvPr/>
        </p:nvGrpSpPr>
        <p:grpSpPr>
          <a:xfrm>
            <a:off x="5679754" y="288113"/>
            <a:ext cx="5367793" cy="6086904"/>
            <a:chOff x="5594171" y="263859"/>
            <a:chExt cx="4947079" cy="5609828"/>
          </a:xfrm>
        </p:grpSpPr>
        <p:grpSp>
          <p:nvGrpSpPr>
            <p:cNvPr id="423" name="Graphic 2">
              <a:extLst>
                <a:ext uri="{FF2B5EF4-FFF2-40B4-BE49-F238E27FC236}">
                  <a16:creationId xmlns:a16="http://schemas.microsoft.com/office/drawing/2014/main" id="{2DDFBE5A-2FEB-4BC9-A89A-2B4F89417967}"/>
                </a:ext>
              </a:extLst>
            </p:cNvPr>
            <p:cNvGrpSpPr/>
            <p:nvPr/>
          </p:nvGrpSpPr>
          <p:grpSpPr>
            <a:xfrm>
              <a:off x="5594171" y="263859"/>
              <a:ext cx="4947079" cy="5609828"/>
              <a:chOff x="4481512" y="1600200"/>
              <a:chExt cx="3223641" cy="3655504"/>
            </a:xfrm>
            <a:solidFill>
              <a:srgbClr val="CCCCCC"/>
            </a:solidFill>
          </p:grpSpPr>
          <p:sp>
            <p:nvSpPr>
              <p:cNvPr id="424" name="Freeform: Shape 128">
                <a:extLst>
                  <a:ext uri="{FF2B5EF4-FFF2-40B4-BE49-F238E27FC236}">
                    <a16:creationId xmlns:a16="http://schemas.microsoft.com/office/drawing/2014/main" id="{640A488B-BF70-4209-BC44-1092488907E9}"/>
                  </a:ext>
                </a:extLst>
              </p:cNvPr>
              <p:cNvSpPr/>
              <p:nvPr/>
            </p:nvSpPr>
            <p:spPr>
              <a:xfrm>
                <a:off x="6432519" y="2848551"/>
                <a:ext cx="447675" cy="685800"/>
              </a:xfrm>
              <a:custGeom>
                <a:avLst/>
                <a:gdLst>
                  <a:gd name="connsiteX0" fmla="*/ 341947 w 447675"/>
                  <a:gd name="connsiteY0" fmla="*/ 685514 h 685800"/>
                  <a:gd name="connsiteX1" fmla="*/ 341090 w 447675"/>
                  <a:gd name="connsiteY1" fmla="*/ 684657 h 685800"/>
                  <a:gd name="connsiteX2" fmla="*/ 339376 w 447675"/>
                  <a:gd name="connsiteY2" fmla="*/ 683800 h 685800"/>
                  <a:gd name="connsiteX3" fmla="*/ 335089 w 447675"/>
                  <a:gd name="connsiteY3" fmla="*/ 681228 h 685800"/>
                  <a:gd name="connsiteX4" fmla="*/ 334232 w 447675"/>
                  <a:gd name="connsiteY4" fmla="*/ 685419 h 685800"/>
                  <a:gd name="connsiteX5" fmla="*/ 335089 w 447675"/>
                  <a:gd name="connsiteY5" fmla="*/ 691325 h 685800"/>
                  <a:gd name="connsiteX6" fmla="*/ 337661 w 447675"/>
                  <a:gd name="connsiteY6" fmla="*/ 692182 h 685800"/>
                  <a:gd name="connsiteX7" fmla="*/ 339376 w 447675"/>
                  <a:gd name="connsiteY7" fmla="*/ 691325 h 685800"/>
                  <a:gd name="connsiteX8" fmla="*/ 341947 w 447675"/>
                  <a:gd name="connsiteY8" fmla="*/ 691325 h 685800"/>
                  <a:gd name="connsiteX9" fmla="*/ 342805 w 447675"/>
                  <a:gd name="connsiteY9" fmla="*/ 691325 h 685800"/>
                  <a:gd name="connsiteX10" fmla="*/ 343662 w 447675"/>
                  <a:gd name="connsiteY10" fmla="*/ 688753 h 685800"/>
                  <a:gd name="connsiteX11" fmla="*/ 342805 w 447675"/>
                  <a:gd name="connsiteY11" fmla="*/ 687038 h 685800"/>
                  <a:gd name="connsiteX12" fmla="*/ 341947 w 447675"/>
                  <a:gd name="connsiteY12" fmla="*/ 685514 h 685800"/>
                  <a:gd name="connsiteX13" fmla="*/ 341947 w 447675"/>
                  <a:gd name="connsiteY13" fmla="*/ 685514 h 685800"/>
                  <a:gd name="connsiteX14" fmla="*/ 341947 w 447675"/>
                  <a:gd name="connsiteY14" fmla="*/ 685514 h 685800"/>
                  <a:gd name="connsiteX15" fmla="*/ 254984 w 447675"/>
                  <a:gd name="connsiteY15" fmla="*/ 652463 h 685800"/>
                  <a:gd name="connsiteX16" fmla="*/ 251555 w 447675"/>
                  <a:gd name="connsiteY16" fmla="*/ 658368 h 685800"/>
                  <a:gd name="connsiteX17" fmla="*/ 247269 w 447675"/>
                  <a:gd name="connsiteY17" fmla="*/ 671036 h 685800"/>
                  <a:gd name="connsiteX18" fmla="*/ 247269 w 447675"/>
                  <a:gd name="connsiteY18" fmla="*/ 673608 h 685800"/>
                  <a:gd name="connsiteX19" fmla="*/ 246412 w 447675"/>
                  <a:gd name="connsiteY19" fmla="*/ 675323 h 685800"/>
                  <a:gd name="connsiteX20" fmla="*/ 246412 w 447675"/>
                  <a:gd name="connsiteY20" fmla="*/ 676180 h 685800"/>
                  <a:gd name="connsiteX21" fmla="*/ 248126 w 447675"/>
                  <a:gd name="connsiteY21" fmla="*/ 678752 h 685800"/>
                  <a:gd name="connsiteX22" fmla="*/ 248984 w 447675"/>
                  <a:gd name="connsiteY22" fmla="*/ 678752 h 685800"/>
                  <a:gd name="connsiteX23" fmla="*/ 252413 w 447675"/>
                  <a:gd name="connsiteY23" fmla="*/ 678752 h 685800"/>
                  <a:gd name="connsiteX24" fmla="*/ 254984 w 447675"/>
                  <a:gd name="connsiteY24" fmla="*/ 680466 h 685800"/>
                  <a:gd name="connsiteX25" fmla="*/ 256699 w 447675"/>
                  <a:gd name="connsiteY25" fmla="*/ 680466 h 685800"/>
                  <a:gd name="connsiteX26" fmla="*/ 257556 w 447675"/>
                  <a:gd name="connsiteY26" fmla="*/ 679609 h 685800"/>
                  <a:gd name="connsiteX27" fmla="*/ 258413 w 447675"/>
                  <a:gd name="connsiteY27" fmla="*/ 677894 h 685800"/>
                  <a:gd name="connsiteX28" fmla="*/ 258413 w 447675"/>
                  <a:gd name="connsiteY28" fmla="*/ 676180 h 685800"/>
                  <a:gd name="connsiteX29" fmla="*/ 256699 w 447675"/>
                  <a:gd name="connsiteY29" fmla="*/ 672751 h 685800"/>
                  <a:gd name="connsiteX30" fmla="*/ 260128 w 447675"/>
                  <a:gd name="connsiteY30" fmla="*/ 671036 h 685800"/>
                  <a:gd name="connsiteX31" fmla="*/ 260985 w 447675"/>
                  <a:gd name="connsiteY31" fmla="*/ 663416 h 685800"/>
                  <a:gd name="connsiteX32" fmla="*/ 258413 w 447675"/>
                  <a:gd name="connsiteY32" fmla="*/ 651510 h 685800"/>
                  <a:gd name="connsiteX33" fmla="*/ 254984 w 447675"/>
                  <a:gd name="connsiteY33" fmla="*/ 652463 h 685800"/>
                  <a:gd name="connsiteX34" fmla="*/ 254984 w 447675"/>
                  <a:gd name="connsiteY34" fmla="*/ 652463 h 685800"/>
                  <a:gd name="connsiteX35" fmla="*/ 254984 w 447675"/>
                  <a:gd name="connsiteY35" fmla="*/ 652463 h 685800"/>
                  <a:gd name="connsiteX36" fmla="*/ 313849 w 447675"/>
                  <a:gd name="connsiteY36" fmla="*/ 644843 h 685800"/>
                  <a:gd name="connsiteX37" fmla="*/ 312992 w 447675"/>
                  <a:gd name="connsiteY37" fmla="*/ 644843 h 685800"/>
                  <a:gd name="connsiteX38" fmla="*/ 310420 w 447675"/>
                  <a:gd name="connsiteY38" fmla="*/ 648272 h 685800"/>
                  <a:gd name="connsiteX39" fmla="*/ 308705 w 447675"/>
                  <a:gd name="connsiteY39" fmla="*/ 651701 h 685800"/>
                  <a:gd name="connsiteX40" fmla="*/ 306991 w 447675"/>
                  <a:gd name="connsiteY40" fmla="*/ 654272 h 685800"/>
                  <a:gd name="connsiteX41" fmla="*/ 306991 w 447675"/>
                  <a:gd name="connsiteY41" fmla="*/ 655130 h 685800"/>
                  <a:gd name="connsiteX42" fmla="*/ 306991 w 447675"/>
                  <a:gd name="connsiteY42" fmla="*/ 656844 h 685800"/>
                  <a:gd name="connsiteX43" fmla="*/ 307848 w 447675"/>
                  <a:gd name="connsiteY43" fmla="*/ 658559 h 685800"/>
                  <a:gd name="connsiteX44" fmla="*/ 307848 w 447675"/>
                  <a:gd name="connsiteY44" fmla="*/ 659416 h 685800"/>
                  <a:gd name="connsiteX45" fmla="*/ 308705 w 447675"/>
                  <a:gd name="connsiteY45" fmla="*/ 659416 h 685800"/>
                  <a:gd name="connsiteX46" fmla="*/ 312992 w 447675"/>
                  <a:gd name="connsiteY46" fmla="*/ 660273 h 685800"/>
                  <a:gd name="connsiteX47" fmla="*/ 313849 w 447675"/>
                  <a:gd name="connsiteY47" fmla="*/ 661130 h 685800"/>
                  <a:gd name="connsiteX48" fmla="*/ 313849 w 447675"/>
                  <a:gd name="connsiteY48" fmla="*/ 655225 h 685800"/>
                  <a:gd name="connsiteX49" fmla="*/ 314706 w 447675"/>
                  <a:gd name="connsiteY49" fmla="*/ 651796 h 685800"/>
                  <a:gd name="connsiteX50" fmla="*/ 316421 w 447675"/>
                  <a:gd name="connsiteY50" fmla="*/ 649224 h 685800"/>
                  <a:gd name="connsiteX51" fmla="*/ 316421 w 447675"/>
                  <a:gd name="connsiteY51" fmla="*/ 646652 h 685800"/>
                  <a:gd name="connsiteX52" fmla="*/ 315563 w 447675"/>
                  <a:gd name="connsiteY52" fmla="*/ 644938 h 685800"/>
                  <a:gd name="connsiteX53" fmla="*/ 313849 w 447675"/>
                  <a:gd name="connsiteY53" fmla="*/ 644938 h 685800"/>
                  <a:gd name="connsiteX54" fmla="*/ 313849 w 447675"/>
                  <a:gd name="connsiteY54" fmla="*/ 644843 h 685800"/>
                  <a:gd name="connsiteX55" fmla="*/ 313849 w 447675"/>
                  <a:gd name="connsiteY55" fmla="*/ 644843 h 685800"/>
                  <a:gd name="connsiteX56" fmla="*/ 253270 w 447675"/>
                  <a:gd name="connsiteY56" fmla="*/ 652463 h 685800"/>
                  <a:gd name="connsiteX57" fmla="*/ 255842 w 447675"/>
                  <a:gd name="connsiteY57" fmla="*/ 649034 h 685800"/>
                  <a:gd name="connsiteX58" fmla="*/ 256699 w 447675"/>
                  <a:gd name="connsiteY58" fmla="*/ 645605 h 685800"/>
                  <a:gd name="connsiteX59" fmla="*/ 254984 w 447675"/>
                  <a:gd name="connsiteY59" fmla="*/ 642176 h 685800"/>
                  <a:gd name="connsiteX60" fmla="*/ 253270 w 447675"/>
                  <a:gd name="connsiteY60" fmla="*/ 642176 h 685800"/>
                  <a:gd name="connsiteX61" fmla="*/ 252413 w 447675"/>
                  <a:gd name="connsiteY61" fmla="*/ 643033 h 685800"/>
                  <a:gd name="connsiteX62" fmla="*/ 251555 w 447675"/>
                  <a:gd name="connsiteY62" fmla="*/ 644747 h 685800"/>
                  <a:gd name="connsiteX63" fmla="*/ 250698 w 447675"/>
                  <a:gd name="connsiteY63" fmla="*/ 647319 h 685800"/>
                  <a:gd name="connsiteX64" fmla="*/ 249841 w 447675"/>
                  <a:gd name="connsiteY64" fmla="*/ 648176 h 685800"/>
                  <a:gd name="connsiteX65" fmla="*/ 249841 w 447675"/>
                  <a:gd name="connsiteY65" fmla="*/ 650748 h 685800"/>
                  <a:gd name="connsiteX66" fmla="*/ 249841 w 447675"/>
                  <a:gd name="connsiteY66" fmla="*/ 653320 h 685800"/>
                  <a:gd name="connsiteX67" fmla="*/ 250698 w 447675"/>
                  <a:gd name="connsiteY67" fmla="*/ 654177 h 685800"/>
                  <a:gd name="connsiteX68" fmla="*/ 253270 w 447675"/>
                  <a:gd name="connsiteY68" fmla="*/ 652463 h 685800"/>
                  <a:gd name="connsiteX69" fmla="*/ 253270 w 447675"/>
                  <a:gd name="connsiteY69" fmla="*/ 652463 h 685800"/>
                  <a:gd name="connsiteX70" fmla="*/ 253270 w 447675"/>
                  <a:gd name="connsiteY70" fmla="*/ 652463 h 685800"/>
                  <a:gd name="connsiteX71" fmla="*/ 450247 w 447675"/>
                  <a:gd name="connsiteY71" fmla="*/ 76010 h 685800"/>
                  <a:gd name="connsiteX72" fmla="*/ 450247 w 447675"/>
                  <a:gd name="connsiteY72" fmla="*/ 74295 h 685800"/>
                  <a:gd name="connsiteX73" fmla="*/ 447675 w 447675"/>
                  <a:gd name="connsiteY73" fmla="*/ 67532 h 685800"/>
                  <a:gd name="connsiteX74" fmla="*/ 448532 w 447675"/>
                  <a:gd name="connsiteY74" fmla="*/ 65818 h 685800"/>
                  <a:gd name="connsiteX75" fmla="*/ 447675 w 447675"/>
                  <a:gd name="connsiteY75" fmla="*/ 65818 h 685800"/>
                  <a:gd name="connsiteX76" fmla="*/ 446818 w 447675"/>
                  <a:gd name="connsiteY76" fmla="*/ 65818 h 685800"/>
                  <a:gd name="connsiteX77" fmla="*/ 445960 w 447675"/>
                  <a:gd name="connsiteY77" fmla="*/ 64961 h 685800"/>
                  <a:gd name="connsiteX78" fmla="*/ 445960 w 447675"/>
                  <a:gd name="connsiteY78" fmla="*/ 64961 h 685800"/>
                  <a:gd name="connsiteX79" fmla="*/ 445103 w 447675"/>
                  <a:gd name="connsiteY79" fmla="*/ 64961 h 685800"/>
                  <a:gd name="connsiteX80" fmla="*/ 445103 w 447675"/>
                  <a:gd name="connsiteY80" fmla="*/ 65818 h 685800"/>
                  <a:gd name="connsiteX81" fmla="*/ 445103 w 447675"/>
                  <a:gd name="connsiteY81" fmla="*/ 66675 h 685800"/>
                  <a:gd name="connsiteX82" fmla="*/ 445103 w 447675"/>
                  <a:gd name="connsiteY82" fmla="*/ 66675 h 685800"/>
                  <a:gd name="connsiteX83" fmla="*/ 445103 w 447675"/>
                  <a:gd name="connsiteY83" fmla="*/ 66675 h 685800"/>
                  <a:gd name="connsiteX84" fmla="*/ 445103 w 447675"/>
                  <a:gd name="connsiteY84" fmla="*/ 67532 h 685800"/>
                  <a:gd name="connsiteX85" fmla="*/ 444246 w 447675"/>
                  <a:gd name="connsiteY85" fmla="*/ 68390 h 685800"/>
                  <a:gd name="connsiteX86" fmla="*/ 444246 w 447675"/>
                  <a:gd name="connsiteY86" fmla="*/ 69247 h 685800"/>
                  <a:gd name="connsiteX87" fmla="*/ 443389 w 447675"/>
                  <a:gd name="connsiteY87" fmla="*/ 69247 h 685800"/>
                  <a:gd name="connsiteX88" fmla="*/ 442531 w 447675"/>
                  <a:gd name="connsiteY88" fmla="*/ 68390 h 685800"/>
                  <a:gd name="connsiteX89" fmla="*/ 441674 w 447675"/>
                  <a:gd name="connsiteY89" fmla="*/ 68390 h 685800"/>
                  <a:gd name="connsiteX90" fmla="*/ 437388 w 447675"/>
                  <a:gd name="connsiteY90" fmla="*/ 68390 h 685800"/>
                  <a:gd name="connsiteX91" fmla="*/ 436531 w 447675"/>
                  <a:gd name="connsiteY91" fmla="*/ 68390 h 685800"/>
                  <a:gd name="connsiteX92" fmla="*/ 434816 w 447675"/>
                  <a:gd name="connsiteY92" fmla="*/ 68390 h 685800"/>
                  <a:gd name="connsiteX93" fmla="*/ 428816 w 447675"/>
                  <a:gd name="connsiteY93" fmla="*/ 65818 h 685800"/>
                  <a:gd name="connsiteX94" fmla="*/ 426244 w 447675"/>
                  <a:gd name="connsiteY94" fmla="*/ 64961 h 685800"/>
                  <a:gd name="connsiteX95" fmla="*/ 422815 w 447675"/>
                  <a:gd name="connsiteY95" fmla="*/ 67532 h 685800"/>
                  <a:gd name="connsiteX96" fmla="*/ 421100 w 447675"/>
                  <a:gd name="connsiteY96" fmla="*/ 67532 h 685800"/>
                  <a:gd name="connsiteX97" fmla="*/ 419386 w 447675"/>
                  <a:gd name="connsiteY97" fmla="*/ 65818 h 685800"/>
                  <a:gd name="connsiteX98" fmla="*/ 421100 w 447675"/>
                  <a:gd name="connsiteY98" fmla="*/ 62389 h 685800"/>
                  <a:gd name="connsiteX99" fmla="*/ 421100 w 447675"/>
                  <a:gd name="connsiteY99" fmla="*/ 60674 h 685800"/>
                  <a:gd name="connsiteX100" fmla="*/ 417671 w 447675"/>
                  <a:gd name="connsiteY100" fmla="*/ 58103 h 685800"/>
                  <a:gd name="connsiteX101" fmla="*/ 413385 w 447675"/>
                  <a:gd name="connsiteY101" fmla="*/ 56388 h 685800"/>
                  <a:gd name="connsiteX102" fmla="*/ 409099 w 447675"/>
                  <a:gd name="connsiteY102" fmla="*/ 55531 h 685800"/>
                  <a:gd name="connsiteX103" fmla="*/ 402241 w 447675"/>
                  <a:gd name="connsiteY103" fmla="*/ 56388 h 685800"/>
                  <a:gd name="connsiteX104" fmla="*/ 397955 w 447675"/>
                  <a:gd name="connsiteY104" fmla="*/ 54674 h 685800"/>
                  <a:gd name="connsiteX105" fmla="*/ 393668 w 447675"/>
                  <a:gd name="connsiteY105" fmla="*/ 51245 h 685800"/>
                  <a:gd name="connsiteX106" fmla="*/ 391096 w 447675"/>
                  <a:gd name="connsiteY106" fmla="*/ 49530 h 685800"/>
                  <a:gd name="connsiteX107" fmla="*/ 385953 w 447675"/>
                  <a:gd name="connsiteY107" fmla="*/ 50387 h 685800"/>
                  <a:gd name="connsiteX108" fmla="*/ 384238 w 447675"/>
                  <a:gd name="connsiteY108" fmla="*/ 50387 h 685800"/>
                  <a:gd name="connsiteX109" fmla="*/ 383381 w 447675"/>
                  <a:gd name="connsiteY109" fmla="*/ 50387 h 685800"/>
                  <a:gd name="connsiteX110" fmla="*/ 381667 w 447675"/>
                  <a:gd name="connsiteY110" fmla="*/ 51245 h 685800"/>
                  <a:gd name="connsiteX111" fmla="*/ 380809 w 447675"/>
                  <a:gd name="connsiteY111" fmla="*/ 52959 h 685800"/>
                  <a:gd name="connsiteX112" fmla="*/ 379952 w 447675"/>
                  <a:gd name="connsiteY112" fmla="*/ 53816 h 685800"/>
                  <a:gd name="connsiteX113" fmla="*/ 376523 w 447675"/>
                  <a:gd name="connsiteY113" fmla="*/ 54674 h 685800"/>
                  <a:gd name="connsiteX114" fmla="*/ 373094 w 447675"/>
                  <a:gd name="connsiteY114" fmla="*/ 54674 h 685800"/>
                  <a:gd name="connsiteX115" fmla="*/ 367093 w 447675"/>
                  <a:gd name="connsiteY115" fmla="*/ 54674 h 685800"/>
                  <a:gd name="connsiteX116" fmla="*/ 363664 w 447675"/>
                  <a:gd name="connsiteY116" fmla="*/ 53816 h 685800"/>
                  <a:gd name="connsiteX117" fmla="*/ 361950 w 447675"/>
                  <a:gd name="connsiteY117" fmla="*/ 51245 h 685800"/>
                  <a:gd name="connsiteX118" fmla="*/ 361093 w 447675"/>
                  <a:gd name="connsiteY118" fmla="*/ 49530 h 685800"/>
                  <a:gd name="connsiteX119" fmla="*/ 359378 w 447675"/>
                  <a:gd name="connsiteY119" fmla="*/ 46101 h 685800"/>
                  <a:gd name="connsiteX120" fmla="*/ 357664 w 447675"/>
                  <a:gd name="connsiteY120" fmla="*/ 44387 h 685800"/>
                  <a:gd name="connsiteX121" fmla="*/ 355092 w 447675"/>
                  <a:gd name="connsiteY121" fmla="*/ 41815 h 685800"/>
                  <a:gd name="connsiteX122" fmla="*/ 352520 w 447675"/>
                  <a:gd name="connsiteY122" fmla="*/ 40958 h 685800"/>
                  <a:gd name="connsiteX123" fmla="*/ 349949 w 447675"/>
                  <a:gd name="connsiteY123" fmla="*/ 40958 h 685800"/>
                  <a:gd name="connsiteX124" fmla="*/ 349091 w 447675"/>
                  <a:gd name="connsiteY124" fmla="*/ 41815 h 685800"/>
                  <a:gd name="connsiteX125" fmla="*/ 347377 w 447675"/>
                  <a:gd name="connsiteY125" fmla="*/ 41815 h 685800"/>
                  <a:gd name="connsiteX126" fmla="*/ 346520 w 447675"/>
                  <a:gd name="connsiteY126" fmla="*/ 41815 h 685800"/>
                  <a:gd name="connsiteX127" fmla="*/ 344805 w 447675"/>
                  <a:gd name="connsiteY127" fmla="*/ 41815 h 685800"/>
                  <a:gd name="connsiteX128" fmla="*/ 343948 w 447675"/>
                  <a:gd name="connsiteY128" fmla="*/ 40100 h 685800"/>
                  <a:gd name="connsiteX129" fmla="*/ 343948 w 447675"/>
                  <a:gd name="connsiteY129" fmla="*/ 38386 h 685800"/>
                  <a:gd name="connsiteX130" fmla="*/ 343948 w 447675"/>
                  <a:gd name="connsiteY130" fmla="*/ 37529 h 685800"/>
                  <a:gd name="connsiteX131" fmla="*/ 343948 w 447675"/>
                  <a:gd name="connsiteY131" fmla="*/ 35814 h 685800"/>
                  <a:gd name="connsiteX132" fmla="*/ 342233 w 447675"/>
                  <a:gd name="connsiteY132" fmla="*/ 33242 h 685800"/>
                  <a:gd name="connsiteX133" fmla="*/ 339662 w 447675"/>
                  <a:gd name="connsiteY133" fmla="*/ 34100 h 685800"/>
                  <a:gd name="connsiteX134" fmla="*/ 337947 w 447675"/>
                  <a:gd name="connsiteY134" fmla="*/ 35814 h 685800"/>
                  <a:gd name="connsiteX135" fmla="*/ 336233 w 447675"/>
                  <a:gd name="connsiteY135" fmla="*/ 38386 h 685800"/>
                  <a:gd name="connsiteX136" fmla="*/ 335375 w 447675"/>
                  <a:gd name="connsiteY136" fmla="*/ 31623 h 685800"/>
                  <a:gd name="connsiteX137" fmla="*/ 335375 w 447675"/>
                  <a:gd name="connsiteY137" fmla="*/ 24860 h 685800"/>
                  <a:gd name="connsiteX138" fmla="*/ 334518 w 447675"/>
                  <a:gd name="connsiteY138" fmla="*/ 22289 h 685800"/>
                  <a:gd name="connsiteX139" fmla="*/ 333661 w 447675"/>
                  <a:gd name="connsiteY139" fmla="*/ 18860 h 685800"/>
                  <a:gd name="connsiteX140" fmla="*/ 331089 w 447675"/>
                  <a:gd name="connsiteY140" fmla="*/ 17145 h 685800"/>
                  <a:gd name="connsiteX141" fmla="*/ 323374 w 447675"/>
                  <a:gd name="connsiteY141" fmla="*/ 13716 h 685800"/>
                  <a:gd name="connsiteX142" fmla="*/ 322517 w 447675"/>
                  <a:gd name="connsiteY142" fmla="*/ 12859 h 685800"/>
                  <a:gd name="connsiteX143" fmla="*/ 322517 w 447675"/>
                  <a:gd name="connsiteY143" fmla="*/ 12859 h 685800"/>
                  <a:gd name="connsiteX144" fmla="*/ 321659 w 447675"/>
                  <a:gd name="connsiteY144" fmla="*/ 13716 h 685800"/>
                  <a:gd name="connsiteX145" fmla="*/ 318230 w 447675"/>
                  <a:gd name="connsiteY145" fmla="*/ 12002 h 685800"/>
                  <a:gd name="connsiteX146" fmla="*/ 315659 w 447675"/>
                  <a:gd name="connsiteY146" fmla="*/ 10287 h 685800"/>
                  <a:gd name="connsiteX147" fmla="*/ 314801 w 447675"/>
                  <a:gd name="connsiteY147" fmla="*/ 9430 h 685800"/>
                  <a:gd name="connsiteX148" fmla="*/ 309658 w 447675"/>
                  <a:gd name="connsiteY148" fmla="*/ 10287 h 685800"/>
                  <a:gd name="connsiteX149" fmla="*/ 301085 w 447675"/>
                  <a:gd name="connsiteY149" fmla="*/ 9430 h 685800"/>
                  <a:gd name="connsiteX150" fmla="*/ 298513 w 447675"/>
                  <a:gd name="connsiteY150" fmla="*/ 9430 h 685800"/>
                  <a:gd name="connsiteX151" fmla="*/ 290798 w 447675"/>
                  <a:gd name="connsiteY151" fmla="*/ 17050 h 685800"/>
                  <a:gd name="connsiteX152" fmla="*/ 288226 w 447675"/>
                  <a:gd name="connsiteY152" fmla="*/ 18764 h 685800"/>
                  <a:gd name="connsiteX153" fmla="*/ 285655 w 447675"/>
                  <a:gd name="connsiteY153" fmla="*/ 19622 h 685800"/>
                  <a:gd name="connsiteX154" fmla="*/ 282226 w 447675"/>
                  <a:gd name="connsiteY154" fmla="*/ 20479 h 685800"/>
                  <a:gd name="connsiteX155" fmla="*/ 280511 w 447675"/>
                  <a:gd name="connsiteY155" fmla="*/ 20479 h 685800"/>
                  <a:gd name="connsiteX156" fmla="*/ 279654 w 447675"/>
                  <a:gd name="connsiteY156" fmla="*/ 20479 h 685800"/>
                  <a:gd name="connsiteX157" fmla="*/ 279654 w 447675"/>
                  <a:gd name="connsiteY157" fmla="*/ 19622 h 685800"/>
                  <a:gd name="connsiteX158" fmla="*/ 278797 w 447675"/>
                  <a:gd name="connsiteY158" fmla="*/ 18764 h 685800"/>
                  <a:gd name="connsiteX159" fmla="*/ 266891 w 447675"/>
                  <a:gd name="connsiteY159" fmla="*/ 14573 h 685800"/>
                  <a:gd name="connsiteX160" fmla="*/ 262604 w 447675"/>
                  <a:gd name="connsiteY160" fmla="*/ 13716 h 685800"/>
                  <a:gd name="connsiteX161" fmla="*/ 257461 w 447675"/>
                  <a:gd name="connsiteY161" fmla="*/ 14573 h 685800"/>
                  <a:gd name="connsiteX162" fmla="*/ 254032 w 447675"/>
                  <a:gd name="connsiteY162" fmla="*/ 14573 h 685800"/>
                  <a:gd name="connsiteX163" fmla="*/ 252317 w 447675"/>
                  <a:gd name="connsiteY163" fmla="*/ 13716 h 685800"/>
                  <a:gd name="connsiteX164" fmla="*/ 250603 w 447675"/>
                  <a:gd name="connsiteY164" fmla="*/ 12002 h 685800"/>
                  <a:gd name="connsiteX165" fmla="*/ 250603 w 447675"/>
                  <a:gd name="connsiteY165" fmla="*/ 11144 h 685800"/>
                  <a:gd name="connsiteX166" fmla="*/ 249746 w 447675"/>
                  <a:gd name="connsiteY166" fmla="*/ 10287 h 685800"/>
                  <a:gd name="connsiteX167" fmla="*/ 249746 w 447675"/>
                  <a:gd name="connsiteY167" fmla="*/ 7715 h 685800"/>
                  <a:gd name="connsiteX168" fmla="*/ 249746 w 447675"/>
                  <a:gd name="connsiteY168" fmla="*/ 6858 h 685800"/>
                  <a:gd name="connsiteX169" fmla="*/ 248888 w 447675"/>
                  <a:gd name="connsiteY169" fmla="*/ 5144 h 685800"/>
                  <a:gd name="connsiteX170" fmla="*/ 245459 w 447675"/>
                  <a:gd name="connsiteY170" fmla="*/ 2572 h 685800"/>
                  <a:gd name="connsiteX171" fmla="*/ 243745 w 447675"/>
                  <a:gd name="connsiteY171" fmla="*/ 857 h 685800"/>
                  <a:gd name="connsiteX172" fmla="*/ 241173 w 447675"/>
                  <a:gd name="connsiteY172" fmla="*/ 0 h 685800"/>
                  <a:gd name="connsiteX173" fmla="*/ 239459 w 447675"/>
                  <a:gd name="connsiteY173" fmla="*/ 4191 h 685800"/>
                  <a:gd name="connsiteX174" fmla="*/ 239459 w 447675"/>
                  <a:gd name="connsiteY174" fmla="*/ 12668 h 685800"/>
                  <a:gd name="connsiteX175" fmla="*/ 237744 w 447675"/>
                  <a:gd name="connsiteY175" fmla="*/ 16097 h 685800"/>
                  <a:gd name="connsiteX176" fmla="*/ 237744 w 447675"/>
                  <a:gd name="connsiteY176" fmla="*/ 17812 h 685800"/>
                  <a:gd name="connsiteX177" fmla="*/ 237744 w 447675"/>
                  <a:gd name="connsiteY177" fmla="*/ 18669 h 685800"/>
                  <a:gd name="connsiteX178" fmla="*/ 238601 w 447675"/>
                  <a:gd name="connsiteY178" fmla="*/ 19526 h 685800"/>
                  <a:gd name="connsiteX179" fmla="*/ 240316 w 447675"/>
                  <a:gd name="connsiteY179" fmla="*/ 21241 h 685800"/>
                  <a:gd name="connsiteX180" fmla="*/ 242030 w 447675"/>
                  <a:gd name="connsiteY180" fmla="*/ 25432 h 685800"/>
                  <a:gd name="connsiteX181" fmla="*/ 243745 w 447675"/>
                  <a:gd name="connsiteY181" fmla="*/ 27146 h 685800"/>
                  <a:gd name="connsiteX182" fmla="*/ 245459 w 447675"/>
                  <a:gd name="connsiteY182" fmla="*/ 28004 h 685800"/>
                  <a:gd name="connsiteX183" fmla="*/ 247174 w 447675"/>
                  <a:gd name="connsiteY183" fmla="*/ 28861 h 685800"/>
                  <a:gd name="connsiteX184" fmla="*/ 249746 w 447675"/>
                  <a:gd name="connsiteY184" fmla="*/ 32290 h 685800"/>
                  <a:gd name="connsiteX185" fmla="*/ 251460 w 447675"/>
                  <a:gd name="connsiteY185" fmla="*/ 36481 h 685800"/>
                  <a:gd name="connsiteX186" fmla="*/ 253175 w 447675"/>
                  <a:gd name="connsiteY186" fmla="*/ 40672 h 685800"/>
                  <a:gd name="connsiteX187" fmla="*/ 254032 w 447675"/>
                  <a:gd name="connsiteY187" fmla="*/ 42386 h 685800"/>
                  <a:gd name="connsiteX188" fmla="*/ 256604 w 447675"/>
                  <a:gd name="connsiteY188" fmla="*/ 45815 h 685800"/>
                  <a:gd name="connsiteX189" fmla="*/ 258318 w 447675"/>
                  <a:gd name="connsiteY189" fmla="*/ 48387 h 685800"/>
                  <a:gd name="connsiteX190" fmla="*/ 258318 w 447675"/>
                  <a:gd name="connsiteY190" fmla="*/ 50102 h 685800"/>
                  <a:gd name="connsiteX191" fmla="*/ 259175 w 447675"/>
                  <a:gd name="connsiteY191" fmla="*/ 55150 h 685800"/>
                  <a:gd name="connsiteX192" fmla="*/ 260033 w 447675"/>
                  <a:gd name="connsiteY192" fmla="*/ 60198 h 685800"/>
                  <a:gd name="connsiteX193" fmla="*/ 260033 w 447675"/>
                  <a:gd name="connsiteY193" fmla="*/ 62770 h 685800"/>
                  <a:gd name="connsiteX194" fmla="*/ 260033 w 447675"/>
                  <a:gd name="connsiteY194" fmla="*/ 65342 h 685800"/>
                  <a:gd name="connsiteX195" fmla="*/ 259175 w 447675"/>
                  <a:gd name="connsiteY195" fmla="*/ 67913 h 685800"/>
                  <a:gd name="connsiteX196" fmla="*/ 257461 w 447675"/>
                  <a:gd name="connsiteY196" fmla="*/ 72962 h 685800"/>
                  <a:gd name="connsiteX197" fmla="*/ 252317 w 447675"/>
                  <a:gd name="connsiteY197" fmla="*/ 82296 h 685800"/>
                  <a:gd name="connsiteX198" fmla="*/ 250603 w 447675"/>
                  <a:gd name="connsiteY198" fmla="*/ 88202 h 685800"/>
                  <a:gd name="connsiteX199" fmla="*/ 252317 w 447675"/>
                  <a:gd name="connsiteY199" fmla="*/ 88202 h 685800"/>
                  <a:gd name="connsiteX200" fmla="*/ 254889 w 447675"/>
                  <a:gd name="connsiteY200" fmla="*/ 89059 h 685800"/>
                  <a:gd name="connsiteX201" fmla="*/ 255746 w 447675"/>
                  <a:gd name="connsiteY201" fmla="*/ 89059 h 685800"/>
                  <a:gd name="connsiteX202" fmla="*/ 257461 w 447675"/>
                  <a:gd name="connsiteY202" fmla="*/ 88202 h 685800"/>
                  <a:gd name="connsiteX203" fmla="*/ 262604 w 447675"/>
                  <a:gd name="connsiteY203" fmla="*/ 86487 h 685800"/>
                  <a:gd name="connsiteX204" fmla="*/ 263462 w 447675"/>
                  <a:gd name="connsiteY204" fmla="*/ 86487 h 685800"/>
                  <a:gd name="connsiteX205" fmla="*/ 263462 w 447675"/>
                  <a:gd name="connsiteY205" fmla="*/ 87344 h 685800"/>
                  <a:gd name="connsiteX206" fmla="*/ 262604 w 447675"/>
                  <a:gd name="connsiteY206" fmla="*/ 90773 h 685800"/>
                  <a:gd name="connsiteX207" fmla="*/ 262604 w 447675"/>
                  <a:gd name="connsiteY207" fmla="*/ 92488 h 685800"/>
                  <a:gd name="connsiteX208" fmla="*/ 262604 w 447675"/>
                  <a:gd name="connsiteY208" fmla="*/ 92488 h 685800"/>
                  <a:gd name="connsiteX209" fmla="*/ 262604 w 447675"/>
                  <a:gd name="connsiteY209" fmla="*/ 92488 h 685800"/>
                  <a:gd name="connsiteX210" fmla="*/ 263462 w 447675"/>
                  <a:gd name="connsiteY210" fmla="*/ 93345 h 685800"/>
                  <a:gd name="connsiteX211" fmla="*/ 264319 w 447675"/>
                  <a:gd name="connsiteY211" fmla="*/ 94202 h 685800"/>
                  <a:gd name="connsiteX212" fmla="*/ 265176 w 447675"/>
                  <a:gd name="connsiteY212" fmla="*/ 95060 h 685800"/>
                  <a:gd name="connsiteX213" fmla="*/ 266891 w 447675"/>
                  <a:gd name="connsiteY213" fmla="*/ 95060 h 685800"/>
                  <a:gd name="connsiteX214" fmla="*/ 267748 w 447675"/>
                  <a:gd name="connsiteY214" fmla="*/ 95917 h 685800"/>
                  <a:gd name="connsiteX215" fmla="*/ 271177 w 447675"/>
                  <a:gd name="connsiteY215" fmla="*/ 99346 h 685800"/>
                  <a:gd name="connsiteX216" fmla="*/ 272034 w 447675"/>
                  <a:gd name="connsiteY216" fmla="*/ 101060 h 685800"/>
                  <a:gd name="connsiteX217" fmla="*/ 272034 w 447675"/>
                  <a:gd name="connsiteY217" fmla="*/ 101918 h 685800"/>
                  <a:gd name="connsiteX218" fmla="*/ 272034 w 447675"/>
                  <a:gd name="connsiteY218" fmla="*/ 101918 h 685800"/>
                  <a:gd name="connsiteX219" fmla="*/ 271177 w 447675"/>
                  <a:gd name="connsiteY219" fmla="*/ 102775 h 685800"/>
                  <a:gd name="connsiteX220" fmla="*/ 270320 w 447675"/>
                  <a:gd name="connsiteY220" fmla="*/ 102775 h 685800"/>
                  <a:gd name="connsiteX221" fmla="*/ 269462 w 447675"/>
                  <a:gd name="connsiteY221" fmla="*/ 103632 h 685800"/>
                  <a:gd name="connsiteX222" fmla="*/ 269462 w 447675"/>
                  <a:gd name="connsiteY222" fmla="*/ 104489 h 685800"/>
                  <a:gd name="connsiteX223" fmla="*/ 269462 w 447675"/>
                  <a:gd name="connsiteY223" fmla="*/ 105347 h 685800"/>
                  <a:gd name="connsiteX224" fmla="*/ 270320 w 447675"/>
                  <a:gd name="connsiteY224" fmla="*/ 106204 h 685800"/>
                  <a:gd name="connsiteX225" fmla="*/ 272034 w 447675"/>
                  <a:gd name="connsiteY225" fmla="*/ 107061 h 685800"/>
                  <a:gd name="connsiteX226" fmla="*/ 273749 w 447675"/>
                  <a:gd name="connsiteY226" fmla="*/ 107918 h 685800"/>
                  <a:gd name="connsiteX227" fmla="*/ 274606 w 447675"/>
                  <a:gd name="connsiteY227" fmla="*/ 108776 h 685800"/>
                  <a:gd name="connsiteX228" fmla="*/ 274606 w 447675"/>
                  <a:gd name="connsiteY228" fmla="*/ 110490 h 685800"/>
                  <a:gd name="connsiteX229" fmla="*/ 274606 w 447675"/>
                  <a:gd name="connsiteY229" fmla="*/ 111347 h 685800"/>
                  <a:gd name="connsiteX230" fmla="*/ 274606 w 447675"/>
                  <a:gd name="connsiteY230" fmla="*/ 112205 h 685800"/>
                  <a:gd name="connsiteX231" fmla="*/ 274606 w 447675"/>
                  <a:gd name="connsiteY231" fmla="*/ 113062 h 685800"/>
                  <a:gd name="connsiteX232" fmla="*/ 273749 w 447675"/>
                  <a:gd name="connsiteY232" fmla="*/ 113062 h 685800"/>
                  <a:gd name="connsiteX233" fmla="*/ 273749 w 447675"/>
                  <a:gd name="connsiteY233" fmla="*/ 113062 h 685800"/>
                  <a:gd name="connsiteX234" fmla="*/ 272034 w 447675"/>
                  <a:gd name="connsiteY234" fmla="*/ 113062 h 685800"/>
                  <a:gd name="connsiteX235" fmla="*/ 270320 w 447675"/>
                  <a:gd name="connsiteY235" fmla="*/ 113062 h 685800"/>
                  <a:gd name="connsiteX236" fmla="*/ 269462 w 447675"/>
                  <a:gd name="connsiteY236" fmla="*/ 113919 h 685800"/>
                  <a:gd name="connsiteX237" fmla="*/ 266033 w 447675"/>
                  <a:gd name="connsiteY237" fmla="*/ 117348 h 685800"/>
                  <a:gd name="connsiteX238" fmla="*/ 264319 w 447675"/>
                  <a:gd name="connsiteY238" fmla="*/ 118205 h 685800"/>
                  <a:gd name="connsiteX239" fmla="*/ 260890 w 447675"/>
                  <a:gd name="connsiteY239" fmla="*/ 119063 h 685800"/>
                  <a:gd name="connsiteX240" fmla="*/ 260033 w 447675"/>
                  <a:gd name="connsiteY240" fmla="*/ 120777 h 685800"/>
                  <a:gd name="connsiteX241" fmla="*/ 258318 w 447675"/>
                  <a:gd name="connsiteY241" fmla="*/ 121634 h 685800"/>
                  <a:gd name="connsiteX242" fmla="*/ 254032 w 447675"/>
                  <a:gd name="connsiteY242" fmla="*/ 126683 h 685800"/>
                  <a:gd name="connsiteX243" fmla="*/ 251460 w 447675"/>
                  <a:gd name="connsiteY243" fmla="*/ 128397 h 685800"/>
                  <a:gd name="connsiteX244" fmla="*/ 249746 w 447675"/>
                  <a:gd name="connsiteY244" fmla="*/ 130969 h 685800"/>
                  <a:gd name="connsiteX245" fmla="*/ 248888 w 447675"/>
                  <a:gd name="connsiteY245" fmla="*/ 131826 h 685800"/>
                  <a:gd name="connsiteX246" fmla="*/ 246317 w 447675"/>
                  <a:gd name="connsiteY246" fmla="*/ 132683 h 685800"/>
                  <a:gd name="connsiteX247" fmla="*/ 245459 w 447675"/>
                  <a:gd name="connsiteY247" fmla="*/ 133541 h 685800"/>
                  <a:gd name="connsiteX248" fmla="*/ 242888 w 447675"/>
                  <a:gd name="connsiteY248" fmla="*/ 136112 h 685800"/>
                  <a:gd name="connsiteX249" fmla="*/ 242030 w 447675"/>
                  <a:gd name="connsiteY249" fmla="*/ 136112 h 685800"/>
                  <a:gd name="connsiteX250" fmla="*/ 241173 w 447675"/>
                  <a:gd name="connsiteY250" fmla="*/ 136970 h 685800"/>
                  <a:gd name="connsiteX251" fmla="*/ 240316 w 447675"/>
                  <a:gd name="connsiteY251" fmla="*/ 136112 h 685800"/>
                  <a:gd name="connsiteX252" fmla="*/ 239459 w 447675"/>
                  <a:gd name="connsiteY252" fmla="*/ 136112 h 685800"/>
                  <a:gd name="connsiteX253" fmla="*/ 238601 w 447675"/>
                  <a:gd name="connsiteY253" fmla="*/ 136970 h 685800"/>
                  <a:gd name="connsiteX254" fmla="*/ 237744 w 447675"/>
                  <a:gd name="connsiteY254" fmla="*/ 137827 h 685800"/>
                  <a:gd name="connsiteX255" fmla="*/ 233458 w 447675"/>
                  <a:gd name="connsiteY255" fmla="*/ 142018 h 685800"/>
                  <a:gd name="connsiteX256" fmla="*/ 226600 w 447675"/>
                  <a:gd name="connsiteY256" fmla="*/ 148781 h 685800"/>
                  <a:gd name="connsiteX257" fmla="*/ 223171 w 447675"/>
                  <a:gd name="connsiteY257" fmla="*/ 151352 h 685800"/>
                  <a:gd name="connsiteX258" fmla="*/ 222313 w 447675"/>
                  <a:gd name="connsiteY258" fmla="*/ 153067 h 685800"/>
                  <a:gd name="connsiteX259" fmla="*/ 221456 w 447675"/>
                  <a:gd name="connsiteY259" fmla="*/ 153924 h 685800"/>
                  <a:gd name="connsiteX260" fmla="*/ 221456 w 447675"/>
                  <a:gd name="connsiteY260" fmla="*/ 154781 h 685800"/>
                  <a:gd name="connsiteX261" fmla="*/ 221456 w 447675"/>
                  <a:gd name="connsiteY261" fmla="*/ 154781 h 685800"/>
                  <a:gd name="connsiteX262" fmla="*/ 222313 w 447675"/>
                  <a:gd name="connsiteY262" fmla="*/ 155639 h 685800"/>
                  <a:gd name="connsiteX263" fmla="*/ 221456 w 447675"/>
                  <a:gd name="connsiteY263" fmla="*/ 157353 h 685800"/>
                  <a:gd name="connsiteX264" fmla="*/ 221456 w 447675"/>
                  <a:gd name="connsiteY264" fmla="*/ 158210 h 685800"/>
                  <a:gd name="connsiteX265" fmla="*/ 220599 w 447675"/>
                  <a:gd name="connsiteY265" fmla="*/ 162401 h 685800"/>
                  <a:gd name="connsiteX266" fmla="*/ 220599 w 447675"/>
                  <a:gd name="connsiteY266" fmla="*/ 162401 h 685800"/>
                  <a:gd name="connsiteX267" fmla="*/ 219742 w 447675"/>
                  <a:gd name="connsiteY267" fmla="*/ 163259 h 685800"/>
                  <a:gd name="connsiteX268" fmla="*/ 218884 w 447675"/>
                  <a:gd name="connsiteY268" fmla="*/ 163259 h 685800"/>
                  <a:gd name="connsiteX269" fmla="*/ 218027 w 447675"/>
                  <a:gd name="connsiteY269" fmla="*/ 164116 h 685800"/>
                  <a:gd name="connsiteX270" fmla="*/ 217170 w 447675"/>
                  <a:gd name="connsiteY270" fmla="*/ 164116 h 685800"/>
                  <a:gd name="connsiteX271" fmla="*/ 217170 w 447675"/>
                  <a:gd name="connsiteY271" fmla="*/ 164973 h 685800"/>
                  <a:gd name="connsiteX272" fmla="*/ 217170 w 447675"/>
                  <a:gd name="connsiteY272" fmla="*/ 165830 h 685800"/>
                  <a:gd name="connsiteX273" fmla="*/ 217170 w 447675"/>
                  <a:gd name="connsiteY273" fmla="*/ 166688 h 685800"/>
                  <a:gd name="connsiteX274" fmla="*/ 218027 w 447675"/>
                  <a:gd name="connsiteY274" fmla="*/ 167545 h 685800"/>
                  <a:gd name="connsiteX275" fmla="*/ 218027 w 447675"/>
                  <a:gd name="connsiteY275" fmla="*/ 167545 h 685800"/>
                  <a:gd name="connsiteX276" fmla="*/ 218027 w 447675"/>
                  <a:gd name="connsiteY276" fmla="*/ 168402 h 685800"/>
                  <a:gd name="connsiteX277" fmla="*/ 218027 w 447675"/>
                  <a:gd name="connsiteY277" fmla="*/ 168402 h 685800"/>
                  <a:gd name="connsiteX278" fmla="*/ 218884 w 447675"/>
                  <a:gd name="connsiteY278" fmla="*/ 169259 h 685800"/>
                  <a:gd name="connsiteX279" fmla="*/ 218884 w 447675"/>
                  <a:gd name="connsiteY279" fmla="*/ 170117 h 685800"/>
                  <a:gd name="connsiteX280" fmla="*/ 221456 w 447675"/>
                  <a:gd name="connsiteY280" fmla="*/ 170974 h 685800"/>
                  <a:gd name="connsiteX281" fmla="*/ 224885 w 447675"/>
                  <a:gd name="connsiteY281" fmla="*/ 172688 h 685800"/>
                  <a:gd name="connsiteX282" fmla="*/ 225742 w 447675"/>
                  <a:gd name="connsiteY282" fmla="*/ 173546 h 685800"/>
                  <a:gd name="connsiteX283" fmla="*/ 227457 w 447675"/>
                  <a:gd name="connsiteY283" fmla="*/ 176117 h 685800"/>
                  <a:gd name="connsiteX284" fmla="*/ 227457 w 447675"/>
                  <a:gd name="connsiteY284" fmla="*/ 176975 h 685800"/>
                  <a:gd name="connsiteX285" fmla="*/ 228314 w 447675"/>
                  <a:gd name="connsiteY285" fmla="*/ 177832 h 685800"/>
                  <a:gd name="connsiteX286" fmla="*/ 229171 w 447675"/>
                  <a:gd name="connsiteY286" fmla="*/ 178689 h 685800"/>
                  <a:gd name="connsiteX287" fmla="*/ 229171 w 447675"/>
                  <a:gd name="connsiteY287" fmla="*/ 180404 h 685800"/>
                  <a:gd name="connsiteX288" fmla="*/ 230029 w 447675"/>
                  <a:gd name="connsiteY288" fmla="*/ 182118 h 685800"/>
                  <a:gd name="connsiteX289" fmla="*/ 230886 w 447675"/>
                  <a:gd name="connsiteY289" fmla="*/ 182975 h 685800"/>
                  <a:gd name="connsiteX290" fmla="*/ 233458 w 447675"/>
                  <a:gd name="connsiteY290" fmla="*/ 184690 h 685800"/>
                  <a:gd name="connsiteX291" fmla="*/ 234315 w 447675"/>
                  <a:gd name="connsiteY291" fmla="*/ 187262 h 685800"/>
                  <a:gd name="connsiteX292" fmla="*/ 241173 w 447675"/>
                  <a:gd name="connsiteY292" fmla="*/ 189833 h 685800"/>
                  <a:gd name="connsiteX293" fmla="*/ 244602 w 447675"/>
                  <a:gd name="connsiteY293" fmla="*/ 192405 h 685800"/>
                  <a:gd name="connsiteX294" fmla="*/ 245459 w 447675"/>
                  <a:gd name="connsiteY294" fmla="*/ 194120 h 685800"/>
                  <a:gd name="connsiteX295" fmla="*/ 246317 w 447675"/>
                  <a:gd name="connsiteY295" fmla="*/ 194977 h 685800"/>
                  <a:gd name="connsiteX296" fmla="*/ 246317 w 447675"/>
                  <a:gd name="connsiteY296" fmla="*/ 198406 h 685800"/>
                  <a:gd name="connsiteX297" fmla="*/ 247174 w 447675"/>
                  <a:gd name="connsiteY297" fmla="*/ 200120 h 685800"/>
                  <a:gd name="connsiteX298" fmla="*/ 247174 w 447675"/>
                  <a:gd name="connsiteY298" fmla="*/ 200978 h 685800"/>
                  <a:gd name="connsiteX299" fmla="*/ 247174 w 447675"/>
                  <a:gd name="connsiteY299" fmla="*/ 201835 h 685800"/>
                  <a:gd name="connsiteX300" fmla="*/ 247174 w 447675"/>
                  <a:gd name="connsiteY300" fmla="*/ 205264 h 685800"/>
                  <a:gd name="connsiteX301" fmla="*/ 246317 w 447675"/>
                  <a:gd name="connsiteY301" fmla="*/ 208693 h 685800"/>
                  <a:gd name="connsiteX302" fmla="*/ 245459 w 447675"/>
                  <a:gd name="connsiteY302" fmla="*/ 210407 h 685800"/>
                  <a:gd name="connsiteX303" fmla="*/ 246317 w 447675"/>
                  <a:gd name="connsiteY303" fmla="*/ 210407 h 685800"/>
                  <a:gd name="connsiteX304" fmla="*/ 246317 w 447675"/>
                  <a:gd name="connsiteY304" fmla="*/ 211265 h 685800"/>
                  <a:gd name="connsiteX305" fmla="*/ 247174 w 447675"/>
                  <a:gd name="connsiteY305" fmla="*/ 212122 h 685800"/>
                  <a:gd name="connsiteX306" fmla="*/ 248031 w 447675"/>
                  <a:gd name="connsiteY306" fmla="*/ 212979 h 685800"/>
                  <a:gd name="connsiteX307" fmla="*/ 248031 w 447675"/>
                  <a:gd name="connsiteY307" fmla="*/ 213836 h 685800"/>
                  <a:gd name="connsiteX308" fmla="*/ 248031 w 447675"/>
                  <a:gd name="connsiteY308" fmla="*/ 215551 h 685800"/>
                  <a:gd name="connsiteX309" fmla="*/ 248888 w 447675"/>
                  <a:gd name="connsiteY309" fmla="*/ 217265 h 685800"/>
                  <a:gd name="connsiteX310" fmla="*/ 241173 w 447675"/>
                  <a:gd name="connsiteY310" fmla="*/ 215551 h 685800"/>
                  <a:gd name="connsiteX311" fmla="*/ 240316 w 447675"/>
                  <a:gd name="connsiteY311" fmla="*/ 215551 h 685800"/>
                  <a:gd name="connsiteX312" fmla="*/ 239459 w 447675"/>
                  <a:gd name="connsiteY312" fmla="*/ 214694 h 685800"/>
                  <a:gd name="connsiteX313" fmla="*/ 239459 w 447675"/>
                  <a:gd name="connsiteY313" fmla="*/ 213836 h 685800"/>
                  <a:gd name="connsiteX314" fmla="*/ 238601 w 447675"/>
                  <a:gd name="connsiteY314" fmla="*/ 212122 h 685800"/>
                  <a:gd name="connsiteX315" fmla="*/ 236029 w 447675"/>
                  <a:gd name="connsiteY315" fmla="*/ 212122 h 685800"/>
                  <a:gd name="connsiteX316" fmla="*/ 234315 w 447675"/>
                  <a:gd name="connsiteY316" fmla="*/ 212979 h 685800"/>
                  <a:gd name="connsiteX317" fmla="*/ 232600 w 447675"/>
                  <a:gd name="connsiteY317" fmla="*/ 214694 h 685800"/>
                  <a:gd name="connsiteX318" fmla="*/ 228314 w 447675"/>
                  <a:gd name="connsiteY318" fmla="*/ 215551 h 685800"/>
                  <a:gd name="connsiteX319" fmla="*/ 227457 w 447675"/>
                  <a:gd name="connsiteY319" fmla="*/ 215551 h 685800"/>
                  <a:gd name="connsiteX320" fmla="*/ 227457 w 447675"/>
                  <a:gd name="connsiteY320" fmla="*/ 216408 h 685800"/>
                  <a:gd name="connsiteX321" fmla="*/ 227457 w 447675"/>
                  <a:gd name="connsiteY321" fmla="*/ 216408 h 685800"/>
                  <a:gd name="connsiteX322" fmla="*/ 227457 w 447675"/>
                  <a:gd name="connsiteY322" fmla="*/ 216408 h 685800"/>
                  <a:gd name="connsiteX323" fmla="*/ 226600 w 447675"/>
                  <a:gd name="connsiteY323" fmla="*/ 218123 h 685800"/>
                  <a:gd name="connsiteX324" fmla="*/ 225742 w 447675"/>
                  <a:gd name="connsiteY324" fmla="*/ 218980 h 685800"/>
                  <a:gd name="connsiteX325" fmla="*/ 224028 w 447675"/>
                  <a:gd name="connsiteY325" fmla="*/ 219837 h 685800"/>
                  <a:gd name="connsiteX326" fmla="*/ 220599 w 447675"/>
                  <a:gd name="connsiteY326" fmla="*/ 221552 h 685800"/>
                  <a:gd name="connsiteX327" fmla="*/ 217170 w 447675"/>
                  <a:gd name="connsiteY327" fmla="*/ 222409 h 685800"/>
                  <a:gd name="connsiteX328" fmla="*/ 215455 w 447675"/>
                  <a:gd name="connsiteY328" fmla="*/ 224123 h 685800"/>
                  <a:gd name="connsiteX329" fmla="*/ 215455 w 447675"/>
                  <a:gd name="connsiteY329" fmla="*/ 224123 h 685800"/>
                  <a:gd name="connsiteX330" fmla="*/ 215455 w 447675"/>
                  <a:gd name="connsiteY330" fmla="*/ 224981 h 685800"/>
                  <a:gd name="connsiteX331" fmla="*/ 214598 w 447675"/>
                  <a:gd name="connsiteY331" fmla="*/ 224981 h 685800"/>
                  <a:gd name="connsiteX332" fmla="*/ 214598 w 447675"/>
                  <a:gd name="connsiteY332" fmla="*/ 225838 h 685800"/>
                  <a:gd name="connsiteX333" fmla="*/ 214598 w 447675"/>
                  <a:gd name="connsiteY333" fmla="*/ 225838 h 685800"/>
                  <a:gd name="connsiteX334" fmla="*/ 212884 w 447675"/>
                  <a:gd name="connsiteY334" fmla="*/ 226695 h 685800"/>
                  <a:gd name="connsiteX335" fmla="*/ 212884 w 447675"/>
                  <a:gd name="connsiteY335" fmla="*/ 227552 h 685800"/>
                  <a:gd name="connsiteX336" fmla="*/ 212026 w 447675"/>
                  <a:gd name="connsiteY336" fmla="*/ 228410 h 685800"/>
                  <a:gd name="connsiteX337" fmla="*/ 212026 w 447675"/>
                  <a:gd name="connsiteY337" fmla="*/ 228410 h 685800"/>
                  <a:gd name="connsiteX338" fmla="*/ 212884 w 447675"/>
                  <a:gd name="connsiteY338" fmla="*/ 228410 h 685800"/>
                  <a:gd name="connsiteX339" fmla="*/ 213741 w 447675"/>
                  <a:gd name="connsiteY339" fmla="*/ 229267 h 685800"/>
                  <a:gd name="connsiteX340" fmla="*/ 214598 w 447675"/>
                  <a:gd name="connsiteY340" fmla="*/ 229267 h 685800"/>
                  <a:gd name="connsiteX341" fmla="*/ 214598 w 447675"/>
                  <a:gd name="connsiteY341" fmla="*/ 230124 h 685800"/>
                  <a:gd name="connsiteX342" fmla="*/ 214598 w 447675"/>
                  <a:gd name="connsiteY342" fmla="*/ 230981 h 685800"/>
                  <a:gd name="connsiteX343" fmla="*/ 215455 w 447675"/>
                  <a:gd name="connsiteY343" fmla="*/ 231839 h 685800"/>
                  <a:gd name="connsiteX344" fmla="*/ 215455 w 447675"/>
                  <a:gd name="connsiteY344" fmla="*/ 231839 h 685800"/>
                  <a:gd name="connsiteX345" fmla="*/ 215455 w 447675"/>
                  <a:gd name="connsiteY345" fmla="*/ 232696 h 685800"/>
                  <a:gd name="connsiteX346" fmla="*/ 216313 w 447675"/>
                  <a:gd name="connsiteY346" fmla="*/ 232696 h 685800"/>
                  <a:gd name="connsiteX347" fmla="*/ 216313 w 447675"/>
                  <a:gd name="connsiteY347" fmla="*/ 232696 h 685800"/>
                  <a:gd name="connsiteX348" fmla="*/ 217170 w 447675"/>
                  <a:gd name="connsiteY348" fmla="*/ 231839 h 685800"/>
                  <a:gd name="connsiteX349" fmla="*/ 218027 w 447675"/>
                  <a:gd name="connsiteY349" fmla="*/ 231839 h 685800"/>
                  <a:gd name="connsiteX350" fmla="*/ 218027 w 447675"/>
                  <a:gd name="connsiteY350" fmla="*/ 232696 h 685800"/>
                  <a:gd name="connsiteX351" fmla="*/ 218884 w 447675"/>
                  <a:gd name="connsiteY351" fmla="*/ 232696 h 685800"/>
                  <a:gd name="connsiteX352" fmla="*/ 219742 w 447675"/>
                  <a:gd name="connsiteY352" fmla="*/ 233553 h 685800"/>
                  <a:gd name="connsiteX353" fmla="*/ 219742 w 447675"/>
                  <a:gd name="connsiteY353" fmla="*/ 234410 h 685800"/>
                  <a:gd name="connsiteX354" fmla="*/ 220599 w 447675"/>
                  <a:gd name="connsiteY354" fmla="*/ 235268 h 685800"/>
                  <a:gd name="connsiteX355" fmla="*/ 220599 w 447675"/>
                  <a:gd name="connsiteY355" fmla="*/ 237839 h 685800"/>
                  <a:gd name="connsiteX356" fmla="*/ 221456 w 447675"/>
                  <a:gd name="connsiteY356" fmla="*/ 240411 h 685800"/>
                  <a:gd name="connsiteX357" fmla="*/ 223171 w 447675"/>
                  <a:gd name="connsiteY357" fmla="*/ 242126 h 685800"/>
                  <a:gd name="connsiteX358" fmla="*/ 223171 w 447675"/>
                  <a:gd name="connsiteY358" fmla="*/ 243840 h 685800"/>
                  <a:gd name="connsiteX359" fmla="*/ 220599 w 447675"/>
                  <a:gd name="connsiteY359" fmla="*/ 247269 h 685800"/>
                  <a:gd name="connsiteX360" fmla="*/ 217170 w 447675"/>
                  <a:gd name="connsiteY360" fmla="*/ 250698 h 685800"/>
                  <a:gd name="connsiteX361" fmla="*/ 217170 w 447675"/>
                  <a:gd name="connsiteY361" fmla="*/ 252413 h 685800"/>
                  <a:gd name="connsiteX362" fmla="*/ 216313 w 447675"/>
                  <a:gd name="connsiteY362" fmla="*/ 254127 h 685800"/>
                  <a:gd name="connsiteX363" fmla="*/ 215455 w 447675"/>
                  <a:gd name="connsiteY363" fmla="*/ 254984 h 685800"/>
                  <a:gd name="connsiteX364" fmla="*/ 215455 w 447675"/>
                  <a:gd name="connsiteY364" fmla="*/ 256699 h 685800"/>
                  <a:gd name="connsiteX365" fmla="*/ 215455 w 447675"/>
                  <a:gd name="connsiteY365" fmla="*/ 257556 h 685800"/>
                  <a:gd name="connsiteX366" fmla="*/ 215455 w 447675"/>
                  <a:gd name="connsiteY366" fmla="*/ 259271 h 685800"/>
                  <a:gd name="connsiteX367" fmla="*/ 216313 w 447675"/>
                  <a:gd name="connsiteY367" fmla="*/ 261842 h 685800"/>
                  <a:gd name="connsiteX368" fmla="*/ 216313 w 447675"/>
                  <a:gd name="connsiteY368" fmla="*/ 262700 h 685800"/>
                  <a:gd name="connsiteX369" fmla="*/ 216313 w 447675"/>
                  <a:gd name="connsiteY369" fmla="*/ 264414 h 685800"/>
                  <a:gd name="connsiteX370" fmla="*/ 216313 w 447675"/>
                  <a:gd name="connsiteY370" fmla="*/ 265271 h 685800"/>
                  <a:gd name="connsiteX371" fmla="*/ 216313 w 447675"/>
                  <a:gd name="connsiteY371" fmla="*/ 266129 h 685800"/>
                  <a:gd name="connsiteX372" fmla="*/ 217170 w 447675"/>
                  <a:gd name="connsiteY372" fmla="*/ 266986 h 685800"/>
                  <a:gd name="connsiteX373" fmla="*/ 218027 w 447675"/>
                  <a:gd name="connsiteY373" fmla="*/ 266986 h 685800"/>
                  <a:gd name="connsiteX374" fmla="*/ 218027 w 447675"/>
                  <a:gd name="connsiteY374" fmla="*/ 266986 h 685800"/>
                  <a:gd name="connsiteX375" fmla="*/ 222313 w 447675"/>
                  <a:gd name="connsiteY375" fmla="*/ 272034 h 685800"/>
                  <a:gd name="connsiteX376" fmla="*/ 223171 w 447675"/>
                  <a:gd name="connsiteY376" fmla="*/ 272034 h 685800"/>
                  <a:gd name="connsiteX377" fmla="*/ 224028 w 447675"/>
                  <a:gd name="connsiteY377" fmla="*/ 273749 h 685800"/>
                  <a:gd name="connsiteX378" fmla="*/ 224885 w 447675"/>
                  <a:gd name="connsiteY378" fmla="*/ 276320 h 685800"/>
                  <a:gd name="connsiteX379" fmla="*/ 227457 w 447675"/>
                  <a:gd name="connsiteY379" fmla="*/ 284798 h 685800"/>
                  <a:gd name="connsiteX380" fmla="*/ 227457 w 447675"/>
                  <a:gd name="connsiteY380" fmla="*/ 287369 h 685800"/>
                  <a:gd name="connsiteX381" fmla="*/ 227457 w 447675"/>
                  <a:gd name="connsiteY381" fmla="*/ 290798 h 685800"/>
                  <a:gd name="connsiteX382" fmla="*/ 227457 w 447675"/>
                  <a:gd name="connsiteY382" fmla="*/ 291656 h 685800"/>
                  <a:gd name="connsiteX383" fmla="*/ 225742 w 447675"/>
                  <a:gd name="connsiteY383" fmla="*/ 294227 h 685800"/>
                  <a:gd name="connsiteX384" fmla="*/ 225742 w 447675"/>
                  <a:gd name="connsiteY384" fmla="*/ 295942 h 685800"/>
                  <a:gd name="connsiteX385" fmla="*/ 224885 w 447675"/>
                  <a:gd name="connsiteY385" fmla="*/ 301847 h 685800"/>
                  <a:gd name="connsiteX386" fmla="*/ 224885 w 447675"/>
                  <a:gd name="connsiteY386" fmla="*/ 301847 h 685800"/>
                  <a:gd name="connsiteX387" fmla="*/ 224885 w 447675"/>
                  <a:gd name="connsiteY387" fmla="*/ 302705 h 685800"/>
                  <a:gd name="connsiteX388" fmla="*/ 224028 w 447675"/>
                  <a:gd name="connsiteY388" fmla="*/ 303562 h 685800"/>
                  <a:gd name="connsiteX389" fmla="*/ 223171 w 447675"/>
                  <a:gd name="connsiteY389" fmla="*/ 302705 h 685800"/>
                  <a:gd name="connsiteX390" fmla="*/ 222313 w 447675"/>
                  <a:gd name="connsiteY390" fmla="*/ 302705 h 685800"/>
                  <a:gd name="connsiteX391" fmla="*/ 221456 w 447675"/>
                  <a:gd name="connsiteY391" fmla="*/ 301847 h 685800"/>
                  <a:gd name="connsiteX392" fmla="*/ 220599 w 447675"/>
                  <a:gd name="connsiteY392" fmla="*/ 302705 h 685800"/>
                  <a:gd name="connsiteX393" fmla="*/ 219742 w 447675"/>
                  <a:gd name="connsiteY393" fmla="*/ 303562 h 685800"/>
                  <a:gd name="connsiteX394" fmla="*/ 219742 w 447675"/>
                  <a:gd name="connsiteY394" fmla="*/ 304419 h 685800"/>
                  <a:gd name="connsiteX395" fmla="*/ 220599 w 447675"/>
                  <a:gd name="connsiteY395" fmla="*/ 305276 h 685800"/>
                  <a:gd name="connsiteX396" fmla="*/ 221456 w 447675"/>
                  <a:gd name="connsiteY396" fmla="*/ 306134 h 685800"/>
                  <a:gd name="connsiteX397" fmla="*/ 222313 w 447675"/>
                  <a:gd name="connsiteY397" fmla="*/ 306134 h 685800"/>
                  <a:gd name="connsiteX398" fmla="*/ 224885 w 447675"/>
                  <a:gd name="connsiteY398" fmla="*/ 306991 h 685800"/>
                  <a:gd name="connsiteX399" fmla="*/ 224885 w 447675"/>
                  <a:gd name="connsiteY399" fmla="*/ 306991 h 685800"/>
                  <a:gd name="connsiteX400" fmla="*/ 225742 w 447675"/>
                  <a:gd name="connsiteY400" fmla="*/ 307848 h 685800"/>
                  <a:gd name="connsiteX401" fmla="*/ 226600 w 447675"/>
                  <a:gd name="connsiteY401" fmla="*/ 309563 h 685800"/>
                  <a:gd name="connsiteX402" fmla="*/ 226600 w 447675"/>
                  <a:gd name="connsiteY402" fmla="*/ 310420 h 685800"/>
                  <a:gd name="connsiteX403" fmla="*/ 227457 w 447675"/>
                  <a:gd name="connsiteY403" fmla="*/ 312134 h 685800"/>
                  <a:gd name="connsiteX404" fmla="*/ 227457 w 447675"/>
                  <a:gd name="connsiteY404" fmla="*/ 313849 h 685800"/>
                  <a:gd name="connsiteX405" fmla="*/ 227457 w 447675"/>
                  <a:gd name="connsiteY405" fmla="*/ 314706 h 685800"/>
                  <a:gd name="connsiteX406" fmla="*/ 228314 w 447675"/>
                  <a:gd name="connsiteY406" fmla="*/ 315563 h 685800"/>
                  <a:gd name="connsiteX407" fmla="*/ 228314 w 447675"/>
                  <a:gd name="connsiteY407" fmla="*/ 316421 h 685800"/>
                  <a:gd name="connsiteX408" fmla="*/ 229171 w 447675"/>
                  <a:gd name="connsiteY408" fmla="*/ 317278 h 685800"/>
                  <a:gd name="connsiteX409" fmla="*/ 229171 w 447675"/>
                  <a:gd name="connsiteY409" fmla="*/ 318135 h 685800"/>
                  <a:gd name="connsiteX410" fmla="*/ 229171 w 447675"/>
                  <a:gd name="connsiteY410" fmla="*/ 318992 h 685800"/>
                  <a:gd name="connsiteX411" fmla="*/ 227457 w 447675"/>
                  <a:gd name="connsiteY411" fmla="*/ 319850 h 685800"/>
                  <a:gd name="connsiteX412" fmla="*/ 226600 w 447675"/>
                  <a:gd name="connsiteY412" fmla="*/ 320707 h 685800"/>
                  <a:gd name="connsiteX413" fmla="*/ 226600 w 447675"/>
                  <a:gd name="connsiteY413" fmla="*/ 322421 h 685800"/>
                  <a:gd name="connsiteX414" fmla="*/ 226600 w 447675"/>
                  <a:gd name="connsiteY414" fmla="*/ 322421 h 685800"/>
                  <a:gd name="connsiteX415" fmla="*/ 227457 w 447675"/>
                  <a:gd name="connsiteY415" fmla="*/ 323279 h 685800"/>
                  <a:gd name="connsiteX416" fmla="*/ 228314 w 447675"/>
                  <a:gd name="connsiteY416" fmla="*/ 323279 h 685800"/>
                  <a:gd name="connsiteX417" fmla="*/ 230029 w 447675"/>
                  <a:gd name="connsiteY417" fmla="*/ 323279 h 685800"/>
                  <a:gd name="connsiteX418" fmla="*/ 229171 w 447675"/>
                  <a:gd name="connsiteY418" fmla="*/ 325850 h 685800"/>
                  <a:gd name="connsiteX419" fmla="*/ 228314 w 447675"/>
                  <a:gd name="connsiteY419" fmla="*/ 326708 h 685800"/>
                  <a:gd name="connsiteX420" fmla="*/ 227457 w 447675"/>
                  <a:gd name="connsiteY420" fmla="*/ 327565 h 685800"/>
                  <a:gd name="connsiteX421" fmla="*/ 225742 w 447675"/>
                  <a:gd name="connsiteY421" fmla="*/ 328422 h 685800"/>
                  <a:gd name="connsiteX422" fmla="*/ 224028 w 447675"/>
                  <a:gd name="connsiteY422" fmla="*/ 328422 h 685800"/>
                  <a:gd name="connsiteX423" fmla="*/ 222313 w 447675"/>
                  <a:gd name="connsiteY423" fmla="*/ 328422 h 685800"/>
                  <a:gd name="connsiteX424" fmla="*/ 221456 w 447675"/>
                  <a:gd name="connsiteY424" fmla="*/ 328422 h 685800"/>
                  <a:gd name="connsiteX425" fmla="*/ 219742 w 447675"/>
                  <a:gd name="connsiteY425" fmla="*/ 327565 h 685800"/>
                  <a:gd name="connsiteX426" fmla="*/ 218884 w 447675"/>
                  <a:gd name="connsiteY426" fmla="*/ 327565 h 685800"/>
                  <a:gd name="connsiteX427" fmla="*/ 218027 w 447675"/>
                  <a:gd name="connsiteY427" fmla="*/ 326708 h 685800"/>
                  <a:gd name="connsiteX428" fmla="*/ 216313 w 447675"/>
                  <a:gd name="connsiteY428" fmla="*/ 325850 h 685800"/>
                  <a:gd name="connsiteX429" fmla="*/ 215455 w 447675"/>
                  <a:gd name="connsiteY429" fmla="*/ 325850 h 685800"/>
                  <a:gd name="connsiteX430" fmla="*/ 213741 w 447675"/>
                  <a:gd name="connsiteY430" fmla="*/ 325850 h 685800"/>
                  <a:gd name="connsiteX431" fmla="*/ 212884 w 447675"/>
                  <a:gd name="connsiteY431" fmla="*/ 326708 h 685800"/>
                  <a:gd name="connsiteX432" fmla="*/ 212884 w 447675"/>
                  <a:gd name="connsiteY432" fmla="*/ 327565 h 685800"/>
                  <a:gd name="connsiteX433" fmla="*/ 214598 w 447675"/>
                  <a:gd name="connsiteY433" fmla="*/ 328422 h 685800"/>
                  <a:gd name="connsiteX434" fmla="*/ 215455 w 447675"/>
                  <a:gd name="connsiteY434" fmla="*/ 328422 h 685800"/>
                  <a:gd name="connsiteX435" fmla="*/ 216313 w 447675"/>
                  <a:gd name="connsiteY435" fmla="*/ 329279 h 685800"/>
                  <a:gd name="connsiteX436" fmla="*/ 217170 w 447675"/>
                  <a:gd name="connsiteY436" fmla="*/ 330137 h 685800"/>
                  <a:gd name="connsiteX437" fmla="*/ 218027 w 447675"/>
                  <a:gd name="connsiteY437" fmla="*/ 330994 h 685800"/>
                  <a:gd name="connsiteX438" fmla="*/ 217170 w 447675"/>
                  <a:gd name="connsiteY438" fmla="*/ 334423 h 685800"/>
                  <a:gd name="connsiteX439" fmla="*/ 217170 w 447675"/>
                  <a:gd name="connsiteY439" fmla="*/ 335280 h 685800"/>
                  <a:gd name="connsiteX440" fmla="*/ 218027 w 447675"/>
                  <a:gd name="connsiteY440" fmla="*/ 336995 h 685800"/>
                  <a:gd name="connsiteX441" fmla="*/ 218884 w 447675"/>
                  <a:gd name="connsiteY441" fmla="*/ 337852 h 685800"/>
                  <a:gd name="connsiteX442" fmla="*/ 218884 w 447675"/>
                  <a:gd name="connsiteY442" fmla="*/ 338709 h 685800"/>
                  <a:gd name="connsiteX443" fmla="*/ 218884 w 447675"/>
                  <a:gd name="connsiteY443" fmla="*/ 338709 h 685800"/>
                  <a:gd name="connsiteX444" fmla="*/ 218027 w 447675"/>
                  <a:gd name="connsiteY444" fmla="*/ 340424 h 685800"/>
                  <a:gd name="connsiteX445" fmla="*/ 217170 w 447675"/>
                  <a:gd name="connsiteY445" fmla="*/ 340424 h 685800"/>
                  <a:gd name="connsiteX446" fmla="*/ 216313 w 447675"/>
                  <a:gd name="connsiteY446" fmla="*/ 342138 h 685800"/>
                  <a:gd name="connsiteX447" fmla="*/ 216313 w 447675"/>
                  <a:gd name="connsiteY447" fmla="*/ 342995 h 685800"/>
                  <a:gd name="connsiteX448" fmla="*/ 216313 w 447675"/>
                  <a:gd name="connsiteY448" fmla="*/ 343853 h 685800"/>
                  <a:gd name="connsiteX449" fmla="*/ 216313 w 447675"/>
                  <a:gd name="connsiteY449" fmla="*/ 344710 h 685800"/>
                  <a:gd name="connsiteX450" fmla="*/ 216313 w 447675"/>
                  <a:gd name="connsiteY450" fmla="*/ 346424 h 685800"/>
                  <a:gd name="connsiteX451" fmla="*/ 216313 w 447675"/>
                  <a:gd name="connsiteY451" fmla="*/ 348139 h 685800"/>
                  <a:gd name="connsiteX452" fmla="*/ 211169 w 447675"/>
                  <a:gd name="connsiteY452" fmla="*/ 358331 h 685800"/>
                  <a:gd name="connsiteX453" fmla="*/ 209455 w 447675"/>
                  <a:gd name="connsiteY453" fmla="*/ 360902 h 685800"/>
                  <a:gd name="connsiteX454" fmla="*/ 206883 w 447675"/>
                  <a:gd name="connsiteY454" fmla="*/ 363474 h 685800"/>
                  <a:gd name="connsiteX455" fmla="*/ 203454 w 447675"/>
                  <a:gd name="connsiteY455" fmla="*/ 365189 h 685800"/>
                  <a:gd name="connsiteX456" fmla="*/ 201739 w 447675"/>
                  <a:gd name="connsiteY456" fmla="*/ 365189 h 685800"/>
                  <a:gd name="connsiteX457" fmla="*/ 200025 w 447675"/>
                  <a:gd name="connsiteY457" fmla="*/ 366046 h 685800"/>
                  <a:gd name="connsiteX458" fmla="*/ 199168 w 447675"/>
                  <a:gd name="connsiteY458" fmla="*/ 367760 h 685800"/>
                  <a:gd name="connsiteX459" fmla="*/ 198310 w 447675"/>
                  <a:gd name="connsiteY459" fmla="*/ 368618 h 685800"/>
                  <a:gd name="connsiteX460" fmla="*/ 199168 w 447675"/>
                  <a:gd name="connsiteY460" fmla="*/ 370332 h 685800"/>
                  <a:gd name="connsiteX461" fmla="*/ 199168 w 447675"/>
                  <a:gd name="connsiteY461" fmla="*/ 371189 h 685800"/>
                  <a:gd name="connsiteX462" fmla="*/ 199168 w 447675"/>
                  <a:gd name="connsiteY462" fmla="*/ 372047 h 685800"/>
                  <a:gd name="connsiteX463" fmla="*/ 199168 w 447675"/>
                  <a:gd name="connsiteY463" fmla="*/ 372047 h 685800"/>
                  <a:gd name="connsiteX464" fmla="*/ 200025 w 447675"/>
                  <a:gd name="connsiteY464" fmla="*/ 372047 h 685800"/>
                  <a:gd name="connsiteX465" fmla="*/ 200882 w 447675"/>
                  <a:gd name="connsiteY465" fmla="*/ 372047 h 685800"/>
                  <a:gd name="connsiteX466" fmla="*/ 201739 w 447675"/>
                  <a:gd name="connsiteY466" fmla="*/ 372047 h 685800"/>
                  <a:gd name="connsiteX467" fmla="*/ 201739 w 447675"/>
                  <a:gd name="connsiteY467" fmla="*/ 372904 h 685800"/>
                  <a:gd name="connsiteX468" fmla="*/ 203454 w 447675"/>
                  <a:gd name="connsiteY468" fmla="*/ 374618 h 685800"/>
                  <a:gd name="connsiteX469" fmla="*/ 203454 w 447675"/>
                  <a:gd name="connsiteY469" fmla="*/ 376333 h 685800"/>
                  <a:gd name="connsiteX470" fmla="*/ 201739 w 447675"/>
                  <a:gd name="connsiteY470" fmla="*/ 377190 h 685800"/>
                  <a:gd name="connsiteX471" fmla="*/ 200025 w 447675"/>
                  <a:gd name="connsiteY471" fmla="*/ 377190 h 685800"/>
                  <a:gd name="connsiteX472" fmla="*/ 196596 w 447675"/>
                  <a:gd name="connsiteY472" fmla="*/ 377190 h 685800"/>
                  <a:gd name="connsiteX473" fmla="*/ 195739 w 447675"/>
                  <a:gd name="connsiteY473" fmla="*/ 377190 h 685800"/>
                  <a:gd name="connsiteX474" fmla="*/ 194881 w 447675"/>
                  <a:gd name="connsiteY474" fmla="*/ 378047 h 685800"/>
                  <a:gd name="connsiteX475" fmla="*/ 194881 w 447675"/>
                  <a:gd name="connsiteY475" fmla="*/ 381476 h 685800"/>
                  <a:gd name="connsiteX476" fmla="*/ 194024 w 447675"/>
                  <a:gd name="connsiteY476" fmla="*/ 382334 h 685800"/>
                  <a:gd name="connsiteX477" fmla="*/ 193167 w 447675"/>
                  <a:gd name="connsiteY477" fmla="*/ 384905 h 685800"/>
                  <a:gd name="connsiteX478" fmla="*/ 192310 w 447675"/>
                  <a:gd name="connsiteY478" fmla="*/ 385763 h 685800"/>
                  <a:gd name="connsiteX479" fmla="*/ 190595 w 447675"/>
                  <a:gd name="connsiteY479" fmla="*/ 384905 h 685800"/>
                  <a:gd name="connsiteX480" fmla="*/ 188024 w 447675"/>
                  <a:gd name="connsiteY480" fmla="*/ 383191 h 685800"/>
                  <a:gd name="connsiteX481" fmla="*/ 187166 w 447675"/>
                  <a:gd name="connsiteY481" fmla="*/ 382334 h 685800"/>
                  <a:gd name="connsiteX482" fmla="*/ 186309 w 447675"/>
                  <a:gd name="connsiteY482" fmla="*/ 382334 h 685800"/>
                  <a:gd name="connsiteX483" fmla="*/ 184595 w 447675"/>
                  <a:gd name="connsiteY483" fmla="*/ 382334 h 685800"/>
                  <a:gd name="connsiteX484" fmla="*/ 183737 w 447675"/>
                  <a:gd name="connsiteY484" fmla="*/ 383191 h 685800"/>
                  <a:gd name="connsiteX485" fmla="*/ 183737 w 447675"/>
                  <a:gd name="connsiteY485" fmla="*/ 384048 h 685800"/>
                  <a:gd name="connsiteX486" fmla="*/ 184595 w 447675"/>
                  <a:gd name="connsiteY486" fmla="*/ 387477 h 685800"/>
                  <a:gd name="connsiteX487" fmla="*/ 183737 w 447675"/>
                  <a:gd name="connsiteY487" fmla="*/ 389192 h 685800"/>
                  <a:gd name="connsiteX488" fmla="*/ 184595 w 447675"/>
                  <a:gd name="connsiteY488" fmla="*/ 392621 h 685800"/>
                  <a:gd name="connsiteX489" fmla="*/ 183737 w 447675"/>
                  <a:gd name="connsiteY489" fmla="*/ 393478 h 685800"/>
                  <a:gd name="connsiteX490" fmla="*/ 182880 w 447675"/>
                  <a:gd name="connsiteY490" fmla="*/ 394335 h 685800"/>
                  <a:gd name="connsiteX491" fmla="*/ 182023 w 447675"/>
                  <a:gd name="connsiteY491" fmla="*/ 395192 h 685800"/>
                  <a:gd name="connsiteX492" fmla="*/ 180308 w 447675"/>
                  <a:gd name="connsiteY492" fmla="*/ 396907 h 685800"/>
                  <a:gd name="connsiteX493" fmla="*/ 179451 w 447675"/>
                  <a:gd name="connsiteY493" fmla="*/ 396907 h 685800"/>
                  <a:gd name="connsiteX494" fmla="*/ 176022 w 447675"/>
                  <a:gd name="connsiteY494" fmla="*/ 396050 h 685800"/>
                  <a:gd name="connsiteX495" fmla="*/ 173450 w 447675"/>
                  <a:gd name="connsiteY495" fmla="*/ 396050 h 685800"/>
                  <a:gd name="connsiteX496" fmla="*/ 167450 w 447675"/>
                  <a:gd name="connsiteY496" fmla="*/ 398621 h 685800"/>
                  <a:gd name="connsiteX497" fmla="*/ 166592 w 447675"/>
                  <a:gd name="connsiteY497" fmla="*/ 398621 h 685800"/>
                  <a:gd name="connsiteX498" fmla="*/ 165735 w 447675"/>
                  <a:gd name="connsiteY498" fmla="*/ 398621 h 685800"/>
                  <a:gd name="connsiteX499" fmla="*/ 165735 w 447675"/>
                  <a:gd name="connsiteY499" fmla="*/ 396907 h 685800"/>
                  <a:gd name="connsiteX500" fmla="*/ 165735 w 447675"/>
                  <a:gd name="connsiteY500" fmla="*/ 395192 h 685800"/>
                  <a:gd name="connsiteX501" fmla="*/ 164878 w 447675"/>
                  <a:gd name="connsiteY501" fmla="*/ 394335 h 685800"/>
                  <a:gd name="connsiteX502" fmla="*/ 164878 w 447675"/>
                  <a:gd name="connsiteY502" fmla="*/ 392621 h 685800"/>
                  <a:gd name="connsiteX503" fmla="*/ 164021 w 447675"/>
                  <a:gd name="connsiteY503" fmla="*/ 392621 h 685800"/>
                  <a:gd name="connsiteX504" fmla="*/ 163163 w 447675"/>
                  <a:gd name="connsiteY504" fmla="*/ 392621 h 685800"/>
                  <a:gd name="connsiteX505" fmla="*/ 158020 w 447675"/>
                  <a:gd name="connsiteY505" fmla="*/ 393478 h 685800"/>
                  <a:gd name="connsiteX506" fmla="*/ 155448 w 447675"/>
                  <a:gd name="connsiteY506" fmla="*/ 394335 h 685800"/>
                  <a:gd name="connsiteX507" fmla="*/ 154591 w 447675"/>
                  <a:gd name="connsiteY507" fmla="*/ 395192 h 685800"/>
                  <a:gd name="connsiteX508" fmla="*/ 154591 w 447675"/>
                  <a:gd name="connsiteY508" fmla="*/ 396050 h 685800"/>
                  <a:gd name="connsiteX509" fmla="*/ 155448 w 447675"/>
                  <a:gd name="connsiteY509" fmla="*/ 396907 h 685800"/>
                  <a:gd name="connsiteX510" fmla="*/ 157163 w 447675"/>
                  <a:gd name="connsiteY510" fmla="*/ 398621 h 685800"/>
                  <a:gd name="connsiteX511" fmla="*/ 157163 w 447675"/>
                  <a:gd name="connsiteY511" fmla="*/ 397288 h 685800"/>
                  <a:gd name="connsiteX512" fmla="*/ 157163 w 447675"/>
                  <a:gd name="connsiteY512" fmla="*/ 398145 h 685800"/>
                  <a:gd name="connsiteX513" fmla="*/ 157163 w 447675"/>
                  <a:gd name="connsiteY513" fmla="*/ 399002 h 685800"/>
                  <a:gd name="connsiteX514" fmla="*/ 158020 w 447675"/>
                  <a:gd name="connsiteY514" fmla="*/ 399860 h 685800"/>
                  <a:gd name="connsiteX515" fmla="*/ 159734 w 447675"/>
                  <a:gd name="connsiteY515" fmla="*/ 401574 h 685800"/>
                  <a:gd name="connsiteX516" fmla="*/ 160592 w 447675"/>
                  <a:gd name="connsiteY516" fmla="*/ 402431 h 685800"/>
                  <a:gd name="connsiteX517" fmla="*/ 161449 w 447675"/>
                  <a:gd name="connsiteY517" fmla="*/ 404146 h 685800"/>
                  <a:gd name="connsiteX518" fmla="*/ 160592 w 447675"/>
                  <a:gd name="connsiteY518" fmla="*/ 405860 h 685800"/>
                  <a:gd name="connsiteX519" fmla="*/ 159734 w 447675"/>
                  <a:gd name="connsiteY519" fmla="*/ 407575 h 685800"/>
                  <a:gd name="connsiteX520" fmla="*/ 158877 w 447675"/>
                  <a:gd name="connsiteY520" fmla="*/ 407575 h 685800"/>
                  <a:gd name="connsiteX521" fmla="*/ 158020 w 447675"/>
                  <a:gd name="connsiteY521" fmla="*/ 407575 h 685800"/>
                  <a:gd name="connsiteX522" fmla="*/ 157163 w 447675"/>
                  <a:gd name="connsiteY522" fmla="*/ 408432 h 685800"/>
                  <a:gd name="connsiteX523" fmla="*/ 157163 w 447675"/>
                  <a:gd name="connsiteY523" fmla="*/ 409289 h 685800"/>
                  <a:gd name="connsiteX524" fmla="*/ 157163 w 447675"/>
                  <a:gd name="connsiteY524" fmla="*/ 411861 h 685800"/>
                  <a:gd name="connsiteX525" fmla="*/ 157163 w 447675"/>
                  <a:gd name="connsiteY525" fmla="*/ 413576 h 685800"/>
                  <a:gd name="connsiteX526" fmla="*/ 156305 w 447675"/>
                  <a:gd name="connsiteY526" fmla="*/ 415290 h 685800"/>
                  <a:gd name="connsiteX527" fmla="*/ 155448 w 447675"/>
                  <a:gd name="connsiteY527" fmla="*/ 416147 h 685800"/>
                  <a:gd name="connsiteX528" fmla="*/ 154591 w 447675"/>
                  <a:gd name="connsiteY528" fmla="*/ 416147 h 685800"/>
                  <a:gd name="connsiteX529" fmla="*/ 152876 w 447675"/>
                  <a:gd name="connsiteY529" fmla="*/ 413576 h 685800"/>
                  <a:gd name="connsiteX530" fmla="*/ 152019 w 447675"/>
                  <a:gd name="connsiteY530" fmla="*/ 412718 h 685800"/>
                  <a:gd name="connsiteX531" fmla="*/ 151162 w 447675"/>
                  <a:gd name="connsiteY531" fmla="*/ 412718 h 685800"/>
                  <a:gd name="connsiteX532" fmla="*/ 150304 w 447675"/>
                  <a:gd name="connsiteY532" fmla="*/ 412718 h 685800"/>
                  <a:gd name="connsiteX533" fmla="*/ 147733 w 447675"/>
                  <a:gd name="connsiteY533" fmla="*/ 411861 h 685800"/>
                  <a:gd name="connsiteX534" fmla="*/ 146875 w 447675"/>
                  <a:gd name="connsiteY534" fmla="*/ 411861 h 685800"/>
                  <a:gd name="connsiteX535" fmla="*/ 145161 w 447675"/>
                  <a:gd name="connsiteY535" fmla="*/ 411861 h 685800"/>
                  <a:gd name="connsiteX536" fmla="*/ 145161 w 447675"/>
                  <a:gd name="connsiteY536" fmla="*/ 412718 h 685800"/>
                  <a:gd name="connsiteX537" fmla="*/ 144304 w 447675"/>
                  <a:gd name="connsiteY537" fmla="*/ 413576 h 685800"/>
                  <a:gd name="connsiteX538" fmla="*/ 145161 w 447675"/>
                  <a:gd name="connsiteY538" fmla="*/ 414433 h 685800"/>
                  <a:gd name="connsiteX539" fmla="*/ 146018 w 447675"/>
                  <a:gd name="connsiteY539" fmla="*/ 415290 h 685800"/>
                  <a:gd name="connsiteX540" fmla="*/ 147733 w 447675"/>
                  <a:gd name="connsiteY540" fmla="*/ 417005 h 685800"/>
                  <a:gd name="connsiteX541" fmla="*/ 147733 w 447675"/>
                  <a:gd name="connsiteY541" fmla="*/ 417862 h 685800"/>
                  <a:gd name="connsiteX542" fmla="*/ 148590 w 447675"/>
                  <a:gd name="connsiteY542" fmla="*/ 418719 h 685800"/>
                  <a:gd name="connsiteX543" fmla="*/ 147733 w 447675"/>
                  <a:gd name="connsiteY543" fmla="*/ 420434 h 685800"/>
                  <a:gd name="connsiteX544" fmla="*/ 144304 w 447675"/>
                  <a:gd name="connsiteY544" fmla="*/ 421291 h 685800"/>
                  <a:gd name="connsiteX545" fmla="*/ 138303 w 447675"/>
                  <a:gd name="connsiteY545" fmla="*/ 419576 h 685800"/>
                  <a:gd name="connsiteX546" fmla="*/ 135731 w 447675"/>
                  <a:gd name="connsiteY546" fmla="*/ 417862 h 685800"/>
                  <a:gd name="connsiteX547" fmla="*/ 133159 w 447675"/>
                  <a:gd name="connsiteY547" fmla="*/ 417005 h 685800"/>
                  <a:gd name="connsiteX548" fmla="*/ 130588 w 447675"/>
                  <a:gd name="connsiteY548" fmla="*/ 414433 h 685800"/>
                  <a:gd name="connsiteX549" fmla="*/ 129730 w 447675"/>
                  <a:gd name="connsiteY549" fmla="*/ 413576 h 685800"/>
                  <a:gd name="connsiteX550" fmla="*/ 128873 w 447675"/>
                  <a:gd name="connsiteY550" fmla="*/ 413576 h 685800"/>
                  <a:gd name="connsiteX551" fmla="*/ 127159 w 447675"/>
                  <a:gd name="connsiteY551" fmla="*/ 413576 h 685800"/>
                  <a:gd name="connsiteX552" fmla="*/ 124587 w 447675"/>
                  <a:gd name="connsiteY552" fmla="*/ 412718 h 685800"/>
                  <a:gd name="connsiteX553" fmla="*/ 118586 w 447675"/>
                  <a:gd name="connsiteY553" fmla="*/ 408527 h 685800"/>
                  <a:gd name="connsiteX554" fmla="*/ 116872 w 447675"/>
                  <a:gd name="connsiteY554" fmla="*/ 407670 h 685800"/>
                  <a:gd name="connsiteX555" fmla="*/ 115157 w 447675"/>
                  <a:gd name="connsiteY555" fmla="*/ 407670 h 685800"/>
                  <a:gd name="connsiteX556" fmla="*/ 115157 w 447675"/>
                  <a:gd name="connsiteY556" fmla="*/ 408527 h 685800"/>
                  <a:gd name="connsiteX557" fmla="*/ 114300 w 447675"/>
                  <a:gd name="connsiteY557" fmla="*/ 409385 h 685800"/>
                  <a:gd name="connsiteX558" fmla="*/ 113443 w 447675"/>
                  <a:gd name="connsiteY558" fmla="*/ 409385 h 685800"/>
                  <a:gd name="connsiteX559" fmla="*/ 113443 w 447675"/>
                  <a:gd name="connsiteY559" fmla="*/ 410242 h 685800"/>
                  <a:gd name="connsiteX560" fmla="*/ 113443 w 447675"/>
                  <a:gd name="connsiteY560" fmla="*/ 411099 h 685800"/>
                  <a:gd name="connsiteX561" fmla="*/ 113443 w 447675"/>
                  <a:gd name="connsiteY561" fmla="*/ 411956 h 685800"/>
                  <a:gd name="connsiteX562" fmla="*/ 112585 w 447675"/>
                  <a:gd name="connsiteY562" fmla="*/ 413671 h 685800"/>
                  <a:gd name="connsiteX563" fmla="*/ 110014 w 447675"/>
                  <a:gd name="connsiteY563" fmla="*/ 414528 h 685800"/>
                  <a:gd name="connsiteX564" fmla="*/ 109156 w 447675"/>
                  <a:gd name="connsiteY564" fmla="*/ 415385 h 685800"/>
                  <a:gd name="connsiteX565" fmla="*/ 108299 w 447675"/>
                  <a:gd name="connsiteY565" fmla="*/ 417100 h 685800"/>
                  <a:gd name="connsiteX566" fmla="*/ 108299 w 447675"/>
                  <a:gd name="connsiteY566" fmla="*/ 419672 h 685800"/>
                  <a:gd name="connsiteX567" fmla="*/ 108299 w 447675"/>
                  <a:gd name="connsiteY567" fmla="*/ 419672 h 685800"/>
                  <a:gd name="connsiteX568" fmla="*/ 108299 w 447675"/>
                  <a:gd name="connsiteY568" fmla="*/ 420529 h 685800"/>
                  <a:gd name="connsiteX569" fmla="*/ 108299 w 447675"/>
                  <a:gd name="connsiteY569" fmla="*/ 422243 h 685800"/>
                  <a:gd name="connsiteX570" fmla="*/ 109156 w 447675"/>
                  <a:gd name="connsiteY570" fmla="*/ 423958 h 685800"/>
                  <a:gd name="connsiteX571" fmla="*/ 109156 w 447675"/>
                  <a:gd name="connsiteY571" fmla="*/ 427387 h 685800"/>
                  <a:gd name="connsiteX572" fmla="*/ 106585 w 447675"/>
                  <a:gd name="connsiteY572" fmla="*/ 430816 h 685800"/>
                  <a:gd name="connsiteX573" fmla="*/ 103156 w 447675"/>
                  <a:gd name="connsiteY573" fmla="*/ 431673 h 685800"/>
                  <a:gd name="connsiteX574" fmla="*/ 89535 w 447675"/>
                  <a:gd name="connsiteY574" fmla="*/ 434245 h 685800"/>
                  <a:gd name="connsiteX575" fmla="*/ 82677 w 447675"/>
                  <a:gd name="connsiteY575" fmla="*/ 435959 h 685800"/>
                  <a:gd name="connsiteX576" fmla="*/ 78391 w 447675"/>
                  <a:gd name="connsiteY576" fmla="*/ 438531 h 685800"/>
                  <a:gd name="connsiteX577" fmla="*/ 69056 w 447675"/>
                  <a:gd name="connsiteY577" fmla="*/ 441103 h 685800"/>
                  <a:gd name="connsiteX578" fmla="*/ 63913 w 447675"/>
                  <a:gd name="connsiteY578" fmla="*/ 443675 h 685800"/>
                  <a:gd name="connsiteX579" fmla="*/ 60484 w 447675"/>
                  <a:gd name="connsiteY579" fmla="*/ 446246 h 685800"/>
                  <a:gd name="connsiteX580" fmla="*/ 57912 w 447675"/>
                  <a:gd name="connsiteY580" fmla="*/ 447961 h 685800"/>
                  <a:gd name="connsiteX581" fmla="*/ 56197 w 447675"/>
                  <a:gd name="connsiteY581" fmla="*/ 449675 h 685800"/>
                  <a:gd name="connsiteX582" fmla="*/ 56197 w 447675"/>
                  <a:gd name="connsiteY582" fmla="*/ 451390 h 685800"/>
                  <a:gd name="connsiteX583" fmla="*/ 56197 w 447675"/>
                  <a:gd name="connsiteY583" fmla="*/ 453104 h 685800"/>
                  <a:gd name="connsiteX584" fmla="*/ 56197 w 447675"/>
                  <a:gd name="connsiteY584" fmla="*/ 453962 h 685800"/>
                  <a:gd name="connsiteX585" fmla="*/ 55340 w 447675"/>
                  <a:gd name="connsiteY585" fmla="*/ 455676 h 685800"/>
                  <a:gd name="connsiteX586" fmla="*/ 55340 w 447675"/>
                  <a:gd name="connsiteY586" fmla="*/ 456533 h 685800"/>
                  <a:gd name="connsiteX587" fmla="*/ 54483 w 447675"/>
                  <a:gd name="connsiteY587" fmla="*/ 457391 h 685800"/>
                  <a:gd name="connsiteX588" fmla="*/ 54483 w 447675"/>
                  <a:gd name="connsiteY588" fmla="*/ 457391 h 685800"/>
                  <a:gd name="connsiteX589" fmla="*/ 54483 w 447675"/>
                  <a:gd name="connsiteY589" fmla="*/ 458248 h 685800"/>
                  <a:gd name="connsiteX590" fmla="*/ 54483 w 447675"/>
                  <a:gd name="connsiteY590" fmla="*/ 458248 h 685800"/>
                  <a:gd name="connsiteX591" fmla="*/ 53626 w 447675"/>
                  <a:gd name="connsiteY591" fmla="*/ 458248 h 685800"/>
                  <a:gd name="connsiteX592" fmla="*/ 52768 w 447675"/>
                  <a:gd name="connsiteY592" fmla="*/ 459962 h 685800"/>
                  <a:gd name="connsiteX593" fmla="*/ 51911 w 447675"/>
                  <a:gd name="connsiteY593" fmla="*/ 460820 h 685800"/>
                  <a:gd name="connsiteX594" fmla="*/ 48482 w 447675"/>
                  <a:gd name="connsiteY594" fmla="*/ 463391 h 685800"/>
                  <a:gd name="connsiteX595" fmla="*/ 45053 w 447675"/>
                  <a:gd name="connsiteY595" fmla="*/ 464249 h 685800"/>
                  <a:gd name="connsiteX596" fmla="*/ 43339 w 447675"/>
                  <a:gd name="connsiteY596" fmla="*/ 464249 h 685800"/>
                  <a:gd name="connsiteX597" fmla="*/ 41624 w 447675"/>
                  <a:gd name="connsiteY597" fmla="*/ 464249 h 685800"/>
                  <a:gd name="connsiteX598" fmla="*/ 40767 w 447675"/>
                  <a:gd name="connsiteY598" fmla="*/ 462534 h 685800"/>
                  <a:gd name="connsiteX599" fmla="*/ 38195 w 447675"/>
                  <a:gd name="connsiteY599" fmla="*/ 460820 h 685800"/>
                  <a:gd name="connsiteX600" fmla="*/ 35624 w 447675"/>
                  <a:gd name="connsiteY600" fmla="*/ 459962 h 685800"/>
                  <a:gd name="connsiteX601" fmla="*/ 34766 w 447675"/>
                  <a:gd name="connsiteY601" fmla="*/ 459105 h 685800"/>
                  <a:gd name="connsiteX602" fmla="*/ 33052 w 447675"/>
                  <a:gd name="connsiteY602" fmla="*/ 459105 h 685800"/>
                  <a:gd name="connsiteX603" fmla="*/ 32195 w 447675"/>
                  <a:gd name="connsiteY603" fmla="*/ 459105 h 685800"/>
                  <a:gd name="connsiteX604" fmla="*/ 31337 w 447675"/>
                  <a:gd name="connsiteY604" fmla="*/ 458248 h 685800"/>
                  <a:gd name="connsiteX605" fmla="*/ 31337 w 447675"/>
                  <a:gd name="connsiteY605" fmla="*/ 458248 h 685800"/>
                  <a:gd name="connsiteX606" fmla="*/ 31337 w 447675"/>
                  <a:gd name="connsiteY606" fmla="*/ 457391 h 685800"/>
                  <a:gd name="connsiteX607" fmla="*/ 31337 w 447675"/>
                  <a:gd name="connsiteY607" fmla="*/ 456533 h 685800"/>
                  <a:gd name="connsiteX608" fmla="*/ 33052 w 447675"/>
                  <a:gd name="connsiteY608" fmla="*/ 450628 h 685800"/>
                  <a:gd name="connsiteX609" fmla="*/ 32195 w 447675"/>
                  <a:gd name="connsiteY609" fmla="*/ 448056 h 685800"/>
                  <a:gd name="connsiteX610" fmla="*/ 28766 w 447675"/>
                  <a:gd name="connsiteY610" fmla="*/ 448056 h 685800"/>
                  <a:gd name="connsiteX611" fmla="*/ 23622 w 447675"/>
                  <a:gd name="connsiteY611" fmla="*/ 445484 h 685800"/>
                  <a:gd name="connsiteX612" fmla="*/ 21908 w 447675"/>
                  <a:gd name="connsiteY612" fmla="*/ 444627 h 685800"/>
                  <a:gd name="connsiteX613" fmla="*/ 20193 w 447675"/>
                  <a:gd name="connsiteY613" fmla="*/ 444627 h 685800"/>
                  <a:gd name="connsiteX614" fmla="*/ 19336 w 447675"/>
                  <a:gd name="connsiteY614" fmla="*/ 445484 h 685800"/>
                  <a:gd name="connsiteX615" fmla="*/ 18479 w 447675"/>
                  <a:gd name="connsiteY615" fmla="*/ 446342 h 685800"/>
                  <a:gd name="connsiteX616" fmla="*/ 18479 w 447675"/>
                  <a:gd name="connsiteY616" fmla="*/ 447199 h 685800"/>
                  <a:gd name="connsiteX617" fmla="*/ 17621 w 447675"/>
                  <a:gd name="connsiteY617" fmla="*/ 448056 h 685800"/>
                  <a:gd name="connsiteX618" fmla="*/ 17621 w 447675"/>
                  <a:gd name="connsiteY618" fmla="*/ 448913 h 685800"/>
                  <a:gd name="connsiteX619" fmla="*/ 19336 w 447675"/>
                  <a:gd name="connsiteY619" fmla="*/ 453104 h 685800"/>
                  <a:gd name="connsiteX620" fmla="*/ 19336 w 447675"/>
                  <a:gd name="connsiteY620" fmla="*/ 453962 h 685800"/>
                  <a:gd name="connsiteX621" fmla="*/ 19336 w 447675"/>
                  <a:gd name="connsiteY621" fmla="*/ 455676 h 685800"/>
                  <a:gd name="connsiteX622" fmla="*/ 18479 w 447675"/>
                  <a:gd name="connsiteY622" fmla="*/ 456533 h 685800"/>
                  <a:gd name="connsiteX623" fmla="*/ 17621 w 447675"/>
                  <a:gd name="connsiteY623" fmla="*/ 456533 h 685800"/>
                  <a:gd name="connsiteX624" fmla="*/ 11621 w 447675"/>
                  <a:gd name="connsiteY624" fmla="*/ 457391 h 685800"/>
                  <a:gd name="connsiteX625" fmla="*/ 11144 w 447675"/>
                  <a:gd name="connsiteY625" fmla="*/ 457391 h 685800"/>
                  <a:gd name="connsiteX626" fmla="*/ 8572 w 447675"/>
                  <a:gd name="connsiteY626" fmla="*/ 457391 h 685800"/>
                  <a:gd name="connsiteX627" fmla="*/ 3429 w 447675"/>
                  <a:gd name="connsiteY627" fmla="*/ 459105 h 685800"/>
                  <a:gd name="connsiteX628" fmla="*/ 857 w 447675"/>
                  <a:gd name="connsiteY628" fmla="*/ 459962 h 685800"/>
                  <a:gd name="connsiteX629" fmla="*/ 857 w 447675"/>
                  <a:gd name="connsiteY629" fmla="*/ 459962 h 685800"/>
                  <a:gd name="connsiteX630" fmla="*/ 0 w 447675"/>
                  <a:gd name="connsiteY630" fmla="*/ 461677 h 685800"/>
                  <a:gd name="connsiteX631" fmla="*/ 0 w 447675"/>
                  <a:gd name="connsiteY631" fmla="*/ 463391 h 685800"/>
                  <a:gd name="connsiteX632" fmla="*/ 857 w 447675"/>
                  <a:gd name="connsiteY632" fmla="*/ 464249 h 685800"/>
                  <a:gd name="connsiteX633" fmla="*/ 1714 w 447675"/>
                  <a:gd name="connsiteY633" fmla="*/ 465106 h 685800"/>
                  <a:gd name="connsiteX634" fmla="*/ 2572 w 447675"/>
                  <a:gd name="connsiteY634" fmla="*/ 466820 h 685800"/>
                  <a:gd name="connsiteX635" fmla="*/ 2572 w 447675"/>
                  <a:gd name="connsiteY635" fmla="*/ 466820 h 685800"/>
                  <a:gd name="connsiteX636" fmla="*/ 6001 w 447675"/>
                  <a:gd name="connsiteY636" fmla="*/ 466820 h 685800"/>
                  <a:gd name="connsiteX637" fmla="*/ 6858 w 447675"/>
                  <a:gd name="connsiteY637" fmla="*/ 466820 h 685800"/>
                  <a:gd name="connsiteX638" fmla="*/ 7715 w 447675"/>
                  <a:gd name="connsiteY638" fmla="*/ 467678 h 685800"/>
                  <a:gd name="connsiteX639" fmla="*/ 7715 w 447675"/>
                  <a:gd name="connsiteY639" fmla="*/ 468535 h 685800"/>
                  <a:gd name="connsiteX640" fmla="*/ 7715 w 447675"/>
                  <a:gd name="connsiteY640" fmla="*/ 469392 h 685800"/>
                  <a:gd name="connsiteX641" fmla="*/ 6858 w 447675"/>
                  <a:gd name="connsiteY641" fmla="*/ 471107 h 685800"/>
                  <a:gd name="connsiteX642" fmla="*/ 6858 w 447675"/>
                  <a:gd name="connsiteY642" fmla="*/ 473678 h 685800"/>
                  <a:gd name="connsiteX643" fmla="*/ 6858 w 447675"/>
                  <a:gd name="connsiteY643" fmla="*/ 475393 h 685800"/>
                  <a:gd name="connsiteX644" fmla="*/ 6001 w 447675"/>
                  <a:gd name="connsiteY644" fmla="*/ 476250 h 685800"/>
                  <a:gd name="connsiteX645" fmla="*/ 4286 w 447675"/>
                  <a:gd name="connsiteY645" fmla="*/ 478822 h 685800"/>
                  <a:gd name="connsiteX646" fmla="*/ 2572 w 447675"/>
                  <a:gd name="connsiteY646" fmla="*/ 481394 h 685800"/>
                  <a:gd name="connsiteX647" fmla="*/ 857 w 447675"/>
                  <a:gd name="connsiteY647" fmla="*/ 483965 h 685800"/>
                  <a:gd name="connsiteX648" fmla="*/ 857 w 447675"/>
                  <a:gd name="connsiteY648" fmla="*/ 486537 h 685800"/>
                  <a:gd name="connsiteX649" fmla="*/ 1714 w 447675"/>
                  <a:gd name="connsiteY649" fmla="*/ 489109 h 685800"/>
                  <a:gd name="connsiteX650" fmla="*/ 5143 w 447675"/>
                  <a:gd name="connsiteY650" fmla="*/ 493300 h 685800"/>
                  <a:gd name="connsiteX651" fmla="*/ 6001 w 447675"/>
                  <a:gd name="connsiteY651" fmla="*/ 495872 h 685800"/>
                  <a:gd name="connsiteX652" fmla="*/ 6858 w 447675"/>
                  <a:gd name="connsiteY652" fmla="*/ 496729 h 685800"/>
                  <a:gd name="connsiteX653" fmla="*/ 6858 w 447675"/>
                  <a:gd name="connsiteY653" fmla="*/ 498443 h 685800"/>
                  <a:gd name="connsiteX654" fmla="*/ 7715 w 447675"/>
                  <a:gd name="connsiteY654" fmla="*/ 498443 h 685800"/>
                  <a:gd name="connsiteX655" fmla="*/ 8572 w 447675"/>
                  <a:gd name="connsiteY655" fmla="*/ 498443 h 685800"/>
                  <a:gd name="connsiteX656" fmla="*/ 13716 w 447675"/>
                  <a:gd name="connsiteY656" fmla="*/ 496729 h 685800"/>
                  <a:gd name="connsiteX657" fmla="*/ 15430 w 447675"/>
                  <a:gd name="connsiteY657" fmla="*/ 496729 h 685800"/>
                  <a:gd name="connsiteX658" fmla="*/ 18002 w 447675"/>
                  <a:gd name="connsiteY658" fmla="*/ 496729 h 685800"/>
                  <a:gd name="connsiteX659" fmla="*/ 20574 w 447675"/>
                  <a:gd name="connsiteY659" fmla="*/ 498443 h 685800"/>
                  <a:gd name="connsiteX660" fmla="*/ 22288 w 447675"/>
                  <a:gd name="connsiteY660" fmla="*/ 500158 h 685800"/>
                  <a:gd name="connsiteX661" fmla="*/ 35909 w 447675"/>
                  <a:gd name="connsiteY661" fmla="*/ 514541 h 685800"/>
                  <a:gd name="connsiteX662" fmla="*/ 37624 w 447675"/>
                  <a:gd name="connsiteY662" fmla="*/ 516255 h 685800"/>
                  <a:gd name="connsiteX663" fmla="*/ 39338 w 447675"/>
                  <a:gd name="connsiteY663" fmla="*/ 517112 h 685800"/>
                  <a:gd name="connsiteX664" fmla="*/ 41053 w 447675"/>
                  <a:gd name="connsiteY664" fmla="*/ 517112 h 685800"/>
                  <a:gd name="connsiteX665" fmla="*/ 42767 w 447675"/>
                  <a:gd name="connsiteY665" fmla="*/ 516255 h 685800"/>
                  <a:gd name="connsiteX666" fmla="*/ 44482 w 447675"/>
                  <a:gd name="connsiteY666" fmla="*/ 515398 h 685800"/>
                  <a:gd name="connsiteX667" fmla="*/ 48768 w 447675"/>
                  <a:gd name="connsiteY667" fmla="*/ 515398 h 685800"/>
                  <a:gd name="connsiteX668" fmla="*/ 54769 w 447675"/>
                  <a:gd name="connsiteY668" fmla="*/ 517112 h 685800"/>
                  <a:gd name="connsiteX669" fmla="*/ 70104 w 447675"/>
                  <a:gd name="connsiteY669" fmla="*/ 517112 h 685800"/>
                  <a:gd name="connsiteX670" fmla="*/ 70961 w 447675"/>
                  <a:gd name="connsiteY670" fmla="*/ 517970 h 685800"/>
                  <a:gd name="connsiteX671" fmla="*/ 71818 w 447675"/>
                  <a:gd name="connsiteY671" fmla="*/ 517970 h 685800"/>
                  <a:gd name="connsiteX672" fmla="*/ 71818 w 447675"/>
                  <a:gd name="connsiteY672" fmla="*/ 517970 h 685800"/>
                  <a:gd name="connsiteX673" fmla="*/ 71818 w 447675"/>
                  <a:gd name="connsiteY673" fmla="*/ 517970 h 685800"/>
                  <a:gd name="connsiteX674" fmla="*/ 71818 w 447675"/>
                  <a:gd name="connsiteY674" fmla="*/ 517970 h 685800"/>
                  <a:gd name="connsiteX675" fmla="*/ 72676 w 447675"/>
                  <a:gd name="connsiteY675" fmla="*/ 518827 h 685800"/>
                  <a:gd name="connsiteX676" fmla="*/ 75247 w 447675"/>
                  <a:gd name="connsiteY676" fmla="*/ 518827 h 685800"/>
                  <a:gd name="connsiteX677" fmla="*/ 76105 w 447675"/>
                  <a:gd name="connsiteY677" fmla="*/ 518827 h 685800"/>
                  <a:gd name="connsiteX678" fmla="*/ 76105 w 447675"/>
                  <a:gd name="connsiteY678" fmla="*/ 519684 h 685800"/>
                  <a:gd name="connsiteX679" fmla="*/ 76105 w 447675"/>
                  <a:gd name="connsiteY679" fmla="*/ 519684 h 685800"/>
                  <a:gd name="connsiteX680" fmla="*/ 75247 w 447675"/>
                  <a:gd name="connsiteY680" fmla="*/ 520541 h 685800"/>
                  <a:gd name="connsiteX681" fmla="*/ 75247 w 447675"/>
                  <a:gd name="connsiteY681" fmla="*/ 520541 h 685800"/>
                  <a:gd name="connsiteX682" fmla="*/ 73533 w 447675"/>
                  <a:gd name="connsiteY682" fmla="*/ 521399 h 685800"/>
                  <a:gd name="connsiteX683" fmla="*/ 71818 w 447675"/>
                  <a:gd name="connsiteY683" fmla="*/ 521399 h 685800"/>
                  <a:gd name="connsiteX684" fmla="*/ 70104 w 447675"/>
                  <a:gd name="connsiteY684" fmla="*/ 522256 h 685800"/>
                  <a:gd name="connsiteX685" fmla="*/ 69247 w 447675"/>
                  <a:gd name="connsiteY685" fmla="*/ 522256 h 685800"/>
                  <a:gd name="connsiteX686" fmla="*/ 65818 w 447675"/>
                  <a:gd name="connsiteY686" fmla="*/ 524828 h 685800"/>
                  <a:gd name="connsiteX687" fmla="*/ 65818 w 447675"/>
                  <a:gd name="connsiteY687" fmla="*/ 525685 h 685800"/>
                  <a:gd name="connsiteX688" fmla="*/ 65818 w 447675"/>
                  <a:gd name="connsiteY688" fmla="*/ 526542 h 685800"/>
                  <a:gd name="connsiteX689" fmla="*/ 65818 w 447675"/>
                  <a:gd name="connsiteY689" fmla="*/ 528257 h 685800"/>
                  <a:gd name="connsiteX690" fmla="*/ 65818 w 447675"/>
                  <a:gd name="connsiteY690" fmla="*/ 529114 h 685800"/>
                  <a:gd name="connsiteX691" fmla="*/ 65818 w 447675"/>
                  <a:gd name="connsiteY691" fmla="*/ 530828 h 685800"/>
                  <a:gd name="connsiteX692" fmla="*/ 64960 w 447675"/>
                  <a:gd name="connsiteY692" fmla="*/ 533400 h 685800"/>
                  <a:gd name="connsiteX693" fmla="*/ 64103 w 447675"/>
                  <a:gd name="connsiteY693" fmla="*/ 534257 h 685800"/>
                  <a:gd name="connsiteX694" fmla="*/ 64103 w 447675"/>
                  <a:gd name="connsiteY694" fmla="*/ 537686 h 685800"/>
                  <a:gd name="connsiteX695" fmla="*/ 64103 w 447675"/>
                  <a:gd name="connsiteY695" fmla="*/ 540258 h 685800"/>
                  <a:gd name="connsiteX696" fmla="*/ 64103 w 447675"/>
                  <a:gd name="connsiteY696" fmla="*/ 541973 h 685800"/>
                  <a:gd name="connsiteX697" fmla="*/ 64103 w 447675"/>
                  <a:gd name="connsiteY697" fmla="*/ 543687 h 685800"/>
                  <a:gd name="connsiteX698" fmla="*/ 70104 w 447675"/>
                  <a:gd name="connsiteY698" fmla="*/ 548735 h 685800"/>
                  <a:gd name="connsiteX699" fmla="*/ 71818 w 447675"/>
                  <a:gd name="connsiteY699" fmla="*/ 548735 h 685800"/>
                  <a:gd name="connsiteX700" fmla="*/ 73533 w 447675"/>
                  <a:gd name="connsiteY700" fmla="*/ 548735 h 685800"/>
                  <a:gd name="connsiteX701" fmla="*/ 74390 w 447675"/>
                  <a:gd name="connsiteY701" fmla="*/ 548735 h 685800"/>
                  <a:gd name="connsiteX702" fmla="*/ 75247 w 447675"/>
                  <a:gd name="connsiteY702" fmla="*/ 548735 h 685800"/>
                  <a:gd name="connsiteX703" fmla="*/ 77819 w 447675"/>
                  <a:gd name="connsiteY703" fmla="*/ 550450 h 685800"/>
                  <a:gd name="connsiteX704" fmla="*/ 85534 w 447675"/>
                  <a:gd name="connsiteY704" fmla="*/ 556355 h 685800"/>
                  <a:gd name="connsiteX705" fmla="*/ 86392 w 447675"/>
                  <a:gd name="connsiteY705" fmla="*/ 562261 h 685800"/>
                  <a:gd name="connsiteX706" fmla="*/ 87249 w 447675"/>
                  <a:gd name="connsiteY706" fmla="*/ 563975 h 685800"/>
                  <a:gd name="connsiteX707" fmla="*/ 88106 w 447675"/>
                  <a:gd name="connsiteY707" fmla="*/ 565690 h 685800"/>
                  <a:gd name="connsiteX708" fmla="*/ 89821 w 447675"/>
                  <a:gd name="connsiteY708" fmla="*/ 566547 h 685800"/>
                  <a:gd name="connsiteX709" fmla="*/ 90678 w 447675"/>
                  <a:gd name="connsiteY709" fmla="*/ 567404 h 685800"/>
                  <a:gd name="connsiteX710" fmla="*/ 95821 w 447675"/>
                  <a:gd name="connsiteY710" fmla="*/ 567404 h 685800"/>
                  <a:gd name="connsiteX711" fmla="*/ 98393 w 447675"/>
                  <a:gd name="connsiteY711" fmla="*/ 567404 h 685800"/>
                  <a:gd name="connsiteX712" fmla="*/ 100965 w 447675"/>
                  <a:gd name="connsiteY712" fmla="*/ 569119 h 685800"/>
                  <a:gd name="connsiteX713" fmla="*/ 101822 w 447675"/>
                  <a:gd name="connsiteY713" fmla="*/ 570833 h 685800"/>
                  <a:gd name="connsiteX714" fmla="*/ 103537 w 447675"/>
                  <a:gd name="connsiteY714" fmla="*/ 572548 h 685800"/>
                  <a:gd name="connsiteX715" fmla="*/ 104394 w 447675"/>
                  <a:gd name="connsiteY715" fmla="*/ 575120 h 685800"/>
                  <a:gd name="connsiteX716" fmla="*/ 104394 w 447675"/>
                  <a:gd name="connsiteY716" fmla="*/ 575977 h 685800"/>
                  <a:gd name="connsiteX717" fmla="*/ 104394 w 447675"/>
                  <a:gd name="connsiteY717" fmla="*/ 576834 h 685800"/>
                  <a:gd name="connsiteX718" fmla="*/ 104394 w 447675"/>
                  <a:gd name="connsiteY718" fmla="*/ 577691 h 685800"/>
                  <a:gd name="connsiteX719" fmla="*/ 103537 w 447675"/>
                  <a:gd name="connsiteY719" fmla="*/ 577691 h 685800"/>
                  <a:gd name="connsiteX720" fmla="*/ 102679 w 447675"/>
                  <a:gd name="connsiteY720" fmla="*/ 577691 h 685800"/>
                  <a:gd name="connsiteX721" fmla="*/ 100108 w 447675"/>
                  <a:gd name="connsiteY721" fmla="*/ 577691 h 685800"/>
                  <a:gd name="connsiteX722" fmla="*/ 99250 w 447675"/>
                  <a:gd name="connsiteY722" fmla="*/ 577691 h 685800"/>
                  <a:gd name="connsiteX723" fmla="*/ 99250 w 447675"/>
                  <a:gd name="connsiteY723" fmla="*/ 577691 h 685800"/>
                  <a:gd name="connsiteX724" fmla="*/ 99250 w 447675"/>
                  <a:gd name="connsiteY724" fmla="*/ 577691 h 685800"/>
                  <a:gd name="connsiteX725" fmla="*/ 99250 w 447675"/>
                  <a:gd name="connsiteY725" fmla="*/ 577691 h 685800"/>
                  <a:gd name="connsiteX726" fmla="*/ 99250 w 447675"/>
                  <a:gd name="connsiteY726" fmla="*/ 578549 h 685800"/>
                  <a:gd name="connsiteX727" fmla="*/ 99250 w 447675"/>
                  <a:gd name="connsiteY727" fmla="*/ 578549 h 685800"/>
                  <a:gd name="connsiteX728" fmla="*/ 99250 w 447675"/>
                  <a:gd name="connsiteY728" fmla="*/ 580263 h 685800"/>
                  <a:gd name="connsiteX729" fmla="*/ 100108 w 447675"/>
                  <a:gd name="connsiteY729" fmla="*/ 581978 h 685800"/>
                  <a:gd name="connsiteX730" fmla="*/ 100108 w 447675"/>
                  <a:gd name="connsiteY730" fmla="*/ 582835 h 685800"/>
                  <a:gd name="connsiteX731" fmla="*/ 100965 w 447675"/>
                  <a:gd name="connsiteY731" fmla="*/ 582835 h 685800"/>
                  <a:gd name="connsiteX732" fmla="*/ 104394 w 447675"/>
                  <a:gd name="connsiteY732" fmla="*/ 585407 h 685800"/>
                  <a:gd name="connsiteX733" fmla="*/ 106108 w 447675"/>
                  <a:gd name="connsiteY733" fmla="*/ 586264 h 685800"/>
                  <a:gd name="connsiteX734" fmla="*/ 107823 w 447675"/>
                  <a:gd name="connsiteY734" fmla="*/ 587978 h 685800"/>
                  <a:gd name="connsiteX735" fmla="*/ 108680 w 447675"/>
                  <a:gd name="connsiteY735" fmla="*/ 590550 h 685800"/>
                  <a:gd name="connsiteX736" fmla="*/ 108680 w 447675"/>
                  <a:gd name="connsiteY736" fmla="*/ 593979 h 685800"/>
                  <a:gd name="connsiteX737" fmla="*/ 109538 w 447675"/>
                  <a:gd name="connsiteY737" fmla="*/ 596551 h 685800"/>
                  <a:gd name="connsiteX738" fmla="*/ 110395 w 447675"/>
                  <a:gd name="connsiteY738" fmla="*/ 597408 h 685800"/>
                  <a:gd name="connsiteX739" fmla="*/ 112109 w 447675"/>
                  <a:gd name="connsiteY739" fmla="*/ 599123 h 685800"/>
                  <a:gd name="connsiteX740" fmla="*/ 114681 w 447675"/>
                  <a:gd name="connsiteY740" fmla="*/ 600837 h 685800"/>
                  <a:gd name="connsiteX741" fmla="*/ 114681 w 447675"/>
                  <a:gd name="connsiteY741" fmla="*/ 601694 h 685800"/>
                  <a:gd name="connsiteX742" fmla="*/ 114681 w 447675"/>
                  <a:gd name="connsiteY742" fmla="*/ 602552 h 685800"/>
                  <a:gd name="connsiteX743" fmla="*/ 112967 w 447675"/>
                  <a:gd name="connsiteY743" fmla="*/ 603409 h 685800"/>
                  <a:gd name="connsiteX744" fmla="*/ 108680 w 447675"/>
                  <a:gd name="connsiteY744" fmla="*/ 604266 h 685800"/>
                  <a:gd name="connsiteX745" fmla="*/ 106966 w 447675"/>
                  <a:gd name="connsiteY745" fmla="*/ 603409 h 685800"/>
                  <a:gd name="connsiteX746" fmla="*/ 106108 w 447675"/>
                  <a:gd name="connsiteY746" fmla="*/ 604266 h 685800"/>
                  <a:gd name="connsiteX747" fmla="*/ 105251 w 447675"/>
                  <a:gd name="connsiteY747" fmla="*/ 605123 h 685800"/>
                  <a:gd name="connsiteX748" fmla="*/ 105251 w 447675"/>
                  <a:gd name="connsiteY748" fmla="*/ 606838 h 685800"/>
                  <a:gd name="connsiteX749" fmla="*/ 105251 w 447675"/>
                  <a:gd name="connsiteY749" fmla="*/ 608552 h 685800"/>
                  <a:gd name="connsiteX750" fmla="*/ 104394 w 447675"/>
                  <a:gd name="connsiteY750" fmla="*/ 609410 h 685800"/>
                  <a:gd name="connsiteX751" fmla="*/ 103537 w 447675"/>
                  <a:gd name="connsiteY751" fmla="*/ 609410 h 685800"/>
                  <a:gd name="connsiteX752" fmla="*/ 101822 w 447675"/>
                  <a:gd name="connsiteY752" fmla="*/ 608552 h 685800"/>
                  <a:gd name="connsiteX753" fmla="*/ 100965 w 447675"/>
                  <a:gd name="connsiteY753" fmla="*/ 608552 h 685800"/>
                  <a:gd name="connsiteX754" fmla="*/ 100108 w 447675"/>
                  <a:gd name="connsiteY754" fmla="*/ 609410 h 685800"/>
                  <a:gd name="connsiteX755" fmla="*/ 98393 w 447675"/>
                  <a:gd name="connsiteY755" fmla="*/ 610267 h 685800"/>
                  <a:gd name="connsiteX756" fmla="*/ 97536 w 447675"/>
                  <a:gd name="connsiteY756" fmla="*/ 611124 h 685800"/>
                  <a:gd name="connsiteX757" fmla="*/ 96679 w 447675"/>
                  <a:gd name="connsiteY757" fmla="*/ 611981 h 685800"/>
                  <a:gd name="connsiteX758" fmla="*/ 98393 w 447675"/>
                  <a:gd name="connsiteY758" fmla="*/ 615410 h 685800"/>
                  <a:gd name="connsiteX759" fmla="*/ 99250 w 447675"/>
                  <a:gd name="connsiteY759" fmla="*/ 616268 h 685800"/>
                  <a:gd name="connsiteX760" fmla="*/ 100965 w 447675"/>
                  <a:gd name="connsiteY760" fmla="*/ 617125 h 685800"/>
                  <a:gd name="connsiteX761" fmla="*/ 103537 w 447675"/>
                  <a:gd name="connsiteY761" fmla="*/ 617125 h 685800"/>
                  <a:gd name="connsiteX762" fmla="*/ 105251 w 447675"/>
                  <a:gd name="connsiteY762" fmla="*/ 617982 h 685800"/>
                  <a:gd name="connsiteX763" fmla="*/ 106966 w 447675"/>
                  <a:gd name="connsiteY763" fmla="*/ 619697 h 685800"/>
                  <a:gd name="connsiteX764" fmla="*/ 112967 w 447675"/>
                  <a:gd name="connsiteY764" fmla="*/ 623126 h 685800"/>
                  <a:gd name="connsiteX765" fmla="*/ 114681 w 447675"/>
                  <a:gd name="connsiteY765" fmla="*/ 623983 h 685800"/>
                  <a:gd name="connsiteX766" fmla="*/ 115538 w 447675"/>
                  <a:gd name="connsiteY766" fmla="*/ 623983 h 685800"/>
                  <a:gd name="connsiteX767" fmla="*/ 117253 w 447675"/>
                  <a:gd name="connsiteY767" fmla="*/ 623983 h 685800"/>
                  <a:gd name="connsiteX768" fmla="*/ 118967 w 447675"/>
                  <a:gd name="connsiteY768" fmla="*/ 623983 h 685800"/>
                  <a:gd name="connsiteX769" fmla="*/ 124968 w 447675"/>
                  <a:gd name="connsiteY769" fmla="*/ 626555 h 685800"/>
                  <a:gd name="connsiteX770" fmla="*/ 128397 w 447675"/>
                  <a:gd name="connsiteY770" fmla="*/ 628269 h 685800"/>
                  <a:gd name="connsiteX771" fmla="*/ 130112 w 447675"/>
                  <a:gd name="connsiteY771" fmla="*/ 629984 h 685800"/>
                  <a:gd name="connsiteX772" fmla="*/ 130969 w 447675"/>
                  <a:gd name="connsiteY772" fmla="*/ 631698 h 685800"/>
                  <a:gd name="connsiteX773" fmla="*/ 130969 w 447675"/>
                  <a:gd name="connsiteY773" fmla="*/ 631698 h 685800"/>
                  <a:gd name="connsiteX774" fmla="*/ 130969 w 447675"/>
                  <a:gd name="connsiteY774" fmla="*/ 632555 h 685800"/>
                  <a:gd name="connsiteX775" fmla="*/ 131826 w 447675"/>
                  <a:gd name="connsiteY775" fmla="*/ 635127 h 685800"/>
                  <a:gd name="connsiteX776" fmla="*/ 131826 w 447675"/>
                  <a:gd name="connsiteY776" fmla="*/ 635984 h 685800"/>
                  <a:gd name="connsiteX777" fmla="*/ 131826 w 447675"/>
                  <a:gd name="connsiteY777" fmla="*/ 637699 h 685800"/>
                  <a:gd name="connsiteX778" fmla="*/ 131826 w 447675"/>
                  <a:gd name="connsiteY778" fmla="*/ 637699 h 685800"/>
                  <a:gd name="connsiteX779" fmla="*/ 130969 w 447675"/>
                  <a:gd name="connsiteY779" fmla="*/ 641128 h 685800"/>
                  <a:gd name="connsiteX780" fmla="*/ 130969 w 447675"/>
                  <a:gd name="connsiteY780" fmla="*/ 643700 h 685800"/>
                  <a:gd name="connsiteX781" fmla="*/ 131826 w 447675"/>
                  <a:gd name="connsiteY781" fmla="*/ 645414 h 685800"/>
                  <a:gd name="connsiteX782" fmla="*/ 135255 w 447675"/>
                  <a:gd name="connsiteY782" fmla="*/ 648843 h 685800"/>
                  <a:gd name="connsiteX783" fmla="*/ 136970 w 447675"/>
                  <a:gd name="connsiteY783" fmla="*/ 649700 h 685800"/>
                  <a:gd name="connsiteX784" fmla="*/ 137827 w 447675"/>
                  <a:gd name="connsiteY784" fmla="*/ 648843 h 685800"/>
                  <a:gd name="connsiteX785" fmla="*/ 138684 w 447675"/>
                  <a:gd name="connsiteY785" fmla="*/ 647986 h 685800"/>
                  <a:gd name="connsiteX786" fmla="*/ 138684 w 447675"/>
                  <a:gd name="connsiteY786" fmla="*/ 647129 h 685800"/>
                  <a:gd name="connsiteX787" fmla="*/ 139541 w 447675"/>
                  <a:gd name="connsiteY787" fmla="*/ 646271 h 685800"/>
                  <a:gd name="connsiteX788" fmla="*/ 140399 w 447675"/>
                  <a:gd name="connsiteY788" fmla="*/ 645414 h 685800"/>
                  <a:gd name="connsiteX789" fmla="*/ 142113 w 447675"/>
                  <a:gd name="connsiteY789" fmla="*/ 645414 h 685800"/>
                  <a:gd name="connsiteX790" fmla="*/ 142113 w 447675"/>
                  <a:gd name="connsiteY790" fmla="*/ 643700 h 685800"/>
                  <a:gd name="connsiteX791" fmla="*/ 142970 w 447675"/>
                  <a:gd name="connsiteY791" fmla="*/ 642842 h 685800"/>
                  <a:gd name="connsiteX792" fmla="*/ 143827 w 447675"/>
                  <a:gd name="connsiteY792" fmla="*/ 641985 h 685800"/>
                  <a:gd name="connsiteX793" fmla="*/ 144685 w 447675"/>
                  <a:gd name="connsiteY793" fmla="*/ 641128 h 685800"/>
                  <a:gd name="connsiteX794" fmla="*/ 146399 w 447675"/>
                  <a:gd name="connsiteY794" fmla="*/ 641128 h 685800"/>
                  <a:gd name="connsiteX795" fmla="*/ 148971 w 447675"/>
                  <a:gd name="connsiteY795" fmla="*/ 641128 h 685800"/>
                  <a:gd name="connsiteX796" fmla="*/ 152400 w 447675"/>
                  <a:gd name="connsiteY796" fmla="*/ 643700 h 685800"/>
                  <a:gd name="connsiteX797" fmla="*/ 154972 w 447675"/>
                  <a:gd name="connsiteY797" fmla="*/ 645414 h 685800"/>
                  <a:gd name="connsiteX798" fmla="*/ 155829 w 447675"/>
                  <a:gd name="connsiteY798" fmla="*/ 647129 h 685800"/>
                  <a:gd name="connsiteX799" fmla="*/ 155829 w 447675"/>
                  <a:gd name="connsiteY799" fmla="*/ 651320 h 685800"/>
                  <a:gd name="connsiteX800" fmla="*/ 156686 w 447675"/>
                  <a:gd name="connsiteY800" fmla="*/ 654749 h 685800"/>
                  <a:gd name="connsiteX801" fmla="*/ 157543 w 447675"/>
                  <a:gd name="connsiteY801" fmla="*/ 656463 h 685800"/>
                  <a:gd name="connsiteX802" fmla="*/ 158401 w 447675"/>
                  <a:gd name="connsiteY802" fmla="*/ 658178 h 685800"/>
                  <a:gd name="connsiteX803" fmla="*/ 159258 w 447675"/>
                  <a:gd name="connsiteY803" fmla="*/ 659035 h 685800"/>
                  <a:gd name="connsiteX804" fmla="*/ 161830 w 447675"/>
                  <a:gd name="connsiteY804" fmla="*/ 659892 h 685800"/>
                  <a:gd name="connsiteX805" fmla="*/ 177165 w 447675"/>
                  <a:gd name="connsiteY805" fmla="*/ 663321 h 685800"/>
                  <a:gd name="connsiteX806" fmla="*/ 178879 w 447675"/>
                  <a:gd name="connsiteY806" fmla="*/ 665036 h 685800"/>
                  <a:gd name="connsiteX807" fmla="*/ 179737 w 447675"/>
                  <a:gd name="connsiteY807" fmla="*/ 666750 h 685800"/>
                  <a:gd name="connsiteX808" fmla="*/ 179737 w 447675"/>
                  <a:gd name="connsiteY808" fmla="*/ 668465 h 685800"/>
                  <a:gd name="connsiteX809" fmla="*/ 178879 w 447675"/>
                  <a:gd name="connsiteY809" fmla="*/ 671894 h 685800"/>
                  <a:gd name="connsiteX810" fmla="*/ 178879 w 447675"/>
                  <a:gd name="connsiteY810" fmla="*/ 673608 h 685800"/>
                  <a:gd name="connsiteX811" fmla="*/ 179737 w 447675"/>
                  <a:gd name="connsiteY811" fmla="*/ 675323 h 685800"/>
                  <a:gd name="connsiteX812" fmla="*/ 179737 w 447675"/>
                  <a:gd name="connsiteY812" fmla="*/ 677037 h 685800"/>
                  <a:gd name="connsiteX813" fmla="*/ 183166 w 447675"/>
                  <a:gd name="connsiteY813" fmla="*/ 682085 h 685800"/>
                  <a:gd name="connsiteX814" fmla="*/ 184880 w 447675"/>
                  <a:gd name="connsiteY814" fmla="*/ 683800 h 685800"/>
                  <a:gd name="connsiteX815" fmla="*/ 200216 w 447675"/>
                  <a:gd name="connsiteY815" fmla="*/ 679609 h 685800"/>
                  <a:gd name="connsiteX816" fmla="*/ 202787 w 447675"/>
                  <a:gd name="connsiteY816" fmla="*/ 679609 h 685800"/>
                  <a:gd name="connsiteX817" fmla="*/ 207931 w 447675"/>
                  <a:gd name="connsiteY817" fmla="*/ 679609 h 685800"/>
                  <a:gd name="connsiteX818" fmla="*/ 209645 w 447675"/>
                  <a:gd name="connsiteY818" fmla="*/ 678752 h 685800"/>
                  <a:gd name="connsiteX819" fmla="*/ 215646 w 447675"/>
                  <a:gd name="connsiteY819" fmla="*/ 674561 h 685800"/>
                  <a:gd name="connsiteX820" fmla="*/ 224218 w 447675"/>
                  <a:gd name="connsiteY820" fmla="*/ 670370 h 685800"/>
                  <a:gd name="connsiteX821" fmla="*/ 228505 w 447675"/>
                  <a:gd name="connsiteY821" fmla="*/ 667798 h 685800"/>
                  <a:gd name="connsiteX822" fmla="*/ 231076 w 447675"/>
                  <a:gd name="connsiteY822" fmla="*/ 665226 h 685800"/>
                  <a:gd name="connsiteX823" fmla="*/ 231076 w 447675"/>
                  <a:gd name="connsiteY823" fmla="*/ 664369 h 685800"/>
                  <a:gd name="connsiteX824" fmla="*/ 231076 w 447675"/>
                  <a:gd name="connsiteY824" fmla="*/ 663512 h 685800"/>
                  <a:gd name="connsiteX825" fmla="*/ 231934 w 447675"/>
                  <a:gd name="connsiteY825" fmla="*/ 662654 h 685800"/>
                  <a:gd name="connsiteX826" fmla="*/ 231934 w 447675"/>
                  <a:gd name="connsiteY826" fmla="*/ 662654 h 685800"/>
                  <a:gd name="connsiteX827" fmla="*/ 232791 w 447675"/>
                  <a:gd name="connsiteY827" fmla="*/ 662654 h 685800"/>
                  <a:gd name="connsiteX828" fmla="*/ 237077 w 447675"/>
                  <a:gd name="connsiteY828" fmla="*/ 659225 h 685800"/>
                  <a:gd name="connsiteX829" fmla="*/ 237934 w 447675"/>
                  <a:gd name="connsiteY829" fmla="*/ 658368 h 685800"/>
                  <a:gd name="connsiteX830" fmla="*/ 239649 w 447675"/>
                  <a:gd name="connsiteY830" fmla="*/ 657511 h 685800"/>
                  <a:gd name="connsiteX831" fmla="*/ 241363 w 447675"/>
                  <a:gd name="connsiteY831" fmla="*/ 655796 h 685800"/>
                  <a:gd name="connsiteX832" fmla="*/ 246507 w 447675"/>
                  <a:gd name="connsiteY832" fmla="*/ 643890 h 685800"/>
                  <a:gd name="connsiteX833" fmla="*/ 248221 w 447675"/>
                  <a:gd name="connsiteY833" fmla="*/ 641318 h 685800"/>
                  <a:gd name="connsiteX834" fmla="*/ 248221 w 447675"/>
                  <a:gd name="connsiteY834" fmla="*/ 640461 h 685800"/>
                  <a:gd name="connsiteX835" fmla="*/ 248221 w 447675"/>
                  <a:gd name="connsiteY835" fmla="*/ 638747 h 685800"/>
                  <a:gd name="connsiteX836" fmla="*/ 248221 w 447675"/>
                  <a:gd name="connsiteY836" fmla="*/ 637032 h 685800"/>
                  <a:gd name="connsiteX837" fmla="*/ 247364 w 447675"/>
                  <a:gd name="connsiteY837" fmla="*/ 636175 h 685800"/>
                  <a:gd name="connsiteX838" fmla="*/ 248221 w 447675"/>
                  <a:gd name="connsiteY838" fmla="*/ 636175 h 685800"/>
                  <a:gd name="connsiteX839" fmla="*/ 252508 w 447675"/>
                  <a:gd name="connsiteY839" fmla="*/ 636175 h 685800"/>
                  <a:gd name="connsiteX840" fmla="*/ 255079 w 447675"/>
                  <a:gd name="connsiteY840" fmla="*/ 634460 h 685800"/>
                  <a:gd name="connsiteX841" fmla="*/ 258509 w 447675"/>
                  <a:gd name="connsiteY841" fmla="*/ 631031 h 685800"/>
                  <a:gd name="connsiteX842" fmla="*/ 261080 w 447675"/>
                  <a:gd name="connsiteY842" fmla="*/ 627602 h 685800"/>
                  <a:gd name="connsiteX843" fmla="*/ 261938 w 447675"/>
                  <a:gd name="connsiteY843" fmla="*/ 624173 h 685800"/>
                  <a:gd name="connsiteX844" fmla="*/ 261080 w 447675"/>
                  <a:gd name="connsiteY844" fmla="*/ 619982 h 685800"/>
                  <a:gd name="connsiteX845" fmla="*/ 257651 w 447675"/>
                  <a:gd name="connsiteY845" fmla="*/ 616553 h 685800"/>
                  <a:gd name="connsiteX846" fmla="*/ 253365 w 447675"/>
                  <a:gd name="connsiteY846" fmla="*/ 615696 h 685800"/>
                  <a:gd name="connsiteX847" fmla="*/ 249079 w 447675"/>
                  <a:gd name="connsiteY847" fmla="*/ 614839 h 685800"/>
                  <a:gd name="connsiteX848" fmla="*/ 245650 w 447675"/>
                  <a:gd name="connsiteY848" fmla="*/ 613982 h 685800"/>
                  <a:gd name="connsiteX849" fmla="*/ 243935 w 447675"/>
                  <a:gd name="connsiteY849" fmla="*/ 613982 h 685800"/>
                  <a:gd name="connsiteX850" fmla="*/ 242221 w 447675"/>
                  <a:gd name="connsiteY850" fmla="*/ 612267 h 685800"/>
                  <a:gd name="connsiteX851" fmla="*/ 238792 w 447675"/>
                  <a:gd name="connsiteY851" fmla="*/ 608838 h 685800"/>
                  <a:gd name="connsiteX852" fmla="*/ 237934 w 447675"/>
                  <a:gd name="connsiteY852" fmla="*/ 607124 h 685800"/>
                  <a:gd name="connsiteX853" fmla="*/ 237077 w 447675"/>
                  <a:gd name="connsiteY853" fmla="*/ 605409 h 685800"/>
                  <a:gd name="connsiteX854" fmla="*/ 235363 w 447675"/>
                  <a:gd name="connsiteY854" fmla="*/ 596075 h 685800"/>
                  <a:gd name="connsiteX855" fmla="*/ 234505 w 447675"/>
                  <a:gd name="connsiteY855" fmla="*/ 591026 h 685800"/>
                  <a:gd name="connsiteX856" fmla="*/ 232791 w 447675"/>
                  <a:gd name="connsiteY856" fmla="*/ 588455 h 685800"/>
                  <a:gd name="connsiteX857" fmla="*/ 232791 w 447675"/>
                  <a:gd name="connsiteY857" fmla="*/ 587597 h 685800"/>
                  <a:gd name="connsiteX858" fmla="*/ 234505 w 447675"/>
                  <a:gd name="connsiteY858" fmla="*/ 587597 h 685800"/>
                  <a:gd name="connsiteX859" fmla="*/ 236220 w 447675"/>
                  <a:gd name="connsiteY859" fmla="*/ 589312 h 685800"/>
                  <a:gd name="connsiteX860" fmla="*/ 237077 w 447675"/>
                  <a:gd name="connsiteY860" fmla="*/ 591026 h 685800"/>
                  <a:gd name="connsiteX861" fmla="*/ 237077 w 447675"/>
                  <a:gd name="connsiteY861" fmla="*/ 593598 h 685800"/>
                  <a:gd name="connsiteX862" fmla="*/ 237077 w 447675"/>
                  <a:gd name="connsiteY862" fmla="*/ 596170 h 685800"/>
                  <a:gd name="connsiteX863" fmla="*/ 238792 w 447675"/>
                  <a:gd name="connsiteY863" fmla="*/ 600361 h 685800"/>
                  <a:gd name="connsiteX864" fmla="*/ 239649 w 447675"/>
                  <a:gd name="connsiteY864" fmla="*/ 602933 h 685800"/>
                  <a:gd name="connsiteX865" fmla="*/ 239649 w 447675"/>
                  <a:gd name="connsiteY865" fmla="*/ 604647 h 685800"/>
                  <a:gd name="connsiteX866" fmla="*/ 241363 w 447675"/>
                  <a:gd name="connsiteY866" fmla="*/ 606362 h 685800"/>
                  <a:gd name="connsiteX867" fmla="*/ 243935 w 447675"/>
                  <a:gd name="connsiteY867" fmla="*/ 609791 h 685800"/>
                  <a:gd name="connsiteX868" fmla="*/ 245650 w 447675"/>
                  <a:gd name="connsiteY868" fmla="*/ 610648 h 685800"/>
                  <a:gd name="connsiteX869" fmla="*/ 248221 w 447675"/>
                  <a:gd name="connsiteY869" fmla="*/ 611505 h 685800"/>
                  <a:gd name="connsiteX870" fmla="*/ 249936 w 447675"/>
                  <a:gd name="connsiteY870" fmla="*/ 610648 h 685800"/>
                  <a:gd name="connsiteX871" fmla="*/ 251650 w 447675"/>
                  <a:gd name="connsiteY871" fmla="*/ 609791 h 685800"/>
                  <a:gd name="connsiteX872" fmla="*/ 251650 w 447675"/>
                  <a:gd name="connsiteY872" fmla="*/ 612362 h 685800"/>
                  <a:gd name="connsiteX873" fmla="*/ 255937 w 447675"/>
                  <a:gd name="connsiteY873" fmla="*/ 614934 h 685800"/>
                  <a:gd name="connsiteX874" fmla="*/ 261080 w 447675"/>
                  <a:gd name="connsiteY874" fmla="*/ 616649 h 685800"/>
                  <a:gd name="connsiteX875" fmla="*/ 264509 w 447675"/>
                  <a:gd name="connsiteY875" fmla="*/ 618363 h 685800"/>
                  <a:gd name="connsiteX876" fmla="*/ 265367 w 447675"/>
                  <a:gd name="connsiteY876" fmla="*/ 620078 h 685800"/>
                  <a:gd name="connsiteX877" fmla="*/ 266224 w 447675"/>
                  <a:gd name="connsiteY877" fmla="*/ 626840 h 685800"/>
                  <a:gd name="connsiteX878" fmla="*/ 267938 w 447675"/>
                  <a:gd name="connsiteY878" fmla="*/ 629412 h 685800"/>
                  <a:gd name="connsiteX879" fmla="*/ 266224 w 447675"/>
                  <a:gd name="connsiteY879" fmla="*/ 631984 h 685800"/>
                  <a:gd name="connsiteX880" fmla="*/ 261080 w 447675"/>
                  <a:gd name="connsiteY880" fmla="*/ 637889 h 685800"/>
                  <a:gd name="connsiteX881" fmla="*/ 260223 w 447675"/>
                  <a:gd name="connsiteY881" fmla="*/ 639604 h 685800"/>
                  <a:gd name="connsiteX882" fmla="*/ 259366 w 447675"/>
                  <a:gd name="connsiteY882" fmla="*/ 641318 h 685800"/>
                  <a:gd name="connsiteX883" fmla="*/ 259366 w 447675"/>
                  <a:gd name="connsiteY883" fmla="*/ 643033 h 685800"/>
                  <a:gd name="connsiteX884" fmla="*/ 261080 w 447675"/>
                  <a:gd name="connsiteY884" fmla="*/ 649796 h 685800"/>
                  <a:gd name="connsiteX885" fmla="*/ 260223 w 447675"/>
                  <a:gd name="connsiteY885" fmla="*/ 650653 h 685800"/>
                  <a:gd name="connsiteX886" fmla="*/ 260223 w 447675"/>
                  <a:gd name="connsiteY886" fmla="*/ 651510 h 685800"/>
                  <a:gd name="connsiteX887" fmla="*/ 265367 w 447675"/>
                  <a:gd name="connsiteY887" fmla="*/ 661702 h 685800"/>
                  <a:gd name="connsiteX888" fmla="*/ 266224 w 447675"/>
                  <a:gd name="connsiteY888" fmla="*/ 663416 h 685800"/>
                  <a:gd name="connsiteX889" fmla="*/ 265367 w 447675"/>
                  <a:gd name="connsiteY889" fmla="*/ 665131 h 685800"/>
                  <a:gd name="connsiteX890" fmla="*/ 266224 w 447675"/>
                  <a:gd name="connsiteY890" fmla="*/ 668560 h 685800"/>
                  <a:gd name="connsiteX891" fmla="*/ 265367 w 447675"/>
                  <a:gd name="connsiteY891" fmla="*/ 671132 h 685800"/>
                  <a:gd name="connsiteX892" fmla="*/ 264509 w 447675"/>
                  <a:gd name="connsiteY892" fmla="*/ 673703 h 685800"/>
                  <a:gd name="connsiteX893" fmla="*/ 262795 w 447675"/>
                  <a:gd name="connsiteY893" fmla="*/ 675418 h 685800"/>
                  <a:gd name="connsiteX894" fmla="*/ 262795 w 447675"/>
                  <a:gd name="connsiteY894" fmla="*/ 677990 h 685800"/>
                  <a:gd name="connsiteX895" fmla="*/ 263652 w 447675"/>
                  <a:gd name="connsiteY895" fmla="*/ 681419 h 685800"/>
                  <a:gd name="connsiteX896" fmla="*/ 266224 w 447675"/>
                  <a:gd name="connsiteY896" fmla="*/ 685610 h 685800"/>
                  <a:gd name="connsiteX897" fmla="*/ 267938 w 447675"/>
                  <a:gd name="connsiteY897" fmla="*/ 684752 h 685800"/>
                  <a:gd name="connsiteX898" fmla="*/ 269653 w 447675"/>
                  <a:gd name="connsiteY898" fmla="*/ 685610 h 685800"/>
                  <a:gd name="connsiteX899" fmla="*/ 270510 w 447675"/>
                  <a:gd name="connsiteY899" fmla="*/ 688181 h 685800"/>
                  <a:gd name="connsiteX900" fmla="*/ 270510 w 447675"/>
                  <a:gd name="connsiteY900" fmla="*/ 690753 h 685800"/>
                  <a:gd name="connsiteX901" fmla="*/ 271367 w 447675"/>
                  <a:gd name="connsiteY901" fmla="*/ 691610 h 685800"/>
                  <a:gd name="connsiteX902" fmla="*/ 272225 w 447675"/>
                  <a:gd name="connsiteY902" fmla="*/ 691610 h 685800"/>
                  <a:gd name="connsiteX903" fmla="*/ 273939 w 447675"/>
                  <a:gd name="connsiteY903" fmla="*/ 690753 h 685800"/>
                  <a:gd name="connsiteX904" fmla="*/ 274796 w 447675"/>
                  <a:gd name="connsiteY904" fmla="*/ 690753 h 685800"/>
                  <a:gd name="connsiteX905" fmla="*/ 275654 w 447675"/>
                  <a:gd name="connsiteY905" fmla="*/ 689896 h 685800"/>
                  <a:gd name="connsiteX906" fmla="*/ 276511 w 447675"/>
                  <a:gd name="connsiteY906" fmla="*/ 689896 h 685800"/>
                  <a:gd name="connsiteX907" fmla="*/ 276511 w 447675"/>
                  <a:gd name="connsiteY907" fmla="*/ 689039 h 685800"/>
                  <a:gd name="connsiteX908" fmla="*/ 276511 w 447675"/>
                  <a:gd name="connsiteY908" fmla="*/ 688181 h 685800"/>
                  <a:gd name="connsiteX909" fmla="*/ 276511 w 447675"/>
                  <a:gd name="connsiteY909" fmla="*/ 687324 h 685800"/>
                  <a:gd name="connsiteX910" fmla="*/ 274796 w 447675"/>
                  <a:gd name="connsiteY910" fmla="*/ 685610 h 685800"/>
                  <a:gd name="connsiteX911" fmla="*/ 274796 w 447675"/>
                  <a:gd name="connsiteY911" fmla="*/ 684752 h 685800"/>
                  <a:gd name="connsiteX912" fmla="*/ 274796 w 447675"/>
                  <a:gd name="connsiteY912" fmla="*/ 683038 h 685800"/>
                  <a:gd name="connsiteX913" fmla="*/ 275654 w 447675"/>
                  <a:gd name="connsiteY913" fmla="*/ 680466 h 685800"/>
                  <a:gd name="connsiteX914" fmla="*/ 275654 w 447675"/>
                  <a:gd name="connsiteY914" fmla="*/ 679609 h 685800"/>
                  <a:gd name="connsiteX915" fmla="*/ 275654 w 447675"/>
                  <a:gd name="connsiteY915" fmla="*/ 677037 h 685800"/>
                  <a:gd name="connsiteX916" fmla="*/ 272225 w 447675"/>
                  <a:gd name="connsiteY916" fmla="*/ 665131 h 685800"/>
                  <a:gd name="connsiteX917" fmla="*/ 272225 w 447675"/>
                  <a:gd name="connsiteY917" fmla="*/ 662559 h 685800"/>
                  <a:gd name="connsiteX918" fmla="*/ 273082 w 447675"/>
                  <a:gd name="connsiteY918" fmla="*/ 662559 h 685800"/>
                  <a:gd name="connsiteX919" fmla="*/ 274796 w 447675"/>
                  <a:gd name="connsiteY919" fmla="*/ 664274 h 685800"/>
                  <a:gd name="connsiteX920" fmla="*/ 276511 w 447675"/>
                  <a:gd name="connsiteY920" fmla="*/ 666845 h 685800"/>
                  <a:gd name="connsiteX921" fmla="*/ 276511 w 447675"/>
                  <a:gd name="connsiteY921" fmla="*/ 668560 h 685800"/>
                  <a:gd name="connsiteX922" fmla="*/ 276511 w 447675"/>
                  <a:gd name="connsiteY922" fmla="*/ 682085 h 685800"/>
                  <a:gd name="connsiteX923" fmla="*/ 277368 w 447675"/>
                  <a:gd name="connsiteY923" fmla="*/ 684657 h 685800"/>
                  <a:gd name="connsiteX924" fmla="*/ 279083 w 447675"/>
                  <a:gd name="connsiteY924" fmla="*/ 685514 h 685800"/>
                  <a:gd name="connsiteX925" fmla="*/ 280797 w 447675"/>
                  <a:gd name="connsiteY925" fmla="*/ 683800 h 685800"/>
                  <a:gd name="connsiteX926" fmla="*/ 281654 w 447675"/>
                  <a:gd name="connsiteY926" fmla="*/ 681228 h 685800"/>
                  <a:gd name="connsiteX927" fmla="*/ 281654 w 447675"/>
                  <a:gd name="connsiteY927" fmla="*/ 679514 h 685800"/>
                  <a:gd name="connsiteX928" fmla="*/ 281654 w 447675"/>
                  <a:gd name="connsiteY928" fmla="*/ 678656 h 685800"/>
                  <a:gd name="connsiteX929" fmla="*/ 281654 w 447675"/>
                  <a:gd name="connsiteY929" fmla="*/ 676942 h 685800"/>
                  <a:gd name="connsiteX930" fmla="*/ 279083 w 447675"/>
                  <a:gd name="connsiteY930" fmla="*/ 675227 h 685800"/>
                  <a:gd name="connsiteX931" fmla="*/ 279083 w 447675"/>
                  <a:gd name="connsiteY931" fmla="*/ 673513 h 685800"/>
                  <a:gd name="connsiteX932" fmla="*/ 279083 w 447675"/>
                  <a:gd name="connsiteY932" fmla="*/ 672656 h 685800"/>
                  <a:gd name="connsiteX933" fmla="*/ 279940 w 447675"/>
                  <a:gd name="connsiteY933" fmla="*/ 671798 h 685800"/>
                  <a:gd name="connsiteX934" fmla="*/ 280797 w 447675"/>
                  <a:gd name="connsiteY934" fmla="*/ 672656 h 685800"/>
                  <a:gd name="connsiteX935" fmla="*/ 280797 w 447675"/>
                  <a:gd name="connsiteY935" fmla="*/ 674370 h 685800"/>
                  <a:gd name="connsiteX936" fmla="*/ 281654 w 447675"/>
                  <a:gd name="connsiteY936" fmla="*/ 675227 h 685800"/>
                  <a:gd name="connsiteX937" fmla="*/ 282512 w 447675"/>
                  <a:gd name="connsiteY937" fmla="*/ 675227 h 685800"/>
                  <a:gd name="connsiteX938" fmla="*/ 283369 w 447675"/>
                  <a:gd name="connsiteY938" fmla="*/ 675227 h 685800"/>
                  <a:gd name="connsiteX939" fmla="*/ 285083 w 447675"/>
                  <a:gd name="connsiteY939" fmla="*/ 674370 h 685800"/>
                  <a:gd name="connsiteX940" fmla="*/ 286798 w 447675"/>
                  <a:gd name="connsiteY940" fmla="*/ 674370 h 685800"/>
                  <a:gd name="connsiteX941" fmla="*/ 285941 w 447675"/>
                  <a:gd name="connsiteY941" fmla="*/ 676942 h 685800"/>
                  <a:gd name="connsiteX942" fmla="*/ 285941 w 447675"/>
                  <a:gd name="connsiteY942" fmla="*/ 681990 h 685800"/>
                  <a:gd name="connsiteX943" fmla="*/ 286798 w 447675"/>
                  <a:gd name="connsiteY943" fmla="*/ 685419 h 685800"/>
                  <a:gd name="connsiteX944" fmla="*/ 287369 w 447675"/>
                  <a:gd name="connsiteY944" fmla="*/ 685419 h 685800"/>
                  <a:gd name="connsiteX945" fmla="*/ 289084 w 447675"/>
                  <a:gd name="connsiteY945" fmla="*/ 684562 h 685800"/>
                  <a:gd name="connsiteX946" fmla="*/ 290798 w 447675"/>
                  <a:gd name="connsiteY946" fmla="*/ 683705 h 685800"/>
                  <a:gd name="connsiteX947" fmla="*/ 292513 w 447675"/>
                  <a:gd name="connsiteY947" fmla="*/ 682847 h 685800"/>
                  <a:gd name="connsiteX948" fmla="*/ 294227 w 447675"/>
                  <a:gd name="connsiteY948" fmla="*/ 680276 h 685800"/>
                  <a:gd name="connsiteX949" fmla="*/ 294227 w 447675"/>
                  <a:gd name="connsiteY949" fmla="*/ 677704 h 685800"/>
                  <a:gd name="connsiteX950" fmla="*/ 294227 w 447675"/>
                  <a:gd name="connsiteY950" fmla="*/ 675989 h 685800"/>
                  <a:gd name="connsiteX951" fmla="*/ 292513 w 447675"/>
                  <a:gd name="connsiteY951" fmla="*/ 673418 h 685800"/>
                  <a:gd name="connsiteX952" fmla="*/ 292513 w 447675"/>
                  <a:gd name="connsiteY952" fmla="*/ 670846 h 685800"/>
                  <a:gd name="connsiteX953" fmla="*/ 292513 w 447675"/>
                  <a:gd name="connsiteY953" fmla="*/ 669131 h 685800"/>
                  <a:gd name="connsiteX954" fmla="*/ 292513 w 447675"/>
                  <a:gd name="connsiteY954" fmla="*/ 666560 h 685800"/>
                  <a:gd name="connsiteX955" fmla="*/ 294227 w 447675"/>
                  <a:gd name="connsiteY955" fmla="*/ 663988 h 685800"/>
                  <a:gd name="connsiteX956" fmla="*/ 295084 w 447675"/>
                  <a:gd name="connsiteY956" fmla="*/ 661416 h 685800"/>
                  <a:gd name="connsiteX957" fmla="*/ 295084 w 447675"/>
                  <a:gd name="connsiteY957" fmla="*/ 661416 h 685800"/>
                  <a:gd name="connsiteX958" fmla="*/ 295942 w 447675"/>
                  <a:gd name="connsiteY958" fmla="*/ 661416 h 685800"/>
                  <a:gd name="connsiteX959" fmla="*/ 296799 w 447675"/>
                  <a:gd name="connsiteY959" fmla="*/ 661416 h 685800"/>
                  <a:gd name="connsiteX960" fmla="*/ 296799 w 447675"/>
                  <a:gd name="connsiteY960" fmla="*/ 659702 h 685800"/>
                  <a:gd name="connsiteX961" fmla="*/ 296799 w 447675"/>
                  <a:gd name="connsiteY961" fmla="*/ 657130 h 685800"/>
                  <a:gd name="connsiteX962" fmla="*/ 295084 w 447675"/>
                  <a:gd name="connsiteY962" fmla="*/ 652939 h 685800"/>
                  <a:gd name="connsiteX963" fmla="*/ 295084 w 447675"/>
                  <a:gd name="connsiteY963" fmla="*/ 651224 h 685800"/>
                  <a:gd name="connsiteX964" fmla="*/ 295084 w 447675"/>
                  <a:gd name="connsiteY964" fmla="*/ 648653 h 685800"/>
                  <a:gd name="connsiteX965" fmla="*/ 296799 w 447675"/>
                  <a:gd name="connsiteY965" fmla="*/ 646938 h 685800"/>
                  <a:gd name="connsiteX966" fmla="*/ 297656 w 447675"/>
                  <a:gd name="connsiteY966" fmla="*/ 646081 h 685800"/>
                  <a:gd name="connsiteX967" fmla="*/ 296799 w 447675"/>
                  <a:gd name="connsiteY967" fmla="*/ 643509 h 685800"/>
                  <a:gd name="connsiteX968" fmla="*/ 299371 w 447675"/>
                  <a:gd name="connsiteY968" fmla="*/ 645224 h 685800"/>
                  <a:gd name="connsiteX969" fmla="*/ 299371 w 447675"/>
                  <a:gd name="connsiteY969" fmla="*/ 647795 h 685800"/>
                  <a:gd name="connsiteX970" fmla="*/ 296799 w 447675"/>
                  <a:gd name="connsiteY970" fmla="*/ 652844 h 685800"/>
                  <a:gd name="connsiteX971" fmla="*/ 299371 w 447675"/>
                  <a:gd name="connsiteY971" fmla="*/ 655415 h 685800"/>
                  <a:gd name="connsiteX972" fmla="*/ 301085 w 447675"/>
                  <a:gd name="connsiteY972" fmla="*/ 658844 h 685800"/>
                  <a:gd name="connsiteX973" fmla="*/ 301085 w 447675"/>
                  <a:gd name="connsiteY973" fmla="*/ 662273 h 685800"/>
                  <a:gd name="connsiteX974" fmla="*/ 299371 w 447675"/>
                  <a:gd name="connsiteY974" fmla="*/ 666464 h 685800"/>
                  <a:gd name="connsiteX975" fmla="*/ 298513 w 447675"/>
                  <a:gd name="connsiteY975" fmla="*/ 669036 h 685800"/>
                  <a:gd name="connsiteX976" fmla="*/ 298513 w 447675"/>
                  <a:gd name="connsiteY976" fmla="*/ 672465 h 685800"/>
                  <a:gd name="connsiteX977" fmla="*/ 301085 w 447675"/>
                  <a:gd name="connsiteY977" fmla="*/ 678371 h 685800"/>
                  <a:gd name="connsiteX978" fmla="*/ 300228 w 447675"/>
                  <a:gd name="connsiteY978" fmla="*/ 679228 h 685800"/>
                  <a:gd name="connsiteX979" fmla="*/ 299371 w 447675"/>
                  <a:gd name="connsiteY979" fmla="*/ 680942 h 685800"/>
                  <a:gd name="connsiteX980" fmla="*/ 299371 w 447675"/>
                  <a:gd name="connsiteY980" fmla="*/ 682657 h 685800"/>
                  <a:gd name="connsiteX981" fmla="*/ 299371 w 447675"/>
                  <a:gd name="connsiteY981" fmla="*/ 684371 h 685800"/>
                  <a:gd name="connsiteX982" fmla="*/ 299371 w 447675"/>
                  <a:gd name="connsiteY982" fmla="*/ 685229 h 685800"/>
                  <a:gd name="connsiteX983" fmla="*/ 298513 w 447675"/>
                  <a:gd name="connsiteY983" fmla="*/ 686086 h 685800"/>
                  <a:gd name="connsiteX984" fmla="*/ 297656 w 447675"/>
                  <a:gd name="connsiteY984" fmla="*/ 686943 h 685800"/>
                  <a:gd name="connsiteX985" fmla="*/ 296799 w 447675"/>
                  <a:gd name="connsiteY985" fmla="*/ 687800 h 685800"/>
                  <a:gd name="connsiteX986" fmla="*/ 295942 w 447675"/>
                  <a:gd name="connsiteY986" fmla="*/ 690372 h 685800"/>
                  <a:gd name="connsiteX987" fmla="*/ 296799 w 447675"/>
                  <a:gd name="connsiteY987" fmla="*/ 693801 h 685800"/>
                  <a:gd name="connsiteX988" fmla="*/ 299371 w 447675"/>
                  <a:gd name="connsiteY988" fmla="*/ 694658 h 685800"/>
                  <a:gd name="connsiteX989" fmla="*/ 302800 w 447675"/>
                  <a:gd name="connsiteY989" fmla="*/ 693801 h 685800"/>
                  <a:gd name="connsiteX990" fmla="*/ 301085 w 447675"/>
                  <a:gd name="connsiteY990" fmla="*/ 692087 h 685800"/>
                  <a:gd name="connsiteX991" fmla="*/ 301085 w 447675"/>
                  <a:gd name="connsiteY991" fmla="*/ 691229 h 685800"/>
                  <a:gd name="connsiteX992" fmla="*/ 301085 w 447675"/>
                  <a:gd name="connsiteY992" fmla="*/ 689515 h 685800"/>
                  <a:gd name="connsiteX993" fmla="*/ 301942 w 447675"/>
                  <a:gd name="connsiteY993" fmla="*/ 688658 h 685800"/>
                  <a:gd name="connsiteX994" fmla="*/ 302800 w 447675"/>
                  <a:gd name="connsiteY994" fmla="*/ 690372 h 685800"/>
                  <a:gd name="connsiteX995" fmla="*/ 304514 w 447675"/>
                  <a:gd name="connsiteY995" fmla="*/ 690372 h 685800"/>
                  <a:gd name="connsiteX996" fmla="*/ 305371 w 447675"/>
                  <a:gd name="connsiteY996" fmla="*/ 690372 h 685800"/>
                  <a:gd name="connsiteX997" fmla="*/ 306229 w 447675"/>
                  <a:gd name="connsiteY997" fmla="*/ 688658 h 685800"/>
                  <a:gd name="connsiteX998" fmla="*/ 306229 w 447675"/>
                  <a:gd name="connsiteY998" fmla="*/ 682752 h 685800"/>
                  <a:gd name="connsiteX999" fmla="*/ 307943 w 447675"/>
                  <a:gd name="connsiteY999" fmla="*/ 684467 h 685800"/>
                  <a:gd name="connsiteX1000" fmla="*/ 308800 w 447675"/>
                  <a:gd name="connsiteY1000" fmla="*/ 681038 h 685800"/>
                  <a:gd name="connsiteX1001" fmla="*/ 307943 w 447675"/>
                  <a:gd name="connsiteY1001" fmla="*/ 673418 h 685800"/>
                  <a:gd name="connsiteX1002" fmla="*/ 308800 w 447675"/>
                  <a:gd name="connsiteY1002" fmla="*/ 673418 h 685800"/>
                  <a:gd name="connsiteX1003" fmla="*/ 310515 w 447675"/>
                  <a:gd name="connsiteY1003" fmla="*/ 674275 h 685800"/>
                  <a:gd name="connsiteX1004" fmla="*/ 311372 w 447675"/>
                  <a:gd name="connsiteY1004" fmla="*/ 672560 h 685800"/>
                  <a:gd name="connsiteX1005" fmla="*/ 312230 w 447675"/>
                  <a:gd name="connsiteY1005" fmla="*/ 669989 h 685800"/>
                  <a:gd name="connsiteX1006" fmla="*/ 312230 w 447675"/>
                  <a:gd name="connsiteY1006" fmla="*/ 667417 h 685800"/>
                  <a:gd name="connsiteX1007" fmla="*/ 311372 w 447675"/>
                  <a:gd name="connsiteY1007" fmla="*/ 663988 h 685800"/>
                  <a:gd name="connsiteX1008" fmla="*/ 309658 w 447675"/>
                  <a:gd name="connsiteY1008" fmla="*/ 663988 h 685800"/>
                  <a:gd name="connsiteX1009" fmla="*/ 306229 w 447675"/>
                  <a:gd name="connsiteY1009" fmla="*/ 665702 h 685800"/>
                  <a:gd name="connsiteX1010" fmla="*/ 304514 w 447675"/>
                  <a:gd name="connsiteY1010" fmla="*/ 665702 h 685800"/>
                  <a:gd name="connsiteX1011" fmla="*/ 304514 w 447675"/>
                  <a:gd name="connsiteY1011" fmla="*/ 664845 h 685800"/>
                  <a:gd name="connsiteX1012" fmla="*/ 304514 w 447675"/>
                  <a:gd name="connsiteY1012" fmla="*/ 658082 h 685800"/>
                  <a:gd name="connsiteX1013" fmla="*/ 305371 w 447675"/>
                  <a:gd name="connsiteY1013" fmla="*/ 655511 h 685800"/>
                  <a:gd name="connsiteX1014" fmla="*/ 308800 w 447675"/>
                  <a:gd name="connsiteY1014" fmla="*/ 646176 h 685800"/>
                  <a:gd name="connsiteX1015" fmla="*/ 308800 w 447675"/>
                  <a:gd name="connsiteY1015" fmla="*/ 644462 h 685800"/>
                  <a:gd name="connsiteX1016" fmla="*/ 308800 w 447675"/>
                  <a:gd name="connsiteY1016" fmla="*/ 639413 h 685800"/>
                  <a:gd name="connsiteX1017" fmla="*/ 308800 w 447675"/>
                  <a:gd name="connsiteY1017" fmla="*/ 636842 h 685800"/>
                  <a:gd name="connsiteX1018" fmla="*/ 311372 w 447675"/>
                  <a:gd name="connsiteY1018" fmla="*/ 634270 h 685800"/>
                  <a:gd name="connsiteX1019" fmla="*/ 311372 w 447675"/>
                  <a:gd name="connsiteY1019" fmla="*/ 632555 h 685800"/>
                  <a:gd name="connsiteX1020" fmla="*/ 311372 w 447675"/>
                  <a:gd name="connsiteY1020" fmla="*/ 630841 h 685800"/>
                  <a:gd name="connsiteX1021" fmla="*/ 311372 w 447675"/>
                  <a:gd name="connsiteY1021" fmla="*/ 629126 h 685800"/>
                  <a:gd name="connsiteX1022" fmla="*/ 310515 w 447675"/>
                  <a:gd name="connsiteY1022" fmla="*/ 625697 h 685800"/>
                  <a:gd name="connsiteX1023" fmla="*/ 310515 w 447675"/>
                  <a:gd name="connsiteY1023" fmla="*/ 624840 h 685800"/>
                  <a:gd name="connsiteX1024" fmla="*/ 311372 w 447675"/>
                  <a:gd name="connsiteY1024" fmla="*/ 623983 h 685800"/>
                  <a:gd name="connsiteX1025" fmla="*/ 312230 w 447675"/>
                  <a:gd name="connsiteY1025" fmla="*/ 623126 h 685800"/>
                  <a:gd name="connsiteX1026" fmla="*/ 312230 w 447675"/>
                  <a:gd name="connsiteY1026" fmla="*/ 620554 h 685800"/>
                  <a:gd name="connsiteX1027" fmla="*/ 313944 w 447675"/>
                  <a:gd name="connsiteY1027" fmla="*/ 618839 h 685800"/>
                  <a:gd name="connsiteX1028" fmla="*/ 313944 w 447675"/>
                  <a:gd name="connsiteY1028" fmla="*/ 617982 h 685800"/>
                  <a:gd name="connsiteX1029" fmla="*/ 313944 w 447675"/>
                  <a:gd name="connsiteY1029" fmla="*/ 617982 h 685800"/>
                  <a:gd name="connsiteX1030" fmla="*/ 314801 w 447675"/>
                  <a:gd name="connsiteY1030" fmla="*/ 616268 h 685800"/>
                  <a:gd name="connsiteX1031" fmla="*/ 315659 w 447675"/>
                  <a:gd name="connsiteY1031" fmla="*/ 614553 h 685800"/>
                  <a:gd name="connsiteX1032" fmla="*/ 315659 w 447675"/>
                  <a:gd name="connsiteY1032" fmla="*/ 613696 h 685800"/>
                  <a:gd name="connsiteX1033" fmla="*/ 317373 w 447675"/>
                  <a:gd name="connsiteY1033" fmla="*/ 613696 h 685800"/>
                  <a:gd name="connsiteX1034" fmla="*/ 318230 w 447675"/>
                  <a:gd name="connsiteY1034" fmla="*/ 616268 h 685800"/>
                  <a:gd name="connsiteX1035" fmla="*/ 316516 w 447675"/>
                  <a:gd name="connsiteY1035" fmla="*/ 618839 h 685800"/>
                  <a:gd name="connsiteX1036" fmla="*/ 314801 w 447675"/>
                  <a:gd name="connsiteY1036" fmla="*/ 619697 h 685800"/>
                  <a:gd name="connsiteX1037" fmla="*/ 313087 w 447675"/>
                  <a:gd name="connsiteY1037" fmla="*/ 624745 h 685800"/>
                  <a:gd name="connsiteX1038" fmla="*/ 313087 w 447675"/>
                  <a:gd name="connsiteY1038" fmla="*/ 626459 h 685800"/>
                  <a:gd name="connsiteX1039" fmla="*/ 313944 w 447675"/>
                  <a:gd name="connsiteY1039" fmla="*/ 629031 h 685800"/>
                  <a:gd name="connsiteX1040" fmla="*/ 313944 w 447675"/>
                  <a:gd name="connsiteY1040" fmla="*/ 632460 h 685800"/>
                  <a:gd name="connsiteX1041" fmla="*/ 314801 w 447675"/>
                  <a:gd name="connsiteY1041" fmla="*/ 634175 h 685800"/>
                  <a:gd name="connsiteX1042" fmla="*/ 314801 w 447675"/>
                  <a:gd name="connsiteY1042" fmla="*/ 635889 h 685800"/>
                  <a:gd name="connsiteX1043" fmla="*/ 313944 w 447675"/>
                  <a:gd name="connsiteY1043" fmla="*/ 637604 h 685800"/>
                  <a:gd name="connsiteX1044" fmla="*/ 312230 w 447675"/>
                  <a:gd name="connsiteY1044" fmla="*/ 640175 h 685800"/>
                  <a:gd name="connsiteX1045" fmla="*/ 312230 w 447675"/>
                  <a:gd name="connsiteY1045" fmla="*/ 641890 h 685800"/>
                  <a:gd name="connsiteX1046" fmla="*/ 311372 w 447675"/>
                  <a:gd name="connsiteY1046" fmla="*/ 643604 h 685800"/>
                  <a:gd name="connsiteX1047" fmla="*/ 312230 w 447675"/>
                  <a:gd name="connsiteY1047" fmla="*/ 644462 h 685800"/>
                  <a:gd name="connsiteX1048" fmla="*/ 313087 w 447675"/>
                  <a:gd name="connsiteY1048" fmla="*/ 645319 h 685800"/>
                  <a:gd name="connsiteX1049" fmla="*/ 314801 w 447675"/>
                  <a:gd name="connsiteY1049" fmla="*/ 645319 h 685800"/>
                  <a:gd name="connsiteX1050" fmla="*/ 316516 w 447675"/>
                  <a:gd name="connsiteY1050" fmla="*/ 644462 h 685800"/>
                  <a:gd name="connsiteX1051" fmla="*/ 317373 w 447675"/>
                  <a:gd name="connsiteY1051" fmla="*/ 645319 h 685800"/>
                  <a:gd name="connsiteX1052" fmla="*/ 319088 w 447675"/>
                  <a:gd name="connsiteY1052" fmla="*/ 644462 h 685800"/>
                  <a:gd name="connsiteX1053" fmla="*/ 319945 w 447675"/>
                  <a:gd name="connsiteY1053" fmla="*/ 642747 h 685800"/>
                  <a:gd name="connsiteX1054" fmla="*/ 319945 w 447675"/>
                  <a:gd name="connsiteY1054" fmla="*/ 641033 h 685800"/>
                  <a:gd name="connsiteX1055" fmla="*/ 322517 w 447675"/>
                  <a:gd name="connsiteY1055" fmla="*/ 636842 h 685800"/>
                  <a:gd name="connsiteX1056" fmla="*/ 323374 w 447675"/>
                  <a:gd name="connsiteY1056" fmla="*/ 633413 h 685800"/>
                  <a:gd name="connsiteX1057" fmla="*/ 321659 w 447675"/>
                  <a:gd name="connsiteY1057" fmla="*/ 632555 h 685800"/>
                  <a:gd name="connsiteX1058" fmla="*/ 319945 w 447675"/>
                  <a:gd name="connsiteY1058" fmla="*/ 631698 h 685800"/>
                  <a:gd name="connsiteX1059" fmla="*/ 319088 w 447675"/>
                  <a:gd name="connsiteY1059" fmla="*/ 629984 h 685800"/>
                  <a:gd name="connsiteX1060" fmla="*/ 319088 w 447675"/>
                  <a:gd name="connsiteY1060" fmla="*/ 628269 h 685800"/>
                  <a:gd name="connsiteX1061" fmla="*/ 319945 w 447675"/>
                  <a:gd name="connsiteY1061" fmla="*/ 626555 h 685800"/>
                  <a:gd name="connsiteX1062" fmla="*/ 321659 w 447675"/>
                  <a:gd name="connsiteY1062" fmla="*/ 624840 h 685800"/>
                  <a:gd name="connsiteX1063" fmla="*/ 322517 w 447675"/>
                  <a:gd name="connsiteY1063" fmla="*/ 623126 h 685800"/>
                  <a:gd name="connsiteX1064" fmla="*/ 325088 w 447675"/>
                  <a:gd name="connsiteY1064" fmla="*/ 622268 h 685800"/>
                  <a:gd name="connsiteX1065" fmla="*/ 326803 w 447675"/>
                  <a:gd name="connsiteY1065" fmla="*/ 622268 h 685800"/>
                  <a:gd name="connsiteX1066" fmla="*/ 323374 w 447675"/>
                  <a:gd name="connsiteY1066" fmla="*/ 625697 h 685800"/>
                  <a:gd name="connsiteX1067" fmla="*/ 321659 w 447675"/>
                  <a:gd name="connsiteY1067" fmla="*/ 627412 h 685800"/>
                  <a:gd name="connsiteX1068" fmla="*/ 320802 w 447675"/>
                  <a:gd name="connsiteY1068" fmla="*/ 629126 h 685800"/>
                  <a:gd name="connsiteX1069" fmla="*/ 321659 w 447675"/>
                  <a:gd name="connsiteY1069" fmla="*/ 630841 h 685800"/>
                  <a:gd name="connsiteX1070" fmla="*/ 325946 w 447675"/>
                  <a:gd name="connsiteY1070" fmla="*/ 633413 h 685800"/>
                  <a:gd name="connsiteX1071" fmla="*/ 326803 w 447675"/>
                  <a:gd name="connsiteY1071" fmla="*/ 635984 h 685800"/>
                  <a:gd name="connsiteX1072" fmla="*/ 325946 w 447675"/>
                  <a:gd name="connsiteY1072" fmla="*/ 637699 h 685800"/>
                  <a:gd name="connsiteX1073" fmla="*/ 325088 w 447675"/>
                  <a:gd name="connsiteY1073" fmla="*/ 639413 h 685800"/>
                  <a:gd name="connsiteX1074" fmla="*/ 323374 w 447675"/>
                  <a:gd name="connsiteY1074" fmla="*/ 641128 h 685800"/>
                  <a:gd name="connsiteX1075" fmla="*/ 322517 w 447675"/>
                  <a:gd name="connsiteY1075" fmla="*/ 641985 h 685800"/>
                  <a:gd name="connsiteX1076" fmla="*/ 321659 w 447675"/>
                  <a:gd name="connsiteY1076" fmla="*/ 643700 h 685800"/>
                  <a:gd name="connsiteX1077" fmla="*/ 321659 w 447675"/>
                  <a:gd name="connsiteY1077" fmla="*/ 650462 h 685800"/>
                  <a:gd name="connsiteX1078" fmla="*/ 319088 w 447675"/>
                  <a:gd name="connsiteY1078" fmla="*/ 657225 h 685800"/>
                  <a:gd name="connsiteX1079" fmla="*/ 319945 w 447675"/>
                  <a:gd name="connsiteY1079" fmla="*/ 658940 h 685800"/>
                  <a:gd name="connsiteX1080" fmla="*/ 320802 w 447675"/>
                  <a:gd name="connsiteY1080" fmla="*/ 660654 h 685800"/>
                  <a:gd name="connsiteX1081" fmla="*/ 318230 w 447675"/>
                  <a:gd name="connsiteY1081" fmla="*/ 674180 h 685800"/>
                  <a:gd name="connsiteX1082" fmla="*/ 319088 w 447675"/>
                  <a:gd name="connsiteY1082" fmla="*/ 675894 h 685800"/>
                  <a:gd name="connsiteX1083" fmla="*/ 322517 w 447675"/>
                  <a:gd name="connsiteY1083" fmla="*/ 684371 h 685800"/>
                  <a:gd name="connsiteX1084" fmla="*/ 320802 w 447675"/>
                  <a:gd name="connsiteY1084" fmla="*/ 687800 h 685800"/>
                  <a:gd name="connsiteX1085" fmla="*/ 323374 w 447675"/>
                  <a:gd name="connsiteY1085" fmla="*/ 690372 h 685800"/>
                  <a:gd name="connsiteX1086" fmla="*/ 326803 w 447675"/>
                  <a:gd name="connsiteY1086" fmla="*/ 690372 h 685800"/>
                  <a:gd name="connsiteX1087" fmla="*/ 330232 w 447675"/>
                  <a:gd name="connsiteY1087" fmla="*/ 689515 h 685800"/>
                  <a:gd name="connsiteX1088" fmla="*/ 331089 w 447675"/>
                  <a:gd name="connsiteY1088" fmla="*/ 686943 h 685800"/>
                  <a:gd name="connsiteX1089" fmla="*/ 330232 w 447675"/>
                  <a:gd name="connsiteY1089" fmla="*/ 685229 h 685800"/>
                  <a:gd name="connsiteX1090" fmla="*/ 329375 w 447675"/>
                  <a:gd name="connsiteY1090" fmla="*/ 683514 h 685800"/>
                  <a:gd name="connsiteX1091" fmla="*/ 328517 w 447675"/>
                  <a:gd name="connsiteY1091" fmla="*/ 681800 h 685800"/>
                  <a:gd name="connsiteX1092" fmla="*/ 328517 w 447675"/>
                  <a:gd name="connsiteY1092" fmla="*/ 680085 h 685800"/>
                  <a:gd name="connsiteX1093" fmla="*/ 328517 w 447675"/>
                  <a:gd name="connsiteY1093" fmla="*/ 679228 h 685800"/>
                  <a:gd name="connsiteX1094" fmla="*/ 329375 w 447675"/>
                  <a:gd name="connsiteY1094" fmla="*/ 678371 h 685800"/>
                  <a:gd name="connsiteX1095" fmla="*/ 330232 w 447675"/>
                  <a:gd name="connsiteY1095" fmla="*/ 678371 h 685800"/>
                  <a:gd name="connsiteX1096" fmla="*/ 331089 w 447675"/>
                  <a:gd name="connsiteY1096" fmla="*/ 678371 h 685800"/>
                  <a:gd name="connsiteX1097" fmla="*/ 331946 w 447675"/>
                  <a:gd name="connsiteY1097" fmla="*/ 676656 h 685800"/>
                  <a:gd name="connsiteX1098" fmla="*/ 331946 w 447675"/>
                  <a:gd name="connsiteY1098" fmla="*/ 674084 h 685800"/>
                  <a:gd name="connsiteX1099" fmla="*/ 332804 w 447675"/>
                  <a:gd name="connsiteY1099" fmla="*/ 676656 h 685800"/>
                  <a:gd name="connsiteX1100" fmla="*/ 332804 w 447675"/>
                  <a:gd name="connsiteY1100" fmla="*/ 677513 h 685800"/>
                  <a:gd name="connsiteX1101" fmla="*/ 332804 w 447675"/>
                  <a:gd name="connsiteY1101" fmla="*/ 678371 h 685800"/>
                  <a:gd name="connsiteX1102" fmla="*/ 332804 w 447675"/>
                  <a:gd name="connsiteY1102" fmla="*/ 679228 h 685800"/>
                  <a:gd name="connsiteX1103" fmla="*/ 331089 w 447675"/>
                  <a:gd name="connsiteY1103" fmla="*/ 680942 h 685800"/>
                  <a:gd name="connsiteX1104" fmla="*/ 331946 w 447675"/>
                  <a:gd name="connsiteY1104" fmla="*/ 682657 h 685800"/>
                  <a:gd name="connsiteX1105" fmla="*/ 333661 w 447675"/>
                  <a:gd name="connsiteY1105" fmla="*/ 683514 h 685800"/>
                  <a:gd name="connsiteX1106" fmla="*/ 336233 w 447675"/>
                  <a:gd name="connsiteY1106" fmla="*/ 682657 h 685800"/>
                  <a:gd name="connsiteX1107" fmla="*/ 337947 w 447675"/>
                  <a:gd name="connsiteY1107" fmla="*/ 680942 h 685800"/>
                  <a:gd name="connsiteX1108" fmla="*/ 337947 w 447675"/>
                  <a:gd name="connsiteY1108" fmla="*/ 679228 h 685800"/>
                  <a:gd name="connsiteX1109" fmla="*/ 336233 w 447675"/>
                  <a:gd name="connsiteY1109" fmla="*/ 675799 h 685800"/>
                  <a:gd name="connsiteX1110" fmla="*/ 335375 w 447675"/>
                  <a:gd name="connsiteY1110" fmla="*/ 673227 h 685800"/>
                  <a:gd name="connsiteX1111" fmla="*/ 335375 w 447675"/>
                  <a:gd name="connsiteY1111" fmla="*/ 671513 h 685800"/>
                  <a:gd name="connsiteX1112" fmla="*/ 337090 w 447675"/>
                  <a:gd name="connsiteY1112" fmla="*/ 668084 h 685800"/>
                  <a:gd name="connsiteX1113" fmla="*/ 337947 w 447675"/>
                  <a:gd name="connsiteY1113" fmla="*/ 665512 h 685800"/>
                  <a:gd name="connsiteX1114" fmla="*/ 337947 w 447675"/>
                  <a:gd name="connsiteY1114" fmla="*/ 665512 h 685800"/>
                  <a:gd name="connsiteX1115" fmla="*/ 338804 w 447675"/>
                  <a:gd name="connsiteY1115" fmla="*/ 668084 h 685800"/>
                  <a:gd name="connsiteX1116" fmla="*/ 340519 w 447675"/>
                  <a:gd name="connsiteY1116" fmla="*/ 676561 h 685800"/>
                  <a:gd name="connsiteX1117" fmla="*/ 340519 w 447675"/>
                  <a:gd name="connsiteY1117" fmla="*/ 678275 h 685800"/>
                  <a:gd name="connsiteX1118" fmla="*/ 341376 w 447675"/>
                  <a:gd name="connsiteY1118" fmla="*/ 679133 h 685800"/>
                  <a:gd name="connsiteX1119" fmla="*/ 342233 w 447675"/>
                  <a:gd name="connsiteY1119" fmla="*/ 679133 h 685800"/>
                  <a:gd name="connsiteX1120" fmla="*/ 345662 w 447675"/>
                  <a:gd name="connsiteY1120" fmla="*/ 679990 h 685800"/>
                  <a:gd name="connsiteX1121" fmla="*/ 350806 w 447675"/>
                  <a:gd name="connsiteY1121" fmla="*/ 683419 h 685800"/>
                  <a:gd name="connsiteX1122" fmla="*/ 353377 w 447675"/>
                  <a:gd name="connsiteY1122" fmla="*/ 685133 h 685800"/>
                  <a:gd name="connsiteX1123" fmla="*/ 355949 w 447675"/>
                  <a:gd name="connsiteY1123" fmla="*/ 684276 h 685800"/>
                  <a:gd name="connsiteX1124" fmla="*/ 355949 w 447675"/>
                  <a:gd name="connsiteY1124" fmla="*/ 684276 h 685800"/>
                  <a:gd name="connsiteX1125" fmla="*/ 356806 w 447675"/>
                  <a:gd name="connsiteY1125" fmla="*/ 682562 h 685800"/>
                  <a:gd name="connsiteX1126" fmla="*/ 356806 w 447675"/>
                  <a:gd name="connsiteY1126" fmla="*/ 681704 h 685800"/>
                  <a:gd name="connsiteX1127" fmla="*/ 357664 w 447675"/>
                  <a:gd name="connsiteY1127" fmla="*/ 682562 h 685800"/>
                  <a:gd name="connsiteX1128" fmla="*/ 357664 w 447675"/>
                  <a:gd name="connsiteY1128" fmla="*/ 683419 h 685800"/>
                  <a:gd name="connsiteX1129" fmla="*/ 358521 w 447675"/>
                  <a:gd name="connsiteY1129" fmla="*/ 683419 h 685800"/>
                  <a:gd name="connsiteX1130" fmla="*/ 359378 w 447675"/>
                  <a:gd name="connsiteY1130" fmla="*/ 684276 h 685800"/>
                  <a:gd name="connsiteX1131" fmla="*/ 361093 w 447675"/>
                  <a:gd name="connsiteY1131" fmla="*/ 684276 h 685800"/>
                  <a:gd name="connsiteX1132" fmla="*/ 362807 w 447675"/>
                  <a:gd name="connsiteY1132" fmla="*/ 683419 h 685800"/>
                  <a:gd name="connsiteX1133" fmla="*/ 363664 w 447675"/>
                  <a:gd name="connsiteY1133" fmla="*/ 681704 h 685800"/>
                  <a:gd name="connsiteX1134" fmla="*/ 362807 w 447675"/>
                  <a:gd name="connsiteY1134" fmla="*/ 676656 h 685800"/>
                  <a:gd name="connsiteX1135" fmla="*/ 362807 w 447675"/>
                  <a:gd name="connsiteY1135" fmla="*/ 675799 h 685800"/>
                  <a:gd name="connsiteX1136" fmla="*/ 361093 w 447675"/>
                  <a:gd name="connsiteY1136" fmla="*/ 672370 h 685800"/>
                  <a:gd name="connsiteX1137" fmla="*/ 358521 w 447675"/>
                  <a:gd name="connsiteY1137" fmla="*/ 670655 h 685800"/>
                  <a:gd name="connsiteX1138" fmla="*/ 358521 w 447675"/>
                  <a:gd name="connsiteY1138" fmla="*/ 669798 h 685800"/>
                  <a:gd name="connsiteX1139" fmla="*/ 356806 w 447675"/>
                  <a:gd name="connsiteY1139" fmla="*/ 664750 h 685800"/>
                  <a:gd name="connsiteX1140" fmla="*/ 355092 w 447675"/>
                  <a:gd name="connsiteY1140" fmla="*/ 655415 h 685800"/>
                  <a:gd name="connsiteX1141" fmla="*/ 353377 w 447675"/>
                  <a:gd name="connsiteY1141" fmla="*/ 651986 h 685800"/>
                  <a:gd name="connsiteX1142" fmla="*/ 349949 w 447675"/>
                  <a:gd name="connsiteY1142" fmla="*/ 649415 h 685800"/>
                  <a:gd name="connsiteX1143" fmla="*/ 348234 w 447675"/>
                  <a:gd name="connsiteY1143" fmla="*/ 647700 h 685800"/>
                  <a:gd name="connsiteX1144" fmla="*/ 346520 w 447675"/>
                  <a:gd name="connsiteY1144" fmla="*/ 647700 h 685800"/>
                  <a:gd name="connsiteX1145" fmla="*/ 344805 w 447675"/>
                  <a:gd name="connsiteY1145" fmla="*/ 646843 h 685800"/>
                  <a:gd name="connsiteX1146" fmla="*/ 343091 w 447675"/>
                  <a:gd name="connsiteY1146" fmla="*/ 644271 h 685800"/>
                  <a:gd name="connsiteX1147" fmla="*/ 343091 w 447675"/>
                  <a:gd name="connsiteY1147" fmla="*/ 641699 h 685800"/>
                  <a:gd name="connsiteX1148" fmla="*/ 343948 w 447675"/>
                  <a:gd name="connsiteY1148" fmla="*/ 639128 h 685800"/>
                  <a:gd name="connsiteX1149" fmla="*/ 345662 w 447675"/>
                  <a:gd name="connsiteY1149" fmla="*/ 639128 h 685800"/>
                  <a:gd name="connsiteX1150" fmla="*/ 345662 w 447675"/>
                  <a:gd name="connsiteY1150" fmla="*/ 641699 h 685800"/>
                  <a:gd name="connsiteX1151" fmla="*/ 346520 w 447675"/>
                  <a:gd name="connsiteY1151" fmla="*/ 644271 h 685800"/>
                  <a:gd name="connsiteX1152" fmla="*/ 347377 w 447675"/>
                  <a:gd name="connsiteY1152" fmla="*/ 645128 h 685800"/>
                  <a:gd name="connsiteX1153" fmla="*/ 349091 w 447675"/>
                  <a:gd name="connsiteY1153" fmla="*/ 645986 h 685800"/>
                  <a:gd name="connsiteX1154" fmla="*/ 352520 w 447675"/>
                  <a:gd name="connsiteY1154" fmla="*/ 648557 h 685800"/>
                  <a:gd name="connsiteX1155" fmla="*/ 354235 w 447675"/>
                  <a:gd name="connsiteY1155" fmla="*/ 649415 h 685800"/>
                  <a:gd name="connsiteX1156" fmla="*/ 354235 w 447675"/>
                  <a:gd name="connsiteY1156" fmla="*/ 647700 h 685800"/>
                  <a:gd name="connsiteX1157" fmla="*/ 355092 w 447675"/>
                  <a:gd name="connsiteY1157" fmla="*/ 645986 h 685800"/>
                  <a:gd name="connsiteX1158" fmla="*/ 355949 w 447675"/>
                  <a:gd name="connsiteY1158" fmla="*/ 645986 h 685800"/>
                  <a:gd name="connsiteX1159" fmla="*/ 357664 w 447675"/>
                  <a:gd name="connsiteY1159" fmla="*/ 646843 h 685800"/>
                  <a:gd name="connsiteX1160" fmla="*/ 360235 w 447675"/>
                  <a:gd name="connsiteY1160" fmla="*/ 645128 h 685800"/>
                  <a:gd name="connsiteX1161" fmla="*/ 361093 w 447675"/>
                  <a:gd name="connsiteY1161" fmla="*/ 641699 h 685800"/>
                  <a:gd name="connsiteX1162" fmla="*/ 360235 w 447675"/>
                  <a:gd name="connsiteY1162" fmla="*/ 634079 h 685800"/>
                  <a:gd name="connsiteX1163" fmla="*/ 359378 w 447675"/>
                  <a:gd name="connsiteY1163" fmla="*/ 632365 h 685800"/>
                  <a:gd name="connsiteX1164" fmla="*/ 357664 w 447675"/>
                  <a:gd name="connsiteY1164" fmla="*/ 629793 h 685800"/>
                  <a:gd name="connsiteX1165" fmla="*/ 357664 w 447675"/>
                  <a:gd name="connsiteY1165" fmla="*/ 628079 h 685800"/>
                  <a:gd name="connsiteX1166" fmla="*/ 357664 w 447675"/>
                  <a:gd name="connsiteY1166" fmla="*/ 625507 h 685800"/>
                  <a:gd name="connsiteX1167" fmla="*/ 358521 w 447675"/>
                  <a:gd name="connsiteY1167" fmla="*/ 624650 h 685800"/>
                  <a:gd name="connsiteX1168" fmla="*/ 358521 w 447675"/>
                  <a:gd name="connsiteY1168" fmla="*/ 622935 h 685800"/>
                  <a:gd name="connsiteX1169" fmla="*/ 358521 w 447675"/>
                  <a:gd name="connsiteY1169" fmla="*/ 621221 h 685800"/>
                  <a:gd name="connsiteX1170" fmla="*/ 360235 w 447675"/>
                  <a:gd name="connsiteY1170" fmla="*/ 622078 h 685800"/>
                  <a:gd name="connsiteX1171" fmla="*/ 360235 w 447675"/>
                  <a:gd name="connsiteY1171" fmla="*/ 622078 h 685800"/>
                  <a:gd name="connsiteX1172" fmla="*/ 360235 w 447675"/>
                  <a:gd name="connsiteY1172" fmla="*/ 622078 h 685800"/>
                  <a:gd name="connsiteX1173" fmla="*/ 360235 w 447675"/>
                  <a:gd name="connsiteY1173" fmla="*/ 622078 h 685800"/>
                  <a:gd name="connsiteX1174" fmla="*/ 361950 w 447675"/>
                  <a:gd name="connsiteY1174" fmla="*/ 619506 h 685800"/>
                  <a:gd name="connsiteX1175" fmla="*/ 361950 w 447675"/>
                  <a:gd name="connsiteY1175" fmla="*/ 616934 h 685800"/>
                  <a:gd name="connsiteX1176" fmla="*/ 361093 w 447675"/>
                  <a:gd name="connsiteY1176" fmla="*/ 614363 h 685800"/>
                  <a:gd name="connsiteX1177" fmla="*/ 360235 w 447675"/>
                  <a:gd name="connsiteY1177" fmla="*/ 612648 h 685800"/>
                  <a:gd name="connsiteX1178" fmla="*/ 355092 w 447675"/>
                  <a:gd name="connsiteY1178" fmla="*/ 605885 h 685800"/>
                  <a:gd name="connsiteX1179" fmla="*/ 354235 w 447675"/>
                  <a:gd name="connsiteY1179" fmla="*/ 604171 h 685800"/>
                  <a:gd name="connsiteX1180" fmla="*/ 355949 w 447675"/>
                  <a:gd name="connsiteY1180" fmla="*/ 602456 h 685800"/>
                  <a:gd name="connsiteX1181" fmla="*/ 354235 w 447675"/>
                  <a:gd name="connsiteY1181" fmla="*/ 599885 h 685800"/>
                  <a:gd name="connsiteX1182" fmla="*/ 353377 w 447675"/>
                  <a:gd name="connsiteY1182" fmla="*/ 598170 h 685800"/>
                  <a:gd name="connsiteX1183" fmla="*/ 352520 w 447675"/>
                  <a:gd name="connsiteY1183" fmla="*/ 591407 h 685800"/>
                  <a:gd name="connsiteX1184" fmla="*/ 352520 w 447675"/>
                  <a:gd name="connsiteY1184" fmla="*/ 590550 h 685800"/>
                  <a:gd name="connsiteX1185" fmla="*/ 352520 w 447675"/>
                  <a:gd name="connsiteY1185" fmla="*/ 589693 h 685800"/>
                  <a:gd name="connsiteX1186" fmla="*/ 353377 w 447675"/>
                  <a:gd name="connsiteY1186" fmla="*/ 587978 h 685800"/>
                  <a:gd name="connsiteX1187" fmla="*/ 353377 w 447675"/>
                  <a:gd name="connsiteY1187" fmla="*/ 587121 h 685800"/>
                  <a:gd name="connsiteX1188" fmla="*/ 353377 w 447675"/>
                  <a:gd name="connsiteY1188" fmla="*/ 583692 h 685800"/>
                  <a:gd name="connsiteX1189" fmla="*/ 351663 w 447675"/>
                  <a:gd name="connsiteY1189" fmla="*/ 579501 h 685800"/>
                  <a:gd name="connsiteX1190" fmla="*/ 349949 w 447675"/>
                  <a:gd name="connsiteY1190" fmla="*/ 575310 h 685800"/>
                  <a:gd name="connsiteX1191" fmla="*/ 349091 w 447675"/>
                  <a:gd name="connsiteY1191" fmla="*/ 573596 h 685800"/>
                  <a:gd name="connsiteX1192" fmla="*/ 345662 w 447675"/>
                  <a:gd name="connsiteY1192" fmla="*/ 572738 h 685800"/>
                  <a:gd name="connsiteX1193" fmla="*/ 347377 w 447675"/>
                  <a:gd name="connsiteY1193" fmla="*/ 571024 h 685800"/>
                  <a:gd name="connsiteX1194" fmla="*/ 348234 w 447675"/>
                  <a:gd name="connsiteY1194" fmla="*/ 567595 h 685800"/>
                  <a:gd name="connsiteX1195" fmla="*/ 348234 w 447675"/>
                  <a:gd name="connsiteY1195" fmla="*/ 565023 h 685800"/>
                  <a:gd name="connsiteX1196" fmla="*/ 346520 w 447675"/>
                  <a:gd name="connsiteY1196" fmla="*/ 561594 h 685800"/>
                  <a:gd name="connsiteX1197" fmla="*/ 345662 w 447675"/>
                  <a:gd name="connsiteY1197" fmla="*/ 559022 h 685800"/>
                  <a:gd name="connsiteX1198" fmla="*/ 344805 w 447675"/>
                  <a:gd name="connsiteY1198" fmla="*/ 556451 h 685800"/>
                  <a:gd name="connsiteX1199" fmla="*/ 344805 w 447675"/>
                  <a:gd name="connsiteY1199" fmla="*/ 554736 h 685800"/>
                  <a:gd name="connsiteX1200" fmla="*/ 343091 w 447675"/>
                  <a:gd name="connsiteY1200" fmla="*/ 551307 h 685800"/>
                  <a:gd name="connsiteX1201" fmla="*/ 343091 w 447675"/>
                  <a:gd name="connsiteY1201" fmla="*/ 549593 h 685800"/>
                  <a:gd name="connsiteX1202" fmla="*/ 343948 w 447675"/>
                  <a:gd name="connsiteY1202" fmla="*/ 547878 h 685800"/>
                  <a:gd name="connsiteX1203" fmla="*/ 344805 w 447675"/>
                  <a:gd name="connsiteY1203" fmla="*/ 546164 h 685800"/>
                  <a:gd name="connsiteX1204" fmla="*/ 346520 w 447675"/>
                  <a:gd name="connsiteY1204" fmla="*/ 544449 h 685800"/>
                  <a:gd name="connsiteX1205" fmla="*/ 346520 w 447675"/>
                  <a:gd name="connsiteY1205" fmla="*/ 542735 h 685800"/>
                  <a:gd name="connsiteX1206" fmla="*/ 347377 w 447675"/>
                  <a:gd name="connsiteY1206" fmla="*/ 540163 h 685800"/>
                  <a:gd name="connsiteX1207" fmla="*/ 347377 w 447675"/>
                  <a:gd name="connsiteY1207" fmla="*/ 537591 h 685800"/>
                  <a:gd name="connsiteX1208" fmla="*/ 347377 w 447675"/>
                  <a:gd name="connsiteY1208" fmla="*/ 536734 h 685800"/>
                  <a:gd name="connsiteX1209" fmla="*/ 345662 w 447675"/>
                  <a:gd name="connsiteY1209" fmla="*/ 535019 h 685800"/>
                  <a:gd name="connsiteX1210" fmla="*/ 343091 w 447675"/>
                  <a:gd name="connsiteY1210" fmla="*/ 534162 h 685800"/>
                  <a:gd name="connsiteX1211" fmla="*/ 341376 w 447675"/>
                  <a:gd name="connsiteY1211" fmla="*/ 532448 h 685800"/>
                  <a:gd name="connsiteX1212" fmla="*/ 339662 w 447675"/>
                  <a:gd name="connsiteY1212" fmla="*/ 526542 h 685800"/>
                  <a:gd name="connsiteX1213" fmla="*/ 337947 w 447675"/>
                  <a:gd name="connsiteY1213" fmla="*/ 524828 h 685800"/>
                  <a:gd name="connsiteX1214" fmla="*/ 336233 w 447675"/>
                  <a:gd name="connsiteY1214" fmla="*/ 522256 h 685800"/>
                  <a:gd name="connsiteX1215" fmla="*/ 335375 w 447675"/>
                  <a:gd name="connsiteY1215" fmla="*/ 521399 h 685800"/>
                  <a:gd name="connsiteX1216" fmla="*/ 335375 w 447675"/>
                  <a:gd name="connsiteY1216" fmla="*/ 518827 h 685800"/>
                  <a:gd name="connsiteX1217" fmla="*/ 336233 w 447675"/>
                  <a:gd name="connsiteY1217" fmla="*/ 515398 h 685800"/>
                  <a:gd name="connsiteX1218" fmla="*/ 337090 w 447675"/>
                  <a:gd name="connsiteY1218" fmla="*/ 509492 h 685800"/>
                  <a:gd name="connsiteX1219" fmla="*/ 337947 w 447675"/>
                  <a:gd name="connsiteY1219" fmla="*/ 506063 h 685800"/>
                  <a:gd name="connsiteX1220" fmla="*/ 343948 w 447675"/>
                  <a:gd name="connsiteY1220" fmla="*/ 499301 h 685800"/>
                  <a:gd name="connsiteX1221" fmla="*/ 347377 w 447675"/>
                  <a:gd name="connsiteY1221" fmla="*/ 497586 h 685800"/>
                  <a:gd name="connsiteX1222" fmla="*/ 348234 w 447675"/>
                  <a:gd name="connsiteY1222" fmla="*/ 495872 h 685800"/>
                  <a:gd name="connsiteX1223" fmla="*/ 349091 w 447675"/>
                  <a:gd name="connsiteY1223" fmla="*/ 495014 h 685800"/>
                  <a:gd name="connsiteX1224" fmla="*/ 349091 w 447675"/>
                  <a:gd name="connsiteY1224" fmla="*/ 494157 h 685800"/>
                  <a:gd name="connsiteX1225" fmla="*/ 348234 w 447675"/>
                  <a:gd name="connsiteY1225" fmla="*/ 493300 h 685800"/>
                  <a:gd name="connsiteX1226" fmla="*/ 344519 w 447675"/>
                  <a:gd name="connsiteY1226" fmla="*/ 493300 h 685800"/>
                  <a:gd name="connsiteX1227" fmla="*/ 343662 w 447675"/>
                  <a:gd name="connsiteY1227" fmla="*/ 493300 h 685800"/>
                  <a:gd name="connsiteX1228" fmla="*/ 342805 w 447675"/>
                  <a:gd name="connsiteY1228" fmla="*/ 492443 h 685800"/>
                  <a:gd name="connsiteX1229" fmla="*/ 335089 w 447675"/>
                  <a:gd name="connsiteY1229" fmla="*/ 489871 h 685800"/>
                  <a:gd name="connsiteX1230" fmla="*/ 333375 w 447675"/>
                  <a:gd name="connsiteY1230" fmla="*/ 489014 h 685800"/>
                  <a:gd name="connsiteX1231" fmla="*/ 331660 w 447675"/>
                  <a:gd name="connsiteY1231" fmla="*/ 489871 h 685800"/>
                  <a:gd name="connsiteX1232" fmla="*/ 330803 w 447675"/>
                  <a:gd name="connsiteY1232" fmla="*/ 489871 h 685800"/>
                  <a:gd name="connsiteX1233" fmla="*/ 329946 w 447675"/>
                  <a:gd name="connsiteY1233" fmla="*/ 490728 h 685800"/>
                  <a:gd name="connsiteX1234" fmla="*/ 329089 w 447675"/>
                  <a:gd name="connsiteY1234" fmla="*/ 491585 h 685800"/>
                  <a:gd name="connsiteX1235" fmla="*/ 328231 w 447675"/>
                  <a:gd name="connsiteY1235" fmla="*/ 491585 h 685800"/>
                  <a:gd name="connsiteX1236" fmla="*/ 320516 w 447675"/>
                  <a:gd name="connsiteY1236" fmla="*/ 489014 h 685800"/>
                  <a:gd name="connsiteX1237" fmla="*/ 319659 w 447675"/>
                  <a:gd name="connsiteY1237" fmla="*/ 487299 h 685800"/>
                  <a:gd name="connsiteX1238" fmla="*/ 317945 w 447675"/>
                  <a:gd name="connsiteY1238" fmla="*/ 485585 h 685800"/>
                  <a:gd name="connsiteX1239" fmla="*/ 317945 w 447675"/>
                  <a:gd name="connsiteY1239" fmla="*/ 483013 h 685800"/>
                  <a:gd name="connsiteX1240" fmla="*/ 318802 w 447675"/>
                  <a:gd name="connsiteY1240" fmla="*/ 480441 h 685800"/>
                  <a:gd name="connsiteX1241" fmla="*/ 321374 w 447675"/>
                  <a:gd name="connsiteY1241" fmla="*/ 476250 h 685800"/>
                  <a:gd name="connsiteX1242" fmla="*/ 327374 w 447675"/>
                  <a:gd name="connsiteY1242" fmla="*/ 461867 h 685800"/>
                  <a:gd name="connsiteX1243" fmla="*/ 327374 w 447675"/>
                  <a:gd name="connsiteY1243" fmla="*/ 459296 h 685800"/>
                  <a:gd name="connsiteX1244" fmla="*/ 325660 w 447675"/>
                  <a:gd name="connsiteY1244" fmla="*/ 458438 h 685800"/>
                  <a:gd name="connsiteX1245" fmla="*/ 324802 w 447675"/>
                  <a:gd name="connsiteY1245" fmla="*/ 459296 h 685800"/>
                  <a:gd name="connsiteX1246" fmla="*/ 323088 w 447675"/>
                  <a:gd name="connsiteY1246" fmla="*/ 461010 h 685800"/>
                  <a:gd name="connsiteX1247" fmla="*/ 322231 w 447675"/>
                  <a:gd name="connsiteY1247" fmla="*/ 461867 h 685800"/>
                  <a:gd name="connsiteX1248" fmla="*/ 320516 w 447675"/>
                  <a:gd name="connsiteY1248" fmla="*/ 458438 h 685800"/>
                  <a:gd name="connsiteX1249" fmla="*/ 318802 w 447675"/>
                  <a:gd name="connsiteY1249" fmla="*/ 458438 h 685800"/>
                  <a:gd name="connsiteX1250" fmla="*/ 315373 w 447675"/>
                  <a:gd name="connsiteY1250" fmla="*/ 455867 h 685800"/>
                  <a:gd name="connsiteX1251" fmla="*/ 313658 w 447675"/>
                  <a:gd name="connsiteY1251" fmla="*/ 454152 h 685800"/>
                  <a:gd name="connsiteX1252" fmla="*/ 311087 w 447675"/>
                  <a:gd name="connsiteY1252" fmla="*/ 449104 h 685800"/>
                  <a:gd name="connsiteX1253" fmla="*/ 309372 w 447675"/>
                  <a:gd name="connsiteY1253" fmla="*/ 447389 h 685800"/>
                  <a:gd name="connsiteX1254" fmla="*/ 308515 w 447675"/>
                  <a:gd name="connsiteY1254" fmla="*/ 447389 h 685800"/>
                  <a:gd name="connsiteX1255" fmla="*/ 305943 w 447675"/>
                  <a:gd name="connsiteY1255" fmla="*/ 447389 h 685800"/>
                  <a:gd name="connsiteX1256" fmla="*/ 305086 w 447675"/>
                  <a:gd name="connsiteY1256" fmla="*/ 446532 h 685800"/>
                  <a:gd name="connsiteX1257" fmla="*/ 304229 w 447675"/>
                  <a:gd name="connsiteY1257" fmla="*/ 445675 h 685800"/>
                  <a:gd name="connsiteX1258" fmla="*/ 304229 w 447675"/>
                  <a:gd name="connsiteY1258" fmla="*/ 444818 h 685800"/>
                  <a:gd name="connsiteX1259" fmla="*/ 304229 w 447675"/>
                  <a:gd name="connsiteY1259" fmla="*/ 443960 h 685800"/>
                  <a:gd name="connsiteX1260" fmla="*/ 304229 w 447675"/>
                  <a:gd name="connsiteY1260" fmla="*/ 442246 h 685800"/>
                  <a:gd name="connsiteX1261" fmla="*/ 304229 w 447675"/>
                  <a:gd name="connsiteY1261" fmla="*/ 442246 h 685800"/>
                  <a:gd name="connsiteX1262" fmla="*/ 303371 w 447675"/>
                  <a:gd name="connsiteY1262" fmla="*/ 442246 h 685800"/>
                  <a:gd name="connsiteX1263" fmla="*/ 301657 w 447675"/>
                  <a:gd name="connsiteY1263" fmla="*/ 441389 h 685800"/>
                  <a:gd name="connsiteX1264" fmla="*/ 301657 w 447675"/>
                  <a:gd name="connsiteY1264" fmla="*/ 439674 h 685800"/>
                  <a:gd name="connsiteX1265" fmla="*/ 304229 w 447675"/>
                  <a:gd name="connsiteY1265" fmla="*/ 429482 h 685800"/>
                  <a:gd name="connsiteX1266" fmla="*/ 304229 w 447675"/>
                  <a:gd name="connsiteY1266" fmla="*/ 427768 h 685800"/>
                  <a:gd name="connsiteX1267" fmla="*/ 303371 w 447675"/>
                  <a:gd name="connsiteY1267" fmla="*/ 426053 h 685800"/>
                  <a:gd name="connsiteX1268" fmla="*/ 303371 w 447675"/>
                  <a:gd name="connsiteY1268" fmla="*/ 425196 h 685800"/>
                  <a:gd name="connsiteX1269" fmla="*/ 303371 w 447675"/>
                  <a:gd name="connsiteY1269" fmla="*/ 423482 h 685800"/>
                  <a:gd name="connsiteX1270" fmla="*/ 305086 w 447675"/>
                  <a:gd name="connsiteY1270" fmla="*/ 420910 h 685800"/>
                  <a:gd name="connsiteX1271" fmla="*/ 305943 w 447675"/>
                  <a:gd name="connsiteY1271" fmla="*/ 419195 h 685800"/>
                  <a:gd name="connsiteX1272" fmla="*/ 305943 w 447675"/>
                  <a:gd name="connsiteY1272" fmla="*/ 418338 h 685800"/>
                  <a:gd name="connsiteX1273" fmla="*/ 305943 w 447675"/>
                  <a:gd name="connsiteY1273" fmla="*/ 417481 h 685800"/>
                  <a:gd name="connsiteX1274" fmla="*/ 305943 w 447675"/>
                  <a:gd name="connsiteY1274" fmla="*/ 416624 h 685800"/>
                  <a:gd name="connsiteX1275" fmla="*/ 305943 w 447675"/>
                  <a:gd name="connsiteY1275" fmla="*/ 414909 h 685800"/>
                  <a:gd name="connsiteX1276" fmla="*/ 307658 w 447675"/>
                  <a:gd name="connsiteY1276" fmla="*/ 414052 h 685800"/>
                  <a:gd name="connsiteX1277" fmla="*/ 310229 w 447675"/>
                  <a:gd name="connsiteY1277" fmla="*/ 414052 h 685800"/>
                  <a:gd name="connsiteX1278" fmla="*/ 311944 w 447675"/>
                  <a:gd name="connsiteY1278" fmla="*/ 414052 h 685800"/>
                  <a:gd name="connsiteX1279" fmla="*/ 314516 w 447675"/>
                  <a:gd name="connsiteY1279" fmla="*/ 413195 h 685800"/>
                  <a:gd name="connsiteX1280" fmla="*/ 316230 w 447675"/>
                  <a:gd name="connsiteY1280" fmla="*/ 412337 h 685800"/>
                  <a:gd name="connsiteX1281" fmla="*/ 320516 w 447675"/>
                  <a:gd name="connsiteY1281" fmla="*/ 408146 h 685800"/>
                  <a:gd name="connsiteX1282" fmla="*/ 321374 w 447675"/>
                  <a:gd name="connsiteY1282" fmla="*/ 406432 h 685800"/>
                  <a:gd name="connsiteX1283" fmla="*/ 321374 w 447675"/>
                  <a:gd name="connsiteY1283" fmla="*/ 404717 h 685800"/>
                  <a:gd name="connsiteX1284" fmla="*/ 321374 w 447675"/>
                  <a:gd name="connsiteY1284" fmla="*/ 402146 h 685800"/>
                  <a:gd name="connsiteX1285" fmla="*/ 320516 w 447675"/>
                  <a:gd name="connsiteY1285" fmla="*/ 399574 h 685800"/>
                  <a:gd name="connsiteX1286" fmla="*/ 319754 w 447675"/>
                  <a:gd name="connsiteY1286" fmla="*/ 397288 h 685800"/>
                  <a:gd name="connsiteX1287" fmla="*/ 321469 w 447675"/>
                  <a:gd name="connsiteY1287" fmla="*/ 395573 h 685800"/>
                  <a:gd name="connsiteX1288" fmla="*/ 322326 w 447675"/>
                  <a:gd name="connsiteY1288" fmla="*/ 393859 h 685800"/>
                  <a:gd name="connsiteX1289" fmla="*/ 322326 w 447675"/>
                  <a:gd name="connsiteY1289" fmla="*/ 392144 h 685800"/>
                  <a:gd name="connsiteX1290" fmla="*/ 319754 w 447675"/>
                  <a:gd name="connsiteY1290" fmla="*/ 392144 h 685800"/>
                  <a:gd name="connsiteX1291" fmla="*/ 319754 w 447675"/>
                  <a:gd name="connsiteY1291" fmla="*/ 390430 h 685800"/>
                  <a:gd name="connsiteX1292" fmla="*/ 317183 w 447675"/>
                  <a:gd name="connsiteY1292" fmla="*/ 388715 h 685800"/>
                  <a:gd name="connsiteX1293" fmla="*/ 316325 w 447675"/>
                  <a:gd name="connsiteY1293" fmla="*/ 387001 h 685800"/>
                  <a:gd name="connsiteX1294" fmla="*/ 317183 w 447675"/>
                  <a:gd name="connsiteY1294" fmla="*/ 386144 h 685800"/>
                  <a:gd name="connsiteX1295" fmla="*/ 317183 w 447675"/>
                  <a:gd name="connsiteY1295" fmla="*/ 383572 h 685800"/>
                  <a:gd name="connsiteX1296" fmla="*/ 318040 w 447675"/>
                  <a:gd name="connsiteY1296" fmla="*/ 381857 h 685800"/>
                  <a:gd name="connsiteX1297" fmla="*/ 317183 w 447675"/>
                  <a:gd name="connsiteY1297" fmla="*/ 379286 h 685800"/>
                  <a:gd name="connsiteX1298" fmla="*/ 317183 w 447675"/>
                  <a:gd name="connsiteY1298" fmla="*/ 378428 h 685800"/>
                  <a:gd name="connsiteX1299" fmla="*/ 318040 w 447675"/>
                  <a:gd name="connsiteY1299" fmla="*/ 376714 h 685800"/>
                  <a:gd name="connsiteX1300" fmla="*/ 318897 w 447675"/>
                  <a:gd name="connsiteY1300" fmla="*/ 375857 h 685800"/>
                  <a:gd name="connsiteX1301" fmla="*/ 321469 w 447675"/>
                  <a:gd name="connsiteY1301" fmla="*/ 374999 h 685800"/>
                  <a:gd name="connsiteX1302" fmla="*/ 323183 w 447675"/>
                  <a:gd name="connsiteY1302" fmla="*/ 374142 h 685800"/>
                  <a:gd name="connsiteX1303" fmla="*/ 323183 w 447675"/>
                  <a:gd name="connsiteY1303" fmla="*/ 374142 h 685800"/>
                  <a:gd name="connsiteX1304" fmla="*/ 323183 w 447675"/>
                  <a:gd name="connsiteY1304" fmla="*/ 373285 h 685800"/>
                  <a:gd name="connsiteX1305" fmla="*/ 324898 w 447675"/>
                  <a:gd name="connsiteY1305" fmla="*/ 370713 h 685800"/>
                  <a:gd name="connsiteX1306" fmla="*/ 324898 w 447675"/>
                  <a:gd name="connsiteY1306" fmla="*/ 369856 h 685800"/>
                  <a:gd name="connsiteX1307" fmla="*/ 324898 w 447675"/>
                  <a:gd name="connsiteY1307" fmla="*/ 368999 h 685800"/>
                  <a:gd name="connsiteX1308" fmla="*/ 324898 w 447675"/>
                  <a:gd name="connsiteY1308" fmla="*/ 367284 h 685800"/>
                  <a:gd name="connsiteX1309" fmla="*/ 324898 w 447675"/>
                  <a:gd name="connsiteY1309" fmla="*/ 367284 h 685800"/>
                  <a:gd name="connsiteX1310" fmla="*/ 324041 w 447675"/>
                  <a:gd name="connsiteY1310" fmla="*/ 362236 h 685800"/>
                  <a:gd name="connsiteX1311" fmla="*/ 321469 w 447675"/>
                  <a:gd name="connsiteY1311" fmla="*/ 358807 h 685800"/>
                  <a:gd name="connsiteX1312" fmla="*/ 317183 w 447675"/>
                  <a:gd name="connsiteY1312" fmla="*/ 356235 h 685800"/>
                  <a:gd name="connsiteX1313" fmla="*/ 315468 w 447675"/>
                  <a:gd name="connsiteY1313" fmla="*/ 356235 h 685800"/>
                  <a:gd name="connsiteX1314" fmla="*/ 313754 w 447675"/>
                  <a:gd name="connsiteY1314" fmla="*/ 358807 h 685800"/>
                  <a:gd name="connsiteX1315" fmla="*/ 312039 w 447675"/>
                  <a:gd name="connsiteY1315" fmla="*/ 361379 h 685800"/>
                  <a:gd name="connsiteX1316" fmla="*/ 310325 w 447675"/>
                  <a:gd name="connsiteY1316" fmla="*/ 361379 h 685800"/>
                  <a:gd name="connsiteX1317" fmla="*/ 304324 w 447675"/>
                  <a:gd name="connsiteY1317" fmla="*/ 359664 h 685800"/>
                  <a:gd name="connsiteX1318" fmla="*/ 297466 w 447675"/>
                  <a:gd name="connsiteY1318" fmla="*/ 359664 h 685800"/>
                  <a:gd name="connsiteX1319" fmla="*/ 294894 w 447675"/>
                  <a:gd name="connsiteY1319" fmla="*/ 358807 h 685800"/>
                  <a:gd name="connsiteX1320" fmla="*/ 286321 w 447675"/>
                  <a:gd name="connsiteY1320" fmla="*/ 352044 h 685800"/>
                  <a:gd name="connsiteX1321" fmla="*/ 257366 w 447675"/>
                  <a:gd name="connsiteY1321" fmla="*/ 336804 h 685800"/>
                  <a:gd name="connsiteX1322" fmla="*/ 253937 w 447675"/>
                  <a:gd name="connsiteY1322" fmla="*/ 336804 h 685800"/>
                  <a:gd name="connsiteX1323" fmla="*/ 253937 w 447675"/>
                  <a:gd name="connsiteY1323" fmla="*/ 335947 h 685800"/>
                  <a:gd name="connsiteX1324" fmla="*/ 253079 w 447675"/>
                  <a:gd name="connsiteY1324" fmla="*/ 334232 h 685800"/>
                  <a:gd name="connsiteX1325" fmla="*/ 251365 w 447675"/>
                  <a:gd name="connsiteY1325" fmla="*/ 332518 h 685800"/>
                  <a:gd name="connsiteX1326" fmla="*/ 251365 w 447675"/>
                  <a:gd name="connsiteY1326" fmla="*/ 332518 h 685800"/>
                  <a:gd name="connsiteX1327" fmla="*/ 251365 w 447675"/>
                  <a:gd name="connsiteY1327" fmla="*/ 331661 h 685800"/>
                  <a:gd name="connsiteX1328" fmla="*/ 251365 w 447675"/>
                  <a:gd name="connsiteY1328" fmla="*/ 324898 h 685800"/>
                  <a:gd name="connsiteX1329" fmla="*/ 250508 w 447675"/>
                  <a:gd name="connsiteY1329" fmla="*/ 324041 h 685800"/>
                  <a:gd name="connsiteX1330" fmla="*/ 249650 w 447675"/>
                  <a:gd name="connsiteY1330" fmla="*/ 322326 h 685800"/>
                  <a:gd name="connsiteX1331" fmla="*/ 247936 w 447675"/>
                  <a:gd name="connsiteY1331" fmla="*/ 320612 h 685800"/>
                  <a:gd name="connsiteX1332" fmla="*/ 246221 w 447675"/>
                  <a:gd name="connsiteY1332" fmla="*/ 319754 h 685800"/>
                  <a:gd name="connsiteX1333" fmla="*/ 244507 w 447675"/>
                  <a:gd name="connsiteY1333" fmla="*/ 318897 h 685800"/>
                  <a:gd name="connsiteX1334" fmla="*/ 244507 w 447675"/>
                  <a:gd name="connsiteY1334" fmla="*/ 314706 h 685800"/>
                  <a:gd name="connsiteX1335" fmla="*/ 245364 w 447675"/>
                  <a:gd name="connsiteY1335" fmla="*/ 312992 h 685800"/>
                  <a:gd name="connsiteX1336" fmla="*/ 247079 w 447675"/>
                  <a:gd name="connsiteY1336" fmla="*/ 311277 h 685800"/>
                  <a:gd name="connsiteX1337" fmla="*/ 247936 w 447675"/>
                  <a:gd name="connsiteY1337" fmla="*/ 305372 h 685800"/>
                  <a:gd name="connsiteX1338" fmla="*/ 248793 w 447675"/>
                  <a:gd name="connsiteY1338" fmla="*/ 305372 h 685800"/>
                  <a:gd name="connsiteX1339" fmla="*/ 250508 w 447675"/>
                  <a:gd name="connsiteY1339" fmla="*/ 304514 h 685800"/>
                  <a:gd name="connsiteX1340" fmla="*/ 251365 w 447675"/>
                  <a:gd name="connsiteY1340" fmla="*/ 303657 h 685800"/>
                  <a:gd name="connsiteX1341" fmla="*/ 251365 w 447675"/>
                  <a:gd name="connsiteY1341" fmla="*/ 301943 h 685800"/>
                  <a:gd name="connsiteX1342" fmla="*/ 251365 w 447675"/>
                  <a:gd name="connsiteY1342" fmla="*/ 300228 h 685800"/>
                  <a:gd name="connsiteX1343" fmla="*/ 252222 w 447675"/>
                  <a:gd name="connsiteY1343" fmla="*/ 299371 h 685800"/>
                  <a:gd name="connsiteX1344" fmla="*/ 253937 w 447675"/>
                  <a:gd name="connsiteY1344" fmla="*/ 300228 h 685800"/>
                  <a:gd name="connsiteX1345" fmla="*/ 254794 w 447675"/>
                  <a:gd name="connsiteY1345" fmla="*/ 297656 h 685800"/>
                  <a:gd name="connsiteX1346" fmla="*/ 256508 w 447675"/>
                  <a:gd name="connsiteY1346" fmla="*/ 295942 h 685800"/>
                  <a:gd name="connsiteX1347" fmla="*/ 257366 w 447675"/>
                  <a:gd name="connsiteY1347" fmla="*/ 295085 h 685800"/>
                  <a:gd name="connsiteX1348" fmla="*/ 257366 w 447675"/>
                  <a:gd name="connsiteY1348" fmla="*/ 292513 h 685800"/>
                  <a:gd name="connsiteX1349" fmla="*/ 255651 w 447675"/>
                  <a:gd name="connsiteY1349" fmla="*/ 288322 h 685800"/>
                  <a:gd name="connsiteX1350" fmla="*/ 254794 w 447675"/>
                  <a:gd name="connsiteY1350" fmla="*/ 287465 h 685800"/>
                  <a:gd name="connsiteX1351" fmla="*/ 254794 w 447675"/>
                  <a:gd name="connsiteY1351" fmla="*/ 286607 h 685800"/>
                  <a:gd name="connsiteX1352" fmla="*/ 254794 w 447675"/>
                  <a:gd name="connsiteY1352" fmla="*/ 285750 h 685800"/>
                  <a:gd name="connsiteX1353" fmla="*/ 259937 w 447675"/>
                  <a:gd name="connsiteY1353" fmla="*/ 283178 h 685800"/>
                  <a:gd name="connsiteX1354" fmla="*/ 262509 w 447675"/>
                  <a:gd name="connsiteY1354" fmla="*/ 282321 h 685800"/>
                  <a:gd name="connsiteX1355" fmla="*/ 264224 w 447675"/>
                  <a:gd name="connsiteY1355" fmla="*/ 282321 h 685800"/>
                  <a:gd name="connsiteX1356" fmla="*/ 265938 w 447675"/>
                  <a:gd name="connsiteY1356" fmla="*/ 284036 h 685800"/>
                  <a:gd name="connsiteX1357" fmla="*/ 267652 w 447675"/>
                  <a:gd name="connsiteY1357" fmla="*/ 285750 h 685800"/>
                  <a:gd name="connsiteX1358" fmla="*/ 268510 w 447675"/>
                  <a:gd name="connsiteY1358" fmla="*/ 288322 h 685800"/>
                  <a:gd name="connsiteX1359" fmla="*/ 268510 w 447675"/>
                  <a:gd name="connsiteY1359" fmla="*/ 290036 h 685800"/>
                  <a:gd name="connsiteX1360" fmla="*/ 270224 w 447675"/>
                  <a:gd name="connsiteY1360" fmla="*/ 290036 h 685800"/>
                  <a:gd name="connsiteX1361" fmla="*/ 274510 w 447675"/>
                  <a:gd name="connsiteY1361" fmla="*/ 291751 h 685800"/>
                  <a:gd name="connsiteX1362" fmla="*/ 277082 w 447675"/>
                  <a:gd name="connsiteY1362" fmla="*/ 291751 h 685800"/>
                  <a:gd name="connsiteX1363" fmla="*/ 277939 w 447675"/>
                  <a:gd name="connsiteY1363" fmla="*/ 290894 h 685800"/>
                  <a:gd name="connsiteX1364" fmla="*/ 279654 w 447675"/>
                  <a:gd name="connsiteY1364" fmla="*/ 287465 h 685800"/>
                  <a:gd name="connsiteX1365" fmla="*/ 283940 w 447675"/>
                  <a:gd name="connsiteY1365" fmla="*/ 282416 h 685800"/>
                  <a:gd name="connsiteX1366" fmla="*/ 284797 w 447675"/>
                  <a:gd name="connsiteY1366" fmla="*/ 279845 h 685800"/>
                  <a:gd name="connsiteX1367" fmla="*/ 285655 w 447675"/>
                  <a:gd name="connsiteY1367" fmla="*/ 276416 h 685800"/>
                  <a:gd name="connsiteX1368" fmla="*/ 288226 w 447675"/>
                  <a:gd name="connsiteY1368" fmla="*/ 272987 h 685800"/>
                  <a:gd name="connsiteX1369" fmla="*/ 289084 w 447675"/>
                  <a:gd name="connsiteY1369" fmla="*/ 269558 h 685800"/>
                  <a:gd name="connsiteX1370" fmla="*/ 289941 w 447675"/>
                  <a:gd name="connsiteY1370" fmla="*/ 261080 h 685800"/>
                  <a:gd name="connsiteX1371" fmla="*/ 289941 w 447675"/>
                  <a:gd name="connsiteY1371" fmla="*/ 255175 h 685800"/>
                  <a:gd name="connsiteX1372" fmla="*/ 290798 w 447675"/>
                  <a:gd name="connsiteY1372" fmla="*/ 252603 h 685800"/>
                  <a:gd name="connsiteX1373" fmla="*/ 295084 w 447675"/>
                  <a:gd name="connsiteY1373" fmla="*/ 251746 h 685800"/>
                  <a:gd name="connsiteX1374" fmla="*/ 296799 w 447675"/>
                  <a:gd name="connsiteY1374" fmla="*/ 252603 h 685800"/>
                  <a:gd name="connsiteX1375" fmla="*/ 300228 w 447675"/>
                  <a:gd name="connsiteY1375" fmla="*/ 254318 h 685800"/>
                  <a:gd name="connsiteX1376" fmla="*/ 302800 w 447675"/>
                  <a:gd name="connsiteY1376" fmla="*/ 255175 h 685800"/>
                  <a:gd name="connsiteX1377" fmla="*/ 303657 w 447675"/>
                  <a:gd name="connsiteY1377" fmla="*/ 255175 h 685800"/>
                  <a:gd name="connsiteX1378" fmla="*/ 304514 w 447675"/>
                  <a:gd name="connsiteY1378" fmla="*/ 255175 h 685800"/>
                  <a:gd name="connsiteX1379" fmla="*/ 305371 w 447675"/>
                  <a:gd name="connsiteY1379" fmla="*/ 254318 h 685800"/>
                  <a:gd name="connsiteX1380" fmla="*/ 306229 w 447675"/>
                  <a:gd name="connsiteY1380" fmla="*/ 254318 h 685800"/>
                  <a:gd name="connsiteX1381" fmla="*/ 307943 w 447675"/>
                  <a:gd name="connsiteY1381" fmla="*/ 252603 h 685800"/>
                  <a:gd name="connsiteX1382" fmla="*/ 308800 w 447675"/>
                  <a:gd name="connsiteY1382" fmla="*/ 252603 h 685800"/>
                  <a:gd name="connsiteX1383" fmla="*/ 312230 w 447675"/>
                  <a:gd name="connsiteY1383" fmla="*/ 252603 h 685800"/>
                  <a:gd name="connsiteX1384" fmla="*/ 315659 w 447675"/>
                  <a:gd name="connsiteY1384" fmla="*/ 253460 h 685800"/>
                  <a:gd name="connsiteX1385" fmla="*/ 322517 w 447675"/>
                  <a:gd name="connsiteY1385" fmla="*/ 255175 h 685800"/>
                  <a:gd name="connsiteX1386" fmla="*/ 329375 w 447675"/>
                  <a:gd name="connsiteY1386" fmla="*/ 256032 h 685800"/>
                  <a:gd name="connsiteX1387" fmla="*/ 330232 w 447675"/>
                  <a:gd name="connsiteY1387" fmla="*/ 255175 h 685800"/>
                  <a:gd name="connsiteX1388" fmla="*/ 331089 w 447675"/>
                  <a:gd name="connsiteY1388" fmla="*/ 252603 h 685800"/>
                  <a:gd name="connsiteX1389" fmla="*/ 331946 w 447675"/>
                  <a:gd name="connsiteY1389" fmla="*/ 251746 h 685800"/>
                  <a:gd name="connsiteX1390" fmla="*/ 332804 w 447675"/>
                  <a:gd name="connsiteY1390" fmla="*/ 251746 h 685800"/>
                  <a:gd name="connsiteX1391" fmla="*/ 333661 w 447675"/>
                  <a:gd name="connsiteY1391" fmla="*/ 251746 h 685800"/>
                  <a:gd name="connsiteX1392" fmla="*/ 334518 w 447675"/>
                  <a:gd name="connsiteY1392" fmla="*/ 252603 h 685800"/>
                  <a:gd name="connsiteX1393" fmla="*/ 342233 w 447675"/>
                  <a:gd name="connsiteY1393" fmla="*/ 255175 h 685800"/>
                  <a:gd name="connsiteX1394" fmla="*/ 344519 w 447675"/>
                  <a:gd name="connsiteY1394" fmla="*/ 255175 h 685800"/>
                  <a:gd name="connsiteX1395" fmla="*/ 342805 w 447675"/>
                  <a:gd name="connsiteY1395" fmla="*/ 252603 h 685800"/>
                  <a:gd name="connsiteX1396" fmla="*/ 345376 w 447675"/>
                  <a:gd name="connsiteY1396" fmla="*/ 252603 h 685800"/>
                  <a:gd name="connsiteX1397" fmla="*/ 345376 w 447675"/>
                  <a:gd name="connsiteY1397" fmla="*/ 250889 h 685800"/>
                  <a:gd name="connsiteX1398" fmla="*/ 345376 w 447675"/>
                  <a:gd name="connsiteY1398" fmla="*/ 249174 h 685800"/>
                  <a:gd name="connsiteX1399" fmla="*/ 345376 w 447675"/>
                  <a:gd name="connsiteY1399" fmla="*/ 247460 h 685800"/>
                  <a:gd name="connsiteX1400" fmla="*/ 346234 w 447675"/>
                  <a:gd name="connsiteY1400" fmla="*/ 246602 h 685800"/>
                  <a:gd name="connsiteX1401" fmla="*/ 350520 w 447675"/>
                  <a:gd name="connsiteY1401" fmla="*/ 243173 h 685800"/>
                  <a:gd name="connsiteX1402" fmla="*/ 351377 w 447675"/>
                  <a:gd name="connsiteY1402" fmla="*/ 242316 h 685800"/>
                  <a:gd name="connsiteX1403" fmla="*/ 351377 w 447675"/>
                  <a:gd name="connsiteY1403" fmla="*/ 240602 h 685800"/>
                  <a:gd name="connsiteX1404" fmla="*/ 351377 w 447675"/>
                  <a:gd name="connsiteY1404" fmla="*/ 239744 h 685800"/>
                  <a:gd name="connsiteX1405" fmla="*/ 350520 w 447675"/>
                  <a:gd name="connsiteY1405" fmla="*/ 238887 h 685800"/>
                  <a:gd name="connsiteX1406" fmla="*/ 344519 w 447675"/>
                  <a:gd name="connsiteY1406" fmla="*/ 238887 h 685800"/>
                  <a:gd name="connsiteX1407" fmla="*/ 341947 w 447675"/>
                  <a:gd name="connsiteY1407" fmla="*/ 238887 h 685800"/>
                  <a:gd name="connsiteX1408" fmla="*/ 340233 w 447675"/>
                  <a:gd name="connsiteY1408" fmla="*/ 236315 h 685800"/>
                  <a:gd name="connsiteX1409" fmla="*/ 340233 w 447675"/>
                  <a:gd name="connsiteY1409" fmla="*/ 236315 h 685800"/>
                  <a:gd name="connsiteX1410" fmla="*/ 337661 w 447675"/>
                  <a:gd name="connsiteY1410" fmla="*/ 236315 h 685800"/>
                  <a:gd name="connsiteX1411" fmla="*/ 335947 w 447675"/>
                  <a:gd name="connsiteY1411" fmla="*/ 235458 h 685800"/>
                  <a:gd name="connsiteX1412" fmla="*/ 335089 w 447675"/>
                  <a:gd name="connsiteY1412" fmla="*/ 234601 h 685800"/>
                  <a:gd name="connsiteX1413" fmla="*/ 332518 w 447675"/>
                  <a:gd name="connsiteY1413" fmla="*/ 232029 h 685800"/>
                  <a:gd name="connsiteX1414" fmla="*/ 332518 w 447675"/>
                  <a:gd name="connsiteY1414" fmla="*/ 230315 h 685800"/>
                  <a:gd name="connsiteX1415" fmla="*/ 332518 w 447675"/>
                  <a:gd name="connsiteY1415" fmla="*/ 229457 h 685800"/>
                  <a:gd name="connsiteX1416" fmla="*/ 331660 w 447675"/>
                  <a:gd name="connsiteY1416" fmla="*/ 228600 h 685800"/>
                  <a:gd name="connsiteX1417" fmla="*/ 330803 w 447675"/>
                  <a:gd name="connsiteY1417" fmla="*/ 227743 h 685800"/>
                  <a:gd name="connsiteX1418" fmla="*/ 330803 w 447675"/>
                  <a:gd name="connsiteY1418" fmla="*/ 226886 h 685800"/>
                  <a:gd name="connsiteX1419" fmla="*/ 332518 w 447675"/>
                  <a:gd name="connsiteY1419" fmla="*/ 221837 h 685800"/>
                  <a:gd name="connsiteX1420" fmla="*/ 332518 w 447675"/>
                  <a:gd name="connsiteY1420" fmla="*/ 219266 h 685800"/>
                  <a:gd name="connsiteX1421" fmla="*/ 331660 w 447675"/>
                  <a:gd name="connsiteY1421" fmla="*/ 218408 h 685800"/>
                  <a:gd name="connsiteX1422" fmla="*/ 329946 w 447675"/>
                  <a:gd name="connsiteY1422" fmla="*/ 216694 h 685800"/>
                  <a:gd name="connsiteX1423" fmla="*/ 329089 w 447675"/>
                  <a:gd name="connsiteY1423" fmla="*/ 214979 h 685800"/>
                  <a:gd name="connsiteX1424" fmla="*/ 327374 w 447675"/>
                  <a:gd name="connsiteY1424" fmla="*/ 214122 h 685800"/>
                  <a:gd name="connsiteX1425" fmla="*/ 323945 w 447675"/>
                  <a:gd name="connsiteY1425" fmla="*/ 213265 h 685800"/>
                  <a:gd name="connsiteX1426" fmla="*/ 323945 w 447675"/>
                  <a:gd name="connsiteY1426" fmla="*/ 214979 h 685800"/>
                  <a:gd name="connsiteX1427" fmla="*/ 323088 w 447675"/>
                  <a:gd name="connsiteY1427" fmla="*/ 215837 h 685800"/>
                  <a:gd name="connsiteX1428" fmla="*/ 322231 w 447675"/>
                  <a:gd name="connsiteY1428" fmla="*/ 215837 h 685800"/>
                  <a:gd name="connsiteX1429" fmla="*/ 321374 w 447675"/>
                  <a:gd name="connsiteY1429" fmla="*/ 215837 h 685800"/>
                  <a:gd name="connsiteX1430" fmla="*/ 320516 w 447675"/>
                  <a:gd name="connsiteY1430" fmla="*/ 215837 h 685800"/>
                  <a:gd name="connsiteX1431" fmla="*/ 318802 w 447675"/>
                  <a:gd name="connsiteY1431" fmla="*/ 216694 h 685800"/>
                  <a:gd name="connsiteX1432" fmla="*/ 317945 w 447675"/>
                  <a:gd name="connsiteY1432" fmla="*/ 217551 h 685800"/>
                  <a:gd name="connsiteX1433" fmla="*/ 317087 w 447675"/>
                  <a:gd name="connsiteY1433" fmla="*/ 218408 h 685800"/>
                  <a:gd name="connsiteX1434" fmla="*/ 315373 w 447675"/>
                  <a:gd name="connsiteY1434" fmla="*/ 219266 h 685800"/>
                  <a:gd name="connsiteX1435" fmla="*/ 313658 w 447675"/>
                  <a:gd name="connsiteY1435" fmla="*/ 218408 h 685800"/>
                  <a:gd name="connsiteX1436" fmla="*/ 310229 w 447675"/>
                  <a:gd name="connsiteY1436" fmla="*/ 216694 h 685800"/>
                  <a:gd name="connsiteX1437" fmla="*/ 307658 w 447675"/>
                  <a:gd name="connsiteY1437" fmla="*/ 214979 h 685800"/>
                  <a:gd name="connsiteX1438" fmla="*/ 303371 w 447675"/>
                  <a:gd name="connsiteY1438" fmla="*/ 214979 h 685800"/>
                  <a:gd name="connsiteX1439" fmla="*/ 300800 w 447675"/>
                  <a:gd name="connsiteY1439" fmla="*/ 214979 h 685800"/>
                  <a:gd name="connsiteX1440" fmla="*/ 299942 w 447675"/>
                  <a:gd name="connsiteY1440" fmla="*/ 213265 h 685800"/>
                  <a:gd name="connsiteX1441" fmla="*/ 299085 w 447675"/>
                  <a:gd name="connsiteY1441" fmla="*/ 211550 h 685800"/>
                  <a:gd name="connsiteX1442" fmla="*/ 295656 w 447675"/>
                  <a:gd name="connsiteY1442" fmla="*/ 208979 h 685800"/>
                  <a:gd name="connsiteX1443" fmla="*/ 294799 w 447675"/>
                  <a:gd name="connsiteY1443" fmla="*/ 207264 h 685800"/>
                  <a:gd name="connsiteX1444" fmla="*/ 290513 w 447675"/>
                  <a:gd name="connsiteY1444" fmla="*/ 204692 h 685800"/>
                  <a:gd name="connsiteX1445" fmla="*/ 288798 w 447675"/>
                  <a:gd name="connsiteY1445" fmla="*/ 202978 h 685800"/>
                  <a:gd name="connsiteX1446" fmla="*/ 287941 w 447675"/>
                  <a:gd name="connsiteY1446" fmla="*/ 195358 h 685800"/>
                  <a:gd name="connsiteX1447" fmla="*/ 285369 w 447675"/>
                  <a:gd name="connsiteY1447" fmla="*/ 192786 h 685800"/>
                  <a:gd name="connsiteX1448" fmla="*/ 277654 w 447675"/>
                  <a:gd name="connsiteY1448" fmla="*/ 186881 h 685800"/>
                  <a:gd name="connsiteX1449" fmla="*/ 270796 w 447675"/>
                  <a:gd name="connsiteY1449" fmla="*/ 179261 h 685800"/>
                  <a:gd name="connsiteX1450" fmla="*/ 266509 w 447675"/>
                  <a:gd name="connsiteY1450" fmla="*/ 177546 h 685800"/>
                  <a:gd name="connsiteX1451" fmla="*/ 262223 w 447675"/>
                  <a:gd name="connsiteY1451" fmla="*/ 178403 h 685800"/>
                  <a:gd name="connsiteX1452" fmla="*/ 259651 w 447675"/>
                  <a:gd name="connsiteY1452" fmla="*/ 180118 h 685800"/>
                  <a:gd name="connsiteX1453" fmla="*/ 257937 w 447675"/>
                  <a:gd name="connsiteY1453" fmla="*/ 180975 h 685800"/>
                  <a:gd name="connsiteX1454" fmla="*/ 256222 w 447675"/>
                  <a:gd name="connsiteY1454" fmla="*/ 180975 h 685800"/>
                  <a:gd name="connsiteX1455" fmla="*/ 254508 w 447675"/>
                  <a:gd name="connsiteY1455" fmla="*/ 179261 h 685800"/>
                  <a:gd name="connsiteX1456" fmla="*/ 253651 w 447675"/>
                  <a:gd name="connsiteY1456" fmla="*/ 177546 h 685800"/>
                  <a:gd name="connsiteX1457" fmla="*/ 252793 w 447675"/>
                  <a:gd name="connsiteY1457" fmla="*/ 175832 h 685800"/>
                  <a:gd name="connsiteX1458" fmla="*/ 251079 w 447675"/>
                  <a:gd name="connsiteY1458" fmla="*/ 174117 h 685800"/>
                  <a:gd name="connsiteX1459" fmla="*/ 251079 w 447675"/>
                  <a:gd name="connsiteY1459" fmla="*/ 173260 h 685800"/>
                  <a:gd name="connsiteX1460" fmla="*/ 251079 w 447675"/>
                  <a:gd name="connsiteY1460" fmla="*/ 172403 h 685800"/>
                  <a:gd name="connsiteX1461" fmla="*/ 250222 w 447675"/>
                  <a:gd name="connsiteY1461" fmla="*/ 169831 h 685800"/>
                  <a:gd name="connsiteX1462" fmla="*/ 249364 w 447675"/>
                  <a:gd name="connsiteY1462" fmla="*/ 164783 h 685800"/>
                  <a:gd name="connsiteX1463" fmla="*/ 250222 w 447675"/>
                  <a:gd name="connsiteY1463" fmla="*/ 163925 h 685800"/>
                  <a:gd name="connsiteX1464" fmla="*/ 251079 w 447675"/>
                  <a:gd name="connsiteY1464" fmla="*/ 163925 h 685800"/>
                  <a:gd name="connsiteX1465" fmla="*/ 251079 w 447675"/>
                  <a:gd name="connsiteY1465" fmla="*/ 163068 h 685800"/>
                  <a:gd name="connsiteX1466" fmla="*/ 253651 w 447675"/>
                  <a:gd name="connsiteY1466" fmla="*/ 155448 h 685800"/>
                  <a:gd name="connsiteX1467" fmla="*/ 255365 w 447675"/>
                  <a:gd name="connsiteY1467" fmla="*/ 152019 h 685800"/>
                  <a:gd name="connsiteX1468" fmla="*/ 257937 w 447675"/>
                  <a:gd name="connsiteY1468" fmla="*/ 149447 h 685800"/>
                  <a:gd name="connsiteX1469" fmla="*/ 258794 w 447675"/>
                  <a:gd name="connsiteY1469" fmla="*/ 146876 h 685800"/>
                  <a:gd name="connsiteX1470" fmla="*/ 258794 w 447675"/>
                  <a:gd name="connsiteY1470" fmla="*/ 146018 h 685800"/>
                  <a:gd name="connsiteX1471" fmla="*/ 257937 w 447675"/>
                  <a:gd name="connsiteY1471" fmla="*/ 145161 h 685800"/>
                  <a:gd name="connsiteX1472" fmla="*/ 257937 w 447675"/>
                  <a:gd name="connsiteY1472" fmla="*/ 144304 h 685800"/>
                  <a:gd name="connsiteX1473" fmla="*/ 257080 w 447675"/>
                  <a:gd name="connsiteY1473" fmla="*/ 144304 h 685800"/>
                  <a:gd name="connsiteX1474" fmla="*/ 257080 w 447675"/>
                  <a:gd name="connsiteY1474" fmla="*/ 142589 h 685800"/>
                  <a:gd name="connsiteX1475" fmla="*/ 257080 w 447675"/>
                  <a:gd name="connsiteY1475" fmla="*/ 141732 h 685800"/>
                  <a:gd name="connsiteX1476" fmla="*/ 257937 w 447675"/>
                  <a:gd name="connsiteY1476" fmla="*/ 141732 h 685800"/>
                  <a:gd name="connsiteX1477" fmla="*/ 258794 w 447675"/>
                  <a:gd name="connsiteY1477" fmla="*/ 137541 h 685800"/>
                  <a:gd name="connsiteX1478" fmla="*/ 259651 w 447675"/>
                  <a:gd name="connsiteY1478" fmla="*/ 135827 h 685800"/>
                  <a:gd name="connsiteX1479" fmla="*/ 263080 w 447675"/>
                  <a:gd name="connsiteY1479" fmla="*/ 134112 h 685800"/>
                  <a:gd name="connsiteX1480" fmla="*/ 263938 w 447675"/>
                  <a:gd name="connsiteY1480" fmla="*/ 133255 h 685800"/>
                  <a:gd name="connsiteX1481" fmla="*/ 264795 w 447675"/>
                  <a:gd name="connsiteY1481" fmla="*/ 132398 h 685800"/>
                  <a:gd name="connsiteX1482" fmla="*/ 265652 w 447675"/>
                  <a:gd name="connsiteY1482" fmla="*/ 130683 h 685800"/>
                  <a:gd name="connsiteX1483" fmla="*/ 267367 w 447675"/>
                  <a:gd name="connsiteY1483" fmla="*/ 130683 h 685800"/>
                  <a:gd name="connsiteX1484" fmla="*/ 269081 w 447675"/>
                  <a:gd name="connsiteY1484" fmla="*/ 129826 h 685800"/>
                  <a:gd name="connsiteX1485" fmla="*/ 275939 w 447675"/>
                  <a:gd name="connsiteY1485" fmla="*/ 128111 h 685800"/>
                  <a:gd name="connsiteX1486" fmla="*/ 277654 w 447675"/>
                  <a:gd name="connsiteY1486" fmla="*/ 126397 h 685800"/>
                  <a:gd name="connsiteX1487" fmla="*/ 278511 w 447675"/>
                  <a:gd name="connsiteY1487" fmla="*/ 124682 h 685800"/>
                  <a:gd name="connsiteX1488" fmla="*/ 278511 w 447675"/>
                  <a:gd name="connsiteY1488" fmla="*/ 120491 h 685800"/>
                  <a:gd name="connsiteX1489" fmla="*/ 279368 w 447675"/>
                  <a:gd name="connsiteY1489" fmla="*/ 118777 h 685800"/>
                  <a:gd name="connsiteX1490" fmla="*/ 281083 w 447675"/>
                  <a:gd name="connsiteY1490" fmla="*/ 116205 h 685800"/>
                  <a:gd name="connsiteX1491" fmla="*/ 282797 w 447675"/>
                  <a:gd name="connsiteY1491" fmla="*/ 114491 h 685800"/>
                  <a:gd name="connsiteX1492" fmla="*/ 287941 w 447675"/>
                  <a:gd name="connsiteY1492" fmla="*/ 111062 h 685800"/>
                  <a:gd name="connsiteX1493" fmla="*/ 288798 w 447675"/>
                  <a:gd name="connsiteY1493" fmla="*/ 110204 h 685800"/>
                  <a:gd name="connsiteX1494" fmla="*/ 288798 w 447675"/>
                  <a:gd name="connsiteY1494" fmla="*/ 109347 h 685800"/>
                  <a:gd name="connsiteX1495" fmla="*/ 289655 w 447675"/>
                  <a:gd name="connsiteY1495" fmla="*/ 108490 h 685800"/>
                  <a:gd name="connsiteX1496" fmla="*/ 290513 w 447675"/>
                  <a:gd name="connsiteY1496" fmla="*/ 109347 h 685800"/>
                  <a:gd name="connsiteX1497" fmla="*/ 291370 w 447675"/>
                  <a:gd name="connsiteY1497" fmla="*/ 110204 h 685800"/>
                  <a:gd name="connsiteX1498" fmla="*/ 292227 w 447675"/>
                  <a:gd name="connsiteY1498" fmla="*/ 110204 h 685800"/>
                  <a:gd name="connsiteX1499" fmla="*/ 293942 w 447675"/>
                  <a:gd name="connsiteY1499" fmla="*/ 109347 h 685800"/>
                  <a:gd name="connsiteX1500" fmla="*/ 294799 w 447675"/>
                  <a:gd name="connsiteY1500" fmla="*/ 109347 h 685800"/>
                  <a:gd name="connsiteX1501" fmla="*/ 296513 w 447675"/>
                  <a:gd name="connsiteY1501" fmla="*/ 110204 h 685800"/>
                  <a:gd name="connsiteX1502" fmla="*/ 296513 w 447675"/>
                  <a:gd name="connsiteY1502" fmla="*/ 106775 h 685800"/>
                  <a:gd name="connsiteX1503" fmla="*/ 294799 w 447675"/>
                  <a:gd name="connsiteY1503" fmla="*/ 100013 h 685800"/>
                  <a:gd name="connsiteX1504" fmla="*/ 293084 w 447675"/>
                  <a:gd name="connsiteY1504" fmla="*/ 97441 h 685800"/>
                  <a:gd name="connsiteX1505" fmla="*/ 289655 w 447675"/>
                  <a:gd name="connsiteY1505" fmla="*/ 95726 h 685800"/>
                  <a:gd name="connsiteX1506" fmla="*/ 283655 w 447675"/>
                  <a:gd name="connsiteY1506" fmla="*/ 94869 h 685800"/>
                  <a:gd name="connsiteX1507" fmla="*/ 281083 w 447675"/>
                  <a:gd name="connsiteY1507" fmla="*/ 94012 h 685800"/>
                  <a:gd name="connsiteX1508" fmla="*/ 280225 w 447675"/>
                  <a:gd name="connsiteY1508" fmla="*/ 94012 h 685800"/>
                  <a:gd name="connsiteX1509" fmla="*/ 279368 w 447675"/>
                  <a:gd name="connsiteY1509" fmla="*/ 94869 h 685800"/>
                  <a:gd name="connsiteX1510" fmla="*/ 279368 w 447675"/>
                  <a:gd name="connsiteY1510" fmla="*/ 97441 h 685800"/>
                  <a:gd name="connsiteX1511" fmla="*/ 279368 w 447675"/>
                  <a:gd name="connsiteY1511" fmla="*/ 98298 h 685800"/>
                  <a:gd name="connsiteX1512" fmla="*/ 277654 w 447675"/>
                  <a:gd name="connsiteY1512" fmla="*/ 97441 h 685800"/>
                  <a:gd name="connsiteX1513" fmla="*/ 276796 w 447675"/>
                  <a:gd name="connsiteY1513" fmla="*/ 95726 h 685800"/>
                  <a:gd name="connsiteX1514" fmla="*/ 276796 w 447675"/>
                  <a:gd name="connsiteY1514" fmla="*/ 94012 h 685800"/>
                  <a:gd name="connsiteX1515" fmla="*/ 276796 w 447675"/>
                  <a:gd name="connsiteY1515" fmla="*/ 92297 h 685800"/>
                  <a:gd name="connsiteX1516" fmla="*/ 276796 w 447675"/>
                  <a:gd name="connsiteY1516" fmla="*/ 92297 h 685800"/>
                  <a:gd name="connsiteX1517" fmla="*/ 278511 w 447675"/>
                  <a:gd name="connsiteY1517" fmla="*/ 89726 h 685800"/>
                  <a:gd name="connsiteX1518" fmla="*/ 281083 w 447675"/>
                  <a:gd name="connsiteY1518" fmla="*/ 82106 h 685800"/>
                  <a:gd name="connsiteX1519" fmla="*/ 281940 w 447675"/>
                  <a:gd name="connsiteY1519" fmla="*/ 80391 h 685800"/>
                  <a:gd name="connsiteX1520" fmla="*/ 282797 w 447675"/>
                  <a:gd name="connsiteY1520" fmla="*/ 77819 h 685800"/>
                  <a:gd name="connsiteX1521" fmla="*/ 284512 w 447675"/>
                  <a:gd name="connsiteY1521" fmla="*/ 76105 h 685800"/>
                  <a:gd name="connsiteX1522" fmla="*/ 285369 w 447675"/>
                  <a:gd name="connsiteY1522" fmla="*/ 76962 h 685800"/>
                  <a:gd name="connsiteX1523" fmla="*/ 285369 w 447675"/>
                  <a:gd name="connsiteY1523" fmla="*/ 79534 h 685800"/>
                  <a:gd name="connsiteX1524" fmla="*/ 285369 w 447675"/>
                  <a:gd name="connsiteY1524" fmla="*/ 82106 h 685800"/>
                  <a:gd name="connsiteX1525" fmla="*/ 285369 w 447675"/>
                  <a:gd name="connsiteY1525" fmla="*/ 84677 h 685800"/>
                  <a:gd name="connsiteX1526" fmla="*/ 287084 w 447675"/>
                  <a:gd name="connsiteY1526" fmla="*/ 86392 h 685800"/>
                  <a:gd name="connsiteX1527" fmla="*/ 291370 w 447675"/>
                  <a:gd name="connsiteY1527" fmla="*/ 87249 h 685800"/>
                  <a:gd name="connsiteX1528" fmla="*/ 293084 w 447675"/>
                  <a:gd name="connsiteY1528" fmla="*/ 88106 h 685800"/>
                  <a:gd name="connsiteX1529" fmla="*/ 294799 w 447675"/>
                  <a:gd name="connsiteY1529" fmla="*/ 89821 h 685800"/>
                  <a:gd name="connsiteX1530" fmla="*/ 295656 w 447675"/>
                  <a:gd name="connsiteY1530" fmla="*/ 90678 h 685800"/>
                  <a:gd name="connsiteX1531" fmla="*/ 297371 w 447675"/>
                  <a:gd name="connsiteY1531" fmla="*/ 92393 h 685800"/>
                  <a:gd name="connsiteX1532" fmla="*/ 298228 w 447675"/>
                  <a:gd name="connsiteY1532" fmla="*/ 93250 h 685800"/>
                  <a:gd name="connsiteX1533" fmla="*/ 299942 w 447675"/>
                  <a:gd name="connsiteY1533" fmla="*/ 94964 h 685800"/>
                  <a:gd name="connsiteX1534" fmla="*/ 302514 w 447675"/>
                  <a:gd name="connsiteY1534" fmla="*/ 95822 h 685800"/>
                  <a:gd name="connsiteX1535" fmla="*/ 303371 w 447675"/>
                  <a:gd name="connsiteY1535" fmla="*/ 95822 h 685800"/>
                  <a:gd name="connsiteX1536" fmla="*/ 305943 w 447675"/>
                  <a:gd name="connsiteY1536" fmla="*/ 95822 h 685800"/>
                  <a:gd name="connsiteX1537" fmla="*/ 307658 w 447675"/>
                  <a:gd name="connsiteY1537" fmla="*/ 96679 h 685800"/>
                  <a:gd name="connsiteX1538" fmla="*/ 308515 w 447675"/>
                  <a:gd name="connsiteY1538" fmla="*/ 97536 h 685800"/>
                  <a:gd name="connsiteX1539" fmla="*/ 308515 w 447675"/>
                  <a:gd name="connsiteY1539" fmla="*/ 99251 h 685800"/>
                  <a:gd name="connsiteX1540" fmla="*/ 309372 w 447675"/>
                  <a:gd name="connsiteY1540" fmla="*/ 100108 h 685800"/>
                  <a:gd name="connsiteX1541" fmla="*/ 311087 w 447675"/>
                  <a:gd name="connsiteY1541" fmla="*/ 100965 h 685800"/>
                  <a:gd name="connsiteX1542" fmla="*/ 311944 w 447675"/>
                  <a:gd name="connsiteY1542" fmla="*/ 101822 h 685800"/>
                  <a:gd name="connsiteX1543" fmla="*/ 314516 w 447675"/>
                  <a:gd name="connsiteY1543" fmla="*/ 102680 h 685800"/>
                  <a:gd name="connsiteX1544" fmla="*/ 314516 w 447675"/>
                  <a:gd name="connsiteY1544" fmla="*/ 103537 h 685800"/>
                  <a:gd name="connsiteX1545" fmla="*/ 313658 w 447675"/>
                  <a:gd name="connsiteY1545" fmla="*/ 104394 h 685800"/>
                  <a:gd name="connsiteX1546" fmla="*/ 314516 w 447675"/>
                  <a:gd name="connsiteY1546" fmla="*/ 105251 h 685800"/>
                  <a:gd name="connsiteX1547" fmla="*/ 315373 w 447675"/>
                  <a:gd name="connsiteY1547" fmla="*/ 105251 h 685800"/>
                  <a:gd name="connsiteX1548" fmla="*/ 316230 w 447675"/>
                  <a:gd name="connsiteY1548" fmla="*/ 106108 h 685800"/>
                  <a:gd name="connsiteX1549" fmla="*/ 316230 w 447675"/>
                  <a:gd name="connsiteY1549" fmla="*/ 107823 h 685800"/>
                  <a:gd name="connsiteX1550" fmla="*/ 316230 w 447675"/>
                  <a:gd name="connsiteY1550" fmla="*/ 109538 h 685800"/>
                  <a:gd name="connsiteX1551" fmla="*/ 319659 w 447675"/>
                  <a:gd name="connsiteY1551" fmla="*/ 110395 h 685800"/>
                  <a:gd name="connsiteX1552" fmla="*/ 320516 w 447675"/>
                  <a:gd name="connsiteY1552" fmla="*/ 111252 h 685800"/>
                  <a:gd name="connsiteX1553" fmla="*/ 321374 w 447675"/>
                  <a:gd name="connsiteY1553" fmla="*/ 112967 h 685800"/>
                  <a:gd name="connsiteX1554" fmla="*/ 319659 w 447675"/>
                  <a:gd name="connsiteY1554" fmla="*/ 115538 h 685800"/>
                  <a:gd name="connsiteX1555" fmla="*/ 318802 w 447675"/>
                  <a:gd name="connsiteY1555" fmla="*/ 116396 h 685800"/>
                  <a:gd name="connsiteX1556" fmla="*/ 314516 w 447675"/>
                  <a:gd name="connsiteY1556" fmla="*/ 118967 h 685800"/>
                  <a:gd name="connsiteX1557" fmla="*/ 313658 w 447675"/>
                  <a:gd name="connsiteY1557" fmla="*/ 119825 h 685800"/>
                  <a:gd name="connsiteX1558" fmla="*/ 315373 w 447675"/>
                  <a:gd name="connsiteY1558" fmla="*/ 120682 h 685800"/>
                  <a:gd name="connsiteX1559" fmla="*/ 324707 w 447675"/>
                  <a:gd name="connsiteY1559" fmla="*/ 117253 h 685800"/>
                  <a:gd name="connsiteX1560" fmla="*/ 328993 w 447675"/>
                  <a:gd name="connsiteY1560" fmla="*/ 118967 h 685800"/>
                  <a:gd name="connsiteX1561" fmla="*/ 329851 w 447675"/>
                  <a:gd name="connsiteY1561" fmla="*/ 120682 h 685800"/>
                  <a:gd name="connsiteX1562" fmla="*/ 330708 w 447675"/>
                  <a:gd name="connsiteY1562" fmla="*/ 123254 h 685800"/>
                  <a:gd name="connsiteX1563" fmla="*/ 331565 w 447675"/>
                  <a:gd name="connsiteY1563" fmla="*/ 124968 h 685800"/>
                  <a:gd name="connsiteX1564" fmla="*/ 333280 w 447675"/>
                  <a:gd name="connsiteY1564" fmla="*/ 125825 h 685800"/>
                  <a:gd name="connsiteX1565" fmla="*/ 334994 w 447675"/>
                  <a:gd name="connsiteY1565" fmla="*/ 124968 h 685800"/>
                  <a:gd name="connsiteX1566" fmla="*/ 336709 w 447675"/>
                  <a:gd name="connsiteY1566" fmla="*/ 120777 h 685800"/>
                  <a:gd name="connsiteX1567" fmla="*/ 339280 w 447675"/>
                  <a:gd name="connsiteY1567" fmla="*/ 119920 h 685800"/>
                  <a:gd name="connsiteX1568" fmla="*/ 341852 w 447675"/>
                  <a:gd name="connsiteY1568" fmla="*/ 119920 h 685800"/>
                  <a:gd name="connsiteX1569" fmla="*/ 346996 w 447675"/>
                  <a:gd name="connsiteY1569" fmla="*/ 124968 h 685800"/>
                  <a:gd name="connsiteX1570" fmla="*/ 350425 w 447675"/>
                  <a:gd name="connsiteY1570" fmla="*/ 125825 h 685800"/>
                  <a:gd name="connsiteX1571" fmla="*/ 355568 w 447675"/>
                  <a:gd name="connsiteY1571" fmla="*/ 124968 h 685800"/>
                  <a:gd name="connsiteX1572" fmla="*/ 357283 w 447675"/>
                  <a:gd name="connsiteY1572" fmla="*/ 123254 h 685800"/>
                  <a:gd name="connsiteX1573" fmla="*/ 356425 w 447675"/>
                  <a:gd name="connsiteY1573" fmla="*/ 120682 h 685800"/>
                  <a:gd name="connsiteX1574" fmla="*/ 355568 w 447675"/>
                  <a:gd name="connsiteY1574" fmla="*/ 120682 h 685800"/>
                  <a:gd name="connsiteX1575" fmla="*/ 354711 w 447675"/>
                  <a:gd name="connsiteY1575" fmla="*/ 120682 h 685800"/>
                  <a:gd name="connsiteX1576" fmla="*/ 353854 w 447675"/>
                  <a:gd name="connsiteY1576" fmla="*/ 119825 h 685800"/>
                  <a:gd name="connsiteX1577" fmla="*/ 353854 w 447675"/>
                  <a:gd name="connsiteY1577" fmla="*/ 117253 h 685800"/>
                  <a:gd name="connsiteX1578" fmla="*/ 352996 w 447675"/>
                  <a:gd name="connsiteY1578" fmla="*/ 117253 h 685800"/>
                  <a:gd name="connsiteX1579" fmla="*/ 352139 w 447675"/>
                  <a:gd name="connsiteY1579" fmla="*/ 118110 h 685800"/>
                  <a:gd name="connsiteX1580" fmla="*/ 351282 w 447675"/>
                  <a:gd name="connsiteY1580" fmla="*/ 117253 h 685800"/>
                  <a:gd name="connsiteX1581" fmla="*/ 350425 w 447675"/>
                  <a:gd name="connsiteY1581" fmla="*/ 116396 h 685800"/>
                  <a:gd name="connsiteX1582" fmla="*/ 349567 w 447675"/>
                  <a:gd name="connsiteY1582" fmla="*/ 112967 h 685800"/>
                  <a:gd name="connsiteX1583" fmla="*/ 346138 w 447675"/>
                  <a:gd name="connsiteY1583" fmla="*/ 111252 h 685800"/>
                  <a:gd name="connsiteX1584" fmla="*/ 343567 w 447675"/>
                  <a:gd name="connsiteY1584" fmla="*/ 110395 h 685800"/>
                  <a:gd name="connsiteX1585" fmla="*/ 340995 w 447675"/>
                  <a:gd name="connsiteY1585" fmla="*/ 107823 h 685800"/>
                  <a:gd name="connsiteX1586" fmla="*/ 340995 w 447675"/>
                  <a:gd name="connsiteY1586" fmla="*/ 106108 h 685800"/>
                  <a:gd name="connsiteX1587" fmla="*/ 341852 w 447675"/>
                  <a:gd name="connsiteY1587" fmla="*/ 103537 h 685800"/>
                  <a:gd name="connsiteX1588" fmla="*/ 343567 w 447675"/>
                  <a:gd name="connsiteY1588" fmla="*/ 101822 h 685800"/>
                  <a:gd name="connsiteX1589" fmla="*/ 344424 w 447675"/>
                  <a:gd name="connsiteY1589" fmla="*/ 100108 h 685800"/>
                  <a:gd name="connsiteX1590" fmla="*/ 346138 w 447675"/>
                  <a:gd name="connsiteY1590" fmla="*/ 99251 h 685800"/>
                  <a:gd name="connsiteX1591" fmla="*/ 346996 w 447675"/>
                  <a:gd name="connsiteY1591" fmla="*/ 99251 h 685800"/>
                  <a:gd name="connsiteX1592" fmla="*/ 348710 w 447675"/>
                  <a:gd name="connsiteY1592" fmla="*/ 100965 h 685800"/>
                  <a:gd name="connsiteX1593" fmla="*/ 350425 w 447675"/>
                  <a:gd name="connsiteY1593" fmla="*/ 101822 h 685800"/>
                  <a:gd name="connsiteX1594" fmla="*/ 351282 w 447675"/>
                  <a:gd name="connsiteY1594" fmla="*/ 102680 h 685800"/>
                  <a:gd name="connsiteX1595" fmla="*/ 352996 w 447675"/>
                  <a:gd name="connsiteY1595" fmla="*/ 104394 h 685800"/>
                  <a:gd name="connsiteX1596" fmla="*/ 353854 w 447675"/>
                  <a:gd name="connsiteY1596" fmla="*/ 105251 h 685800"/>
                  <a:gd name="connsiteX1597" fmla="*/ 355568 w 447675"/>
                  <a:gd name="connsiteY1597" fmla="*/ 106108 h 685800"/>
                  <a:gd name="connsiteX1598" fmla="*/ 358140 w 447675"/>
                  <a:gd name="connsiteY1598" fmla="*/ 106966 h 685800"/>
                  <a:gd name="connsiteX1599" fmla="*/ 358997 w 447675"/>
                  <a:gd name="connsiteY1599" fmla="*/ 107823 h 685800"/>
                  <a:gd name="connsiteX1600" fmla="*/ 359855 w 447675"/>
                  <a:gd name="connsiteY1600" fmla="*/ 108680 h 685800"/>
                  <a:gd name="connsiteX1601" fmla="*/ 358997 w 447675"/>
                  <a:gd name="connsiteY1601" fmla="*/ 109538 h 685800"/>
                  <a:gd name="connsiteX1602" fmla="*/ 358997 w 447675"/>
                  <a:gd name="connsiteY1602" fmla="*/ 110395 h 685800"/>
                  <a:gd name="connsiteX1603" fmla="*/ 360712 w 447675"/>
                  <a:gd name="connsiteY1603" fmla="*/ 111252 h 685800"/>
                  <a:gd name="connsiteX1604" fmla="*/ 364141 w 447675"/>
                  <a:gd name="connsiteY1604" fmla="*/ 112109 h 685800"/>
                  <a:gd name="connsiteX1605" fmla="*/ 364141 w 447675"/>
                  <a:gd name="connsiteY1605" fmla="*/ 112967 h 685800"/>
                  <a:gd name="connsiteX1606" fmla="*/ 364998 w 447675"/>
                  <a:gd name="connsiteY1606" fmla="*/ 114681 h 685800"/>
                  <a:gd name="connsiteX1607" fmla="*/ 363284 w 447675"/>
                  <a:gd name="connsiteY1607" fmla="*/ 115538 h 685800"/>
                  <a:gd name="connsiteX1608" fmla="*/ 362426 w 447675"/>
                  <a:gd name="connsiteY1608" fmla="*/ 114681 h 685800"/>
                  <a:gd name="connsiteX1609" fmla="*/ 360712 w 447675"/>
                  <a:gd name="connsiteY1609" fmla="*/ 114681 h 685800"/>
                  <a:gd name="connsiteX1610" fmla="*/ 360712 w 447675"/>
                  <a:gd name="connsiteY1610" fmla="*/ 118110 h 685800"/>
                  <a:gd name="connsiteX1611" fmla="*/ 361569 w 447675"/>
                  <a:gd name="connsiteY1611" fmla="*/ 120682 h 685800"/>
                  <a:gd name="connsiteX1612" fmla="*/ 364141 w 447675"/>
                  <a:gd name="connsiteY1612" fmla="*/ 124111 h 685800"/>
                  <a:gd name="connsiteX1613" fmla="*/ 364998 w 447675"/>
                  <a:gd name="connsiteY1613" fmla="*/ 125825 h 685800"/>
                  <a:gd name="connsiteX1614" fmla="*/ 365855 w 447675"/>
                  <a:gd name="connsiteY1614" fmla="*/ 133445 h 685800"/>
                  <a:gd name="connsiteX1615" fmla="*/ 366713 w 447675"/>
                  <a:gd name="connsiteY1615" fmla="*/ 135160 h 685800"/>
                  <a:gd name="connsiteX1616" fmla="*/ 367570 w 447675"/>
                  <a:gd name="connsiteY1616" fmla="*/ 136874 h 685800"/>
                  <a:gd name="connsiteX1617" fmla="*/ 375285 w 447675"/>
                  <a:gd name="connsiteY1617" fmla="*/ 140303 h 685800"/>
                  <a:gd name="connsiteX1618" fmla="*/ 377000 w 447675"/>
                  <a:gd name="connsiteY1618" fmla="*/ 141161 h 685800"/>
                  <a:gd name="connsiteX1619" fmla="*/ 377857 w 447675"/>
                  <a:gd name="connsiteY1619" fmla="*/ 142875 h 685800"/>
                  <a:gd name="connsiteX1620" fmla="*/ 378714 w 447675"/>
                  <a:gd name="connsiteY1620" fmla="*/ 145447 h 685800"/>
                  <a:gd name="connsiteX1621" fmla="*/ 379571 w 447675"/>
                  <a:gd name="connsiteY1621" fmla="*/ 146304 h 685800"/>
                  <a:gd name="connsiteX1622" fmla="*/ 383858 w 447675"/>
                  <a:gd name="connsiteY1622" fmla="*/ 148019 h 685800"/>
                  <a:gd name="connsiteX1623" fmla="*/ 386429 w 447675"/>
                  <a:gd name="connsiteY1623" fmla="*/ 151448 h 685800"/>
                  <a:gd name="connsiteX1624" fmla="*/ 388144 w 447675"/>
                  <a:gd name="connsiteY1624" fmla="*/ 153162 h 685800"/>
                  <a:gd name="connsiteX1625" fmla="*/ 390716 w 447675"/>
                  <a:gd name="connsiteY1625" fmla="*/ 154019 h 685800"/>
                  <a:gd name="connsiteX1626" fmla="*/ 392430 w 447675"/>
                  <a:gd name="connsiteY1626" fmla="*/ 154019 h 685800"/>
                  <a:gd name="connsiteX1627" fmla="*/ 394145 w 447675"/>
                  <a:gd name="connsiteY1627" fmla="*/ 153162 h 685800"/>
                  <a:gd name="connsiteX1628" fmla="*/ 395859 w 447675"/>
                  <a:gd name="connsiteY1628" fmla="*/ 151448 h 685800"/>
                  <a:gd name="connsiteX1629" fmla="*/ 396716 w 447675"/>
                  <a:gd name="connsiteY1629" fmla="*/ 151448 h 685800"/>
                  <a:gd name="connsiteX1630" fmla="*/ 398431 w 447675"/>
                  <a:gd name="connsiteY1630" fmla="*/ 154019 h 685800"/>
                  <a:gd name="connsiteX1631" fmla="*/ 399288 w 447675"/>
                  <a:gd name="connsiteY1631" fmla="*/ 154877 h 685800"/>
                  <a:gd name="connsiteX1632" fmla="*/ 399288 w 447675"/>
                  <a:gd name="connsiteY1632" fmla="*/ 154877 h 685800"/>
                  <a:gd name="connsiteX1633" fmla="*/ 400145 w 447675"/>
                  <a:gd name="connsiteY1633" fmla="*/ 154877 h 685800"/>
                  <a:gd name="connsiteX1634" fmla="*/ 401002 w 447675"/>
                  <a:gd name="connsiteY1634" fmla="*/ 154019 h 685800"/>
                  <a:gd name="connsiteX1635" fmla="*/ 401002 w 447675"/>
                  <a:gd name="connsiteY1635" fmla="*/ 154019 h 685800"/>
                  <a:gd name="connsiteX1636" fmla="*/ 401002 w 447675"/>
                  <a:gd name="connsiteY1636" fmla="*/ 154019 h 685800"/>
                  <a:gd name="connsiteX1637" fmla="*/ 401002 w 447675"/>
                  <a:gd name="connsiteY1637" fmla="*/ 154019 h 685800"/>
                  <a:gd name="connsiteX1638" fmla="*/ 407003 w 447675"/>
                  <a:gd name="connsiteY1638" fmla="*/ 154019 h 685800"/>
                  <a:gd name="connsiteX1639" fmla="*/ 407003 w 447675"/>
                  <a:gd name="connsiteY1639" fmla="*/ 154019 h 685800"/>
                  <a:gd name="connsiteX1640" fmla="*/ 407860 w 447675"/>
                  <a:gd name="connsiteY1640" fmla="*/ 154019 h 685800"/>
                  <a:gd name="connsiteX1641" fmla="*/ 408718 w 447675"/>
                  <a:gd name="connsiteY1641" fmla="*/ 154019 h 685800"/>
                  <a:gd name="connsiteX1642" fmla="*/ 409575 w 447675"/>
                  <a:gd name="connsiteY1642" fmla="*/ 156591 h 685800"/>
                  <a:gd name="connsiteX1643" fmla="*/ 411289 w 447675"/>
                  <a:gd name="connsiteY1643" fmla="*/ 158306 h 685800"/>
                  <a:gd name="connsiteX1644" fmla="*/ 412147 w 447675"/>
                  <a:gd name="connsiteY1644" fmla="*/ 159163 h 685800"/>
                  <a:gd name="connsiteX1645" fmla="*/ 413861 w 447675"/>
                  <a:gd name="connsiteY1645" fmla="*/ 159163 h 685800"/>
                  <a:gd name="connsiteX1646" fmla="*/ 414718 w 447675"/>
                  <a:gd name="connsiteY1646" fmla="*/ 157448 h 685800"/>
                  <a:gd name="connsiteX1647" fmla="*/ 414718 w 447675"/>
                  <a:gd name="connsiteY1647" fmla="*/ 155734 h 685800"/>
                  <a:gd name="connsiteX1648" fmla="*/ 414718 w 447675"/>
                  <a:gd name="connsiteY1648" fmla="*/ 154019 h 685800"/>
                  <a:gd name="connsiteX1649" fmla="*/ 415576 w 447675"/>
                  <a:gd name="connsiteY1649" fmla="*/ 150590 h 685800"/>
                  <a:gd name="connsiteX1650" fmla="*/ 419862 w 447675"/>
                  <a:gd name="connsiteY1650" fmla="*/ 147161 h 685800"/>
                  <a:gd name="connsiteX1651" fmla="*/ 421576 w 447675"/>
                  <a:gd name="connsiteY1651" fmla="*/ 144590 h 685800"/>
                  <a:gd name="connsiteX1652" fmla="*/ 420719 w 447675"/>
                  <a:gd name="connsiteY1652" fmla="*/ 142875 h 685800"/>
                  <a:gd name="connsiteX1653" fmla="*/ 419005 w 447675"/>
                  <a:gd name="connsiteY1653" fmla="*/ 142875 h 685800"/>
                  <a:gd name="connsiteX1654" fmla="*/ 417290 w 447675"/>
                  <a:gd name="connsiteY1654" fmla="*/ 143732 h 685800"/>
                  <a:gd name="connsiteX1655" fmla="*/ 416433 w 447675"/>
                  <a:gd name="connsiteY1655" fmla="*/ 142875 h 685800"/>
                  <a:gd name="connsiteX1656" fmla="*/ 416433 w 447675"/>
                  <a:gd name="connsiteY1656" fmla="*/ 141161 h 685800"/>
                  <a:gd name="connsiteX1657" fmla="*/ 417290 w 447675"/>
                  <a:gd name="connsiteY1657" fmla="*/ 140303 h 685800"/>
                  <a:gd name="connsiteX1658" fmla="*/ 419005 w 447675"/>
                  <a:gd name="connsiteY1658" fmla="*/ 139446 h 685800"/>
                  <a:gd name="connsiteX1659" fmla="*/ 420719 w 447675"/>
                  <a:gd name="connsiteY1659" fmla="*/ 138589 h 685800"/>
                  <a:gd name="connsiteX1660" fmla="*/ 418147 w 447675"/>
                  <a:gd name="connsiteY1660" fmla="*/ 138589 h 685800"/>
                  <a:gd name="connsiteX1661" fmla="*/ 416433 w 447675"/>
                  <a:gd name="connsiteY1661" fmla="*/ 137732 h 685800"/>
                  <a:gd name="connsiteX1662" fmla="*/ 415576 w 447675"/>
                  <a:gd name="connsiteY1662" fmla="*/ 136017 h 685800"/>
                  <a:gd name="connsiteX1663" fmla="*/ 417290 w 447675"/>
                  <a:gd name="connsiteY1663" fmla="*/ 133445 h 685800"/>
                  <a:gd name="connsiteX1664" fmla="*/ 418147 w 447675"/>
                  <a:gd name="connsiteY1664" fmla="*/ 133445 h 685800"/>
                  <a:gd name="connsiteX1665" fmla="*/ 418147 w 447675"/>
                  <a:gd name="connsiteY1665" fmla="*/ 132588 h 685800"/>
                  <a:gd name="connsiteX1666" fmla="*/ 419005 w 447675"/>
                  <a:gd name="connsiteY1666" fmla="*/ 132588 h 685800"/>
                  <a:gd name="connsiteX1667" fmla="*/ 421576 w 447675"/>
                  <a:gd name="connsiteY1667" fmla="*/ 133445 h 685800"/>
                  <a:gd name="connsiteX1668" fmla="*/ 421576 w 447675"/>
                  <a:gd name="connsiteY1668" fmla="*/ 132588 h 685800"/>
                  <a:gd name="connsiteX1669" fmla="*/ 420719 w 447675"/>
                  <a:gd name="connsiteY1669" fmla="*/ 130874 h 685800"/>
                  <a:gd name="connsiteX1670" fmla="*/ 420719 w 447675"/>
                  <a:gd name="connsiteY1670" fmla="*/ 127445 h 685800"/>
                  <a:gd name="connsiteX1671" fmla="*/ 421576 w 447675"/>
                  <a:gd name="connsiteY1671" fmla="*/ 126587 h 685800"/>
                  <a:gd name="connsiteX1672" fmla="*/ 424148 w 447675"/>
                  <a:gd name="connsiteY1672" fmla="*/ 125730 h 685800"/>
                  <a:gd name="connsiteX1673" fmla="*/ 425863 w 447675"/>
                  <a:gd name="connsiteY1673" fmla="*/ 125730 h 685800"/>
                  <a:gd name="connsiteX1674" fmla="*/ 426720 w 447675"/>
                  <a:gd name="connsiteY1674" fmla="*/ 128302 h 685800"/>
                  <a:gd name="connsiteX1675" fmla="*/ 426720 w 447675"/>
                  <a:gd name="connsiteY1675" fmla="*/ 130016 h 685800"/>
                  <a:gd name="connsiteX1676" fmla="*/ 429292 w 447675"/>
                  <a:gd name="connsiteY1676" fmla="*/ 130016 h 685800"/>
                  <a:gd name="connsiteX1677" fmla="*/ 431863 w 447675"/>
                  <a:gd name="connsiteY1677" fmla="*/ 128302 h 685800"/>
                  <a:gd name="connsiteX1678" fmla="*/ 434435 w 447675"/>
                  <a:gd name="connsiteY1678" fmla="*/ 128302 h 685800"/>
                  <a:gd name="connsiteX1679" fmla="*/ 435292 w 447675"/>
                  <a:gd name="connsiteY1679" fmla="*/ 127445 h 685800"/>
                  <a:gd name="connsiteX1680" fmla="*/ 435292 w 447675"/>
                  <a:gd name="connsiteY1680" fmla="*/ 126587 h 685800"/>
                  <a:gd name="connsiteX1681" fmla="*/ 435292 w 447675"/>
                  <a:gd name="connsiteY1681" fmla="*/ 124873 h 685800"/>
                  <a:gd name="connsiteX1682" fmla="*/ 435292 w 447675"/>
                  <a:gd name="connsiteY1682" fmla="*/ 124016 h 685800"/>
                  <a:gd name="connsiteX1683" fmla="*/ 434435 w 447675"/>
                  <a:gd name="connsiteY1683" fmla="*/ 123158 h 685800"/>
                  <a:gd name="connsiteX1684" fmla="*/ 435292 w 447675"/>
                  <a:gd name="connsiteY1684" fmla="*/ 122301 h 685800"/>
                  <a:gd name="connsiteX1685" fmla="*/ 436150 w 447675"/>
                  <a:gd name="connsiteY1685" fmla="*/ 122301 h 685800"/>
                  <a:gd name="connsiteX1686" fmla="*/ 437864 w 447675"/>
                  <a:gd name="connsiteY1686" fmla="*/ 121444 h 685800"/>
                  <a:gd name="connsiteX1687" fmla="*/ 439579 w 447675"/>
                  <a:gd name="connsiteY1687" fmla="*/ 117253 h 685800"/>
                  <a:gd name="connsiteX1688" fmla="*/ 439579 w 447675"/>
                  <a:gd name="connsiteY1688" fmla="*/ 115538 h 685800"/>
                  <a:gd name="connsiteX1689" fmla="*/ 440436 w 447675"/>
                  <a:gd name="connsiteY1689" fmla="*/ 115538 h 685800"/>
                  <a:gd name="connsiteX1690" fmla="*/ 443008 w 447675"/>
                  <a:gd name="connsiteY1690" fmla="*/ 113824 h 685800"/>
                  <a:gd name="connsiteX1691" fmla="*/ 444722 w 447675"/>
                  <a:gd name="connsiteY1691" fmla="*/ 113824 h 685800"/>
                  <a:gd name="connsiteX1692" fmla="*/ 445580 w 447675"/>
                  <a:gd name="connsiteY1692" fmla="*/ 112967 h 685800"/>
                  <a:gd name="connsiteX1693" fmla="*/ 445580 w 447675"/>
                  <a:gd name="connsiteY1693" fmla="*/ 112109 h 685800"/>
                  <a:gd name="connsiteX1694" fmla="*/ 445580 w 447675"/>
                  <a:gd name="connsiteY1694" fmla="*/ 111252 h 685800"/>
                  <a:gd name="connsiteX1695" fmla="*/ 443865 w 447675"/>
                  <a:gd name="connsiteY1695" fmla="*/ 110395 h 685800"/>
                  <a:gd name="connsiteX1696" fmla="*/ 443865 w 447675"/>
                  <a:gd name="connsiteY1696" fmla="*/ 109538 h 685800"/>
                  <a:gd name="connsiteX1697" fmla="*/ 443865 w 447675"/>
                  <a:gd name="connsiteY1697" fmla="*/ 108680 h 685800"/>
                  <a:gd name="connsiteX1698" fmla="*/ 444722 w 447675"/>
                  <a:gd name="connsiteY1698" fmla="*/ 108680 h 685800"/>
                  <a:gd name="connsiteX1699" fmla="*/ 445580 w 447675"/>
                  <a:gd name="connsiteY1699" fmla="*/ 107823 h 685800"/>
                  <a:gd name="connsiteX1700" fmla="*/ 446437 w 447675"/>
                  <a:gd name="connsiteY1700" fmla="*/ 106966 h 685800"/>
                  <a:gd name="connsiteX1701" fmla="*/ 447294 w 447675"/>
                  <a:gd name="connsiteY1701" fmla="*/ 106966 h 685800"/>
                  <a:gd name="connsiteX1702" fmla="*/ 447294 w 447675"/>
                  <a:gd name="connsiteY1702" fmla="*/ 106108 h 685800"/>
                  <a:gd name="connsiteX1703" fmla="*/ 448151 w 447675"/>
                  <a:gd name="connsiteY1703" fmla="*/ 97631 h 685800"/>
                  <a:gd name="connsiteX1704" fmla="*/ 449009 w 447675"/>
                  <a:gd name="connsiteY1704" fmla="*/ 95917 h 685800"/>
                  <a:gd name="connsiteX1705" fmla="*/ 449866 w 447675"/>
                  <a:gd name="connsiteY1705" fmla="*/ 91726 h 685800"/>
                  <a:gd name="connsiteX1706" fmla="*/ 449866 w 447675"/>
                  <a:gd name="connsiteY1706" fmla="*/ 91726 h 685800"/>
                  <a:gd name="connsiteX1707" fmla="*/ 450723 w 447675"/>
                  <a:gd name="connsiteY1707" fmla="*/ 90869 h 685800"/>
                  <a:gd name="connsiteX1708" fmla="*/ 450723 w 447675"/>
                  <a:gd name="connsiteY1708" fmla="*/ 90869 h 685800"/>
                  <a:gd name="connsiteX1709" fmla="*/ 452438 w 447675"/>
                  <a:gd name="connsiteY1709" fmla="*/ 87440 h 685800"/>
                  <a:gd name="connsiteX1710" fmla="*/ 450247 w 447675"/>
                  <a:gd name="connsiteY1710" fmla="*/ 76010 h 685800"/>
                  <a:gd name="connsiteX1711" fmla="*/ 450247 w 447675"/>
                  <a:gd name="connsiteY1711" fmla="*/ 76010 h 685800"/>
                  <a:gd name="connsiteX1712" fmla="*/ 450247 w 447675"/>
                  <a:gd name="connsiteY1712" fmla="*/ 76010 h 68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</a:cxnLst>
                <a:rect l="l" t="t" r="r" b="b"/>
                <a:pathLst>
                  <a:path w="447675" h="685800">
                    <a:moveTo>
                      <a:pt x="341947" y="685514"/>
                    </a:moveTo>
                    <a:lnTo>
                      <a:pt x="341090" y="684657"/>
                    </a:lnTo>
                    <a:lnTo>
                      <a:pt x="339376" y="683800"/>
                    </a:lnTo>
                    <a:lnTo>
                      <a:pt x="335089" y="681228"/>
                    </a:lnTo>
                    <a:lnTo>
                      <a:pt x="334232" y="685419"/>
                    </a:lnTo>
                    <a:lnTo>
                      <a:pt x="335089" y="691325"/>
                    </a:lnTo>
                    <a:lnTo>
                      <a:pt x="337661" y="692182"/>
                    </a:lnTo>
                    <a:lnTo>
                      <a:pt x="339376" y="691325"/>
                    </a:lnTo>
                    <a:lnTo>
                      <a:pt x="341947" y="691325"/>
                    </a:lnTo>
                    <a:lnTo>
                      <a:pt x="342805" y="691325"/>
                    </a:lnTo>
                    <a:lnTo>
                      <a:pt x="343662" y="688753"/>
                    </a:lnTo>
                    <a:lnTo>
                      <a:pt x="342805" y="687038"/>
                    </a:lnTo>
                    <a:lnTo>
                      <a:pt x="341947" y="685514"/>
                    </a:lnTo>
                    <a:lnTo>
                      <a:pt x="341947" y="685514"/>
                    </a:lnTo>
                    <a:lnTo>
                      <a:pt x="341947" y="685514"/>
                    </a:lnTo>
                    <a:close/>
                    <a:moveTo>
                      <a:pt x="254984" y="652463"/>
                    </a:moveTo>
                    <a:lnTo>
                      <a:pt x="251555" y="658368"/>
                    </a:lnTo>
                    <a:lnTo>
                      <a:pt x="247269" y="671036"/>
                    </a:lnTo>
                    <a:lnTo>
                      <a:pt x="247269" y="673608"/>
                    </a:lnTo>
                    <a:lnTo>
                      <a:pt x="246412" y="675323"/>
                    </a:lnTo>
                    <a:lnTo>
                      <a:pt x="246412" y="676180"/>
                    </a:lnTo>
                    <a:lnTo>
                      <a:pt x="248126" y="678752"/>
                    </a:lnTo>
                    <a:lnTo>
                      <a:pt x="248984" y="678752"/>
                    </a:lnTo>
                    <a:lnTo>
                      <a:pt x="252413" y="678752"/>
                    </a:lnTo>
                    <a:lnTo>
                      <a:pt x="254984" y="680466"/>
                    </a:lnTo>
                    <a:lnTo>
                      <a:pt x="256699" y="680466"/>
                    </a:lnTo>
                    <a:lnTo>
                      <a:pt x="257556" y="679609"/>
                    </a:lnTo>
                    <a:lnTo>
                      <a:pt x="258413" y="677894"/>
                    </a:lnTo>
                    <a:lnTo>
                      <a:pt x="258413" y="676180"/>
                    </a:lnTo>
                    <a:lnTo>
                      <a:pt x="256699" y="672751"/>
                    </a:lnTo>
                    <a:lnTo>
                      <a:pt x="260128" y="671036"/>
                    </a:lnTo>
                    <a:lnTo>
                      <a:pt x="260985" y="663416"/>
                    </a:lnTo>
                    <a:lnTo>
                      <a:pt x="258413" y="651510"/>
                    </a:lnTo>
                    <a:lnTo>
                      <a:pt x="254984" y="652463"/>
                    </a:lnTo>
                    <a:lnTo>
                      <a:pt x="254984" y="652463"/>
                    </a:lnTo>
                    <a:lnTo>
                      <a:pt x="254984" y="652463"/>
                    </a:lnTo>
                    <a:close/>
                    <a:moveTo>
                      <a:pt x="313849" y="644843"/>
                    </a:moveTo>
                    <a:lnTo>
                      <a:pt x="312992" y="644843"/>
                    </a:lnTo>
                    <a:lnTo>
                      <a:pt x="310420" y="648272"/>
                    </a:lnTo>
                    <a:lnTo>
                      <a:pt x="308705" y="651701"/>
                    </a:lnTo>
                    <a:lnTo>
                      <a:pt x="306991" y="654272"/>
                    </a:lnTo>
                    <a:lnTo>
                      <a:pt x="306991" y="655130"/>
                    </a:lnTo>
                    <a:lnTo>
                      <a:pt x="306991" y="656844"/>
                    </a:lnTo>
                    <a:lnTo>
                      <a:pt x="307848" y="658559"/>
                    </a:lnTo>
                    <a:lnTo>
                      <a:pt x="307848" y="659416"/>
                    </a:lnTo>
                    <a:lnTo>
                      <a:pt x="308705" y="659416"/>
                    </a:lnTo>
                    <a:lnTo>
                      <a:pt x="312992" y="660273"/>
                    </a:lnTo>
                    <a:lnTo>
                      <a:pt x="313849" y="661130"/>
                    </a:lnTo>
                    <a:lnTo>
                      <a:pt x="313849" y="655225"/>
                    </a:lnTo>
                    <a:lnTo>
                      <a:pt x="314706" y="651796"/>
                    </a:lnTo>
                    <a:lnTo>
                      <a:pt x="316421" y="649224"/>
                    </a:lnTo>
                    <a:lnTo>
                      <a:pt x="316421" y="646652"/>
                    </a:lnTo>
                    <a:lnTo>
                      <a:pt x="315563" y="644938"/>
                    </a:lnTo>
                    <a:lnTo>
                      <a:pt x="313849" y="644938"/>
                    </a:lnTo>
                    <a:lnTo>
                      <a:pt x="313849" y="644843"/>
                    </a:lnTo>
                    <a:lnTo>
                      <a:pt x="313849" y="644843"/>
                    </a:lnTo>
                    <a:close/>
                    <a:moveTo>
                      <a:pt x="253270" y="652463"/>
                    </a:moveTo>
                    <a:lnTo>
                      <a:pt x="255842" y="649034"/>
                    </a:lnTo>
                    <a:lnTo>
                      <a:pt x="256699" y="645605"/>
                    </a:lnTo>
                    <a:lnTo>
                      <a:pt x="254984" y="642176"/>
                    </a:lnTo>
                    <a:lnTo>
                      <a:pt x="253270" y="642176"/>
                    </a:lnTo>
                    <a:lnTo>
                      <a:pt x="252413" y="643033"/>
                    </a:lnTo>
                    <a:lnTo>
                      <a:pt x="251555" y="644747"/>
                    </a:lnTo>
                    <a:lnTo>
                      <a:pt x="250698" y="647319"/>
                    </a:lnTo>
                    <a:lnTo>
                      <a:pt x="249841" y="648176"/>
                    </a:lnTo>
                    <a:lnTo>
                      <a:pt x="249841" y="650748"/>
                    </a:lnTo>
                    <a:lnTo>
                      <a:pt x="249841" y="653320"/>
                    </a:lnTo>
                    <a:lnTo>
                      <a:pt x="250698" y="654177"/>
                    </a:lnTo>
                    <a:lnTo>
                      <a:pt x="253270" y="652463"/>
                    </a:lnTo>
                    <a:lnTo>
                      <a:pt x="253270" y="652463"/>
                    </a:lnTo>
                    <a:lnTo>
                      <a:pt x="253270" y="652463"/>
                    </a:lnTo>
                    <a:close/>
                    <a:moveTo>
                      <a:pt x="450247" y="76010"/>
                    </a:moveTo>
                    <a:lnTo>
                      <a:pt x="450247" y="74295"/>
                    </a:lnTo>
                    <a:lnTo>
                      <a:pt x="447675" y="67532"/>
                    </a:lnTo>
                    <a:lnTo>
                      <a:pt x="448532" y="65818"/>
                    </a:lnTo>
                    <a:lnTo>
                      <a:pt x="447675" y="65818"/>
                    </a:lnTo>
                    <a:lnTo>
                      <a:pt x="446818" y="65818"/>
                    </a:lnTo>
                    <a:lnTo>
                      <a:pt x="445960" y="64961"/>
                    </a:lnTo>
                    <a:lnTo>
                      <a:pt x="445960" y="64961"/>
                    </a:lnTo>
                    <a:lnTo>
                      <a:pt x="445103" y="64961"/>
                    </a:lnTo>
                    <a:lnTo>
                      <a:pt x="445103" y="65818"/>
                    </a:lnTo>
                    <a:lnTo>
                      <a:pt x="445103" y="66675"/>
                    </a:lnTo>
                    <a:lnTo>
                      <a:pt x="445103" y="66675"/>
                    </a:lnTo>
                    <a:lnTo>
                      <a:pt x="445103" y="66675"/>
                    </a:lnTo>
                    <a:lnTo>
                      <a:pt x="445103" y="67532"/>
                    </a:lnTo>
                    <a:lnTo>
                      <a:pt x="444246" y="68390"/>
                    </a:lnTo>
                    <a:lnTo>
                      <a:pt x="444246" y="69247"/>
                    </a:lnTo>
                    <a:lnTo>
                      <a:pt x="443389" y="69247"/>
                    </a:lnTo>
                    <a:lnTo>
                      <a:pt x="442531" y="68390"/>
                    </a:lnTo>
                    <a:lnTo>
                      <a:pt x="441674" y="68390"/>
                    </a:lnTo>
                    <a:lnTo>
                      <a:pt x="437388" y="68390"/>
                    </a:lnTo>
                    <a:lnTo>
                      <a:pt x="436531" y="68390"/>
                    </a:lnTo>
                    <a:lnTo>
                      <a:pt x="434816" y="68390"/>
                    </a:lnTo>
                    <a:lnTo>
                      <a:pt x="428816" y="65818"/>
                    </a:lnTo>
                    <a:lnTo>
                      <a:pt x="426244" y="64961"/>
                    </a:lnTo>
                    <a:lnTo>
                      <a:pt x="422815" y="67532"/>
                    </a:lnTo>
                    <a:lnTo>
                      <a:pt x="421100" y="67532"/>
                    </a:lnTo>
                    <a:lnTo>
                      <a:pt x="419386" y="65818"/>
                    </a:lnTo>
                    <a:lnTo>
                      <a:pt x="421100" y="62389"/>
                    </a:lnTo>
                    <a:lnTo>
                      <a:pt x="421100" y="60674"/>
                    </a:lnTo>
                    <a:lnTo>
                      <a:pt x="417671" y="58103"/>
                    </a:lnTo>
                    <a:lnTo>
                      <a:pt x="413385" y="56388"/>
                    </a:lnTo>
                    <a:lnTo>
                      <a:pt x="409099" y="55531"/>
                    </a:lnTo>
                    <a:lnTo>
                      <a:pt x="402241" y="56388"/>
                    </a:lnTo>
                    <a:lnTo>
                      <a:pt x="397955" y="54674"/>
                    </a:lnTo>
                    <a:lnTo>
                      <a:pt x="393668" y="51245"/>
                    </a:lnTo>
                    <a:lnTo>
                      <a:pt x="391096" y="49530"/>
                    </a:lnTo>
                    <a:lnTo>
                      <a:pt x="385953" y="50387"/>
                    </a:lnTo>
                    <a:lnTo>
                      <a:pt x="384238" y="50387"/>
                    </a:lnTo>
                    <a:lnTo>
                      <a:pt x="383381" y="50387"/>
                    </a:lnTo>
                    <a:lnTo>
                      <a:pt x="381667" y="51245"/>
                    </a:lnTo>
                    <a:lnTo>
                      <a:pt x="380809" y="52959"/>
                    </a:lnTo>
                    <a:lnTo>
                      <a:pt x="379952" y="53816"/>
                    </a:lnTo>
                    <a:lnTo>
                      <a:pt x="376523" y="54674"/>
                    </a:lnTo>
                    <a:lnTo>
                      <a:pt x="373094" y="54674"/>
                    </a:lnTo>
                    <a:lnTo>
                      <a:pt x="367093" y="54674"/>
                    </a:lnTo>
                    <a:lnTo>
                      <a:pt x="363664" y="53816"/>
                    </a:lnTo>
                    <a:lnTo>
                      <a:pt x="361950" y="51245"/>
                    </a:lnTo>
                    <a:lnTo>
                      <a:pt x="361093" y="49530"/>
                    </a:lnTo>
                    <a:lnTo>
                      <a:pt x="359378" y="46101"/>
                    </a:lnTo>
                    <a:lnTo>
                      <a:pt x="357664" y="44387"/>
                    </a:lnTo>
                    <a:lnTo>
                      <a:pt x="355092" y="41815"/>
                    </a:lnTo>
                    <a:lnTo>
                      <a:pt x="352520" y="40958"/>
                    </a:lnTo>
                    <a:lnTo>
                      <a:pt x="349949" y="40958"/>
                    </a:lnTo>
                    <a:lnTo>
                      <a:pt x="349091" y="41815"/>
                    </a:lnTo>
                    <a:lnTo>
                      <a:pt x="347377" y="41815"/>
                    </a:lnTo>
                    <a:lnTo>
                      <a:pt x="346520" y="41815"/>
                    </a:lnTo>
                    <a:lnTo>
                      <a:pt x="344805" y="41815"/>
                    </a:lnTo>
                    <a:lnTo>
                      <a:pt x="343948" y="40100"/>
                    </a:lnTo>
                    <a:lnTo>
                      <a:pt x="343948" y="38386"/>
                    </a:lnTo>
                    <a:lnTo>
                      <a:pt x="343948" y="37529"/>
                    </a:lnTo>
                    <a:lnTo>
                      <a:pt x="343948" y="35814"/>
                    </a:lnTo>
                    <a:lnTo>
                      <a:pt x="342233" y="33242"/>
                    </a:lnTo>
                    <a:lnTo>
                      <a:pt x="339662" y="34100"/>
                    </a:lnTo>
                    <a:lnTo>
                      <a:pt x="337947" y="35814"/>
                    </a:lnTo>
                    <a:lnTo>
                      <a:pt x="336233" y="38386"/>
                    </a:lnTo>
                    <a:lnTo>
                      <a:pt x="335375" y="31623"/>
                    </a:lnTo>
                    <a:lnTo>
                      <a:pt x="335375" y="24860"/>
                    </a:lnTo>
                    <a:lnTo>
                      <a:pt x="334518" y="22289"/>
                    </a:lnTo>
                    <a:lnTo>
                      <a:pt x="333661" y="18860"/>
                    </a:lnTo>
                    <a:lnTo>
                      <a:pt x="331089" y="17145"/>
                    </a:lnTo>
                    <a:lnTo>
                      <a:pt x="323374" y="13716"/>
                    </a:lnTo>
                    <a:lnTo>
                      <a:pt x="322517" y="12859"/>
                    </a:lnTo>
                    <a:lnTo>
                      <a:pt x="322517" y="12859"/>
                    </a:lnTo>
                    <a:lnTo>
                      <a:pt x="321659" y="13716"/>
                    </a:lnTo>
                    <a:lnTo>
                      <a:pt x="318230" y="12002"/>
                    </a:lnTo>
                    <a:lnTo>
                      <a:pt x="315659" y="10287"/>
                    </a:lnTo>
                    <a:lnTo>
                      <a:pt x="314801" y="9430"/>
                    </a:lnTo>
                    <a:lnTo>
                      <a:pt x="309658" y="10287"/>
                    </a:lnTo>
                    <a:lnTo>
                      <a:pt x="301085" y="9430"/>
                    </a:lnTo>
                    <a:lnTo>
                      <a:pt x="298513" y="9430"/>
                    </a:lnTo>
                    <a:lnTo>
                      <a:pt x="290798" y="17050"/>
                    </a:lnTo>
                    <a:lnTo>
                      <a:pt x="288226" y="18764"/>
                    </a:lnTo>
                    <a:lnTo>
                      <a:pt x="285655" y="19622"/>
                    </a:lnTo>
                    <a:lnTo>
                      <a:pt x="282226" y="20479"/>
                    </a:lnTo>
                    <a:lnTo>
                      <a:pt x="280511" y="20479"/>
                    </a:lnTo>
                    <a:lnTo>
                      <a:pt x="279654" y="20479"/>
                    </a:lnTo>
                    <a:lnTo>
                      <a:pt x="279654" y="19622"/>
                    </a:lnTo>
                    <a:lnTo>
                      <a:pt x="278797" y="18764"/>
                    </a:lnTo>
                    <a:lnTo>
                      <a:pt x="266891" y="14573"/>
                    </a:lnTo>
                    <a:lnTo>
                      <a:pt x="262604" y="13716"/>
                    </a:lnTo>
                    <a:lnTo>
                      <a:pt x="257461" y="14573"/>
                    </a:lnTo>
                    <a:lnTo>
                      <a:pt x="254032" y="14573"/>
                    </a:lnTo>
                    <a:lnTo>
                      <a:pt x="252317" y="13716"/>
                    </a:lnTo>
                    <a:lnTo>
                      <a:pt x="250603" y="12002"/>
                    </a:lnTo>
                    <a:lnTo>
                      <a:pt x="250603" y="11144"/>
                    </a:lnTo>
                    <a:lnTo>
                      <a:pt x="249746" y="10287"/>
                    </a:lnTo>
                    <a:lnTo>
                      <a:pt x="249746" y="7715"/>
                    </a:lnTo>
                    <a:lnTo>
                      <a:pt x="249746" y="6858"/>
                    </a:lnTo>
                    <a:lnTo>
                      <a:pt x="248888" y="5144"/>
                    </a:lnTo>
                    <a:lnTo>
                      <a:pt x="245459" y="2572"/>
                    </a:lnTo>
                    <a:lnTo>
                      <a:pt x="243745" y="857"/>
                    </a:lnTo>
                    <a:lnTo>
                      <a:pt x="241173" y="0"/>
                    </a:lnTo>
                    <a:lnTo>
                      <a:pt x="239459" y="4191"/>
                    </a:lnTo>
                    <a:lnTo>
                      <a:pt x="239459" y="12668"/>
                    </a:lnTo>
                    <a:lnTo>
                      <a:pt x="237744" y="16097"/>
                    </a:lnTo>
                    <a:lnTo>
                      <a:pt x="237744" y="17812"/>
                    </a:lnTo>
                    <a:lnTo>
                      <a:pt x="237744" y="18669"/>
                    </a:lnTo>
                    <a:lnTo>
                      <a:pt x="238601" y="19526"/>
                    </a:lnTo>
                    <a:lnTo>
                      <a:pt x="240316" y="21241"/>
                    </a:lnTo>
                    <a:lnTo>
                      <a:pt x="242030" y="25432"/>
                    </a:lnTo>
                    <a:lnTo>
                      <a:pt x="243745" y="27146"/>
                    </a:lnTo>
                    <a:lnTo>
                      <a:pt x="245459" y="28004"/>
                    </a:lnTo>
                    <a:lnTo>
                      <a:pt x="247174" y="28861"/>
                    </a:lnTo>
                    <a:lnTo>
                      <a:pt x="249746" y="32290"/>
                    </a:lnTo>
                    <a:lnTo>
                      <a:pt x="251460" y="36481"/>
                    </a:lnTo>
                    <a:lnTo>
                      <a:pt x="253175" y="40672"/>
                    </a:lnTo>
                    <a:lnTo>
                      <a:pt x="254032" y="42386"/>
                    </a:lnTo>
                    <a:lnTo>
                      <a:pt x="256604" y="45815"/>
                    </a:lnTo>
                    <a:lnTo>
                      <a:pt x="258318" y="48387"/>
                    </a:lnTo>
                    <a:lnTo>
                      <a:pt x="258318" y="50102"/>
                    </a:lnTo>
                    <a:lnTo>
                      <a:pt x="259175" y="55150"/>
                    </a:lnTo>
                    <a:lnTo>
                      <a:pt x="260033" y="60198"/>
                    </a:lnTo>
                    <a:lnTo>
                      <a:pt x="260033" y="62770"/>
                    </a:lnTo>
                    <a:lnTo>
                      <a:pt x="260033" y="65342"/>
                    </a:lnTo>
                    <a:lnTo>
                      <a:pt x="259175" y="67913"/>
                    </a:lnTo>
                    <a:lnTo>
                      <a:pt x="257461" y="72962"/>
                    </a:lnTo>
                    <a:lnTo>
                      <a:pt x="252317" y="82296"/>
                    </a:lnTo>
                    <a:lnTo>
                      <a:pt x="250603" y="88202"/>
                    </a:lnTo>
                    <a:lnTo>
                      <a:pt x="252317" y="88202"/>
                    </a:lnTo>
                    <a:lnTo>
                      <a:pt x="254889" y="89059"/>
                    </a:lnTo>
                    <a:lnTo>
                      <a:pt x="255746" y="89059"/>
                    </a:lnTo>
                    <a:lnTo>
                      <a:pt x="257461" y="88202"/>
                    </a:lnTo>
                    <a:lnTo>
                      <a:pt x="262604" y="86487"/>
                    </a:lnTo>
                    <a:lnTo>
                      <a:pt x="263462" y="86487"/>
                    </a:lnTo>
                    <a:lnTo>
                      <a:pt x="263462" y="87344"/>
                    </a:lnTo>
                    <a:lnTo>
                      <a:pt x="262604" y="90773"/>
                    </a:lnTo>
                    <a:lnTo>
                      <a:pt x="262604" y="92488"/>
                    </a:lnTo>
                    <a:lnTo>
                      <a:pt x="262604" y="92488"/>
                    </a:lnTo>
                    <a:lnTo>
                      <a:pt x="262604" y="92488"/>
                    </a:lnTo>
                    <a:lnTo>
                      <a:pt x="263462" y="93345"/>
                    </a:lnTo>
                    <a:lnTo>
                      <a:pt x="264319" y="94202"/>
                    </a:lnTo>
                    <a:lnTo>
                      <a:pt x="265176" y="95060"/>
                    </a:lnTo>
                    <a:lnTo>
                      <a:pt x="266891" y="95060"/>
                    </a:lnTo>
                    <a:lnTo>
                      <a:pt x="267748" y="95917"/>
                    </a:lnTo>
                    <a:lnTo>
                      <a:pt x="271177" y="99346"/>
                    </a:lnTo>
                    <a:lnTo>
                      <a:pt x="272034" y="101060"/>
                    </a:lnTo>
                    <a:lnTo>
                      <a:pt x="272034" y="101918"/>
                    </a:lnTo>
                    <a:lnTo>
                      <a:pt x="272034" y="101918"/>
                    </a:lnTo>
                    <a:lnTo>
                      <a:pt x="271177" y="102775"/>
                    </a:lnTo>
                    <a:lnTo>
                      <a:pt x="270320" y="102775"/>
                    </a:lnTo>
                    <a:lnTo>
                      <a:pt x="269462" y="103632"/>
                    </a:lnTo>
                    <a:lnTo>
                      <a:pt x="269462" y="104489"/>
                    </a:lnTo>
                    <a:lnTo>
                      <a:pt x="269462" y="105347"/>
                    </a:lnTo>
                    <a:lnTo>
                      <a:pt x="270320" y="106204"/>
                    </a:lnTo>
                    <a:lnTo>
                      <a:pt x="272034" y="107061"/>
                    </a:lnTo>
                    <a:lnTo>
                      <a:pt x="273749" y="107918"/>
                    </a:lnTo>
                    <a:lnTo>
                      <a:pt x="274606" y="108776"/>
                    </a:lnTo>
                    <a:lnTo>
                      <a:pt x="274606" y="110490"/>
                    </a:lnTo>
                    <a:lnTo>
                      <a:pt x="274606" y="111347"/>
                    </a:lnTo>
                    <a:lnTo>
                      <a:pt x="274606" y="112205"/>
                    </a:lnTo>
                    <a:lnTo>
                      <a:pt x="274606" y="113062"/>
                    </a:lnTo>
                    <a:lnTo>
                      <a:pt x="273749" y="113062"/>
                    </a:lnTo>
                    <a:lnTo>
                      <a:pt x="273749" y="113062"/>
                    </a:lnTo>
                    <a:lnTo>
                      <a:pt x="272034" y="113062"/>
                    </a:lnTo>
                    <a:lnTo>
                      <a:pt x="270320" y="113062"/>
                    </a:lnTo>
                    <a:lnTo>
                      <a:pt x="269462" y="113919"/>
                    </a:lnTo>
                    <a:lnTo>
                      <a:pt x="266033" y="117348"/>
                    </a:lnTo>
                    <a:lnTo>
                      <a:pt x="264319" y="118205"/>
                    </a:lnTo>
                    <a:lnTo>
                      <a:pt x="260890" y="119063"/>
                    </a:lnTo>
                    <a:lnTo>
                      <a:pt x="260033" y="120777"/>
                    </a:lnTo>
                    <a:lnTo>
                      <a:pt x="258318" y="121634"/>
                    </a:lnTo>
                    <a:lnTo>
                      <a:pt x="254032" y="126683"/>
                    </a:lnTo>
                    <a:lnTo>
                      <a:pt x="251460" y="128397"/>
                    </a:lnTo>
                    <a:lnTo>
                      <a:pt x="249746" y="130969"/>
                    </a:lnTo>
                    <a:lnTo>
                      <a:pt x="248888" y="131826"/>
                    </a:lnTo>
                    <a:lnTo>
                      <a:pt x="246317" y="132683"/>
                    </a:lnTo>
                    <a:lnTo>
                      <a:pt x="245459" y="133541"/>
                    </a:lnTo>
                    <a:lnTo>
                      <a:pt x="242888" y="136112"/>
                    </a:lnTo>
                    <a:lnTo>
                      <a:pt x="242030" y="136112"/>
                    </a:lnTo>
                    <a:lnTo>
                      <a:pt x="241173" y="136970"/>
                    </a:lnTo>
                    <a:lnTo>
                      <a:pt x="240316" y="136112"/>
                    </a:lnTo>
                    <a:lnTo>
                      <a:pt x="239459" y="136112"/>
                    </a:lnTo>
                    <a:lnTo>
                      <a:pt x="238601" y="136970"/>
                    </a:lnTo>
                    <a:lnTo>
                      <a:pt x="237744" y="137827"/>
                    </a:lnTo>
                    <a:lnTo>
                      <a:pt x="233458" y="142018"/>
                    </a:lnTo>
                    <a:lnTo>
                      <a:pt x="226600" y="148781"/>
                    </a:lnTo>
                    <a:lnTo>
                      <a:pt x="223171" y="151352"/>
                    </a:lnTo>
                    <a:lnTo>
                      <a:pt x="222313" y="153067"/>
                    </a:lnTo>
                    <a:lnTo>
                      <a:pt x="221456" y="153924"/>
                    </a:lnTo>
                    <a:lnTo>
                      <a:pt x="221456" y="154781"/>
                    </a:lnTo>
                    <a:lnTo>
                      <a:pt x="221456" y="154781"/>
                    </a:lnTo>
                    <a:lnTo>
                      <a:pt x="222313" y="155639"/>
                    </a:lnTo>
                    <a:lnTo>
                      <a:pt x="221456" y="157353"/>
                    </a:lnTo>
                    <a:lnTo>
                      <a:pt x="221456" y="158210"/>
                    </a:lnTo>
                    <a:lnTo>
                      <a:pt x="220599" y="162401"/>
                    </a:lnTo>
                    <a:lnTo>
                      <a:pt x="220599" y="162401"/>
                    </a:lnTo>
                    <a:lnTo>
                      <a:pt x="219742" y="163259"/>
                    </a:lnTo>
                    <a:lnTo>
                      <a:pt x="218884" y="163259"/>
                    </a:lnTo>
                    <a:lnTo>
                      <a:pt x="218027" y="164116"/>
                    </a:lnTo>
                    <a:lnTo>
                      <a:pt x="217170" y="164116"/>
                    </a:lnTo>
                    <a:lnTo>
                      <a:pt x="217170" y="164973"/>
                    </a:lnTo>
                    <a:lnTo>
                      <a:pt x="217170" y="165830"/>
                    </a:lnTo>
                    <a:lnTo>
                      <a:pt x="217170" y="166688"/>
                    </a:lnTo>
                    <a:lnTo>
                      <a:pt x="218027" y="167545"/>
                    </a:lnTo>
                    <a:lnTo>
                      <a:pt x="218027" y="167545"/>
                    </a:lnTo>
                    <a:lnTo>
                      <a:pt x="218027" y="168402"/>
                    </a:lnTo>
                    <a:lnTo>
                      <a:pt x="218027" y="168402"/>
                    </a:lnTo>
                    <a:lnTo>
                      <a:pt x="218884" y="169259"/>
                    </a:lnTo>
                    <a:lnTo>
                      <a:pt x="218884" y="170117"/>
                    </a:lnTo>
                    <a:lnTo>
                      <a:pt x="221456" y="170974"/>
                    </a:lnTo>
                    <a:lnTo>
                      <a:pt x="224885" y="172688"/>
                    </a:lnTo>
                    <a:lnTo>
                      <a:pt x="225742" y="173546"/>
                    </a:lnTo>
                    <a:lnTo>
                      <a:pt x="227457" y="176117"/>
                    </a:lnTo>
                    <a:lnTo>
                      <a:pt x="227457" y="176975"/>
                    </a:lnTo>
                    <a:lnTo>
                      <a:pt x="228314" y="177832"/>
                    </a:lnTo>
                    <a:lnTo>
                      <a:pt x="229171" y="178689"/>
                    </a:lnTo>
                    <a:lnTo>
                      <a:pt x="229171" y="180404"/>
                    </a:lnTo>
                    <a:lnTo>
                      <a:pt x="230029" y="182118"/>
                    </a:lnTo>
                    <a:lnTo>
                      <a:pt x="230886" y="182975"/>
                    </a:lnTo>
                    <a:lnTo>
                      <a:pt x="233458" y="184690"/>
                    </a:lnTo>
                    <a:lnTo>
                      <a:pt x="234315" y="187262"/>
                    </a:lnTo>
                    <a:lnTo>
                      <a:pt x="241173" y="189833"/>
                    </a:lnTo>
                    <a:lnTo>
                      <a:pt x="244602" y="192405"/>
                    </a:lnTo>
                    <a:lnTo>
                      <a:pt x="245459" y="194120"/>
                    </a:lnTo>
                    <a:lnTo>
                      <a:pt x="246317" y="194977"/>
                    </a:lnTo>
                    <a:lnTo>
                      <a:pt x="246317" y="198406"/>
                    </a:lnTo>
                    <a:lnTo>
                      <a:pt x="247174" y="200120"/>
                    </a:lnTo>
                    <a:lnTo>
                      <a:pt x="247174" y="200978"/>
                    </a:lnTo>
                    <a:lnTo>
                      <a:pt x="247174" y="201835"/>
                    </a:lnTo>
                    <a:lnTo>
                      <a:pt x="247174" y="205264"/>
                    </a:lnTo>
                    <a:lnTo>
                      <a:pt x="246317" y="208693"/>
                    </a:lnTo>
                    <a:lnTo>
                      <a:pt x="245459" y="210407"/>
                    </a:lnTo>
                    <a:lnTo>
                      <a:pt x="246317" y="210407"/>
                    </a:lnTo>
                    <a:lnTo>
                      <a:pt x="246317" y="211265"/>
                    </a:lnTo>
                    <a:lnTo>
                      <a:pt x="247174" y="212122"/>
                    </a:lnTo>
                    <a:lnTo>
                      <a:pt x="248031" y="212979"/>
                    </a:lnTo>
                    <a:lnTo>
                      <a:pt x="248031" y="213836"/>
                    </a:lnTo>
                    <a:lnTo>
                      <a:pt x="248031" y="215551"/>
                    </a:lnTo>
                    <a:lnTo>
                      <a:pt x="248888" y="217265"/>
                    </a:lnTo>
                    <a:lnTo>
                      <a:pt x="241173" y="215551"/>
                    </a:lnTo>
                    <a:lnTo>
                      <a:pt x="240316" y="215551"/>
                    </a:lnTo>
                    <a:lnTo>
                      <a:pt x="239459" y="214694"/>
                    </a:lnTo>
                    <a:lnTo>
                      <a:pt x="239459" y="213836"/>
                    </a:lnTo>
                    <a:lnTo>
                      <a:pt x="238601" y="212122"/>
                    </a:lnTo>
                    <a:lnTo>
                      <a:pt x="236029" y="212122"/>
                    </a:lnTo>
                    <a:lnTo>
                      <a:pt x="234315" y="212979"/>
                    </a:lnTo>
                    <a:lnTo>
                      <a:pt x="232600" y="214694"/>
                    </a:lnTo>
                    <a:lnTo>
                      <a:pt x="228314" y="215551"/>
                    </a:lnTo>
                    <a:lnTo>
                      <a:pt x="227457" y="215551"/>
                    </a:lnTo>
                    <a:lnTo>
                      <a:pt x="227457" y="216408"/>
                    </a:lnTo>
                    <a:lnTo>
                      <a:pt x="227457" y="216408"/>
                    </a:lnTo>
                    <a:lnTo>
                      <a:pt x="227457" y="216408"/>
                    </a:lnTo>
                    <a:lnTo>
                      <a:pt x="226600" y="218123"/>
                    </a:lnTo>
                    <a:lnTo>
                      <a:pt x="225742" y="218980"/>
                    </a:lnTo>
                    <a:lnTo>
                      <a:pt x="224028" y="219837"/>
                    </a:lnTo>
                    <a:lnTo>
                      <a:pt x="220599" y="221552"/>
                    </a:lnTo>
                    <a:lnTo>
                      <a:pt x="217170" y="222409"/>
                    </a:lnTo>
                    <a:lnTo>
                      <a:pt x="215455" y="224123"/>
                    </a:lnTo>
                    <a:lnTo>
                      <a:pt x="215455" y="224123"/>
                    </a:lnTo>
                    <a:lnTo>
                      <a:pt x="215455" y="224981"/>
                    </a:lnTo>
                    <a:lnTo>
                      <a:pt x="214598" y="224981"/>
                    </a:lnTo>
                    <a:lnTo>
                      <a:pt x="214598" y="225838"/>
                    </a:lnTo>
                    <a:lnTo>
                      <a:pt x="214598" y="225838"/>
                    </a:lnTo>
                    <a:lnTo>
                      <a:pt x="212884" y="226695"/>
                    </a:lnTo>
                    <a:lnTo>
                      <a:pt x="212884" y="227552"/>
                    </a:lnTo>
                    <a:lnTo>
                      <a:pt x="212026" y="228410"/>
                    </a:lnTo>
                    <a:lnTo>
                      <a:pt x="212026" y="228410"/>
                    </a:lnTo>
                    <a:lnTo>
                      <a:pt x="212884" y="228410"/>
                    </a:lnTo>
                    <a:lnTo>
                      <a:pt x="213741" y="229267"/>
                    </a:lnTo>
                    <a:lnTo>
                      <a:pt x="214598" y="229267"/>
                    </a:lnTo>
                    <a:lnTo>
                      <a:pt x="214598" y="230124"/>
                    </a:lnTo>
                    <a:lnTo>
                      <a:pt x="214598" y="230981"/>
                    </a:lnTo>
                    <a:lnTo>
                      <a:pt x="215455" y="231839"/>
                    </a:lnTo>
                    <a:lnTo>
                      <a:pt x="215455" y="231839"/>
                    </a:lnTo>
                    <a:lnTo>
                      <a:pt x="215455" y="232696"/>
                    </a:lnTo>
                    <a:lnTo>
                      <a:pt x="216313" y="232696"/>
                    </a:lnTo>
                    <a:lnTo>
                      <a:pt x="216313" y="232696"/>
                    </a:lnTo>
                    <a:lnTo>
                      <a:pt x="217170" y="231839"/>
                    </a:lnTo>
                    <a:lnTo>
                      <a:pt x="218027" y="231839"/>
                    </a:lnTo>
                    <a:lnTo>
                      <a:pt x="218027" y="232696"/>
                    </a:lnTo>
                    <a:lnTo>
                      <a:pt x="218884" y="232696"/>
                    </a:lnTo>
                    <a:lnTo>
                      <a:pt x="219742" y="233553"/>
                    </a:lnTo>
                    <a:lnTo>
                      <a:pt x="219742" y="234410"/>
                    </a:lnTo>
                    <a:lnTo>
                      <a:pt x="220599" y="235268"/>
                    </a:lnTo>
                    <a:lnTo>
                      <a:pt x="220599" y="237839"/>
                    </a:lnTo>
                    <a:lnTo>
                      <a:pt x="221456" y="240411"/>
                    </a:lnTo>
                    <a:lnTo>
                      <a:pt x="223171" y="242126"/>
                    </a:lnTo>
                    <a:lnTo>
                      <a:pt x="223171" y="243840"/>
                    </a:lnTo>
                    <a:lnTo>
                      <a:pt x="220599" y="247269"/>
                    </a:lnTo>
                    <a:lnTo>
                      <a:pt x="217170" y="250698"/>
                    </a:lnTo>
                    <a:lnTo>
                      <a:pt x="217170" y="252413"/>
                    </a:lnTo>
                    <a:lnTo>
                      <a:pt x="216313" y="254127"/>
                    </a:lnTo>
                    <a:lnTo>
                      <a:pt x="215455" y="254984"/>
                    </a:lnTo>
                    <a:lnTo>
                      <a:pt x="215455" y="256699"/>
                    </a:lnTo>
                    <a:lnTo>
                      <a:pt x="215455" y="257556"/>
                    </a:lnTo>
                    <a:lnTo>
                      <a:pt x="215455" y="259271"/>
                    </a:lnTo>
                    <a:lnTo>
                      <a:pt x="216313" y="261842"/>
                    </a:lnTo>
                    <a:lnTo>
                      <a:pt x="216313" y="262700"/>
                    </a:lnTo>
                    <a:lnTo>
                      <a:pt x="216313" y="264414"/>
                    </a:lnTo>
                    <a:lnTo>
                      <a:pt x="216313" y="265271"/>
                    </a:lnTo>
                    <a:lnTo>
                      <a:pt x="216313" y="266129"/>
                    </a:lnTo>
                    <a:lnTo>
                      <a:pt x="217170" y="266986"/>
                    </a:lnTo>
                    <a:lnTo>
                      <a:pt x="218027" y="266986"/>
                    </a:lnTo>
                    <a:lnTo>
                      <a:pt x="218027" y="266986"/>
                    </a:lnTo>
                    <a:lnTo>
                      <a:pt x="222313" y="272034"/>
                    </a:lnTo>
                    <a:lnTo>
                      <a:pt x="223171" y="272034"/>
                    </a:lnTo>
                    <a:lnTo>
                      <a:pt x="224028" y="273749"/>
                    </a:lnTo>
                    <a:lnTo>
                      <a:pt x="224885" y="276320"/>
                    </a:lnTo>
                    <a:lnTo>
                      <a:pt x="227457" y="284798"/>
                    </a:lnTo>
                    <a:lnTo>
                      <a:pt x="227457" y="287369"/>
                    </a:lnTo>
                    <a:lnTo>
                      <a:pt x="227457" y="290798"/>
                    </a:lnTo>
                    <a:lnTo>
                      <a:pt x="227457" y="291656"/>
                    </a:lnTo>
                    <a:lnTo>
                      <a:pt x="225742" y="294227"/>
                    </a:lnTo>
                    <a:lnTo>
                      <a:pt x="225742" y="295942"/>
                    </a:lnTo>
                    <a:lnTo>
                      <a:pt x="224885" y="301847"/>
                    </a:lnTo>
                    <a:lnTo>
                      <a:pt x="224885" y="301847"/>
                    </a:lnTo>
                    <a:lnTo>
                      <a:pt x="224885" y="302705"/>
                    </a:lnTo>
                    <a:lnTo>
                      <a:pt x="224028" y="303562"/>
                    </a:lnTo>
                    <a:lnTo>
                      <a:pt x="223171" y="302705"/>
                    </a:lnTo>
                    <a:lnTo>
                      <a:pt x="222313" y="302705"/>
                    </a:lnTo>
                    <a:lnTo>
                      <a:pt x="221456" y="301847"/>
                    </a:lnTo>
                    <a:lnTo>
                      <a:pt x="220599" y="302705"/>
                    </a:lnTo>
                    <a:lnTo>
                      <a:pt x="219742" y="303562"/>
                    </a:lnTo>
                    <a:lnTo>
                      <a:pt x="219742" y="304419"/>
                    </a:lnTo>
                    <a:lnTo>
                      <a:pt x="220599" y="305276"/>
                    </a:lnTo>
                    <a:lnTo>
                      <a:pt x="221456" y="306134"/>
                    </a:lnTo>
                    <a:lnTo>
                      <a:pt x="222313" y="306134"/>
                    </a:lnTo>
                    <a:lnTo>
                      <a:pt x="224885" y="306991"/>
                    </a:lnTo>
                    <a:lnTo>
                      <a:pt x="224885" y="306991"/>
                    </a:lnTo>
                    <a:lnTo>
                      <a:pt x="225742" y="307848"/>
                    </a:lnTo>
                    <a:lnTo>
                      <a:pt x="226600" y="309563"/>
                    </a:lnTo>
                    <a:lnTo>
                      <a:pt x="226600" y="310420"/>
                    </a:lnTo>
                    <a:lnTo>
                      <a:pt x="227457" y="312134"/>
                    </a:lnTo>
                    <a:lnTo>
                      <a:pt x="227457" y="313849"/>
                    </a:lnTo>
                    <a:lnTo>
                      <a:pt x="227457" y="314706"/>
                    </a:lnTo>
                    <a:lnTo>
                      <a:pt x="228314" y="315563"/>
                    </a:lnTo>
                    <a:lnTo>
                      <a:pt x="228314" y="316421"/>
                    </a:lnTo>
                    <a:lnTo>
                      <a:pt x="229171" y="317278"/>
                    </a:lnTo>
                    <a:lnTo>
                      <a:pt x="229171" y="318135"/>
                    </a:lnTo>
                    <a:lnTo>
                      <a:pt x="229171" y="318992"/>
                    </a:lnTo>
                    <a:lnTo>
                      <a:pt x="227457" y="319850"/>
                    </a:lnTo>
                    <a:lnTo>
                      <a:pt x="226600" y="320707"/>
                    </a:lnTo>
                    <a:lnTo>
                      <a:pt x="226600" y="322421"/>
                    </a:lnTo>
                    <a:lnTo>
                      <a:pt x="226600" y="322421"/>
                    </a:lnTo>
                    <a:lnTo>
                      <a:pt x="227457" y="323279"/>
                    </a:lnTo>
                    <a:lnTo>
                      <a:pt x="228314" y="323279"/>
                    </a:lnTo>
                    <a:lnTo>
                      <a:pt x="230029" y="323279"/>
                    </a:lnTo>
                    <a:lnTo>
                      <a:pt x="229171" y="325850"/>
                    </a:lnTo>
                    <a:lnTo>
                      <a:pt x="228314" y="326708"/>
                    </a:lnTo>
                    <a:lnTo>
                      <a:pt x="227457" y="327565"/>
                    </a:lnTo>
                    <a:lnTo>
                      <a:pt x="225742" y="328422"/>
                    </a:lnTo>
                    <a:lnTo>
                      <a:pt x="224028" y="328422"/>
                    </a:lnTo>
                    <a:lnTo>
                      <a:pt x="222313" y="328422"/>
                    </a:lnTo>
                    <a:lnTo>
                      <a:pt x="221456" y="328422"/>
                    </a:lnTo>
                    <a:lnTo>
                      <a:pt x="219742" y="327565"/>
                    </a:lnTo>
                    <a:lnTo>
                      <a:pt x="218884" y="327565"/>
                    </a:lnTo>
                    <a:lnTo>
                      <a:pt x="218027" y="326708"/>
                    </a:lnTo>
                    <a:lnTo>
                      <a:pt x="216313" y="325850"/>
                    </a:lnTo>
                    <a:lnTo>
                      <a:pt x="215455" y="325850"/>
                    </a:lnTo>
                    <a:lnTo>
                      <a:pt x="213741" y="325850"/>
                    </a:lnTo>
                    <a:lnTo>
                      <a:pt x="212884" y="326708"/>
                    </a:lnTo>
                    <a:lnTo>
                      <a:pt x="212884" y="327565"/>
                    </a:lnTo>
                    <a:lnTo>
                      <a:pt x="214598" y="328422"/>
                    </a:lnTo>
                    <a:lnTo>
                      <a:pt x="215455" y="328422"/>
                    </a:lnTo>
                    <a:lnTo>
                      <a:pt x="216313" y="329279"/>
                    </a:lnTo>
                    <a:lnTo>
                      <a:pt x="217170" y="330137"/>
                    </a:lnTo>
                    <a:lnTo>
                      <a:pt x="218027" y="330994"/>
                    </a:lnTo>
                    <a:lnTo>
                      <a:pt x="217170" y="334423"/>
                    </a:lnTo>
                    <a:lnTo>
                      <a:pt x="217170" y="335280"/>
                    </a:lnTo>
                    <a:lnTo>
                      <a:pt x="218027" y="336995"/>
                    </a:lnTo>
                    <a:lnTo>
                      <a:pt x="218884" y="337852"/>
                    </a:lnTo>
                    <a:lnTo>
                      <a:pt x="218884" y="338709"/>
                    </a:lnTo>
                    <a:lnTo>
                      <a:pt x="218884" y="338709"/>
                    </a:lnTo>
                    <a:lnTo>
                      <a:pt x="218027" y="340424"/>
                    </a:lnTo>
                    <a:lnTo>
                      <a:pt x="217170" y="340424"/>
                    </a:lnTo>
                    <a:lnTo>
                      <a:pt x="216313" y="342138"/>
                    </a:lnTo>
                    <a:lnTo>
                      <a:pt x="216313" y="342995"/>
                    </a:lnTo>
                    <a:lnTo>
                      <a:pt x="216313" y="343853"/>
                    </a:lnTo>
                    <a:lnTo>
                      <a:pt x="216313" y="344710"/>
                    </a:lnTo>
                    <a:lnTo>
                      <a:pt x="216313" y="346424"/>
                    </a:lnTo>
                    <a:lnTo>
                      <a:pt x="216313" y="348139"/>
                    </a:lnTo>
                    <a:lnTo>
                      <a:pt x="211169" y="358331"/>
                    </a:lnTo>
                    <a:lnTo>
                      <a:pt x="209455" y="360902"/>
                    </a:lnTo>
                    <a:lnTo>
                      <a:pt x="206883" y="363474"/>
                    </a:lnTo>
                    <a:lnTo>
                      <a:pt x="203454" y="365189"/>
                    </a:lnTo>
                    <a:lnTo>
                      <a:pt x="201739" y="365189"/>
                    </a:lnTo>
                    <a:lnTo>
                      <a:pt x="200025" y="366046"/>
                    </a:lnTo>
                    <a:lnTo>
                      <a:pt x="199168" y="367760"/>
                    </a:lnTo>
                    <a:lnTo>
                      <a:pt x="198310" y="368618"/>
                    </a:lnTo>
                    <a:lnTo>
                      <a:pt x="199168" y="370332"/>
                    </a:lnTo>
                    <a:lnTo>
                      <a:pt x="199168" y="371189"/>
                    </a:lnTo>
                    <a:lnTo>
                      <a:pt x="199168" y="372047"/>
                    </a:lnTo>
                    <a:lnTo>
                      <a:pt x="199168" y="372047"/>
                    </a:lnTo>
                    <a:lnTo>
                      <a:pt x="200025" y="372047"/>
                    </a:lnTo>
                    <a:lnTo>
                      <a:pt x="200882" y="372047"/>
                    </a:lnTo>
                    <a:lnTo>
                      <a:pt x="201739" y="372047"/>
                    </a:lnTo>
                    <a:lnTo>
                      <a:pt x="201739" y="372904"/>
                    </a:lnTo>
                    <a:lnTo>
                      <a:pt x="203454" y="374618"/>
                    </a:lnTo>
                    <a:lnTo>
                      <a:pt x="203454" y="376333"/>
                    </a:lnTo>
                    <a:lnTo>
                      <a:pt x="201739" y="377190"/>
                    </a:lnTo>
                    <a:lnTo>
                      <a:pt x="200025" y="377190"/>
                    </a:lnTo>
                    <a:lnTo>
                      <a:pt x="196596" y="377190"/>
                    </a:lnTo>
                    <a:lnTo>
                      <a:pt x="195739" y="377190"/>
                    </a:lnTo>
                    <a:lnTo>
                      <a:pt x="194881" y="378047"/>
                    </a:lnTo>
                    <a:lnTo>
                      <a:pt x="194881" y="381476"/>
                    </a:lnTo>
                    <a:lnTo>
                      <a:pt x="194024" y="382334"/>
                    </a:lnTo>
                    <a:lnTo>
                      <a:pt x="193167" y="384905"/>
                    </a:lnTo>
                    <a:lnTo>
                      <a:pt x="192310" y="385763"/>
                    </a:lnTo>
                    <a:lnTo>
                      <a:pt x="190595" y="384905"/>
                    </a:lnTo>
                    <a:lnTo>
                      <a:pt x="188024" y="383191"/>
                    </a:lnTo>
                    <a:lnTo>
                      <a:pt x="187166" y="382334"/>
                    </a:lnTo>
                    <a:lnTo>
                      <a:pt x="186309" y="382334"/>
                    </a:lnTo>
                    <a:lnTo>
                      <a:pt x="184595" y="382334"/>
                    </a:lnTo>
                    <a:lnTo>
                      <a:pt x="183737" y="383191"/>
                    </a:lnTo>
                    <a:lnTo>
                      <a:pt x="183737" y="384048"/>
                    </a:lnTo>
                    <a:lnTo>
                      <a:pt x="184595" y="387477"/>
                    </a:lnTo>
                    <a:lnTo>
                      <a:pt x="183737" y="389192"/>
                    </a:lnTo>
                    <a:lnTo>
                      <a:pt x="184595" y="392621"/>
                    </a:lnTo>
                    <a:lnTo>
                      <a:pt x="183737" y="393478"/>
                    </a:lnTo>
                    <a:lnTo>
                      <a:pt x="182880" y="394335"/>
                    </a:lnTo>
                    <a:lnTo>
                      <a:pt x="182023" y="395192"/>
                    </a:lnTo>
                    <a:lnTo>
                      <a:pt x="180308" y="396907"/>
                    </a:lnTo>
                    <a:lnTo>
                      <a:pt x="179451" y="396907"/>
                    </a:lnTo>
                    <a:lnTo>
                      <a:pt x="176022" y="396050"/>
                    </a:lnTo>
                    <a:lnTo>
                      <a:pt x="173450" y="396050"/>
                    </a:lnTo>
                    <a:lnTo>
                      <a:pt x="167450" y="398621"/>
                    </a:lnTo>
                    <a:lnTo>
                      <a:pt x="166592" y="398621"/>
                    </a:lnTo>
                    <a:lnTo>
                      <a:pt x="165735" y="398621"/>
                    </a:lnTo>
                    <a:lnTo>
                      <a:pt x="165735" y="396907"/>
                    </a:lnTo>
                    <a:lnTo>
                      <a:pt x="165735" y="395192"/>
                    </a:lnTo>
                    <a:lnTo>
                      <a:pt x="164878" y="394335"/>
                    </a:lnTo>
                    <a:lnTo>
                      <a:pt x="164878" y="392621"/>
                    </a:lnTo>
                    <a:lnTo>
                      <a:pt x="164021" y="392621"/>
                    </a:lnTo>
                    <a:lnTo>
                      <a:pt x="163163" y="392621"/>
                    </a:lnTo>
                    <a:lnTo>
                      <a:pt x="158020" y="393478"/>
                    </a:lnTo>
                    <a:lnTo>
                      <a:pt x="155448" y="394335"/>
                    </a:lnTo>
                    <a:lnTo>
                      <a:pt x="154591" y="395192"/>
                    </a:lnTo>
                    <a:lnTo>
                      <a:pt x="154591" y="396050"/>
                    </a:lnTo>
                    <a:lnTo>
                      <a:pt x="155448" y="396907"/>
                    </a:lnTo>
                    <a:lnTo>
                      <a:pt x="157163" y="398621"/>
                    </a:lnTo>
                    <a:lnTo>
                      <a:pt x="157163" y="397288"/>
                    </a:lnTo>
                    <a:lnTo>
                      <a:pt x="157163" y="398145"/>
                    </a:lnTo>
                    <a:lnTo>
                      <a:pt x="157163" y="399002"/>
                    </a:lnTo>
                    <a:lnTo>
                      <a:pt x="158020" y="399860"/>
                    </a:lnTo>
                    <a:lnTo>
                      <a:pt x="159734" y="401574"/>
                    </a:lnTo>
                    <a:lnTo>
                      <a:pt x="160592" y="402431"/>
                    </a:lnTo>
                    <a:lnTo>
                      <a:pt x="161449" y="404146"/>
                    </a:lnTo>
                    <a:lnTo>
                      <a:pt x="160592" y="405860"/>
                    </a:lnTo>
                    <a:lnTo>
                      <a:pt x="159734" y="407575"/>
                    </a:lnTo>
                    <a:lnTo>
                      <a:pt x="158877" y="407575"/>
                    </a:lnTo>
                    <a:lnTo>
                      <a:pt x="158020" y="407575"/>
                    </a:lnTo>
                    <a:lnTo>
                      <a:pt x="157163" y="408432"/>
                    </a:lnTo>
                    <a:lnTo>
                      <a:pt x="157163" y="409289"/>
                    </a:lnTo>
                    <a:lnTo>
                      <a:pt x="157163" y="411861"/>
                    </a:lnTo>
                    <a:lnTo>
                      <a:pt x="157163" y="413576"/>
                    </a:lnTo>
                    <a:lnTo>
                      <a:pt x="156305" y="415290"/>
                    </a:lnTo>
                    <a:lnTo>
                      <a:pt x="155448" y="416147"/>
                    </a:lnTo>
                    <a:lnTo>
                      <a:pt x="154591" y="416147"/>
                    </a:lnTo>
                    <a:lnTo>
                      <a:pt x="152876" y="413576"/>
                    </a:lnTo>
                    <a:lnTo>
                      <a:pt x="152019" y="412718"/>
                    </a:lnTo>
                    <a:lnTo>
                      <a:pt x="151162" y="412718"/>
                    </a:lnTo>
                    <a:lnTo>
                      <a:pt x="150304" y="412718"/>
                    </a:lnTo>
                    <a:lnTo>
                      <a:pt x="147733" y="411861"/>
                    </a:lnTo>
                    <a:lnTo>
                      <a:pt x="146875" y="411861"/>
                    </a:lnTo>
                    <a:lnTo>
                      <a:pt x="145161" y="411861"/>
                    </a:lnTo>
                    <a:lnTo>
                      <a:pt x="145161" y="412718"/>
                    </a:lnTo>
                    <a:lnTo>
                      <a:pt x="144304" y="413576"/>
                    </a:lnTo>
                    <a:lnTo>
                      <a:pt x="145161" y="414433"/>
                    </a:lnTo>
                    <a:lnTo>
                      <a:pt x="146018" y="415290"/>
                    </a:lnTo>
                    <a:lnTo>
                      <a:pt x="147733" y="417005"/>
                    </a:lnTo>
                    <a:lnTo>
                      <a:pt x="147733" y="417862"/>
                    </a:lnTo>
                    <a:lnTo>
                      <a:pt x="148590" y="418719"/>
                    </a:lnTo>
                    <a:lnTo>
                      <a:pt x="147733" y="420434"/>
                    </a:lnTo>
                    <a:lnTo>
                      <a:pt x="144304" y="421291"/>
                    </a:lnTo>
                    <a:lnTo>
                      <a:pt x="138303" y="419576"/>
                    </a:lnTo>
                    <a:lnTo>
                      <a:pt x="135731" y="417862"/>
                    </a:lnTo>
                    <a:lnTo>
                      <a:pt x="133159" y="417005"/>
                    </a:lnTo>
                    <a:lnTo>
                      <a:pt x="130588" y="414433"/>
                    </a:lnTo>
                    <a:lnTo>
                      <a:pt x="129730" y="413576"/>
                    </a:lnTo>
                    <a:lnTo>
                      <a:pt x="128873" y="413576"/>
                    </a:lnTo>
                    <a:lnTo>
                      <a:pt x="127159" y="413576"/>
                    </a:lnTo>
                    <a:lnTo>
                      <a:pt x="124587" y="412718"/>
                    </a:lnTo>
                    <a:lnTo>
                      <a:pt x="118586" y="408527"/>
                    </a:lnTo>
                    <a:lnTo>
                      <a:pt x="116872" y="407670"/>
                    </a:lnTo>
                    <a:lnTo>
                      <a:pt x="115157" y="407670"/>
                    </a:lnTo>
                    <a:lnTo>
                      <a:pt x="115157" y="408527"/>
                    </a:lnTo>
                    <a:lnTo>
                      <a:pt x="114300" y="409385"/>
                    </a:lnTo>
                    <a:lnTo>
                      <a:pt x="113443" y="409385"/>
                    </a:lnTo>
                    <a:lnTo>
                      <a:pt x="113443" y="410242"/>
                    </a:lnTo>
                    <a:lnTo>
                      <a:pt x="113443" y="411099"/>
                    </a:lnTo>
                    <a:lnTo>
                      <a:pt x="113443" y="411956"/>
                    </a:lnTo>
                    <a:lnTo>
                      <a:pt x="112585" y="413671"/>
                    </a:lnTo>
                    <a:lnTo>
                      <a:pt x="110014" y="414528"/>
                    </a:lnTo>
                    <a:lnTo>
                      <a:pt x="109156" y="415385"/>
                    </a:lnTo>
                    <a:lnTo>
                      <a:pt x="108299" y="417100"/>
                    </a:lnTo>
                    <a:lnTo>
                      <a:pt x="108299" y="419672"/>
                    </a:lnTo>
                    <a:lnTo>
                      <a:pt x="108299" y="419672"/>
                    </a:lnTo>
                    <a:lnTo>
                      <a:pt x="108299" y="420529"/>
                    </a:lnTo>
                    <a:lnTo>
                      <a:pt x="108299" y="422243"/>
                    </a:lnTo>
                    <a:lnTo>
                      <a:pt x="109156" y="423958"/>
                    </a:lnTo>
                    <a:lnTo>
                      <a:pt x="109156" y="427387"/>
                    </a:lnTo>
                    <a:lnTo>
                      <a:pt x="106585" y="430816"/>
                    </a:lnTo>
                    <a:lnTo>
                      <a:pt x="103156" y="431673"/>
                    </a:lnTo>
                    <a:lnTo>
                      <a:pt x="89535" y="434245"/>
                    </a:lnTo>
                    <a:lnTo>
                      <a:pt x="82677" y="435959"/>
                    </a:lnTo>
                    <a:lnTo>
                      <a:pt x="78391" y="438531"/>
                    </a:lnTo>
                    <a:lnTo>
                      <a:pt x="69056" y="441103"/>
                    </a:lnTo>
                    <a:lnTo>
                      <a:pt x="63913" y="443675"/>
                    </a:lnTo>
                    <a:lnTo>
                      <a:pt x="60484" y="446246"/>
                    </a:lnTo>
                    <a:lnTo>
                      <a:pt x="57912" y="447961"/>
                    </a:lnTo>
                    <a:lnTo>
                      <a:pt x="56197" y="449675"/>
                    </a:lnTo>
                    <a:lnTo>
                      <a:pt x="56197" y="451390"/>
                    </a:lnTo>
                    <a:lnTo>
                      <a:pt x="56197" y="453104"/>
                    </a:lnTo>
                    <a:lnTo>
                      <a:pt x="56197" y="453962"/>
                    </a:lnTo>
                    <a:lnTo>
                      <a:pt x="55340" y="455676"/>
                    </a:lnTo>
                    <a:lnTo>
                      <a:pt x="55340" y="456533"/>
                    </a:lnTo>
                    <a:lnTo>
                      <a:pt x="54483" y="457391"/>
                    </a:lnTo>
                    <a:lnTo>
                      <a:pt x="54483" y="457391"/>
                    </a:lnTo>
                    <a:lnTo>
                      <a:pt x="54483" y="458248"/>
                    </a:lnTo>
                    <a:lnTo>
                      <a:pt x="54483" y="458248"/>
                    </a:lnTo>
                    <a:lnTo>
                      <a:pt x="53626" y="458248"/>
                    </a:lnTo>
                    <a:lnTo>
                      <a:pt x="52768" y="459962"/>
                    </a:lnTo>
                    <a:lnTo>
                      <a:pt x="51911" y="460820"/>
                    </a:lnTo>
                    <a:lnTo>
                      <a:pt x="48482" y="463391"/>
                    </a:lnTo>
                    <a:lnTo>
                      <a:pt x="45053" y="464249"/>
                    </a:lnTo>
                    <a:lnTo>
                      <a:pt x="43339" y="464249"/>
                    </a:lnTo>
                    <a:lnTo>
                      <a:pt x="41624" y="464249"/>
                    </a:lnTo>
                    <a:lnTo>
                      <a:pt x="40767" y="462534"/>
                    </a:lnTo>
                    <a:lnTo>
                      <a:pt x="38195" y="460820"/>
                    </a:lnTo>
                    <a:lnTo>
                      <a:pt x="35624" y="459962"/>
                    </a:lnTo>
                    <a:lnTo>
                      <a:pt x="34766" y="459105"/>
                    </a:lnTo>
                    <a:lnTo>
                      <a:pt x="33052" y="459105"/>
                    </a:lnTo>
                    <a:lnTo>
                      <a:pt x="32195" y="459105"/>
                    </a:lnTo>
                    <a:lnTo>
                      <a:pt x="31337" y="458248"/>
                    </a:lnTo>
                    <a:lnTo>
                      <a:pt x="31337" y="458248"/>
                    </a:lnTo>
                    <a:lnTo>
                      <a:pt x="31337" y="457391"/>
                    </a:lnTo>
                    <a:lnTo>
                      <a:pt x="31337" y="456533"/>
                    </a:lnTo>
                    <a:lnTo>
                      <a:pt x="33052" y="450628"/>
                    </a:lnTo>
                    <a:lnTo>
                      <a:pt x="32195" y="448056"/>
                    </a:lnTo>
                    <a:lnTo>
                      <a:pt x="28766" y="448056"/>
                    </a:lnTo>
                    <a:lnTo>
                      <a:pt x="23622" y="445484"/>
                    </a:lnTo>
                    <a:lnTo>
                      <a:pt x="21908" y="444627"/>
                    </a:lnTo>
                    <a:lnTo>
                      <a:pt x="20193" y="444627"/>
                    </a:lnTo>
                    <a:lnTo>
                      <a:pt x="19336" y="445484"/>
                    </a:lnTo>
                    <a:lnTo>
                      <a:pt x="18479" y="446342"/>
                    </a:lnTo>
                    <a:lnTo>
                      <a:pt x="18479" y="447199"/>
                    </a:lnTo>
                    <a:lnTo>
                      <a:pt x="17621" y="448056"/>
                    </a:lnTo>
                    <a:lnTo>
                      <a:pt x="17621" y="448913"/>
                    </a:lnTo>
                    <a:lnTo>
                      <a:pt x="19336" y="453104"/>
                    </a:lnTo>
                    <a:lnTo>
                      <a:pt x="19336" y="453962"/>
                    </a:lnTo>
                    <a:lnTo>
                      <a:pt x="19336" y="455676"/>
                    </a:lnTo>
                    <a:lnTo>
                      <a:pt x="18479" y="456533"/>
                    </a:lnTo>
                    <a:lnTo>
                      <a:pt x="17621" y="456533"/>
                    </a:lnTo>
                    <a:lnTo>
                      <a:pt x="11621" y="457391"/>
                    </a:lnTo>
                    <a:lnTo>
                      <a:pt x="11144" y="457391"/>
                    </a:lnTo>
                    <a:lnTo>
                      <a:pt x="8572" y="457391"/>
                    </a:lnTo>
                    <a:lnTo>
                      <a:pt x="3429" y="459105"/>
                    </a:lnTo>
                    <a:lnTo>
                      <a:pt x="857" y="459962"/>
                    </a:lnTo>
                    <a:lnTo>
                      <a:pt x="857" y="459962"/>
                    </a:lnTo>
                    <a:lnTo>
                      <a:pt x="0" y="461677"/>
                    </a:lnTo>
                    <a:lnTo>
                      <a:pt x="0" y="463391"/>
                    </a:lnTo>
                    <a:lnTo>
                      <a:pt x="857" y="464249"/>
                    </a:lnTo>
                    <a:lnTo>
                      <a:pt x="1714" y="465106"/>
                    </a:lnTo>
                    <a:lnTo>
                      <a:pt x="2572" y="466820"/>
                    </a:lnTo>
                    <a:lnTo>
                      <a:pt x="2572" y="466820"/>
                    </a:lnTo>
                    <a:lnTo>
                      <a:pt x="6001" y="466820"/>
                    </a:lnTo>
                    <a:lnTo>
                      <a:pt x="6858" y="466820"/>
                    </a:lnTo>
                    <a:lnTo>
                      <a:pt x="7715" y="467678"/>
                    </a:lnTo>
                    <a:lnTo>
                      <a:pt x="7715" y="468535"/>
                    </a:lnTo>
                    <a:lnTo>
                      <a:pt x="7715" y="469392"/>
                    </a:lnTo>
                    <a:lnTo>
                      <a:pt x="6858" y="471107"/>
                    </a:lnTo>
                    <a:lnTo>
                      <a:pt x="6858" y="473678"/>
                    </a:lnTo>
                    <a:lnTo>
                      <a:pt x="6858" y="475393"/>
                    </a:lnTo>
                    <a:lnTo>
                      <a:pt x="6001" y="476250"/>
                    </a:lnTo>
                    <a:lnTo>
                      <a:pt x="4286" y="478822"/>
                    </a:lnTo>
                    <a:lnTo>
                      <a:pt x="2572" y="481394"/>
                    </a:lnTo>
                    <a:lnTo>
                      <a:pt x="857" y="483965"/>
                    </a:lnTo>
                    <a:lnTo>
                      <a:pt x="857" y="486537"/>
                    </a:lnTo>
                    <a:lnTo>
                      <a:pt x="1714" y="489109"/>
                    </a:lnTo>
                    <a:lnTo>
                      <a:pt x="5143" y="493300"/>
                    </a:lnTo>
                    <a:lnTo>
                      <a:pt x="6001" y="495872"/>
                    </a:lnTo>
                    <a:lnTo>
                      <a:pt x="6858" y="496729"/>
                    </a:lnTo>
                    <a:lnTo>
                      <a:pt x="6858" y="498443"/>
                    </a:lnTo>
                    <a:lnTo>
                      <a:pt x="7715" y="498443"/>
                    </a:lnTo>
                    <a:lnTo>
                      <a:pt x="8572" y="498443"/>
                    </a:lnTo>
                    <a:lnTo>
                      <a:pt x="13716" y="496729"/>
                    </a:lnTo>
                    <a:lnTo>
                      <a:pt x="15430" y="496729"/>
                    </a:lnTo>
                    <a:lnTo>
                      <a:pt x="18002" y="496729"/>
                    </a:lnTo>
                    <a:lnTo>
                      <a:pt x="20574" y="498443"/>
                    </a:lnTo>
                    <a:lnTo>
                      <a:pt x="22288" y="500158"/>
                    </a:lnTo>
                    <a:lnTo>
                      <a:pt x="35909" y="514541"/>
                    </a:lnTo>
                    <a:lnTo>
                      <a:pt x="37624" y="516255"/>
                    </a:lnTo>
                    <a:lnTo>
                      <a:pt x="39338" y="517112"/>
                    </a:lnTo>
                    <a:lnTo>
                      <a:pt x="41053" y="517112"/>
                    </a:lnTo>
                    <a:lnTo>
                      <a:pt x="42767" y="516255"/>
                    </a:lnTo>
                    <a:lnTo>
                      <a:pt x="44482" y="515398"/>
                    </a:lnTo>
                    <a:lnTo>
                      <a:pt x="48768" y="515398"/>
                    </a:lnTo>
                    <a:lnTo>
                      <a:pt x="54769" y="517112"/>
                    </a:lnTo>
                    <a:lnTo>
                      <a:pt x="70104" y="517112"/>
                    </a:lnTo>
                    <a:lnTo>
                      <a:pt x="70961" y="517970"/>
                    </a:lnTo>
                    <a:lnTo>
                      <a:pt x="71818" y="517970"/>
                    </a:lnTo>
                    <a:lnTo>
                      <a:pt x="71818" y="517970"/>
                    </a:lnTo>
                    <a:lnTo>
                      <a:pt x="71818" y="517970"/>
                    </a:lnTo>
                    <a:lnTo>
                      <a:pt x="71818" y="517970"/>
                    </a:lnTo>
                    <a:lnTo>
                      <a:pt x="72676" y="518827"/>
                    </a:lnTo>
                    <a:lnTo>
                      <a:pt x="75247" y="518827"/>
                    </a:lnTo>
                    <a:lnTo>
                      <a:pt x="76105" y="518827"/>
                    </a:lnTo>
                    <a:lnTo>
                      <a:pt x="76105" y="519684"/>
                    </a:lnTo>
                    <a:lnTo>
                      <a:pt x="76105" y="519684"/>
                    </a:lnTo>
                    <a:lnTo>
                      <a:pt x="75247" y="520541"/>
                    </a:lnTo>
                    <a:lnTo>
                      <a:pt x="75247" y="520541"/>
                    </a:lnTo>
                    <a:lnTo>
                      <a:pt x="73533" y="521399"/>
                    </a:lnTo>
                    <a:lnTo>
                      <a:pt x="71818" y="521399"/>
                    </a:lnTo>
                    <a:lnTo>
                      <a:pt x="70104" y="522256"/>
                    </a:lnTo>
                    <a:lnTo>
                      <a:pt x="69247" y="522256"/>
                    </a:lnTo>
                    <a:lnTo>
                      <a:pt x="65818" y="524828"/>
                    </a:lnTo>
                    <a:lnTo>
                      <a:pt x="65818" y="525685"/>
                    </a:lnTo>
                    <a:lnTo>
                      <a:pt x="65818" y="526542"/>
                    </a:lnTo>
                    <a:lnTo>
                      <a:pt x="65818" y="528257"/>
                    </a:lnTo>
                    <a:lnTo>
                      <a:pt x="65818" y="529114"/>
                    </a:lnTo>
                    <a:lnTo>
                      <a:pt x="65818" y="530828"/>
                    </a:lnTo>
                    <a:lnTo>
                      <a:pt x="64960" y="533400"/>
                    </a:lnTo>
                    <a:lnTo>
                      <a:pt x="64103" y="534257"/>
                    </a:lnTo>
                    <a:lnTo>
                      <a:pt x="64103" y="537686"/>
                    </a:lnTo>
                    <a:lnTo>
                      <a:pt x="64103" y="540258"/>
                    </a:lnTo>
                    <a:lnTo>
                      <a:pt x="64103" y="541973"/>
                    </a:lnTo>
                    <a:lnTo>
                      <a:pt x="64103" y="543687"/>
                    </a:lnTo>
                    <a:lnTo>
                      <a:pt x="70104" y="548735"/>
                    </a:lnTo>
                    <a:lnTo>
                      <a:pt x="71818" y="548735"/>
                    </a:lnTo>
                    <a:lnTo>
                      <a:pt x="73533" y="548735"/>
                    </a:lnTo>
                    <a:lnTo>
                      <a:pt x="74390" y="548735"/>
                    </a:lnTo>
                    <a:lnTo>
                      <a:pt x="75247" y="548735"/>
                    </a:lnTo>
                    <a:lnTo>
                      <a:pt x="77819" y="550450"/>
                    </a:lnTo>
                    <a:lnTo>
                      <a:pt x="85534" y="556355"/>
                    </a:lnTo>
                    <a:lnTo>
                      <a:pt x="86392" y="562261"/>
                    </a:lnTo>
                    <a:lnTo>
                      <a:pt x="87249" y="563975"/>
                    </a:lnTo>
                    <a:lnTo>
                      <a:pt x="88106" y="565690"/>
                    </a:lnTo>
                    <a:lnTo>
                      <a:pt x="89821" y="566547"/>
                    </a:lnTo>
                    <a:lnTo>
                      <a:pt x="90678" y="567404"/>
                    </a:lnTo>
                    <a:lnTo>
                      <a:pt x="95821" y="567404"/>
                    </a:lnTo>
                    <a:lnTo>
                      <a:pt x="98393" y="567404"/>
                    </a:lnTo>
                    <a:lnTo>
                      <a:pt x="100965" y="569119"/>
                    </a:lnTo>
                    <a:lnTo>
                      <a:pt x="101822" y="570833"/>
                    </a:lnTo>
                    <a:lnTo>
                      <a:pt x="103537" y="572548"/>
                    </a:lnTo>
                    <a:lnTo>
                      <a:pt x="104394" y="575120"/>
                    </a:lnTo>
                    <a:lnTo>
                      <a:pt x="104394" y="575977"/>
                    </a:lnTo>
                    <a:lnTo>
                      <a:pt x="104394" y="576834"/>
                    </a:lnTo>
                    <a:lnTo>
                      <a:pt x="104394" y="577691"/>
                    </a:lnTo>
                    <a:lnTo>
                      <a:pt x="103537" y="577691"/>
                    </a:lnTo>
                    <a:lnTo>
                      <a:pt x="102679" y="577691"/>
                    </a:lnTo>
                    <a:lnTo>
                      <a:pt x="100108" y="577691"/>
                    </a:lnTo>
                    <a:lnTo>
                      <a:pt x="99250" y="577691"/>
                    </a:lnTo>
                    <a:lnTo>
                      <a:pt x="99250" y="577691"/>
                    </a:lnTo>
                    <a:lnTo>
                      <a:pt x="99250" y="577691"/>
                    </a:lnTo>
                    <a:lnTo>
                      <a:pt x="99250" y="577691"/>
                    </a:lnTo>
                    <a:lnTo>
                      <a:pt x="99250" y="578549"/>
                    </a:lnTo>
                    <a:lnTo>
                      <a:pt x="99250" y="578549"/>
                    </a:lnTo>
                    <a:lnTo>
                      <a:pt x="99250" y="580263"/>
                    </a:lnTo>
                    <a:lnTo>
                      <a:pt x="100108" y="581978"/>
                    </a:lnTo>
                    <a:lnTo>
                      <a:pt x="100108" y="582835"/>
                    </a:lnTo>
                    <a:lnTo>
                      <a:pt x="100965" y="582835"/>
                    </a:lnTo>
                    <a:lnTo>
                      <a:pt x="104394" y="585407"/>
                    </a:lnTo>
                    <a:lnTo>
                      <a:pt x="106108" y="586264"/>
                    </a:lnTo>
                    <a:lnTo>
                      <a:pt x="107823" y="587978"/>
                    </a:lnTo>
                    <a:lnTo>
                      <a:pt x="108680" y="590550"/>
                    </a:lnTo>
                    <a:lnTo>
                      <a:pt x="108680" y="593979"/>
                    </a:lnTo>
                    <a:lnTo>
                      <a:pt x="109538" y="596551"/>
                    </a:lnTo>
                    <a:lnTo>
                      <a:pt x="110395" y="597408"/>
                    </a:lnTo>
                    <a:lnTo>
                      <a:pt x="112109" y="599123"/>
                    </a:lnTo>
                    <a:lnTo>
                      <a:pt x="114681" y="600837"/>
                    </a:lnTo>
                    <a:lnTo>
                      <a:pt x="114681" y="601694"/>
                    </a:lnTo>
                    <a:lnTo>
                      <a:pt x="114681" y="602552"/>
                    </a:lnTo>
                    <a:lnTo>
                      <a:pt x="112967" y="603409"/>
                    </a:lnTo>
                    <a:lnTo>
                      <a:pt x="108680" y="604266"/>
                    </a:lnTo>
                    <a:lnTo>
                      <a:pt x="106966" y="603409"/>
                    </a:lnTo>
                    <a:lnTo>
                      <a:pt x="106108" y="604266"/>
                    </a:lnTo>
                    <a:lnTo>
                      <a:pt x="105251" y="605123"/>
                    </a:lnTo>
                    <a:lnTo>
                      <a:pt x="105251" y="606838"/>
                    </a:lnTo>
                    <a:lnTo>
                      <a:pt x="105251" y="608552"/>
                    </a:lnTo>
                    <a:lnTo>
                      <a:pt x="104394" y="609410"/>
                    </a:lnTo>
                    <a:lnTo>
                      <a:pt x="103537" y="609410"/>
                    </a:lnTo>
                    <a:lnTo>
                      <a:pt x="101822" y="608552"/>
                    </a:lnTo>
                    <a:lnTo>
                      <a:pt x="100965" y="608552"/>
                    </a:lnTo>
                    <a:lnTo>
                      <a:pt x="100108" y="609410"/>
                    </a:lnTo>
                    <a:lnTo>
                      <a:pt x="98393" y="610267"/>
                    </a:lnTo>
                    <a:lnTo>
                      <a:pt x="97536" y="611124"/>
                    </a:lnTo>
                    <a:lnTo>
                      <a:pt x="96679" y="611981"/>
                    </a:lnTo>
                    <a:lnTo>
                      <a:pt x="98393" y="615410"/>
                    </a:lnTo>
                    <a:lnTo>
                      <a:pt x="99250" y="616268"/>
                    </a:lnTo>
                    <a:lnTo>
                      <a:pt x="100965" y="617125"/>
                    </a:lnTo>
                    <a:lnTo>
                      <a:pt x="103537" y="617125"/>
                    </a:lnTo>
                    <a:lnTo>
                      <a:pt x="105251" y="617982"/>
                    </a:lnTo>
                    <a:lnTo>
                      <a:pt x="106966" y="619697"/>
                    </a:lnTo>
                    <a:lnTo>
                      <a:pt x="112967" y="623126"/>
                    </a:lnTo>
                    <a:lnTo>
                      <a:pt x="114681" y="623983"/>
                    </a:lnTo>
                    <a:lnTo>
                      <a:pt x="115538" y="623983"/>
                    </a:lnTo>
                    <a:lnTo>
                      <a:pt x="117253" y="623983"/>
                    </a:lnTo>
                    <a:lnTo>
                      <a:pt x="118967" y="623983"/>
                    </a:lnTo>
                    <a:lnTo>
                      <a:pt x="124968" y="626555"/>
                    </a:lnTo>
                    <a:lnTo>
                      <a:pt x="128397" y="628269"/>
                    </a:lnTo>
                    <a:lnTo>
                      <a:pt x="130112" y="629984"/>
                    </a:lnTo>
                    <a:lnTo>
                      <a:pt x="130969" y="631698"/>
                    </a:lnTo>
                    <a:lnTo>
                      <a:pt x="130969" y="631698"/>
                    </a:lnTo>
                    <a:lnTo>
                      <a:pt x="130969" y="632555"/>
                    </a:lnTo>
                    <a:lnTo>
                      <a:pt x="131826" y="635127"/>
                    </a:lnTo>
                    <a:lnTo>
                      <a:pt x="131826" y="635984"/>
                    </a:lnTo>
                    <a:lnTo>
                      <a:pt x="131826" y="637699"/>
                    </a:lnTo>
                    <a:lnTo>
                      <a:pt x="131826" y="637699"/>
                    </a:lnTo>
                    <a:lnTo>
                      <a:pt x="130969" y="641128"/>
                    </a:lnTo>
                    <a:lnTo>
                      <a:pt x="130969" y="643700"/>
                    </a:lnTo>
                    <a:lnTo>
                      <a:pt x="131826" y="645414"/>
                    </a:lnTo>
                    <a:lnTo>
                      <a:pt x="135255" y="648843"/>
                    </a:lnTo>
                    <a:lnTo>
                      <a:pt x="136970" y="649700"/>
                    </a:lnTo>
                    <a:lnTo>
                      <a:pt x="137827" y="648843"/>
                    </a:lnTo>
                    <a:lnTo>
                      <a:pt x="138684" y="647986"/>
                    </a:lnTo>
                    <a:lnTo>
                      <a:pt x="138684" y="647129"/>
                    </a:lnTo>
                    <a:lnTo>
                      <a:pt x="139541" y="646271"/>
                    </a:lnTo>
                    <a:lnTo>
                      <a:pt x="140399" y="645414"/>
                    </a:lnTo>
                    <a:lnTo>
                      <a:pt x="142113" y="645414"/>
                    </a:lnTo>
                    <a:lnTo>
                      <a:pt x="142113" y="643700"/>
                    </a:lnTo>
                    <a:lnTo>
                      <a:pt x="142970" y="642842"/>
                    </a:lnTo>
                    <a:lnTo>
                      <a:pt x="143827" y="641985"/>
                    </a:lnTo>
                    <a:lnTo>
                      <a:pt x="144685" y="641128"/>
                    </a:lnTo>
                    <a:lnTo>
                      <a:pt x="146399" y="641128"/>
                    </a:lnTo>
                    <a:lnTo>
                      <a:pt x="148971" y="641128"/>
                    </a:lnTo>
                    <a:lnTo>
                      <a:pt x="152400" y="643700"/>
                    </a:lnTo>
                    <a:lnTo>
                      <a:pt x="154972" y="645414"/>
                    </a:lnTo>
                    <a:lnTo>
                      <a:pt x="155829" y="647129"/>
                    </a:lnTo>
                    <a:lnTo>
                      <a:pt x="155829" y="651320"/>
                    </a:lnTo>
                    <a:lnTo>
                      <a:pt x="156686" y="654749"/>
                    </a:lnTo>
                    <a:lnTo>
                      <a:pt x="157543" y="656463"/>
                    </a:lnTo>
                    <a:lnTo>
                      <a:pt x="158401" y="658178"/>
                    </a:lnTo>
                    <a:lnTo>
                      <a:pt x="159258" y="659035"/>
                    </a:lnTo>
                    <a:lnTo>
                      <a:pt x="161830" y="659892"/>
                    </a:lnTo>
                    <a:lnTo>
                      <a:pt x="177165" y="663321"/>
                    </a:lnTo>
                    <a:lnTo>
                      <a:pt x="178879" y="665036"/>
                    </a:lnTo>
                    <a:lnTo>
                      <a:pt x="179737" y="666750"/>
                    </a:lnTo>
                    <a:lnTo>
                      <a:pt x="179737" y="668465"/>
                    </a:lnTo>
                    <a:lnTo>
                      <a:pt x="178879" y="671894"/>
                    </a:lnTo>
                    <a:lnTo>
                      <a:pt x="178879" y="673608"/>
                    </a:lnTo>
                    <a:lnTo>
                      <a:pt x="179737" y="675323"/>
                    </a:lnTo>
                    <a:lnTo>
                      <a:pt x="179737" y="677037"/>
                    </a:lnTo>
                    <a:lnTo>
                      <a:pt x="183166" y="682085"/>
                    </a:lnTo>
                    <a:lnTo>
                      <a:pt x="184880" y="683800"/>
                    </a:lnTo>
                    <a:lnTo>
                      <a:pt x="200216" y="679609"/>
                    </a:lnTo>
                    <a:lnTo>
                      <a:pt x="202787" y="679609"/>
                    </a:lnTo>
                    <a:lnTo>
                      <a:pt x="207931" y="679609"/>
                    </a:lnTo>
                    <a:lnTo>
                      <a:pt x="209645" y="678752"/>
                    </a:lnTo>
                    <a:lnTo>
                      <a:pt x="215646" y="674561"/>
                    </a:lnTo>
                    <a:lnTo>
                      <a:pt x="224218" y="670370"/>
                    </a:lnTo>
                    <a:lnTo>
                      <a:pt x="228505" y="667798"/>
                    </a:lnTo>
                    <a:lnTo>
                      <a:pt x="231076" y="665226"/>
                    </a:lnTo>
                    <a:lnTo>
                      <a:pt x="231076" y="664369"/>
                    </a:lnTo>
                    <a:lnTo>
                      <a:pt x="231076" y="663512"/>
                    </a:lnTo>
                    <a:lnTo>
                      <a:pt x="231934" y="662654"/>
                    </a:lnTo>
                    <a:lnTo>
                      <a:pt x="231934" y="662654"/>
                    </a:lnTo>
                    <a:lnTo>
                      <a:pt x="232791" y="662654"/>
                    </a:lnTo>
                    <a:lnTo>
                      <a:pt x="237077" y="659225"/>
                    </a:lnTo>
                    <a:lnTo>
                      <a:pt x="237934" y="658368"/>
                    </a:lnTo>
                    <a:lnTo>
                      <a:pt x="239649" y="657511"/>
                    </a:lnTo>
                    <a:lnTo>
                      <a:pt x="241363" y="655796"/>
                    </a:lnTo>
                    <a:lnTo>
                      <a:pt x="246507" y="643890"/>
                    </a:lnTo>
                    <a:lnTo>
                      <a:pt x="248221" y="641318"/>
                    </a:lnTo>
                    <a:lnTo>
                      <a:pt x="248221" y="640461"/>
                    </a:lnTo>
                    <a:lnTo>
                      <a:pt x="248221" y="638747"/>
                    </a:lnTo>
                    <a:lnTo>
                      <a:pt x="248221" y="637032"/>
                    </a:lnTo>
                    <a:lnTo>
                      <a:pt x="247364" y="636175"/>
                    </a:lnTo>
                    <a:lnTo>
                      <a:pt x="248221" y="636175"/>
                    </a:lnTo>
                    <a:lnTo>
                      <a:pt x="252508" y="636175"/>
                    </a:lnTo>
                    <a:lnTo>
                      <a:pt x="255079" y="634460"/>
                    </a:lnTo>
                    <a:lnTo>
                      <a:pt x="258509" y="631031"/>
                    </a:lnTo>
                    <a:lnTo>
                      <a:pt x="261080" y="627602"/>
                    </a:lnTo>
                    <a:lnTo>
                      <a:pt x="261938" y="624173"/>
                    </a:lnTo>
                    <a:lnTo>
                      <a:pt x="261080" y="619982"/>
                    </a:lnTo>
                    <a:lnTo>
                      <a:pt x="257651" y="616553"/>
                    </a:lnTo>
                    <a:lnTo>
                      <a:pt x="253365" y="615696"/>
                    </a:lnTo>
                    <a:lnTo>
                      <a:pt x="249079" y="614839"/>
                    </a:lnTo>
                    <a:lnTo>
                      <a:pt x="245650" y="613982"/>
                    </a:lnTo>
                    <a:lnTo>
                      <a:pt x="243935" y="613982"/>
                    </a:lnTo>
                    <a:lnTo>
                      <a:pt x="242221" y="612267"/>
                    </a:lnTo>
                    <a:lnTo>
                      <a:pt x="238792" y="608838"/>
                    </a:lnTo>
                    <a:lnTo>
                      <a:pt x="237934" y="607124"/>
                    </a:lnTo>
                    <a:lnTo>
                      <a:pt x="237077" y="605409"/>
                    </a:lnTo>
                    <a:lnTo>
                      <a:pt x="235363" y="596075"/>
                    </a:lnTo>
                    <a:lnTo>
                      <a:pt x="234505" y="591026"/>
                    </a:lnTo>
                    <a:lnTo>
                      <a:pt x="232791" y="588455"/>
                    </a:lnTo>
                    <a:lnTo>
                      <a:pt x="232791" y="587597"/>
                    </a:lnTo>
                    <a:lnTo>
                      <a:pt x="234505" y="587597"/>
                    </a:lnTo>
                    <a:lnTo>
                      <a:pt x="236220" y="589312"/>
                    </a:lnTo>
                    <a:lnTo>
                      <a:pt x="237077" y="591026"/>
                    </a:lnTo>
                    <a:lnTo>
                      <a:pt x="237077" y="593598"/>
                    </a:lnTo>
                    <a:lnTo>
                      <a:pt x="237077" y="596170"/>
                    </a:lnTo>
                    <a:lnTo>
                      <a:pt x="238792" y="600361"/>
                    </a:lnTo>
                    <a:lnTo>
                      <a:pt x="239649" y="602933"/>
                    </a:lnTo>
                    <a:lnTo>
                      <a:pt x="239649" y="604647"/>
                    </a:lnTo>
                    <a:lnTo>
                      <a:pt x="241363" y="606362"/>
                    </a:lnTo>
                    <a:lnTo>
                      <a:pt x="243935" y="609791"/>
                    </a:lnTo>
                    <a:lnTo>
                      <a:pt x="245650" y="610648"/>
                    </a:lnTo>
                    <a:lnTo>
                      <a:pt x="248221" y="611505"/>
                    </a:lnTo>
                    <a:lnTo>
                      <a:pt x="249936" y="610648"/>
                    </a:lnTo>
                    <a:lnTo>
                      <a:pt x="251650" y="609791"/>
                    </a:lnTo>
                    <a:lnTo>
                      <a:pt x="251650" y="612362"/>
                    </a:lnTo>
                    <a:lnTo>
                      <a:pt x="255937" y="614934"/>
                    </a:lnTo>
                    <a:lnTo>
                      <a:pt x="261080" y="616649"/>
                    </a:lnTo>
                    <a:lnTo>
                      <a:pt x="264509" y="618363"/>
                    </a:lnTo>
                    <a:lnTo>
                      <a:pt x="265367" y="620078"/>
                    </a:lnTo>
                    <a:lnTo>
                      <a:pt x="266224" y="626840"/>
                    </a:lnTo>
                    <a:lnTo>
                      <a:pt x="267938" y="629412"/>
                    </a:lnTo>
                    <a:lnTo>
                      <a:pt x="266224" y="631984"/>
                    </a:lnTo>
                    <a:lnTo>
                      <a:pt x="261080" y="637889"/>
                    </a:lnTo>
                    <a:lnTo>
                      <a:pt x="260223" y="639604"/>
                    </a:lnTo>
                    <a:lnTo>
                      <a:pt x="259366" y="641318"/>
                    </a:lnTo>
                    <a:lnTo>
                      <a:pt x="259366" y="643033"/>
                    </a:lnTo>
                    <a:lnTo>
                      <a:pt x="261080" y="649796"/>
                    </a:lnTo>
                    <a:lnTo>
                      <a:pt x="260223" y="650653"/>
                    </a:lnTo>
                    <a:lnTo>
                      <a:pt x="260223" y="651510"/>
                    </a:lnTo>
                    <a:lnTo>
                      <a:pt x="265367" y="661702"/>
                    </a:lnTo>
                    <a:lnTo>
                      <a:pt x="266224" y="663416"/>
                    </a:lnTo>
                    <a:lnTo>
                      <a:pt x="265367" y="665131"/>
                    </a:lnTo>
                    <a:lnTo>
                      <a:pt x="266224" y="668560"/>
                    </a:lnTo>
                    <a:lnTo>
                      <a:pt x="265367" y="671132"/>
                    </a:lnTo>
                    <a:lnTo>
                      <a:pt x="264509" y="673703"/>
                    </a:lnTo>
                    <a:lnTo>
                      <a:pt x="262795" y="675418"/>
                    </a:lnTo>
                    <a:lnTo>
                      <a:pt x="262795" y="677990"/>
                    </a:lnTo>
                    <a:lnTo>
                      <a:pt x="263652" y="681419"/>
                    </a:lnTo>
                    <a:lnTo>
                      <a:pt x="266224" y="685610"/>
                    </a:lnTo>
                    <a:lnTo>
                      <a:pt x="267938" y="684752"/>
                    </a:lnTo>
                    <a:lnTo>
                      <a:pt x="269653" y="685610"/>
                    </a:lnTo>
                    <a:lnTo>
                      <a:pt x="270510" y="688181"/>
                    </a:lnTo>
                    <a:lnTo>
                      <a:pt x="270510" y="690753"/>
                    </a:lnTo>
                    <a:lnTo>
                      <a:pt x="271367" y="691610"/>
                    </a:lnTo>
                    <a:lnTo>
                      <a:pt x="272225" y="691610"/>
                    </a:lnTo>
                    <a:lnTo>
                      <a:pt x="273939" y="690753"/>
                    </a:lnTo>
                    <a:lnTo>
                      <a:pt x="274796" y="690753"/>
                    </a:lnTo>
                    <a:lnTo>
                      <a:pt x="275654" y="689896"/>
                    </a:lnTo>
                    <a:lnTo>
                      <a:pt x="276511" y="689896"/>
                    </a:lnTo>
                    <a:lnTo>
                      <a:pt x="276511" y="689039"/>
                    </a:lnTo>
                    <a:lnTo>
                      <a:pt x="276511" y="688181"/>
                    </a:lnTo>
                    <a:lnTo>
                      <a:pt x="276511" y="687324"/>
                    </a:lnTo>
                    <a:lnTo>
                      <a:pt x="274796" y="685610"/>
                    </a:lnTo>
                    <a:lnTo>
                      <a:pt x="274796" y="684752"/>
                    </a:lnTo>
                    <a:lnTo>
                      <a:pt x="274796" y="683038"/>
                    </a:lnTo>
                    <a:lnTo>
                      <a:pt x="275654" y="680466"/>
                    </a:lnTo>
                    <a:lnTo>
                      <a:pt x="275654" y="679609"/>
                    </a:lnTo>
                    <a:lnTo>
                      <a:pt x="275654" y="677037"/>
                    </a:lnTo>
                    <a:lnTo>
                      <a:pt x="272225" y="665131"/>
                    </a:lnTo>
                    <a:lnTo>
                      <a:pt x="272225" y="662559"/>
                    </a:lnTo>
                    <a:lnTo>
                      <a:pt x="273082" y="662559"/>
                    </a:lnTo>
                    <a:lnTo>
                      <a:pt x="274796" y="664274"/>
                    </a:lnTo>
                    <a:lnTo>
                      <a:pt x="276511" y="666845"/>
                    </a:lnTo>
                    <a:lnTo>
                      <a:pt x="276511" y="668560"/>
                    </a:lnTo>
                    <a:lnTo>
                      <a:pt x="276511" y="682085"/>
                    </a:lnTo>
                    <a:lnTo>
                      <a:pt x="277368" y="684657"/>
                    </a:lnTo>
                    <a:lnTo>
                      <a:pt x="279083" y="685514"/>
                    </a:lnTo>
                    <a:lnTo>
                      <a:pt x="280797" y="683800"/>
                    </a:lnTo>
                    <a:lnTo>
                      <a:pt x="281654" y="681228"/>
                    </a:lnTo>
                    <a:lnTo>
                      <a:pt x="281654" y="679514"/>
                    </a:lnTo>
                    <a:lnTo>
                      <a:pt x="281654" y="678656"/>
                    </a:lnTo>
                    <a:lnTo>
                      <a:pt x="281654" y="676942"/>
                    </a:lnTo>
                    <a:lnTo>
                      <a:pt x="279083" y="675227"/>
                    </a:lnTo>
                    <a:lnTo>
                      <a:pt x="279083" y="673513"/>
                    </a:lnTo>
                    <a:lnTo>
                      <a:pt x="279083" y="672656"/>
                    </a:lnTo>
                    <a:lnTo>
                      <a:pt x="279940" y="671798"/>
                    </a:lnTo>
                    <a:lnTo>
                      <a:pt x="280797" y="672656"/>
                    </a:lnTo>
                    <a:lnTo>
                      <a:pt x="280797" y="674370"/>
                    </a:lnTo>
                    <a:lnTo>
                      <a:pt x="281654" y="675227"/>
                    </a:lnTo>
                    <a:lnTo>
                      <a:pt x="282512" y="675227"/>
                    </a:lnTo>
                    <a:lnTo>
                      <a:pt x="283369" y="675227"/>
                    </a:lnTo>
                    <a:lnTo>
                      <a:pt x="285083" y="674370"/>
                    </a:lnTo>
                    <a:lnTo>
                      <a:pt x="286798" y="674370"/>
                    </a:lnTo>
                    <a:lnTo>
                      <a:pt x="285941" y="676942"/>
                    </a:lnTo>
                    <a:lnTo>
                      <a:pt x="285941" y="681990"/>
                    </a:lnTo>
                    <a:lnTo>
                      <a:pt x="286798" y="685419"/>
                    </a:lnTo>
                    <a:lnTo>
                      <a:pt x="287369" y="685419"/>
                    </a:lnTo>
                    <a:lnTo>
                      <a:pt x="289084" y="684562"/>
                    </a:lnTo>
                    <a:lnTo>
                      <a:pt x="290798" y="683705"/>
                    </a:lnTo>
                    <a:lnTo>
                      <a:pt x="292513" y="682847"/>
                    </a:lnTo>
                    <a:lnTo>
                      <a:pt x="294227" y="680276"/>
                    </a:lnTo>
                    <a:lnTo>
                      <a:pt x="294227" y="677704"/>
                    </a:lnTo>
                    <a:lnTo>
                      <a:pt x="294227" y="675989"/>
                    </a:lnTo>
                    <a:lnTo>
                      <a:pt x="292513" y="673418"/>
                    </a:lnTo>
                    <a:lnTo>
                      <a:pt x="292513" y="670846"/>
                    </a:lnTo>
                    <a:lnTo>
                      <a:pt x="292513" y="669131"/>
                    </a:lnTo>
                    <a:lnTo>
                      <a:pt x="292513" y="666560"/>
                    </a:lnTo>
                    <a:lnTo>
                      <a:pt x="294227" y="663988"/>
                    </a:lnTo>
                    <a:lnTo>
                      <a:pt x="295084" y="661416"/>
                    </a:lnTo>
                    <a:lnTo>
                      <a:pt x="295084" y="661416"/>
                    </a:lnTo>
                    <a:lnTo>
                      <a:pt x="295942" y="661416"/>
                    </a:lnTo>
                    <a:lnTo>
                      <a:pt x="296799" y="661416"/>
                    </a:lnTo>
                    <a:lnTo>
                      <a:pt x="296799" y="659702"/>
                    </a:lnTo>
                    <a:lnTo>
                      <a:pt x="296799" y="657130"/>
                    </a:lnTo>
                    <a:lnTo>
                      <a:pt x="295084" y="652939"/>
                    </a:lnTo>
                    <a:lnTo>
                      <a:pt x="295084" y="651224"/>
                    </a:lnTo>
                    <a:lnTo>
                      <a:pt x="295084" y="648653"/>
                    </a:lnTo>
                    <a:lnTo>
                      <a:pt x="296799" y="646938"/>
                    </a:lnTo>
                    <a:lnTo>
                      <a:pt x="297656" y="646081"/>
                    </a:lnTo>
                    <a:lnTo>
                      <a:pt x="296799" y="643509"/>
                    </a:lnTo>
                    <a:lnTo>
                      <a:pt x="299371" y="645224"/>
                    </a:lnTo>
                    <a:lnTo>
                      <a:pt x="299371" y="647795"/>
                    </a:lnTo>
                    <a:lnTo>
                      <a:pt x="296799" y="652844"/>
                    </a:lnTo>
                    <a:lnTo>
                      <a:pt x="299371" y="655415"/>
                    </a:lnTo>
                    <a:lnTo>
                      <a:pt x="301085" y="658844"/>
                    </a:lnTo>
                    <a:lnTo>
                      <a:pt x="301085" y="662273"/>
                    </a:lnTo>
                    <a:lnTo>
                      <a:pt x="299371" y="666464"/>
                    </a:lnTo>
                    <a:lnTo>
                      <a:pt x="298513" y="669036"/>
                    </a:lnTo>
                    <a:lnTo>
                      <a:pt x="298513" y="672465"/>
                    </a:lnTo>
                    <a:lnTo>
                      <a:pt x="301085" y="678371"/>
                    </a:lnTo>
                    <a:lnTo>
                      <a:pt x="300228" y="679228"/>
                    </a:lnTo>
                    <a:lnTo>
                      <a:pt x="299371" y="680942"/>
                    </a:lnTo>
                    <a:lnTo>
                      <a:pt x="299371" y="682657"/>
                    </a:lnTo>
                    <a:lnTo>
                      <a:pt x="299371" y="684371"/>
                    </a:lnTo>
                    <a:lnTo>
                      <a:pt x="299371" y="685229"/>
                    </a:lnTo>
                    <a:lnTo>
                      <a:pt x="298513" y="686086"/>
                    </a:lnTo>
                    <a:lnTo>
                      <a:pt x="297656" y="686943"/>
                    </a:lnTo>
                    <a:lnTo>
                      <a:pt x="296799" y="687800"/>
                    </a:lnTo>
                    <a:lnTo>
                      <a:pt x="295942" y="690372"/>
                    </a:lnTo>
                    <a:lnTo>
                      <a:pt x="296799" y="693801"/>
                    </a:lnTo>
                    <a:lnTo>
                      <a:pt x="299371" y="694658"/>
                    </a:lnTo>
                    <a:lnTo>
                      <a:pt x="302800" y="693801"/>
                    </a:lnTo>
                    <a:lnTo>
                      <a:pt x="301085" y="692087"/>
                    </a:lnTo>
                    <a:lnTo>
                      <a:pt x="301085" y="691229"/>
                    </a:lnTo>
                    <a:lnTo>
                      <a:pt x="301085" y="689515"/>
                    </a:lnTo>
                    <a:lnTo>
                      <a:pt x="301942" y="688658"/>
                    </a:lnTo>
                    <a:lnTo>
                      <a:pt x="302800" y="690372"/>
                    </a:lnTo>
                    <a:lnTo>
                      <a:pt x="304514" y="690372"/>
                    </a:lnTo>
                    <a:lnTo>
                      <a:pt x="305371" y="690372"/>
                    </a:lnTo>
                    <a:lnTo>
                      <a:pt x="306229" y="688658"/>
                    </a:lnTo>
                    <a:lnTo>
                      <a:pt x="306229" y="682752"/>
                    </a:lnTo>
                    <a:lnTo>
                      <a:pt x="307943" y="684467"/>
                    </a:lnTo>
                    <a:lnTo>
                      <a:pt x="308800" y="681038"/>
                    </a:lnTo>
                    <a:lnTo>
                      <a:pt x="307943" y="673418"/>
                    </a:lnTo>
                    <a:lnTo>
                      <a:pt x="308800" y="673418"/>
                    </a:lnTo>
                    <a:lnTo>
                      <a:pt x="310515" y="674275"/>
                    </a:lnTo>
                    <a:lnTo>
                      <a:pt x="311372" y="672560"/>
                    </a:lnTo>
                    <a:lnTo>
                      <a:pt x="312230" y="669989"/>
                    </a:lnTo>
                    <a:lnTo>
                      <a:pt x="312230" y="667417"/>
                    </a:lnTo>
                    <a:lnTo>
                      <a:pt x="311372" y="663988"/>
                    </a:lnTo>
                    <a:lnTo>
                      <a:pt x="309658" y="663988"/>
                    </a:lnTo>
                    <a:lnTo>
                      <a:pt x="306229" y="665702"/>
                    </a:lnTo>
                    <a:lnTo>
                      <a:pt x="304514" y="665702"/>
                    </a:lnTo>
                    <a:lnTo>
                      <a:pt x="304514" y="664845"/>
                    </a:lnTo>
                    <a:lnTo>
                      <a:pt x="304514" y="658082"/>
                    </a:lnTo>
                    <a:lnTo>
                      <a:pt x="305371" y="655511"/>
                    </a:lnTo>
                    <a:lnTo>
                      <a:pt x="308800" y="646176"/>
                    </a:lnTo>
                    <a:lnTo>
                      <a:pt x="308800" y="644462"/>
                    </a:lnTo>
                    <a:lnTo>
                      <a:pt x="308800" y="639413"/>
                    </a:lnTo>
                    <a:lnTo>
                      <a:pt x="308800" y="636842"/>
                    </a:lnTo>
                    <a:lnTo>
                      <a:pt x="311372" y="634270"/>
                    </a:lnTo>
                    <a:lnTo>
                      <a:pt x="311372" y="632555"/>
                    </a:lnTo>
                    <a:lnTo>
                      <a:pt x="311372" y="630841"/>
                    </a:lnTo>
                    <a:lnTo>
                      <a:pt x="311372" y="629126"/>
                    </a:lnTo>
                    <a:lnTo>
                      <a:pt x="310515" y="625697"/>
                    </a:lnTo>
                    <a:lnTo>
                      <a:pt x="310515" y="624840"/>
                    </a:lnTo>
                    <a:lnTo>
                      <a:pt x="311372" y="623983"/>
                    </a:lnTo>
                    <a:lnTo>
                      <a:pt x="312230" y="623126"/>
                    </a:lnTo>
                    <a:lnTo>
                      <a:pt x="312230" y="620554"/>
                    </a:lnTo>
                    <a:lnTo>
                      <a:pt x="313944" y="618839"/>
                    </a:lnTo>
                    <a:lnTo>
                      <a:pt x="313944" y="617982"/>
                    </a:lnTo>
                    <a:lnTo>
                      <a:pt x="313944" y="617982"/>
                    </a:lnTo>
                    <a:lnTo>
                      <a:pt x="314801" y="616268"/>
                    </a:lnTo>
                    <a:lnTo>
                      <a:pt x="315659" y="614553"/>
                    </a:lnTo>
                    <a:lnTo>
                      <a:pt x="315659" y="613696"/>
                    </a:lnTo>
                    <a:lnTo>
                      <a:pt x="317373" y="613696"/>
                    </a:lnTo>
                    <a:lnTo>
                      <a:pt x="318230" y="616268"/>
                    </a:lnTo>
                    <a:lnTo>
                      <a:pt x="316516" y="618839"/>
                    </a:lnTo>
                    <a:lnTo>
                      <a:pt x="314801" y="619697"/>
                    </a:lnTo>
                    <a:lnTo>
                      <a:pt x="313087" y="624745"/>
                    </a:lnTo>
                    <a:lnTo>
                      <a:pt x="313087" y="626459"/>
                    </a:lnTo>
                    <a:lnTo>
                      <a:pt x="313944" y="629031"/>
                    </a:lnTo>
                    <a:lnTo>
                      <a:pt x="313944" y="632460"/>
                    </a:lnTo>
                    <a:lnTo>
                      <a:pt x="314801" y="634175"/>
                    </a:lnTo>
                    <a:lnTo>
                      <a:pt x="314801" y="635889"/>
                    </a:lnTo>
                    <a:lnTo>
                      <a:pt x="313944" y="637604"/>
                    </a:lnTo>
                    <a:lnTo>
                      <a:pt x="312230" y="640175"/>
                    </a:lnTo>
                    <a:lnTo>
                      <a:pt x="312230" y="641890"/>
                    </a:lnTo>
                    <a:lnTo>
                      <a:pt x="311372" y="643604"/>
                    </a:lnTo>
                    <a:lnTo>
                      <a:pt x="312230" y="644462"/>
                    </a:lnTo>
                    <a:lnTo>
                      <a:pt x="313087" y="645319"/>
                    </a:lnTo>
                    <a:lnTo>
                      <a:pt x="314801" y="645319"/>
                    </a:lnTo>
                    <a:lnTo>
                      <a:pt x="316516" y="644462"/>
                    </a:lnTo>
                    <a:lnTo>
                      <a:pt x="317373" y="645319"/>
                    </a:lnTo>
                    <a:lnTo>
                      <a:pt x="319088" y="644462"/>
                    </a:lnTo>
                    <a:lnTo>
                      <a:pt x="319945" y="642747"/>
                    </a:lnTo>
                    <a:lnTo>
                      <a:pt x="319945" y="641033"/>
                    </a:lnTo>
                    <a:lnTo>
                      <a:pt x="322517" y="636842"/>
                    </a:lnTo>
                    <a:lnTo>
                      <a:pt x="323374" y="633413"/>
                    </a:lnTo>
                    <a:lnTo>
                      <a:pt x="321659" y="632555"/>
                    </a:lnTo>
                    <a:lnTo>
                      <a:pt x="319945" y="631698"/>
                    </a:lnTo>
                    <a:lnTo>
                      <a:pt x="319088" y="629984"/>
                    </a:lnTo>
                    <a:lnTo>
                      <a:pt x="319088" y="628269"/>
                    </a:lnTo>
                    <a:lnTo>
                      <a:pt x="319945" y="626555"/>
                    </a:lnTo>
                    <a:lnTo>
                      <a:pt x="321659" y="624840"/>
                    </a:lnTo>
                    <a:lnTo>
                      <a:pt x="322517" y="623126"/>
                    </a:lnTo>
                    <a:lnTo>
                      <a:pt x="325088" y="622268"/>
                    </a:lnTo>
                    <a:lnTo>
                      <a:pt x="326803" y="622268"/>
                    </a:lnTo>
                    <a:lnTo>
                      <a:pt x="323374" y="625697"/>
                    </a:lnTo>
                    <a:lnTo>
                      <a:pt x="321659" y="627412"/>
                    </a:lnTo>
                    <a:lnTo>
                      <a:pt x="320802" y="629126"/>
                    </a:lnTo>
                    <a:lnTo>
                      <a:pt x="321659" y="630841"/>
                    </a:lnTo>
                    <a:lnTo>
                      <a:pt x="325946" y="633413"/>
                    </a:lnTo>
                    <a:lnTo>
                      <a:pt x="326803" y="635984"/>
                    </a:lnTo>
                    <a:lnTo>
                      <a:pt x="325946" y="637699"/>
                    </a:lnTo>
                    <a:lnTo>
                      <a:pt x="325088" y="639413"/>
                    </a:lnTo>
                    <a:lnTo>
                      <a:pt x="323374" y="641128"/>
                    </a:lnTo>
                    <a:lnTo>
                      <a:pt x="322517" y="641985"/>
                    </a:lnTo>
                    <a:lnTo>
                      <a:pt x="321659" y="643700"/>
                    </a:lnTo>
                    <a:lnTo>
                      <a:pt x="321659" y="650462"/>
                    </a:lnTo>
                    <a:lnTo>
                      <a:pt x="319088" y="657225"/>
                    </a:lnTo>
                    <a:lnTo>
                      <a:pt x="319945" y="658940"/>
                    </a:lnTo>
                    <a:lnTo>
                      <a:pt x="320802" y="660654"/>
                    </a:lnTo>
                    <a:lnTo>
                      <a:pt x="318230" y="674180"/>
                    </a:lnTo>
                    <a:lnTo>
                      <a:pt x="319088" y="675894"/>
                    </a:lnTo>
                    <a:lnTo>
                      <a:pt x="322517" y="684371"/>
                    </a:lnTo>
                    <a:lnTo>
                      <a:pt x="320802" y="687800"/>
                    </a:lnTo>
                    <a:lnTo>
                      <a:pt x="323374" y="690372"/>
                    </a:lnTo>
                    <a:lnTo>
                      <a:pt x="326803" y="690372"/>
                    </a:lnTo>
                    <a:lnTo>
                      <a:pt x="330232" y="689515"/>
                    </a:lnTo>
                    <a:lnTo>
                      <a:pt x="331089" y="686943"/>
                    </a:lnTo>
                    <a:lnTo>
                      <a:pt x="330232" y="685229"/>
                    </a:lnTo>
                    <a:lnTo>
                      <a:pt x="329375" y="683514"/>
                    </a:lnTo>
                    <a:lnTo>
                      <a:pt x="328517" y="681800"/>
                    </a:lnTo>
                    <a:lnTo>
                      <a:pt x="328517" y="680085"/>
                    </a:lnTo>
                    <a:lnTo>
                      <a:pt x="328517" y="679228"/>
                    </a:lnTo>
                    <a:lnTo>
                      <a:pt x="329375" y="678371"/>
                    </a:lnTo>
                    <a:lnTo>
                      <a:pt x="330232" y="678371"/>
                    </a:lnTo>
                    <a:lnTo>
                      <a:pt x="331089" y="678371"/>
                    </a:lnTo>
                    <a:lnTo>
                      <a:pt x="331946" y="676656"/>
                    </a:lnTo>
                    <a:lnTo>
                      <a:pt x="331946" y="674084"/>
                    </a:lnTo>
                    <a:lnTo>
                      <a:pt x="332804" y="676656"/>
                    </a:lnTo>
                    <a:lnTo>
                      <a:pt x="332804" y="677513"/>
                    </a:lnTo>
                    <a:lnTo>
                      <a:pt x="332804" y="678371"/>
                    </a:lnTo>
                    <a:lnTo>
                      <a:pt x="332804" y="679228"/>
                    </a:lnTo>
                    <a:lnTo>
                      <a:pt x="331089" y="680942"/>
                    </a:lnTo>
                    <a:lnTo>
                      <a:pt x="331946" y="682657"/>
                    </a:lnTo>
                    <a:lnTo>
                      <a:pt x="333661" y="683514"/>
                    </a:lnTo>
                    <a:lnTo>
                      <a:pt x="336233" y="682657"/>
                    </a:lnTo>
                    <a:lnTo>
                      <a:pt x="337947" y="680942"/>
                    </a:lnTo>
                    <a:lnTo>
                      <a:pt x="337947" y="679228"/>
                    </a:lnTo>
                    <a:lnTo>
                      <a:pt x="336233" y="675799"/>
                    </a:lnTo>
                    <a:lnTo>
                      <a:pt x="335375" y="673227"/>
                    </a:lnTo>
                    <a:lnTo>
                      <a:pt x="335375" y="671513"/>
                    </a:lnTo>
                    <a:lnTo>
                      <a:pt x="337090" y="668084"/>
                    </a:lnTo>
                    <a:lnTo>
                      <a:pt x="337947" y="665512"/>
                    </a:lnTo>
                    <a:lnTo>
                      <a:pt x="337947" y="665512"/>
                    </a:lnTo>
                    <a:lnTo>
                      <a:pt x="338804" y="668084"/>
                    </a:lnTo>
                    <a:lnTo>
                      <a:pt x="340519" y="676561"/>
                    </a:lnTo>
                    <a:lnTo>
                      <a:pt x="340519" y="678275"/>
                    </a:lnTo>
                    <a:lnTo>
                      <a:pt x="341376" y="679133"/>
                    </a:lnTo>
                    <a:lnTo>
                      <a:pt x="342233" y="679133"/>
                    </a:lnTo>
                    <a:lnTo>
                      <a:pt x="345662" y="679990"/>
                    </a:lnTo>
                    <a:lnTo>
                      <a:pt x="350806" y="683419"/>
                    </a:lnTo>
                    <a:lnTo>
                      <a:pt x="353377" y="685133"/>
                    </a:lnTo>
                    <a:lnTo>
                      <a:pt x="355949" y="684276"/>
                    </a:lnTo>
                    <a:lnTo>
                      <a:pt x="355949" y="684276"/>
                    </a:lnTo>
                    <a:lnTo>
                      <a:pt x="356806" y="682562"/>
                    </a:lnTo>
                    <a:lnTo>
                      <a:pt x="356806" y="681704"/>
                    </a:lnTo>
                    <a:lnTo>
                      <a:pt x="357664" y="682562"/>
                    </a:lnTo>
                    <a:lnTo>
                      <a:pt x="357664" y="683419"/>
                    </a:lnTo>
                    <a:lnTo>
                      <a:pt x="358521" y="683419"/>
                    </a:lnTo>
                    <a:lnTo>
                      <a:pt x="359378" y="684276"/>
                    </a:lnTo>
                    <a:lnTo>
                      <a:pt x="361093" y="684276"/>
                    </a:lnTo>
                    <a:lnTo>
                      <a:pt x="362807" y="683419"/>
                    </a:lnTo>
                    <a:lnTo>
                      <a:pt x="363664" y="681704"/>
                    </a:lnTo>
                    <a:lnTo>
                      <a:pt x="362807" y="676656"/>
                    </a:lnTo>
                    <a:lnTo>
                      <a:pt x="362807" y="675799"/>
                    </a:lnTo>
                    <a:lnTo>
                      <a:pt x="361093" y="672370"/>
                    </a:lnTo>
                    <a:lnTo>
                      <a:pt x="358521" y="670655"/>
                    </a:lnTo>
                    <a:lnTo>
                      <a:pt x="358521" y="669798"/>
                    </a:lnTo>
                    <a:lnTo>
                      <a:pt x="356806" y="664750"/>
                    </a:lnTo>
                    <a:lnTo>
                      <a:pt x="355092" y="655415"/>
                    </a:lnTo>
                    <a:lnTo>
                      <a:pt x="353377" y="651986"/>
                    </a:lnTo>
                    <a:lnTo>
                      <a:pt x="349949" y="649415"/>
                    </a:lnTo>
                    <a:lnTo>
                      <a:pt x="348234" y="647700"/>
                    </a:lnTo>
                    <a:lnTo>
                      <a:pt x="346520" y="647700"/>
                    </a:lnTo>
                    <a:lnTo>
                      <a:pt x="344805" y="646843"/>
                    </a:lnTo>
                    <a:lnTo>
                      <a:pt x="343091" y="644271"/>
                    </a:lnTo>
                    <a:lnTo>
                      <a:pt x="343091" y="641699"/>
                    </a:lnTo>
                    <a:lnTo>
                      <a:pt x="343948" y="639128"/>
                    </a:lnTo>
                    <a:lnTo>
                      <a:pt x="345662" y="639128"/>
                    </a:lnTo>
                    <a:lnTo>
                      <a:pt x="345662" y="641699"/>
                    </a:lnTo>
                    <a:lnTo>
                      <a:pt x="346520" y="644271"/>
                    </a:lnTo>
                    <a:lnTo>
                      <a:pt x="347377" y="645128"/>
                    </a:lnTo>
                    <a:lnTo>
                      <a:pt x="349091" y="645986"/>
                    </a:lnTo>
                    <a:lnTo>
                      <a:pt x="352520" y="648557"/>
                    </a:lnTo>
                    <a:lnTo>
                      <a:pt x="354235" y="649415"/>
                    </a:lnTo>
                    <a:lnTo>
                      <a:pt x="354235" y="647700"/>
                    </a:lnTo>
                    <a:lnTo>
                      <a:pt x="355092" y="645986"/>
                    </a:lnTo>
                    <a:lnTo>
                      <a:pt x="355949" y="645986"/>
                    </a:lnTo>
                    <a:lnTo>
                      <a:pt x="357664" y="646843"/>
                    </a:lnTo>
                    <a:lnTo>
                      <a:pt x="360235" y="645128"/>
                    </a:lnTo>
                    <a:lnTo>
                      <a:pt x="361093" y="641699"/>
                    </a:lnTo>
                    <a:lnTo>
                      <a:pt x="360235" y="634079"/>
                    </a:lnTo>
                    <a:lnTo>
                      <a:pt x="359378" y="632365"/>
                    </a:lnTo>
                    <a:lnTo>
                      <a:pt x="357664" y="629793"/>
                    </a:lnTo>
                    <a:lnTo>
                      <a:pt x="357664" y="628079"/>
                    </a:lnTo>
                    <a:lnTo>
                      <a:pt x="357664" y="625507"/>
                    </a:lnTo>
                    <a:lnTo>
                      <a:pt x="358521" y="624650"/>
                    </a:lnTo>
                    <a:lnTo>
                      <a:pt x="358521" y="622935"/>
                    </a:lnTo>
                    <a:lnTo>
                      <a:pt x="358521" y="621221"/>
                    </a:lnTo>
                    <a:lnTo>
                      <a:pt x="360235" y="622078"/>
                    </a:lnTo>
                    <a:lnTo>
                      <a:pt x="360235" y="622078"/>
                    </a:lnTo>
                    <a:lnTo>
                      <a:pt x="360235" y="622078"/>
                    </a:lnTo>
                    <a:lnTo>
                      <a:pt x="360235" y="622078"/>
                    </a:lnTo>
                    <a:lnTo>
                      <a:pt x="361950" y="619506"/>
                    </a:lnTo>
                    <a:lnTo>
                      <a:pt x="361950" y="616934"/>
                    </a:lnTo>
                    <a:lnTo>
                      <a:pt x="361093" y="614363"/>
                    </a:lnTo>
                    <a:lnTo>
                      <a:pt x="360235" y="612648"/>
                    </a:lnTo>
                    <a:lnTo>
                      <a:pt x="355092" y="605885"/>
                    </a:lnTo>
                    <a:lnTo>
                      <a:pt x="354235" y="604171"/>
                    </a:lnTo>
                    <a:lnTo>
                      <a:pt x="355949" y="602456"/>
                    </a:lnTo>
                    <a:lnTo>
                      <a:pt x="354235" y="599885"/>
                    </a:lnTo>
                    <a:lnTo>
                      <a:pt x="353377" y="598170"/>
                    </a:lnTo>
                    <a:lnTo>
                      <a:pt x="352520" y="591407"/>
                    </a:lnTo>
                    <a:lnTo>
                      <a:pt x="352520" y="590550"/>
                    </a:lnTo>
                    <a:lnTo>
                      <a:pt x="352520" y="589693"/>
                    </a:lnTo>
                    <a:lnTo>
                      <a:pt x="353377" y="587978"/>
                    </a:lnTo>
                    <a:lnTo>
                      <a:pt x="353377" y="587121"/>
                    </a:lnTo>
                    <a:lnTo>
                      <a:pt x="353377" y="583692"/>
                    </a:lnTo>
                    <a:lnTo>
                      <a:pt x="351663" y="579501"/>
                    </a:lnTo>
                    <a:lnTo>
                      <a:pt x="349949" y="575310"/>
                    </a:lnTo>
                    <a:lnTo>
                      <a:pt x="349091" y="573596"/>
                    </a:lnTo>
                    <a:lnTo>
                      <a:pt x="345662" y="572738"/>
                    </a:lnTo>
                    <a:lnTo>
                      <a:pt x="347377" y="571024"/>
                    </a:lnTo>
                    <a:lnTo>
                      <a:pt x="348234" y="567595"/>
                    </a:lnTo>
                    <a:lnTo>
                      <a:pt x="348234" y="565023"/>
                    </a:lnTo>
                    <a:lnTo>
                      <a:pt x="346520" y="561594"/>
                    </a:lnTo>
                    <a:lnTo>
                      <a:pt x="345662" y="559022"/>
                    </a:lnTo>
                    <a:lnTo>
                      <a:pt x="344805" y="556451"/>
                    </a:lnTo>
                    <a:lnTo>
                      <a:pt x="344805" y="554736"/>
                    </a:lnTo>
                    <a:lnTo>
                      <a:pt x="343091" y="551307"/>
                    </a:lnTo>
                    <a:lnTo>
                      <a:pt x="343091" y="549593"/>
                    </a:lnTo>
                    <a:lnTo>
                      <a:pt x="343948" y="547878"/>
                    </a:lnTo>
                    <a:lnTo>
                      <a:pt x="344805" y="546164"/>
                    </a:lnTo>
                    <a:lnTo>
                      <a:pt x="346520" y="544449"/>
                    </a:lnTo>
                    <a:lnTo>
                      <a:pt x="346520" y="542735"/>
                    </a:lnTo>
                    <a:lnTo>
                      <a:pt x="347377" y="540163"/>
                    </a:lnTo>
                    <a:lnTo>
                      <a:pt x="347377" y="537591"/>
                    </a:lnTo>
                    <a:lnTo>
                      <a:pt x="347377" y="536734"/>
                    </a:lnTo>
                    <a:lnTo>
                      <a:pt x="345662" y="535019"/>
                    </a:lnTo>
                    <a:lnTo>
                      <a:pt x="343091" y="534162"/>
                    </a:lnTo>
                    <a:lnTo>
                      <a:pt x="341376" y="532448"/>
                    </a:lnTo>
                    <a:lnTo>
                      <a:pt x="339662" y="526542"/>
                    </a:lnTo>
                    <a:lnTo>
                      <a:pt x="337947" y="524828"/>
                    </a:lnTo>
                    <a:lnTo>
                      <a:pt x="336233" y="522256"/>
                    </a:lnTo>
                    <a:lnTo>
                      <a:pt x="335375" y="521399"/>
                    </a:lnTo>
                    <a:lnTo>
                      <a:pt x="335375" y="518827"/>
                    </a:lnTo>
                    <a:lnTo>
                      <a:pt x="336233" y="515398"/>
                    </a:lnTo>
                    <a:lnTo>
                      <a:pt x="337090" y="509492"/>
                    </a:lnTo>
                    <a:lnTo>
                      <a:pt x="337947" y="506063"/>
                    </a:lnTo>
                    <a:lnTo>
                      <a:pt x="343948" y="499301"/>
                    </a:lnTo>
                    <a:lnTo>
                      <a:pt x="347377" y="497586"/>
                    </a:lnTo>
                    <a:lnTo>
                      <a:pt x="348234" y="495872"/>
                    </a:lnTo>
                    <a:lnTo>
                      <a:pt x="349091" y="495014"/>
                    </a:lnTo>
                    <a:lnTo>
                      <a:pt x="349091" y="494157"/>
                    </a:lnTo>
                    <a:lnTo>
                      <a:pt x="348234" y="493300"/>
                    </a:lnTo>
                    <a:lnTo>
                      <a:pt x="344519" y="493300"/>
                    </a:lnTo>
                    <a:lnTo>
                      <a:pt x="343662" y="493300"/>
                    </a:lnTo>
                    <a:lnTo>
                      <a:pt x="342805" y="492443"/>
                    </a:lnTo>
                    <a:lnTo>
                      <a:pt x="335089" y="489871"/>
                    </a:lnTo>
                    <a:lnTo>
                      <a:pt x="333375" y="489014"/>
                    </a:lnTo>
                    <a:lnTo>
                      <a:pt x="331660" y="489871"/>
                    </a:lnTo>
                    <a:lnTo>
                      <a:pt x="330803" y="489871"/>
                    </a:lnTo>
                    <a:lnTo>
                      <a:pt x="329946" y="490728"/>
                    </a:lnTo>
                    <a:lnTo>
                      <a:pt x="329089" y="491585"/>
                    </a:lnTo>
                    <a:lnTo>
                      <a:pt x="328231" y="491585"/>
                    </a:lnTo>
                    <a:lnTo>
                      <a:pt x="320516" y="489014"/>
                    </a:lnTo>
                    <a:lnTo>
                      <a:pt x="319659" y="487299"/>
                    </a:lnTo>
                    <a:lnTo>
                      <a:pt x="317945" y="485585"/>
                    </a:lnTo>
                    <a:lnTo>
                      <a:pt x="317945" y="483013"/>
                    </a:lnTo>
                    <a:lnTo>
                      <a:pt x="318802" y="480441"/>
                    </a:lnTo>
                    <a:lnTo>
                      <a:pt x="321374" y="476250"/>
                    </a:lnTo>
                    <a:lnTo>
                      <a:pt x="327374" y="461867"/>
                    </a:lnTo>
                    <a:lnTo>
                      <a:pt x="327374" y="459296"/>
                    </a:lnTo>
                    <a:lnTo>
                      <a:pt x="325660" y="458438"/>
                    </a:lnTo>
                    <a:lnTo>
                      <a:pt x="324802" y="459296"/>
                    </a:lnTo>
                    <a:lnTo>
                      <a:pt x="323088" y="461010"/>
                    </a:lnTo>
                    <a:lnTo>
                      <a:pt x="322231" y="461867"/>
                    </a:lnTo>
                    <a:lnTo>
                      <a:pt x="320516" y="458438"/>
                    </a:lnTo>
                    <a:lnTo>
                      <a:pt x="318802" y="458438"/>
                    </a:lnTo>
                    <a:lnTo>
                      <a:pt x="315373" y="455867"/>
                    </a:lnTo>
                    <a:lnTo>
                      <a:pt x="313658" y="454152"/>
                    </a:lnTo>
                    <a:lnTo>
                      <a:pt x="311087" y="449104"/>
                    </a:lnTo>
                    <a:lnTo>
                      <a:pt x="309372" y="447389"/>
                    </a:lnTo>
                    <a:lnTo>
                      <a:pt x="308515" y="447389"/>
                    </a:lnTo>
                    <a:lnTo>
                      <a:pt x="305943" y="447389"/>
                    </a:lnTo>
                    <a:lnTo>
                      <a:pt x="305086" y="446532"/>
                    </a:lnTo>
                    <a:lnTo>
                      <a:pt x="304229" y="445675"/>
                    </a:lnTo>
                    <a:lnTo>
                      <a:pt x="304229" y="444818"/>
                    </a:lnTo>
                    <a:lnTo>
                      <a:pt x="304229" y="443960"/>
                    </a:lnTo>
                    <a:lnTo>
                      <a:pt x="304229" y="442246"/>
                    </a:lnTo>
                    <a:lnTo>
                      <a:pt x="304229" y="442246"/>
                    </a:lnTo>
                    <a:lnTo>
                      <a:pt x="303371" y="442246"/>
                    </a:lnTo>
                    <a:lnTo>
                      <a:pt x="301657" y="441389"/>
                    </a:lnTo>
                    <a:lnTo>
                      <a:pt x="301657" y="439674"/>
                    </a:lnTo>
                    <a:lnTo>
                      <a:pt x="304229" y="429482"/>
                    </a:lnTo>
                    <a:lnTo>
                      <a:pt x="304229" y="427768"/>
                    </a:lnTo>
                    <a:lnTo>
                      <a:pt x="303371" y="426053"/>
                    </a:lnTo>
                    <a:lnTo>
                      <a:pt x="303371" y="425196"/>
                    </a:lnTo>
                    <a:lnTo>
                      <a:pt x="303371" y="423482"/>
                    </a:lnTo>
                    <a:lnTo>
                      <a:pt x="305086" y="420910"/>
                    </a:lnTo>
                    <a:lnTo>
                      <a:pt x="305943" y="419195"/>
                    </a:lnTo>
                    <a:lnTo>
                      <a:pt x="305943" y="418338"/>
                    </a:lnTo>
                    <a:lnTo>
                      <a:pt x="305943" y="417481"/>
                    </a:lnTo>
                    <a:lnTo>
                      <a:pt x="305943" y="416624"/>
                    </a:lnTo>
                    <a:lnTo>
                      <a:pt x="305943" y="414909"/>
                    </a:lnTo>
                    <a:lnTo>
                      <a:pt x="307658" y="414052"/>
                    </a:lnTo>
                    <a:lnTo>
                      <a:pt x="310229" y="414052"/>
                    </a:lnTo>
                    <a:lnTo>
                      <a:pt x="311944" y="414052"/>
                    </a:lnTo>
                    <a:lnTo>
                      <a:pt x="314516" y="413195"/>
                    </a:lnTo>
                    <a:lnTo>
                      <a:pt x="316230" y="412337"/>
                    </a:lnTo>
                    <a:lnTo>
                      <a:pt x="320516" y="408146"/>
                    </a:lnTo>
                    <a:lnTo>
                      <a:pt x="321374" y="406432"/>
                    </a:lnTo>
                    <a:lnTo>
                      <a:pt x="321374" y="404717"/>
                    </a:lnTo>
                    <a:lnTo>
                      <a:pt x="321374" y="402146"/>
                    </a:lnTo>
                    <a:lnTo>
                      <a:pt x="320516" y="399574"/>
                    </a:lnTo>
                    <a:lnTo>
                      <a:pt x="319754" y="397288"/>
                    </a:lnTo>
                    <a:lnTo>
                      <a:pt x="321469" y="395573"/>
                    </a:lnTo>
                    <a:lnTo>
                      <a:pt x="322326" y="393859"/>
                    </a:lnTo>
                    <a:lnTo>
                      <a:pt x="322326" y="392144"/>
                    </a:lnTo>
                    <a:lnTo>
                      <a:pt x="319754" y="392144"/>
                    </a:lnTo>
                    <a:lnTo>
                      <a:pt x="319754" y="390430"/>
                    </a:lnTo>
                    <a:lnTo>
                      <a:pt x="317183" y="388715"/>
                    </a:lnTo>
                    <a:lnTo>
                      <a:pt x="316325" y="387001"/>
                    </a:lnTo>
                    <a:lnTo>
                      <a:pt x="317183" y="386144"/>
                    </a:lnTo>
                    <a:lnTo>
                      <a:pt x="317183" y="383572"/>
                    </a:lnTo>
                    <a:lnTo>
                      <a:pt x="318040" y="381857"/>
                    </a:lnTo>
                    <a:lnTo>
                      <a:pt x="317183" y="379286"/>
                    </a:lnTo>
                    <a:lnTo>
                      <a:pt x="317183" y="378428"/>
                    </a:lnTo>
                    <a:lnTo>
                      <a:pt x="318040" y="376714"/>
                    </a:lnTo>
                    <a:lnTo>
                      <a:pt x="318897" y="375857"/>
                    </a:lnTo>
                    <a:lnTo>
                      <a:pt x="321469" y="374999"/>
                    </a:lnTo>
                    <a:lnTo>
                      <a:pt x="323183" y="374142"/>
                    </a:lnTo>
                    <a:lnTo>
                      <a:pt x="323183" y="374142"/>
                    </a:lnTo>
                    <a:lnTo>
                      <a:pt x="323183" y="373285"/>
                    </a:lnTo>
                    <a:lnTo>
                      <a:pt x="324898" y="370713"/>
                    </a:lnTo>
                    <a:lnTo>
                      <a:pt x="324898" y="369856"/>
                    </a:lnTo>
                    <a:lnTo>
                      <a:pt x="324898" y="368999"/>
                    </a:lnTo>
                    <a:lnTo>
                      <a:pt x="324898" y="367284"/>
                    </a:lnTo>
                    <a:lnTo>
                      <a:pt x="324898" y="367284"/>
                    </a:lnTo>
                    <a:lnTo>
                      <a:pt x="324041" y="362236"/>
                    </a:lnTo>
                    <a:lnTo>
                      <a:pt x="321469" y="358807"/>
                    </a:lnTo>
                    <a:lnTo>
                      <a:pt x="317183" y="356235"/>
                    </a:lnTo>
                    <a:lnTo>
                      <a:pt x="315468" y="356235"/>
                    </a:lnTo>
                    <a:lnTo>
                      <a:pt x="313754" y="358807"/>
                    </a:lnTo>
                    <a:lnTo>
                      <a:pt x="312039" y="361379"/>
                    </a:lnTo>
                    <a:lnTo>
                      <a:pt x="310325" y="361379"/>
                    </a:lnTo>
                    <a:lnTo>
                      <a:pt x="304324" y="359664"/>
                    </a:lnTo>
                    <a:lnTo>
                      <a:pt x="297466" y="359664"/>
                    </a:lnTo>
                    <a:lnTo>
                      <a:pt x="294894" y="358807"/>
                    </a:lnTo>
                    <a:lnTo>
                      <a:pt x="286321" y="352044"/>
                    </a:lnTo>
                    <a:lnTo>
                      <a:pt x="257366" y="336804"/>
                    </a:lnTo>
                    <a:lnTo>
                      <a:pt x="253937" y="336804"/>
                    </a:lnTo>
                    <a:lnTo>
                      <a:pt x="253937" y="335947"/>
                    </a:lnTo>
                    <a:lnTo>
                      <a:pt x="253079" y="334232"/>
                    </a:lnTo>
                    <a:lnTo>
                      <a:pt x="251365" y="332518"/>
                    </a:lnTo>
                    <a:lnTo>
                      <a:pt x="251365" y="332518"/>
                    </a:lnTo>
                    <a:lnTo>
                      <a:pt x="251365" y="331661"/>
                    </a:lnTo>
                    <a:lnTo>
                      <a:pt x="251365" y="324898"/>
                    </a:lnTo>
                    <a:lnTo>
                      <a:pt x="250508" y="324041"/>
                    </a:lnTo>
                    <a:lnTo>
                      <a:pt x="249650" y="322326"/>
                    </a:lnTo>
                    <a:lnTo>
                      <a:pt x="247936" y="320612"/>
                    </a:lnTo>
                    <a:lnTo>
                      <a:pt x="246221" y="319754"/>
                    </a:lnTo>
                    <a:lnTo>
                      <a:pt x="244507" y="318897"/>
                    </a:lnTo>
                    <a:lnTo>
                      <a:pt x="244507" y="314706"/>
                    </a:lnTo>
                    <a:lnTo>
                      <a:pt x="245364" y="312992"/>
                    </a:lnTo>
                    <a:lnTo>
                      <a:pt x="247079" y="311277"/>
                    </a:lnTo>
                    <a:lnTo>
                      <a:pt x="247936" y="305372"/>
                    </a:lnTo>
                    <a:lnTo>
                      <a:pt x="248793" y="305372"/>
                    </a:lnTo>
                    <a:lnTo>
                      <a:pt x="250508" y="304514"/>
                    </a:lnTo>
                    <a:lnTo>
                      <a:pt x="251365" y="303657"/>
                    </a:lnTo>
                    <a:lnTo>
                      <a:pt x="251365" y="301943"/>
                    </a:lnTo>
                    <a:lnTo>
                      <a:pt x="251365" y="300228"/>
                    </a:lnTo>
                    <a:lnTo>
                      <a:pt x="252222" y="299371"/>
                    </a:lnTo>
                    <a:lnTo>
                      <a:pt x="253937" y="300228"/>
                    </a:lnTo>
                    <a:lnTo>
                      <a:pt x="254794" y="297656"/>
                    </a:lnTo>
                    <a:lnTo>
                      <a:pt x="256508" y="295942"/>
                    </a:lnTo>
                    <a:lnTo>
                      <a:pt x="257366" y="295085"/>
                    </a:lnTo>
                    <a:lnTo>
                      <a:pt x="257366" y="292513"/>
                    </a:lnTo>
                    <a:lnTo>
                      <a:pt x="255651" y="288322"/>
                    </a:lnTo>
                    <a:lnTo>
                      <a:pt x="254794" y="287465"/>
                    </a:lnTo>
                    <a:lnTo>
                      <a:pt x="254794" y="286607"/>
                    </a:lnTo>
                    <a:lnTo>
                      <a:pt x="254794" y="285750"/>
                    </a:lnTo>
                    <a:lnTo>
                      <a:pt x="259937" y="283178"/>
                    </a:lnTo>
                    <a:lnTo>
                      <a:pt x="262509" y="282321"/>
                    </a:lnTo>
                    <a:lnTo>
                      <a:pt x="264224" y="282321"/>
                    </a:lnTo>
                    <a:lnTo>
                      <a:pt x="265938" y="284036"/>
                    </a:lnTo>
                    <a:lnTo>
                      <a:pt x="267652" y="285750"/>
                    </a:lnTo>
                    <a:lnTo>
                      <a:pt x="268510" y="288322"/>
                    </a:lnTo>
                    <a:lnTo>
                      <a:pt x="268510" y="290036"/>
                    </a:lnTo>
                    <a:lnTo>
                      <a:pt x="270224" y="290036"/>
                    </a:lnTo>
                    <a:lnTo>
                      <a:pt x="274510" y="291751"/>
                    </a:lnTo>
                    <a:lnTo>
                      <a:pt x="277082" y="291751"/>
                    </a:lnTo>
                    <a:lnTo>
                      <a:pt x="277939" y="290894"/>
                    </a:lnTo>
                    <a:lnTo>
                      <a:pt x="279654" y="287465"/>
                    </a:lnTo>
                    <a:lnTo>
                      <a:pt x="283940" y="282416"/>
                    </a:lnTo>
                    <a:lnTo>
                      <a:pt x="284797" y="279845"/>
                    </a:lnTo>
                    <a:lnTo>
                      <a:pt x="285655" y="276416"/>
                    </a:lnTo>
                    <a:lnTo>
                      <a:pt x="288226" y="272987"/>
                    </a:lnTo>
                    <a:lnTo>
                      <a:pt x="289084" y="269558"/>
                    </a:lnTo>
                    <a:lnTo>
                      <a:pt x="289941" y="261080"/>
                    </a:lnTo>
                    <a:lnTo>
                      <a:pt x="289941" y="255175"/>
                    </a:lnTo>
                    <a:lnTo>
                      <a:pt x="290798" y="252603"/>
                    </a:lnTo>
                    <a:lnTo>
                      <a:pt x="295084" y="251746"/>
                    </a:lnTo>
                    <a:lnTo>
                      <a:pt x="296799" y="252603"/>
                    </a:lnTo>
                    <a:lnTo>
                      <a:pt x="300228" y="254318"/>
                    </a:lnTo>
                    <a:lnTo>
                      <a:pt x="302800" y="255175"/>
                    </a:lnTo>
                    <a:lnTo>
                      <a:pt x="303657" y="255175"/>
                    </a:lnTo>
                    <a:lnTo>
                      <a:pt x="304514" y="255175"/>
                    </a:lnTo>
                    <a:lnTo>
                      <a:pt x="305371" y="254318"/>
                    </a:lnTo>
                    <a:lnTo>
                      <a:pt x="306229" y="254318"/>
                    </a:lnTo>
                    <a:lnTo>
                      <a:pt x="307943" y="252603"/>
                    </a:lnTo>
                    <a:lnTo>
                      <a:pt x="308800" y="252603"/>
                    </a:lnTo>
                    <a:lnTo>
                      <a:pt x="312230" y="252603"/>
                    </a:lnTo>
                    <a:lnTo>
                      <a:pt x="315659" y="253460"/>
                    </a:lnTo>
                    <a:lnTo>
                      <a:pt x="322517" y="255175"/>
                    </a:lnTo>
                    <a:lnTo>
                      <a:pt x="329375" y="256032"/>
                    </a:lnTo>
                    <a:lnTo>
                      <a:pt x="330232" y="255175"/>
                    </a:lnTo>
                    <a:lnTo>
                      <a:pt x="331089" y="252603"/>
                    </a:lnTo>
                    <a:lnTo>
                      <a:pt x="331946" y="251746"/>
                    </a:lnTo>
                    <a:lnTo>
                      <a:pt x="332804" y="251746"/>
                    </a:lnTo>
                    <a:lnTo>
                      <a:pt x="333661" y="251746"/>
                    </a:lnTo>
                    <a:lnTo>
                      <a:pt x="334518" y="252603"/>
                    </a:lnTo>
                    <a:lnTo>
                      <a:pt x="342233" y="255175"/>
                    </a:lnTo>
                    <a:lnTo>
                      <a:pt x="344519" y="255175"/>
                    </a:lnTo>
                    <a:lnTo>
                      <a:pt x="342805" y="252603"/>
                    </a:lnTo>
                    <a:lnTo>
                      <a:pt x="345376" y="252603"/>
                    </a:lnTo>
                    <a:lnTo>
                      <a:pt x="345376" y="250889"/>
                    </a:lnTo>
                    <a:lnTo>
                      <a:pt x="345376" y="249174"/>
                    </a:lnTo>
                    <a:lnTo>
                      <a:pt x="345376" y="247460"/>
                    </a:lnTo>
                    <a:lnTo>
                      <a:pt x="346234" y="246602"/>
                    </a:lnTo>
                    <a:lnTo>
                      <a:pt x="350520" y="243173"/>
                    </a:lnTo>
                    <a:lnTo>
                      <a:pt x="351377" y="242316"/>
                    </a:lnTo>
                    <a:lnTo>
                      <a:pt x="351377" y="240602"/>
                    </a:lnTo>
                    <a:lnTo>
                      <a:pt x="351377" y="239744"/>
                    </a:lnTo>
                    <a:lnTo>
                      <a:pt x="350520" y="238887"/>
                    </a:lnTo>
                    <a:lnTo>
                      <a:pt x="344519" y="238887"/>
                    </a:lnTo>
                    <a:lnTo>
                      <a:pt x="341947" y="238887"/>
                    </a:lnTo>
                    <a:lnTo>
                      <a:pt x="340233" y="236315"/>
                    </a:lnTo>
                    <a:lnTo>
                      <a:pt x="340233" y="236315"/>
                    </a:lnTo>
                    <a:lnTo>
                      <a:pt x="337661" y="236315"/>
                    </a:lnTo>
                    <a:lnTo>
                      <a:pt x="335947" y="235458"/>
                    </a:lnTo>
                    <a:lnTo>
                      <a:pt x="335089" y="234601"/>
                    </a:lnTo>
                    <a:lnTo>
                      <a:pt x="332518" y="232029"/>
                    </a:lnTo>
                    <a:lnTo>
                      <a:pt x="332518" y="230315"/>
                    </a:lnTo>
                    <a:lnTo>
                      <a:pt x="332518" y="229457"/>
                    </a:lnTo>
                    <a:lnTo>
                      <a:pt x="331660" y="228600"/>
                    </a:lnTo>
                    <a:lnTo>
                      <a:pt x="330803" y="227743"/>
                    </a:lnTo>
                    <a:lnTo>
                      <a:pt x="330803" y="226886"/>
                    </a:lnTo>
                    <a:lnTo>
                      <a:pt x="332518" y="221837"/>
                    </a:lnTo>
                    <a:lnTo>
                      <a:pt x="332518" y="219266"/>
                    </a:lnTo>
                    <a:lnTo>
                      <a:pt x="331660" y="218408"/>
                    </a:lnTo>
                    <a:lnTo>
                      <a:pt x="329946" y="216694"/>
                    </a:lnTo>
                    <a:lnTo>
                      <a:pt x="329089" y="214979"/>
                    </a:lnTo>
                    <a:lnTo>
                      <a:pt x="327374" y="214122"/>
                    </a:lnTo>
                    <a:lnTo>
                      <a:pt x="323945" y="213265"/>
                    </a:lnTo>
                    <a:lnTo>
                      <a:pt x="323945" y="214979"/>
                    </a:lnTo>
                    <a:lnTo>
                      <a:pt x="323088" y="215837"/>
                    </a:lnTo>
                    <a:lnTo>
                      <a:pt x="322231" y="215837"/>
                    </a:lnTo>
                    <a:lnTo>
                      <a:pt x="321374" y="215837"/>
                    </a:lnTo>
                    <a:lnTo>
                      <a:pt x="320516" y="215837"/>
                    </a:lnTo>
                    <a:lnTo>
                      <a:pt x="318802" y="216694"/>
                    </a:lnTo>
                    <a:lnTo>
                      <a:pt x="317945" y="217551"/>
                    </a:lnTo>
                    <a:lnTo>
                      <a:pt x="317087" y="218408"/>
                    </a:lnTo>
                    <a:lnTo>
                      <a:pt x="315373" y="219266"/>
                    </a:lnTo>
                    <a:lnTo>
                      <a:pt x="313658" y="218408"/>
                    </a:lnTo>
                    <a:lnTo>
                      <a:pt x="310229" y="216694"/>
                    </a:lnTo>
                    <a:lnTo>
                      <a:pt x="307658" y="214979"/>
                    </a:lnTo>
                    <a:lnTo>
                      <a:pt x="303371" y="214979"/>
                    </a:lnTo>
                    <a:lnTo>
                      <a:pt x="300800" y="214979"/>
                    </a:lnTo>
                    <a:lnTo>
                      <a:pt x="299942" y="213265"/>
                    </a:lnTo>
                    <a:lnTo>
                      <a:pt x="299085" y="211550"/>
                    </a:lnTo>
                    <a:lnTo>
                      <a:pt x="295656" y="208979"/>
                    </a:lnTo>
                    <a:lnTo>
                      <a:pt x="294799" y="207264"/>
                    </a:lnTo>
                    <a:lnTo>
                      <a:pt x="290513" y="204692"/>
                    </a:lnTo>
                    <a:lnTo>
                      <a:pt x="288798" y="202978"/>
                    </a:lnTo>
                    <a:lnTo>
                      <a:pt x="287941" y="195358"/>
                    </a:lnTo>
                    <a:lnTo>
                      <a:pt x="285369" y="192786"/>
                    </a:lnTo>
                    <a:lnTo>
                      <a:pt x="277654" y="186881"/>
                    </a:lnTo>
                    <a:lnTo>
                      <a:pt x="270796" y="179261"/>
                    </a:lnTo>
                    <a:lnTo>
                      <a:pt x="266509" y="177546"/>
                    </a:lnTo>
                    <a:lnTo>
                      <a:pt x="262223" y="178403"/>
                    </a:lnTo>
                    <a:lnTo>
                      <a:pt x="259651" y="180118"/>
                    </a:lnTo>
                    <a:lnTo>
                      <a:pt x="257937" y="180975"/>
                    </a:lnTo>
                    <a:lnTo>
                      <a:pt x="256222" y="180975"/>
                    </a:lnTo>
                    <a:lnTo>
                      <a:pt x="254508" y="179261"/>
                    </a:lnTo>
                    <a:lnTo>
                      <a:pt x="253651" y="177546"/>
                    </a:lnTo>
                    <a:lnTo>
                      <a:pt x="252793" y="175832"/>
                    </a:lnTo>
                    <a:lnTo>
                      <a:pt x="251079" y="174117"/>
                    </a:lnTo>
                    <a:lnTo>
                      <a:pt x="251079" y="173260"/>
                    </a:lnTo>
                    <a:lnTo>
                      <a:pt x="251079" y="172403"/>
                    </a:lnTo>
                    <a:lnTo>
                      <a:pt x="250222" y="169831"/>
                    </a:lnTo>
                    <a:lnTo>
                      <a:pt x="249364" y="164783"/>
                    </a:lnTo>
                    <a:lnTo>
                      <a:pt x="250222" y="163925"/>
                    </a:lnTo>
                    <a:lnTo>
                      <a:pt x="251079" y="163925"/>
                    </a:lnTo>
                    <a:lnTo>
                      <a:pt x="251079" y="163068"/>
                    </a:lnTo>
                    <a:lnTo>
                      <a:pt x="253651" y="155448"/>
                    </a:lnTo>
                    <a:lnTo>
                      <a:pt x="255365" y="152019"/>
                    </a:lnTo>
                    <a:lnTo>
                      <a:pt x="257937" y="149447"/>
                    </a:lnTo>
                    <a:lnTo>
                      <a:pt x="258794" y="146876"/>
                    </a:lnTo>
                    <a:lnTo>
                      <a:pt x="258794" y="146018"/>
                    </a:lnTo>
                    <a:lnTo>
                      <a:pt x="257937" y="145161"/>
                    </a:lnTo>
                    <a:lnTo>
                      <a:pt x="257937" y="144304"/>
                    </a:lnTo>
                    <a:lnTo>
                      <a:pt x="257080" y="144304"/>
                    </a:lnTo>
                    <a:lnTo>
                      <a:pt x="257080" y="142589"/>
                    </a:lnTo>
                    <a:lnTo>
                      <a:pt x="257080" y="141732"/>
                    </a:lnTo>
                    <a:lnTo>
                      <a:pt x="257937" y="141732"/>
                    </a:lnTo>
                    <a:lnTo>
                      <a:pt x="258794" y="137541"/>
                    </a:lnTo>
                    <a:lnTo>
                      <a:pt x="259651" y="135827"/>
                    </a:lnTo>
                    <a:lnTo>
                      <a:pt x="263080" y="134112"/>
                    </a:lnTo>
                    <a:lnTo>
                      <a:pt x="263938" y="133255"/>
                    </a:lnTo>
                    <a:lnTo>
                      <a:pt x="264795" y="132398"/>
                    </a:lnTo>
                    <a:lnTo>
                      <a:pt x="265652" y="130683"/>
                    </a:lnTo>
                    <a:lnTo>
                      <a:pt x="267367" y="130683"/>
                    </a:lnTo>
                    <a:lnTo>
                      <a:pt x="269081" y="129826"/>
                    </a:lnTo>
                    <a:lnTo>
                      <a:pt x="275939" y="128111"/>
                    </a:lnTo>
                    <a:lnTo>
                      <a:pt x="277654" y="126397"/>
                    </a:lnTo>
                    <a:lnTo>
                      <a:pt x="278511" y="124682"/>
                    </a:lnTo>
                    <a:lnTo>
                      <a:pt x="278511" y="120491"/>
                    </a:lnTo>
                    <a:lnTo>
                      <a:pt x="279368" y="118777"/>
                    </a:lnTo>
                    <a:lnTo>
                      <a:pt x="281083" y="116205"/>
                    </a:lnTo>
                    <a:lnTo>
                      <a:pt x="282797" y="114491"/>
                    </a:lnTo>
                    <a:lnTo>
                      <a:pt x="287941" y="111062"/>
                    </a:lnTo>
                    <a:lnTo>
                      <a:pt x="288798" y="110204"/>
                    </a:lnTo>
                    <a:lnTo>
                      <a:pt x="288798" y="109347"/>
                    </a:lnTo>
                    <a:lnTo>
                      <a:pt x="289655" y="108490"/>
                    </a:lnTo>
                    <a:lnTo>
                      <a:pt x="290513" y="109347"/>
                    </a:lnTo>
                    <a:lnTo>
                      <a:pt x="291370" y="110204"/>
                    </a:lnTo>
                    <a:lnTo>
                      <a:pt x="292227" y="110204"/>
                    </a:lnTo>
                    <a:lnTo>
                      <a:pt x="293942" y="109347"/>
                    </a:lnTo>
                    <a:lnTo>
                      <a:pt x="294799" y="109347"/>
                    </a:lnTo>
                    <a:lnTo>
                      <a:pt x="296513" y="110204"/>
                    </a:lnTo>
                    <a:lnTo>
                      <a:pt x="296513" y="106775"/>
                    </a:lnTo>
                    <a:lnTo>
                      <a:pt x="294799" y="100013"/>
                    </a:lnTo>
                    <a:lnTo>
                      <a:pt x="293084" y="97441"/>
                    </a:lnTo>
                    <a:lnTo>
                      <a:pt x="289655" y="95726"/>
                    </a:lnTo>
                    <a:lnTo>
                      <a:pt x="283655" y="94869"/>
                    </a:lnTo>
                    <a:lnTo>
                      <a:pt x="281083" y="94012"/>
                    </a:lnTo>
                    <a:lnTo>
                      <a:pt x="280225" y="94012"/>
                    </a:lnTo>
                    <a:lnTo>
                      <a:pt x="279368" y="94869"/>
                    </a:lnTo>
                    <a:lnTo>
                      <a:pt x="279368" y="97441"/>
                    </a:lnTo>
                    <a:lnTo>
                      <a:pt x="279368" y="98298"/>
                    </a:lnTo>
                    <a:lnTo>
                      <a:pt x="277654" y="97441"/>
                    </a:lnTo>
                    <a:lnTo>
                      <a:pt x="276796" y="95726"/>
                    </a:lnTo>
                    <a:lnTo>
                      <a:pt x="276796" y="94012"/>
                    </a:lnTo>
                    <a:lnTo>
                      <a:pt x="276796" y="92297"/>
                    </a:lnTo>
                    <a:lnTo>
                      <a:pt x="276796" y="92297"/>
                    </a:lnTo>
                    <a:lnTo>
                      <a:pt x="278511" y="89726"/>
                    </a:lnTo>
                    <a:lnTo>
                      <a:pt x="281083" y="82106"/>
                    </a:lnTo>
                    <a:lnTo>
                      <a:pt x="281940" y="80391"/>
                    </a:lnTo>
                    <a:lnTo>
                      <a:pt x="282797" y="77819"/>
                    </a:lnTo>
                    <a:lnTo>
                      <a:pt x="284512" y="76105"/>
                    </a:lnTo>
                    <a:lnTo>
                      <a:pt x="285369" y="76962"/>
                    </a:lnTo>
                    <a:lnTo>
                      <a:pt x="285369" y="79534"/>
                    </a:lnTo>
                    <a:lnTo>
                      <a:pt x="285369" y="82106"/>
                    </a:lnTo>
                    <a:lnTo>
                      <a:pt x="285369" y="84677"/>
                    </a:lnTo>
                    <a:lnTo>
                      <a:pt x="287084" y="86392"/>
                    </a:lnTo>
                    <a:lnTo>
                      <a:pt x="291370" y="87249"/>
                    </a:lnTo>
                    <a:lnTo>
                      <a:pt x="293084" y="88106"/>
                    </a:lnTo>
                    <a:lnTo>
                      <a:pt x="294799" y="89821"/>
                    </a:lnTo>
                    <a:lnTo>
                      <a:pt x="295656" y="90678"/>
                    </a:lnTo>
                    <a:lnTo>
                      <a:pt x="297371" y="92393"/>
                    </a:lnTo>
                    <a:lnTo>
                      <a:pt x="298228" y="93250"/>
                    </a:lnTo>
                    <a:lnTo>
                      <a:pt x="299942" y="94964"/>
                    </a:lnTo>
                    <a:lnTo>
                      <a:pt x="302514" y="95822"/>
                    </a:lnTo>
                    <a:lnTo>
                      <a:pt x="303371" y="95822"/>
                    </a:lnTo>
                    <a:lnTo>
                      <a:pt x="305943" y="95822"/>
                    </a:lnTo>
                    <a:lnTo>
                      <a:pt x="307658" y="96679"/>
                    </a:lnTo>
                    <a:lnTo>
                      <a:pt x="308515" y="97536"/>
                    </a:lnTo>
                    <a:lnTo>
                      <a:pt x="308515" y="99251"/>
                    </a:lnTo>
                    <a:lnTo>
                      <a:pt x="309372" y="100108"/>
                    </a:lnTo>
                    <a:lnTo>
                      <a:pt x="311087" y="100965"/>
                    </a:lnTo>
                    <a:lnTo>
                      <a:pt x="311944" y="101822"/>
                    </a:lnTo>
                    <a:lnTo>
                      <a:pt x="314516" y="102680"/>
                    </a:lnTo>
                    <a:lnTo>
                      <a:pt x="314516" y="103537"/>
                    </a:lnTo>
                    <a:lnTo>
                      <a:pt x="313658" y="104394"/>
                    </a:lnTo>
                    <a:lnTo>
                      <a:pt x="314516" y="105251"/>
                    </a:lnTo>
                    <a:lnTo>
                      <a:pt x="315373" y="105251"/>
                    </a:lnTo>
                    <a:lnTo>
                      <a:pt x="316230" y="106108"/>
                    </a:lnTo>
                    <a:lnTo>
                      <a:pt x="316230" y="107823"/>
                    </a:lnTo>
                    <a:lnTo>
                      <a:pt x="316230" y="109538"/>
                    </a:lnTo>
                    <a:lnTo>
                      <a:pt x="319659" y="110395"/>
                    </a:lnTo>
                    <a:lnTo>
                      <a:pt x="320516" y="111252"/>
                    </a:lnTo>
                    <a:lnTo>
                      <a:pt x="321374" y="112967"/>
                    </a:lnTo>
                    <a:lnTo>
                      <a:pt x="319659" y="115538"/>
                    </a:lnTo>
                    <a:lnTo>
                      <a:pt x="318802" y="116396"/>
                    </a:lnTo>
                    <a:lnTo>
                      <a:pt x="314516" y="118967"/>
                    </a:lnTo>
                    <a:lnTo>
                      <a:pt x="313658" y="119825"/>
                    </a:lnTo>
                    <a:lnTo>
                      <a:pt x="315373" y="120682"/>
                    </a:lnTo>
                    <a:lnTo>
                      <a:pt x="324707" y="117253"/>
                    </a:lnTo>
                    <a:lnTo>
                      <a:pt x="328993" y="118967"/>
                    </a:lnTo>
                    <a:lnTo>
                      <a:pt x="329851" y="120682"/>
                    </a:lnTo>
                    <a:lnTo>
                      <a:pt x="330708" y="123254"/>
                    </a:lnTo>
                    <a:lnTo>
                      <a:pt x="331565" y="124968"/>
                    </a:lnTo>
                    <a:lnTo>
                      <a:pt x="333280" y="125825"/>
                    </a:lnTo>
                    <a:lnTo>
                      <a:pt x="334994" y="124968"/>
                    </a:lnTo>
                    <a:lnTo>
                      <a:pt x="336709" y="120777"/>
                    </a:lnTo>
                    <a:lnTo>
                      <a:pt x="339280" y="119920"/>
                    </a:lnTo>
                    <a:lnTo>
                      <a:pt x="341852" y="119920"/>
                    </a:lnTo>
                    <a:lnTo>
                      <a:pt x="346996" y="124968"/>
                    </a:lnTo>
                    <a:lnTo>
                      <a:pt x="350425" y="125825"/>
                    </a:lnTo>
                    <a:lnTo>
                      <a:pt x="355568" y="124968"/>
                    </a:lnTo>
                    <a:lnTo>
                      <a:pt x="357283" y="123254"/>
                    </a:lnTo>
                    <a:lnTo>
                      <a:pt x="356425" y="120682"/>
                    </a:lnTo>
                    <a:lnTo>
                      <a:pt x="355568" y="120682"/>
                    </a:lnTo>
                    <a:lnTo>
                      <a:pt x="354711" y="120682"/>
                    </a:lnTo>
                    <a:lnTo>
                      <a:pt x="353854" y="119825"/>
                    </a:lnTo>
                    <a:lnTo>
                      <a:pt x="353854" y="117253"/>
                    </a:lnTo>
                    <a:lnTo>
                      <a:pt x="352996" y="117253"/>
                    </a:lnTo>
                    <a:lnTo>
                      <a:pt x="352139" y="118110"/>
                    </a:lnTo>
                    <a:lnTo>
                      <a:pt x="351282" y="117253"/>
                    </a:lnTo>
                    <a:lnTo>
                      <a:pt x="350425" y="116396"/>
                    </a:lnTo>
                    <a:lnTo>
                      <a:pt x="349567" y="112967"/>
                    </a:lnTo>
                    <a:lnTo>
                      <a:pt x="346138" y="111252"/>
                    </a:lnTo>
                    <a:lnTo>
                      <a:pt x="343567" y="110395"/>
                    </a:lnTo>
                    <a:lnTo>
                      <a:pt x="340995" y="107823"/>
                    </a:lnTo>
                    <a:lnTo>
                      <a:pt x="340995" y="106108"/>
                    </a:lnTo>
                    <a:lnTo>
                      <a:pt x="341852" y="103537"/>
                    </a:lnTo>
                    <a:lnTo>
                      <a:pt x="343567" y="101822"/>
                    </a:lnTo>
                    <a:lnTo>
                      <a:pt x="344424" y="100108"/>
                    </a:lnTo>
                    <a:lnTo>
                      <a:pt x="346138" y="99251"/>
                    </a:lnTo>
                    <a:lnTo>
                      <a:pt x="346996" y="99251"/>
                    </a:lnTo>
                    <a:lnTo>
                      <a:pt x="348710" y="100965"/>
                    </a:lnTo>
                    <a:lnTo>
                      <a:pt x="350425" y="101822"/>
                    </a:lnTo>
                    <a:lnTo>
                      <a:pt x="351282" y="102680"/>
                    </a:lnTo>
                    <a:lnTo>
                      <a:pt x="352996" y="104394"/>
                    </a:lnTo>
                    <a:lnTo>
                      <a:pt x="353854" y="105251"/>
                    </a:lnTo>
                    <a:lnTo>
                      <a:pt x="355568" y="106108"/>
                    </a:lnTo>
                    <a:lnTo>
                      <a:pt x="358140" y="106966"/>
                    </a:lnTo>
                    <a:lnTo>
                      <a:pt x="358997" y="107823"/>
                    </a:lnTo>
                    <a:lnTo>
                      <a:pt x="359855" y="108680"/>
                    </a:lnTo>
                    <a:lnTo>
                      <a:pt x="358997" y="109538"/>
                    </a:lnTo>
                    <a:lnTo>
                      <a:pt x="358997" y="110395"/>
                    </a:lnTo>
                    <a:lnTo>
                      <a:pt x="360712" y="111252"/>
                    </a:lnTo>
                    <a:lnTo>
                      <a:pt x="364141" y="112109"/>
                    </a:lnTo>
                    <a:lnTo>
                      <a:pt x="364141" y="112967"/>
                    </a:lnTo>
                    <a:lnTo>
                      <a:pt x="364998" y="114681"/>
                    </a:lnTo>
                    <a:lnTo>
                      <a:pt x="363284" y="115538"/>
                    </a:lnTo>
                    <a:lnTo>
                      <a:pt x="362426" y="114681"/>
                    </a:lnTo>
                    <a:lnTo>
                      <a:pt x="360712" y="114681"/>
                    </a:lnTo>
                    <a:lnTo>
                      <a:pt x="360712" y="118110"/>
                    </a:lnTo>
                    <a:lnTo>
                      <a:pt x="361569" y="120682"/>
                    </a:lnTo>
                    <a:lnTo>
                      <a:pt x="364141" y="124111"/>
                    </a:lnTo>
                    <a:lnTo>
                      <a:pt x="364998" y="125825"/>
                    </a:lnTo>
                    <a:lnTo>
                      <a:pt x="365855" y="133445"/>
                    </a:lnTo>
                    <a:lnTo>
                      <a:pt x="366713" y="135160"/>
                    </a:lnTo>
                    <a:lnTo>
                      <a:pt x="367570" y="136874"/>
                    </a:lnTo>
                    <a:lnTo>
                      <a:pt x="375285" y="140303"/>
                    </a:lnTo>
                    <a:lnTo>
                      <a:pt x="377000" y="141161"/>
                    </a:lnTo>
                    <a:lnTo>
                      <a:pt x="377857" y="142875"/>
                    </a:lnTo>
                    <a:lnTo>
                      <a:pt x="378714" y="145447"/>
                    </a:lnTo>
                    <a:lnTo>
                      <a:pt x="379571" y="146304"/>
                    </a:lnTo>
                    <a:lnTo>
                      <a:pt x="383858" y="148019"/>
                    </a:lnTo>
                    <a:lnTo>
                      <a:pt x="386429" y="151448"/>
                    </a:lnTo>
                    <a:lnTo>
                      <a:pt x="388144" y="153162"/>
                    </a:lnTo>
                    <a:lnTo>
                      <a:pt x="390716" y="154019"/>
                    </a:lnTo>
                    <a:lnTo>
                      <a:pt x="392430" y="154019"/>
                    </a:lnTo>
                    <a:lnTo>
                      <a:pt x="394145" y="153162"/>
                    </a:lnTo>
                    <a:lnTo>
                      <a:pt x="395859" y="151448"/>
                    </a:lnTo>
                    <a:lnTo>
                      <a:pt x="396716" y="151448"/>
                    </a:lnTo>
                    <a:lnTo>
                      <a:pt x="398431" y="154019"/>
                    </a:lnTo>
                    <a:lnTo>
                      <a:pt x="399288" y="154877"/>
                    </a:lnTo>
                    <a:lnTo>
                      <a:pt x="399288" y="154877"/>
                    </a:lnTo>
                    <a:lnTo>
                      <a:pt x="400145" y="154877"/>
                    </a:lnTo>
                    <a:lnTo>
                      <a:pt x="401002" y="154019"/>
                    </a:lnTo>
                    <a:lnTo>
                      <a:pt x="401002" y="154019"/>
                    </a:lnTo>
                    <a:lnTo>
                      <a:pt x="401002" y="154019"/>
                    </a:lnTo>
                    <a:lnTo>
                      <a:pt x="401002" y="154019"/>
                    </a:lnTo>
                    <a:lnTo>
                      <a:pt x="407003" y="154019"/>
                    </a:lnTo>
                    <a:lnTo>
                      <a:pt x="407003" y="154019"/>
                    </a:lnTo>
                    <a:lnTo>
                      <a:pt x="407860" y="154019"/>
                    </a:lnTo>
                    <a:lnTo>
                      <a:pt x="408718" y="154019"/>
                    </a:lnTo>
                    <a:lnTo>
                      <a:pt x="409575" y="156591"/>
                    </a:lnTo>
                    <a:lnTo>
                      <a:pt x="411289" y="158306"/>
                    </a:lnTo>
                    <a:lnTo>
                      <a:pt x="412147" y="159163"/>
                    </a:lnTo>
                    <a:lnTo>
                      <a:pt x="413861" y="159163"/>
                    </a:lnTo>
                    <a:lnTo>
                      <a:pt x="414718" y="157448"/>
                    </a:lnTo>
                    <a:lnTo>
                      <a:pt x="414718" y="155734"/>
                    </a:lnTo>
                    <a:lnTo>
                      <a:pt x="414718" y="154019"/>
                    </a:lnTo>
                    <a:lnTo>
                      <a:pt x="415576" y="150590"/>
                    </a:lnTo>
                    <a:lnTo>
                      <a:pt x="419862" y="147161"/>
                    </a:lnTo>
                    <a:lnTo>
                      <a:pt x="421576" y="144590"/>
                    </a:lnTo>
                    <a:lnTo>
                      <a:pt x="420719" y="142875"/>
                    </a:lnTo>
                    <a:lnTo>
                      <a:pt x="419005" y="142875"/>
                    </a:lnTo>
                    <a:lnTo>
                      <a:pt x="417290" y="143732"/>
                    </a:lnTo>
                    <a:lnTo>
                      <a:pt x="416433" y="142875"/>
                    </a:lnTo>
                    <a:lnTo>
                      <a:pt x="416433" y="141161"/>
                    </a:lnTo>
                    <a:lnTo>
                      <a:pt x="417290" y="140303"/>
                    </a:lnTo>
                    <a:lnTo>
                      <a:pt x="419005" y="139446"/>
                    </a:lnTo>
                    <a:lnTo>
                      <a:pt x="420719" y="138589"/>
                    </a:lnTo>
                    <a:lnTo>
                      <a:pt x="418147" y="138589"/>
                    </a:lnTo>
                    <a:lnTo>
                      <a:pt x="416433" y="137732"/>
                    </a:lnTo>
                    <a:lnTo>
                      <a:pt x="415576" y="136017"/>
                    </a:lnTo>
                    <a:lnTo>
                      <a:pt x="417290" y="133445"/>
                    </a:lnTo>
                    <a:lnTo>
                      <a:pt x="418147" y="133445"/>
                    </a:lnTo>
                    <a:lnTo>
                      <a:pt x="418147" y="132588"/>
                    </a:lnTo>
                    <a:lnTo>
                      <a:pt x="419005" y="132588"/>
                    </a:lnTo>
                    <a:lnTo>
                      <a:pt x="421576" y="133445"/>
                    </a:lnTo>
                    <a:lnTo>
                      <a:pt x="421576" y="132588"/>
                    </a:lnTo>
                    <a:lnTo>
                      <a:pt x="420719" y="130874"/>
                    </a:lnTo>
                    <a:lnTo>
                      <a:pt x="420719" y="127445"/>
                    </a:lnTo>
                    <a:lnTo>
                      <a:pt x="421576" y="126587"/>
                    </a:lnTo>
                    <a:lnTo>
                      <a:pt x="424148" y="125730"/>
                    </a:lnTo>
                    <a:lnTo>
                      <a:pt x="425863" y="125730"/>
                    </a:lnTo>
                    <a:lnTo>
                      <a:pt x="426720" y="128302"/>
                    </a:lnTo>
                    <a:lnTo>
                      <a:pt x="426720" y="130016"/>
                    </a:lnTo>
                    <a:lnTo>
                      <a:pt x="429292" y="130016"/>
                    </a:lnTo>
                    <a:lnTo>
                      <a:pt x="431863" y="128302"/>
                    </a:lnTo>
                    <a:lnTo>
                      <a:pt x="434435" y="128302"/>
                    </a:lnTo>
                    <a:lnTo>
                      <a:pt x="435292" y="127445"/>
                    </a:lnTo>
                    <a:lnTo>
                      <a:pt x="435292" y="126587"/>
                    </a:lnTo>
                    <a:lnTo>
                      <a:pt x="435292" y="124873"/>
                    </a:lnTo>
                    <a:lnTo>
                      <a:pt x="435292" y="124016"/>
                    </a:lnTo>
                    <a:lnTo>
                      <a:pt x="434435" y="123158"/>
                    </a:lnTo>
                    <a:lnTo>
                      <a:pt x="435292" y="122301"/>
                    </a:lnTo>
                    <a:lnTo>
                      <a:pt x="436150" y="122301"/>
                    </a:lnTo>
                    <a:lnTo>
                      <a:pt x="437864" y="121444"/>
                    </a:lnTo>
                    <a:lnTo>
                      <a:pt x="439579" y="117253"/>
                    </a:lnTo>
                    <a:lnTo>
                      <a:pt x="439579" y="115538"/>
                    </a:lnTo>
                    <a:lnTo>
                      <a:pt x="440436" y="115538"/>
                    </a:lnTo>
                    <a:lnTo>
                      <a:pt x="443008" y="113824"/>
                    </a:lnTo>
                    <a:lnTo>
                      <a:pt x="444722" y="113824"/>
                    </a:lnTo>
                    <a:lnTo>
                      <a:pt x="445580" y="112967"/>
                    </a:lnTo>
                    <a:lnTo>
                      <a:pt x="445580" y="112109"/>
                    </a:lnTo>
                    <a:lnTo>
                      <a:pt x="445580" y="111252"/>
                    </a:lnTo>
                    <a:lnTo>
                      <a:pt x="443865" y="110395"/>
                    </a:lnTo>
                    <a:lnTo>
                      <a:pt x="443865" y="109538"/>
                    </a:lnTo>
                    <a:lnTo>
                      <a:pt x="443865" y="108680"/>
                    </a:lnTo>
                    <a:lnTo>
                      <a:pt x="444722" y="108680"/>
                    </a:lnTo>
                    <a:lnTo>
                      <a:pt x="445580" y="107823"/>
                    </a:lnTo>
                    <a:lnTo>
                      <a:pt x="446437" y="106966"/>
                    </a:lnTo>
                    <a:lnTo>
                      <a:pt x="447294" y="106966"/>
                    </a:lnTo>
                    <a:lnTo>
                      <a:pt x="447294" y="106108"/>
                    </a:lnTo>
                    <a:lnTo>
                      <a:pt x="448151" y="97631"/>
                    </a:lnTo>
                    <a:lnTo>
                      <a:pt x="449009" y="95917"/>
                    </a:lnTo>
                    <a:lnTo>
                      <a:pt x="449866" y="91726"/>
                    </a:lnTo>
                    <a:lnTo>
                      <a:pt x="449866" y="91726"/>
                    </a:lnTo>
                    <a:lnTo>
                      <a:pt x="450723" y="90869"/>
                    </a:lnTo>
                    <a:lnTo>
                      <a:pt x="450723" y="90869"/>
                    </a:lnTo>
                    <a:lnTo>
                      <a:pt x="452438" y="87440"/>
                    </a:lnTo>
                    <a:lnTo>
                      <a:pt x="450247" y="76010"/>
                    </a:lnTo>
                    <a:lnTo>
                      <a:pt x="450247" y="76010"/>
                    </a:lnTo>
                    <a:lnTo>
                      <a:pt x="450247" y="7601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25" name="Freeform: Shape 129">
                <a:extLst>
                  <a:ext uri="{FF2B5EF4-FFF2-40B4-BE49-F238E27FC236}">
                    <a16:creationId xmlns:a16="http://schemas.microsoft.com/office/drawing/2014/main" id="{DCF2994F-CAA6-4A5C-846C-42007B8D06D0}"/>
                  </a:ext>
                </a:extLst>
              </p:cNvPr>
              <p:cNvSpPr/>
              <p:nvPr/>
            </p:nvSpPr>
            <p:spPr>
              <a:xfrm>
                <a:off x="5524404" y="2344007"/>
                <a:ext cx="371475" cy="342900"/>
              </a:xfrm>
              <a:custGeom>
                <a:avLst/>
                <a:gdLst>
                  <a:gd name="connsiteX0" fmla="*/ 377190 w 371475"/>
                  <a:gd name="connsiteY0" fmla="*/ 154496 h 342900"/>
                  <a:gd name="connsiteX1" fmla="*/ 375476 w 371475"/>
                  <a:gd name="connsiteY1" fmla="*/ 151067 h 342900"/>
                  <a:gd name="connsiteX2" fmla="*/ 371285 w 371475"/>
                  <a:gd name="connsiteY2" fmla="*/ 148495 h 342900"/>
                  <a:gd name="connsiteX3" fmla="*/ 362807 w 371475"/>
                  <a:gd name="connsiteY3" fmla="*/ 146876 h 342900"/>
                  <a:gd name="connsiteX4" fmla="*/ 353568 w 371475"/>
                  <a:gd name="connsiteY4" fmla="*/ 142589 h 342900"/>
                  <a:gd name="connsiteX5" fmla="*/ 351853 w 371475"/>
                  <a:gd name="connsiteY5" fmla="*/ 140875 h 342900"/>
                  <a:gd name="connsiteX6" fmla="*/ 350996 w 371475"/>
                  <a:gd name="connsiteY6" fmla="*/ 139160 h 342900"/>
                  <a:gd name="connsiteX7" fmla="*/ 348520 w 371475"/>
                  <a:gd name="connsiteY7" fmla="*/ 134969 h 342900"/>
                  <a:gd name="connsiteX8" fmla="*/ 346805 w 371475"/>
                  <a:gd name="connsiteY8" fmla="*/ 133255 h 342900"/>
                  <a:gd name="connsiteX9" fmla="*/ 344234 w 371475"/>
                  <a:gd name="connsiteY9" fmla="*/ 130683 h 342900"/>
                  <a:gd name="connsiteX10" fmla="*/ 333280 w 371475"/>
                  <a:gd name="connsiteY10" fmla="*/ 124778 h 342900"/>
                  <a:gd name="connsiteX11" fmla="*/ 330803 w 371475"/>
                  <a:gd name="connsiteY11" fmla="*/ 123920 h 342900"/>
                  <a:gd name="connsiteX12" fmla="*/ 329089 w 371475"/>
                  <a:gd name="connsiteY12" fmla="*/ 123920 h 342900"/>
                  <a:gd name="connsiteX13" fmla="*/ 328232 w 371475"/>
                  <a:gd name="connsiteY13" fmla="*/ 124778 h 342900"/>
                  <a:gd name="connsiteX14" fmla="*/ 325660 w 371475"/>
                  <a:gd name="connsiteY14" fmla="*/ 124778 h 342900"/>
                  <a:gd name="connsiteX15" fmla="*/ 324040 w 371475"/>
                  <a:gd name="connsiteY15" fmla="*/ 124778 h 342900"/>
                  <a:gd name="connsiteX16" fmla="*/ 319754 w 371475"/>
                  <a:gd name="connsiteY16" fmla="*/ 122206 h 342900"/>
                  <a:gd name="connsiteX17" fmla="*/ 314706 w 371475"/>
                  <a:gd name="connsiteY17" fmla="*/ 119729 h 342900"/>
                  <a:gd name="connsiteX18" fmla="*/ 303752 w 371475"/>
                  <a:gd name="connsiteY18" fmla="*/ 113729 h 342900"/>
                  <a:gd name="connsiteX19" fmla="*/ 295370 w 371475"/>
                  <a:gd name="connsiteY19" fmla="*/ 111157 h 342900"/>
                  <a:gd name="connsiteX20" fmla="*/ 291941 w 371475"/>
                  <a:gd name="connsiteY20" fmla="*/ 111157 h 342900"/>
                  <a:gd name="connsiteX21" fmla="*/ 287750 w 371475"/>
                  <a:gd name="connsiteY21" fmla="*/ 112014 h 342900"/>
                  <a:gd name="connsiteX22" fmla="*/ 288607 w 371475"/>
                  <a:gd name="connsiteY22" fmla="*/ 109538 h 342900"/>
                  <a:gd name="connsiteX23" fmla="*/ 289465 w 371475"/>
                  <a:gd name="connsiteY23" fmla="*/ 107823 h 342900"/>
                  <a:gd name="connsiteX24" fmla="*/ 290227 w 371475"/>
                  <a:gd name="connsiteY24" fmla="*/ 106109 h 342900"/>
                  <a:gd name="connsiteX25" fmla="*/ 289465 w 371475"/>
                  <a:gd name="connsiteY25" fmla="*/ 103537 h 342900"/>
                  <a:gd name="connsiteX26" fmla="*/ 288607 w 371475"/>
                  <a:gd name="connsiteY26" fmla="*/ 101822 h 342900"/>
                  <a:gd name="connsiteX27" fmla="*/ 287750 w 371475"/>
                  <a:gd name="connsiteY27" fmla="*/ 100203 h 342900"/>
                  <a:gd name="connsiteX28" fmla="*/ 286036 w 371475"/>
                  <a:gd name="connsiteY28" fmla="*/ 98489 h 342900"/>
                  <a:gd name="connsiteX29" fmla="*/ 286036 w 371475"/>
                  <a:gd name="connsiteY29" fmla="*/ 97631 h 342900"/>
                  <a:gd name="connsiteX30" fmla="*/ 286893 w 371475"/>
                  <a:gd name="connsiteY30" fmla="*/ 96774 h 342900"/>
                  <a:gd name="connsiteX31" fmla="*/ 287750 w 371475"/>
                  <a:gd name="connsiteY31" fmla="*/ 96774 h 342900"/>
                  <a:gd name="connsiteX32" fmla="*/ 288607 w 371475"/>
                  <a:gd name="connsiteY32" fmla="*/ 96774 h 342900"/>
                  <a:gd name="connsiteX33" fmla="*/ 289465 w 371475"/>
                  <a:gd name="connsiteY33" fmla="*/ 96774 h 342900"/>
                  <a:gd name="connsiteX34" fmla="*/ 290227 w 371475"/>
                  <a:gd name="connsiteY34" fmla="*/ 95917 h 342900"/>
                  <a:gd name="connsiteX35" fmla="*/ 293656 w 371475"/>
                  <a:gd name="connsiteY35" fmla="*/ 90869 h 342900"/>
                  <a:gd name="connsiteX36" fmla="*/ 292798 w 371475"/>
                  <a:gd name="connsiteY36" fmla="*/ 90011 h 342900"/>
                  <a:gd name="connsiteX37" fmla="*/ 289465 w 371475"/>
                  <a:gd name="connsiteY37" fmla="*/ 87440 h 342900"/>
                  <a:gd name="connsiteX38" fmla="*/ 286036 w 371475"/>
                  <a:gd name="connsiteY38" fmla="*/ 83153 h 342900"/>
                  <a:gd name="connsiteX39" fmla="*/ 285178 w 371475"/>
                  <a:gd name="connsiteY39" fmla="*/ 82391 h 342900"/>
                  <a:gd name="connsiteX40" fmla="*/ 283559 w 371475"/>
                  <a:gd name="connsiteY40" fmla="*/ 82391 h 342900"/>
                  <a:gd name="connsiteX41" fmla="*/ 280130 w 371475"/>
                  <a:gd name="connsiteY41" fmla="*/ 84011 h 342900"/>
                  <a:gd name="connsiteX42" fmla="*/ 277654 w 371475"/>
                  <a:gd name="connsiteY42" fmla="*/ 84868 h 342900"/>
                  <a:gd name="connsiteX43" fmla="*/ 274225 w 371475"/>
                  <a:gd name="connsiteY43" fmla="*/ 83153 h 342900"/>
                  <a:gd name="connsiteX44" fmla="*/ 272510 w 371475"/>
                  <a:gd name="connsiteY44" fmla="*/ 80677 h 342900"/>
                  <a:gd name="connsiteX45" fmla="*/ 270891 w 371475"/>
                  <a:gd name="connsiteY45" fmla="*/ 77248 h 342900"/>
                  <a:gd name="connsiteX46" fmla="*/ 268319 w 371475"/>
                  <a:gd name="connsiteY46" fmla="*/ 74676 h 342900"/>
                  <a:gd name="connsiteX47" fmla="*/ 260699 w 371475"/>
                  <a:gd name="connsiteY47" fmla="*/ 72200 h 342900"/>
                  <a:gd name="connsiteX48" fmla="*/ 259080 w 371475"/>
                  <a:gd name="connsiteY48" fmla="*/ 70485 h 342900"/>
                  <a:gd name="connsiteX49" fmla="*/ 258223 w 371475"/>
                  <a:gd name="connsiteY49" fmla="*/ 70485 h 342900"/>
                  <a:gd name="connsiteX50" fmla="*/ 257365 w 371475"/>
                  <a:gd name="connsiteY50" fmla="*/ 69628 h 342900"/>
                  <a:gd name="connsiteX51" fmla="*/ 254794 w 371475"/>
                  <a:gd name="connsiteY51" fmla="*/ 67056 h 342900"/>
                  <a:gd name="connsiteX52" fmla="*/ 252317 w 371475"/>
                  <a:gd name="connsiteY52" fmla="*/ 62865 h 342900"/>
                  <a:gd name="connsiteX53" fmla="*/ 251460 w 371475"/>
                  <a:gd name="connsiteY53" fmla="*/ 61151 h 342900"/>
                  <a:gd name="connsiteX54" fmla="*/ 249746 w 371475"/>
                  <a:gd name="connsiteY54" fmla="*/ 60293 h 342900"/>
                  <a:gd name="connsiteX55" fmla="*/ 241364 w 371475"/>
                  <a:gd name="connsiteY55" fmla="*/ 58579 h 342900"/>
                  <a:gd name="connsiteX56" fmla="*/ 238792 w 371475"/>
                  <a:gd name="connsiteY56" fmla="*/ 58579 h 342900"/>
                  <a:gd name="connsiteX57" fmla="*/ 233744 w 371475"/>
                  <a:gd name="connsiteY57" fmla="*/ 59436 h 342900"/>
                  <a:gd name="connsiteX58" fmla="*/ 229552 w 371475"/>
                  <a:gd name="connsiteY58" fmla="*/ 60293 h 342900"/>
                  <a:gd name="connsiteX59" fmla="*/ 226981 w 371475"/>
                  <a:gd name="connsiteY59" fmla="*/ 60293 h 342900"/>
                  <a:gd name="connsiteX60" fmla="*/ 222790 w 371475"/>
                  <a:gd name="connsiteY60" fmla="*/ 63722 h 342900"/>
                  <a:gd name="connsiteX61" fmla="*/ 221075 w 371475"/>
                  <a:gd name="connsiteY61" fmla="*/ 63722 h 342900"/>
                  <a:gd name="connsiteX62" fmla="*/ 220218 w 371475"/>
                  <a:gd name="connsiteY62" fmla="*/ 62865 h 342900"/>
                  <a:gd name="connsiteX63" fmla="*/ 217742 w 371475"/>
                  <a:gd name="connsiteY63" fmla="*/ 62008 h 342900"/>
                  <a:gd name="connsiteX64" fmla="*/ 216027 w 371475"/>
                  <a:gd name="connsiteY64" fmla="*/ 61151 h 342900"/>
                  <a:gd name="connsiteX65" fmla="*/ 214313 w 371475"/>
                  <a:gd name="connsiteY65" fmla="*/ 60293 h 342900"/>
                  <a:gd name="connsiteX66" fmla="*/ 212598 w 371475"/>
                  <a:gd name="connsiteY66" fmla="*/ 57722 h 342900"/>
                  <a:gd name="connsiteX67" fmla="*/ 211741 w 371475"/>
                  <a:gd name="connsiteY67" fmla="*/ 56007 h 342900"/>
                  <a:gd name="connsiteX68" fmla="*/ 211741 w 371475"/>
                  <a:gd name="connsiteY68" fmla="*/ 55150 h 342900"/>
                  <a:gd name="connsiteX69" fmla="*/ 210979 w 371475"/>
                  <a:gd name="connsiteY69" fmla="*/ 55150 h 342900"/>
                  <a:gd name="connsiteX70" fmla="*/ 210979 w 371475"/>
                  <a:gd name="connsiteY70" fmla="*/ 54388 h 342900"/>
                  <a:gd name="connsiteX71" fmla="*/ 210122 w 371475"/>
                  <a:gd name="connsiteY71" fmla="*/ 53531 h 342900"/>
                  <a:gd name="connsiteX72" fmla="*/ 208407 w 371475"/>
                  <a:gd name="connsiteY72" fmla="*/ 52673 h 342900"/>
                  <a:gd name="connsiteX73" fmla="*/ 206693 w 371475"/>
                  <a:gd name="connsiteY73" fmla="*/ 52673 h 342900"/>
                  <a:gd name="connsiteX74" fmla="*/ 205073 w 371475"/>
                  <a:gd name="connsiteY74" fmla="*/ 52673 h 342900"/>
                  <a:gd name="connsiteX75" fmla="*/ 203359 w 371475"/>
                  <a:gd name="connsiteY75" fmla="*/ 52673 h 342900"/>
                  <a:gd name="connsiteX76" fmla="*/ 201644 w 371475"/>
                  <a:gd name="connsiteY76" fmla="*/ 52673 h 342900"/>
                  <a:gd name="connsiteX77" fmla="*/ 201644 w 371475"/>
                  <a:gd name="connsiteY77" fmla="*/ 50959 h 342900"/>
                  <a:gd name="connsiteX78" fmla="*/ 200787 w 371475"/>
                  <a:gd name="connsiteY78" fmla="*/ 46673 h 342900"/>
                  <a:gd name="connsiteX79" fmla="*/ 199930 w 371475"/>
                  <a:gd name="connsiteY79" fmla="*/ 45815 h 342900"/>
                  <a:gd name="connsiteX80" fmla="*/ 199168 w 371475"/>
                  <a:gd name="connsiteY80" fmla="*/ 43339 h 342900"/>
                  <a:gd name="connsiteX81" fmla="*/ 196596 w 371475"/>
                  <a:gd name="connsiteY81" fmla="*/ 42482 h 342900"/>
                  <a:gd name="connsiteX82" fmla="*/ 193262 w 371475"/>
                  <a:gd name="connsiteY82" fmla="*/ 41624 h 342900"/>
                  <a:gd name="connsiteX83" fmla="*/ 190690 w 371475"/>
                  <a:gd name="connsiteY83" fmla="*/ 39910 h 342900"/>
                  <a:gd name="connsiteX84" fmla="*/ 188976 w 371475"/>
                  <a:gd name="connsiteY84" fmla="*/ 38195 h 342900"/>
                  <a:gd name="connsiteX85" fmla="*/ 188119 w 371475"/>
                  <a:gd name="connsiteY85" fmla="*/ 35719 h 342900"/>
                  <a:gd name="connsiteX86" fmla="*/ 188119 w 371475"/>
                  <a:gd name="connsiteY86" fmla="*/ 33147 h 342900"/>
                  <a:gd name="connsiteX87" fmla="*/ 188119 w 371475"/>
                  <a:gd name="connsiteY87" fmla="*/ 31433 h 342900"/>
                  <a:gd name="connsiteX88" fmla="*/ 187357 w 371475"/>
                  <a:gd name="connsiteY88" fmla="*/ 28004 h 342900"/>
                  <a:gd name="connsiteX89" fmla="*/ 185642 w 371475"/>
                  <a:gd name="connsiteY89" fmla="*/ 27242 h 342900"/>
                  <a:gd name="connsiteX90" fmla="*/ 183928 w 371475"/>
                  <a:gd name="connsiteY90" fmla="*/ 27242 h 342900"/>
                  <a:gd name="connsiteX91" fmla="*/ 182213 w 371475"/>
                  <a:gd name="connsiteY91" fmla="*/ 25527 h 342900"/>
                  <a:gd name="connsiteX92" fmla="*/ 181451 w 371475"/>
                  <a:gd name="connsiteY92" fmla="*/ 24670 h 342900"/>
                  <a:gd name="connsiteX93" fmla="*/ 181451 w 371475"/>
                  <a:gd name="connsiteY93" fmla="*/ 22955 h 342900"/>
                  <a:gd name="connsiteX94" fmla="*/ 182213 w 371475"/>
                  <a:gd name="connsiteY94" fmla="*/ 22098 h 342900"/>
                  <a:gd name="connsiteX95" fmla="*/ 182213 w 371475"/>
                  <a:gd name="connsiteY95" fmla="*/ 21241 h 342900"/>
                  <a:gd name="connsiteX96" fmla="*/ 181451 w 371475"/>
                  <a:gd name="connsiteY96" fmla="*/ 19526 h 342900"/>
                  <a:gd name="connsiteX97" fmla="*/ 179737 w 371475"/>
                  <a:gd name="connsiteY97" fmla="*/ 18669 h 342900"/>
                  <a:gd name="connsiteX98" fmla="*/ 178880 w 371475"/>
                  <a:gd name="connsiteY98" fmla="*/ 17907 h 342900"/>
                  <a:gd name="connsiteX99" fmla="*/ 179737 w 371475"/>
                  <a:gd name="connsiteY99" fmla="*/ 16193 h 342900"/>
                  <a:gd name="connsiteX100" fmla="*/ 179737 w 371475"/>
                  <a:gd name="connsiteY100" fmla="*/ 15335 h 342900"/>
                  <a:gd name="connsiteX101" fmla="*/ 179737 w 371475"/>
                  <a:gd name="connsiteY101" fmla="*/ 13621 h 342900"/>
                  <a:gd name="connsiteX102" fmla="*/ 178880 w 371475"/>
                  <a:gd name="connsiteY102" fmla="*/ 12764 h 342900"/>
                  <a:gd name="connsiteX103" fmla="*/ 178022 w 371475"/>
                  <a:gd name="connsiteY103" fmla="*/ 11906 h 342900"/>
                  <a:gd name="connsiteX104" fmla="*/ 176308 w 371475"/>
                  <a:gd name="connsiteY104" fmla="*/ 11906 h 342900"/>
                  <a:gd name="connsiteX105" fmla="*/ 175546 w 371475"/>
                  <a:gd name="connsiteY105" fmla="*/ 11049 h 342900"/>
                  <a:gd name="connsiteX106" fmla="*/ 173831 w 371475"/>
                  <a:gd name="connsiteY106" fmla="*/ 9335 h 342900"/>
                  <a:gd name="connsiteX107" fmla="*/ 173831 w 371475"/>
                  <a:gd name="connsiteY107" fmla="*/ 7715 h 342900"/>
                  <a:gd name="connsiteX108" fmla="*/ 172974 w 371475"/>
                  <a:gd name="connsiteY108" fmla="*/ 6001 h 342900"/>
                  <a:gd name="connsiteX109" fmla="*/ 169640 w 371475"/>
                  <a:gd name="connsiteY109" fmla="*/ 3429 h 342900"/>
                  <a:gd name="connsiteX110" fmla="*/ 166211 w 371475"/>
                  <a:gd name="connsiteY110" fmla="*/ 857 h 342900"/>
                  <a:gd name="connsiteX111" fmla="*/ 164497 w 371475"/>
                  <a:gd name="connsiteY111" fmla="*/ 0 h 342900"/>
                  <a:gd name="connsiteX112" fmla="*/ 159449 w 371475"/>
                  <a:gd name="connsiteY112" fmla="*/ 857 h 342900"/>
                  <a:gd name="connsiteX113" fmla="*/ 157829 w 371475"/>
                  <a:gd name="connsiteY113" fmla="*/ 6001 h 342900"/>
                  <a:gd name="connsiteX114" fmla="*/ 156972 w 371475"/>
                  <a:gd name="connsiteY114" fmla="*/ 11906 h 342900"/>
                  <a:gd name="connsiteX115" fmla="*/ 155258 w 371475"/>
                  <a:gd name="connsiteY115" fmla="*/ 14478 h 342900"/>
                  <a:gd name="connsiteX116" fmla="*/ 153543 w 371475"/>
                  <a:gd name="connsiteY116" fmla="*/ 13621 h 342900"/>
                  <a:gd name="connsiteX117" fmla="*/ 151067 w 371475"/>
                  <a:gd name="connsiteY117" fmla="*/ 11049 h 342900"/>
                  <a:gd name="connsiteX118" fmla="*/ 148495 w 371475"/>
                  <a:gd name="connsiteY118" fmla="*/ 10192 h 342900"/>
                  <a:gd name="connsiteX119" fmla="*/ 146780 w 371475"/>
                  <a:gd name="connsiteY119" fmla="*/ 13621 h 342900"/>
                  <a:gd name="connsiteX120" fmla="*/ 145923 w 371475"/>
                  <a:gd name="connsiteY120" fmla="*/ 16193 h 342900"/>
                  <a:gd name="connsiteX121" fmla="*/ 144304 w 371475"/>
                  <a:gd name="connsiteY121" fmla="*/ 17050 h 342900"/>
                  <a:gd name="connsiteX122" fmla="*/ 146780 w 371475"/>
                  <a:gd name="connsiteY122" fmla="*/ 20384 h 342900"/>
                  <a:gd name="connsiteX123" fmla="*/ 147638 w 371475"/>
                  <a:gd name="connsiteY123" fmla="*/ 21241 h 342900"/>
                  <a:gd name="connsiteX124" fmla="*/ 151067 w 371475"/>
                  <a:gd name="connsiteY124" fmla="*/ 24670 h 342900"/>
                  <a:gd name="connsiteX125" fmla="*/ 153543 w 371475"/>
                  <a:gd name="connsiteY125" fmla="*/ 29718 h 342900"/>
                  <a:gd name="connsiteX126" fmla="*/ 156972 w 371475"/>
                  <a:gd name="connsiteY126" fmla="*/ 34862 h 342900"/>
                  <a:gd name="connsiteX127" fmla="*/ 157829 w 371475"/>
                  <a:gd name="connsiteY127" fmla="*/ 36576 h 342900"/>
                  <a:gd name="connsiteX128" fmla="*/ 156972 w 371475"/>
                  <a:gd name="connsiteY128" fmla="*/ 39053 h 342900"/>
                  <a:gd name="connsiteX129" fmla="*/ 153543 w 371475"/>
                  <a:gd name="connsiteY129" fmla="*/ 39910 h 342900"/>
                  <a:gd name="connsiteX130" fmla="*/ 151829 w 371475"/>
                  <a:gd name="connsiteY130" fmla="*/ 39910 h 342900"/>
                  <a:gd name="connsiteX131" fmla="*/ 150209 w 371475"/>
                  <a:gd name="connsiteY131" fmla="*/ 40767 h 342900"/>
                  <a:gd name="connsiteX132" fmla="*/ 143447 w 371475"/>
                  <a:gd name="connsiteY132" fmla="*/ 39910 h 342900"/>
                  <a:gd name="connsiteX133" fmla="*/ 140875 w 371475"/>
                  <a:gd name="connsiteY133" fmla="*/ 38195 h 342900"/>
                  <a:gd name="connsiteX134" fmla="*/ 139256 w 371475"/>
                  <a:gd name="connsiteY134" fmla="*/ 36576 h 342900"/>
                  <a:gd name="connsiteX135" fmla="*/ 138398 w 371475"/>
                  <a:gd name="connsiteY135" fmla="*/ 34862 h 342900"/>
                  <a:gd name="connsiteX136" fmla="*/ 135827 w 371475"/>
                  <a:gd name="connsiteY136" fmla="*/ 29718 h 342900"/>
                  <a:gd name="connsiteX137" fmla="*/ 134969 w 371475"/>
                  <a:gd name="connsiteY137" fmla="*/ 28861 h 342900"/>
                  <a:gd name="connsiteX138" fmla="*/ 133350 w 371475"/>
                  <a:gd name="connsiteY138" fmla="*/ 28861 h 342900"/>
                  <a:gd name="connsiteX139" fmla="*/ 130778 w 371475"/>
                  <a:gd name="connsiteY139" fmla="*/ 28861 h 342900"/>
                  <a:gd name="connsiteX140" fmla="*/ 127445 w 371475"/>
                  <a:gd name="connsiteY140" fmla="*/ 28004 h 342900"/>
                  <a:gd name="connsiteX141" fmla="*/ 123158 w 371475"/>
                  <a:gd name="connsiteY141" fmla="*/ 28004 h 342900"/>
                  <a:gd name="connsiteX142" fmla="*/ 121539 w 371475"/>
                  <a:gd name="connsiteY142" fmla="*/ 28004 h 342900"/>
                  <a:gd name="connsiteX143" fmla="*/ 119825 w 371475"/>
                  <a:gd name="connsiteY143" fmla="*/ 28004 h 342900"/>
                  <a:gd name="connsiteX144" fmla="*/ 117253 w 371475"/>
                  <a:gd name="connsiteY144" fmla="*/ 27242 h 342900"/>
                  <a:gd name="connsiteX145" fmla="*/ 116396 w 371475"/>
                  <a:gd name="connsiteY145" fmla="*/ 26384 h 342900"/>
                  <a:gd name="connsiteX146" fmla="*/ 114776 w 371475"/>
                  <a:gd name="connsiteY146" fmla="*/ 26384 h 342900"/>
                  <a:gd name="connsiteX147" fmla="*/ 112204 w 371475"/>
                  <a:gd name="connsiteY147" fmla="*/ 26384 h 342900"/>
                  <a:gd name="connsiteX148" fmla="*/ 107156 w 371475"/>
                  <a:gd name="connsiteY148" fmla="*/ 26384 h 342900"/>
                  <a:gd name="connsiteX149" fmla="*/ 105442 w 371475"/>
                  <a:gd name="connsiteY149" fmla="*/ 27242 h 342900"/>
                  <a:gd name="connsiteX150" fmla="*/ 102965 w 371475"/>
                  <a:gd name="connsiteY150" fmla="*/ 27242 h 342900"/>
                  <a:gd name="connsiteX151" fmla="*/ 102108 w 371475"/>
                  <a:gd name="connsiteY151" fmla="*/ 27242 h 342900"/>
                  <a:gd name="connsiteX152" fmla="*/ 99536 w 371475"/>
                  <a:gd name="connsiteY152" fmla="*/ 25527 h 342900"/>
                  <a:gd name="connsiteX153" fmla="*/ 97060 w 371475"/>
                  <a:gd name="connsiteY153" fmla="*/ 22098 h 342900"/>
                  <a:gd name="connsiteX154" fmla="*/ 95345 w 371475"/>
                  <a:gd name="connsiteY154" fmla="*/ 21241 h 342900"/>
                  <a:gd name="connsiteX155" fmla="*/ 94488 w 371475"/>
                  <a:gd name="connsiteY155" fmla="*/ 20384 h 342900"/>
                  <a:gd name="connsiteX156" fmla="*/ 92774 w 371475"/>
                  <a:gd name="connsiteY156" fmla="*/ 21241 h 342900"/>
                  <a:gd name="connsiteX157" fmla="*/ 91916 w 371475"/>
                  <a:gd name="connsiteY157" fmla="*/ 21241 h 342900"/>
                  <a:gd name="connsiteX158" fmla="*/ 91154 w 371475"/>
                  <a:gd name="connsiteY158" fmla="*/ 20384 h 342900"/>
                  <a:gd name="connsiteX159" fmla="*/ 90297 w 371475"/>
                  <a:gd name="connsiteY159" fmla="*/ 19526 h 342900"/>
                  <a:gd name="connsiteX160" fmla="*/ 89440 w 371475"/>
                  <a:gd name="connsiteY160" fmla="*/ 18669 h 342900"/>
                  <a:gd name="connsiteX161" fmla="*/ 88583 w 371475"/>
                  <a:gd name="connsiteY161" fmla="*/ 18669 h 342900"/>
                  <a:gd name="connsiteX162" fmla="*/ 86011 w 371475"/>
                  <a:gd name="connsiteY162" fmla="*/ 18669 h 342900"/>
                  <a:gd name="connsiteX163" fmla="*/ 81820 w 371475"/>
                  <a:gd name="connsiteY163" fmla="*/ 17907 h 342900"/>
                  <a:gd name="connsiteX164" fmla="*/ 80105 w 371475"/>
                  <a:gd name="connsiteY164" fmla="*/ 17907 h 342900"/>
                  <a:gd name="connsiteX165" fmla="*/ 79343 w 371475"/>
                  <a:gd name="connsiteY165" fmla="*/ 17907 h 342900"/>
                  <a:gd name="connsiteX166" fmla="*/ 73438 w 371475"/>
                  <a:gd name="connsiteY166" fmla="*/ 22098 h 342900"/>
                  <a:gd name="connsiteX167" fmla="*/ 68294 w 371475"/>
                  <a:gd name="connsiteY167" fmla="*/ 23813 h 342900"/>
                  <a:gd name="connsiteX168" fmla="*/ 60770 w 371475"/>
                  <a:gd name="connsiteY168" fmla="*/ 28004 h 342900"/>
                  <a:gd name="connsiteX169" fmla="*/ 55721 w 371475"/>
                  <a:gd name="connsiteY169" fmla="*/ 31433 h 342900"/>
                  <a:gd name="connsiteX170" fmla="*/ 52292 w 371475"/>
                  <a:gd name="connsiteY170" fmla="*/ 33147 h 342900"/>
                  <a:gd name="connsiteX171" fmla="*/ 50578 w 371475"/>
                  <a:gd name="connsiteY171" fmla="*/ 34004 h 342900"/>
                  <a:gd name="connsiteX172" fmla="*/ 48958 w 371475"/>
                  <a:gd name="connsiteY172" fmla="*/ 34004 h 342900"/>
                  <a:gd name="connsiteX173" fmla="*/ 43910 w 371475"/>
                  <a:gd name="connsiteY173" fmla="*/ 33147 h 342900"/>
                  <a:gd name="connsiteX174" fmla="*/ 43053 w 371475"/>
                  <a:gd name="connsiteY174" fmla="*/ 33147 h 342900"/>
                  <a:gd name="connsiteX175" fmla="*/ 41339 w 371475"/>
                  <a:gd name="connsiteY175" fmla="*/ 33147 h 342900"/>
                  <a:gd name="connsiteX176" fmla="*/ 39624 w 371475"/>
                  <a:gd name="connsiteY176" fmla="*/ 34004 h 342900"/>
                  <a:gd name="connsiteX177" fmla="*/ 37148 w 371475"/>
                  <a:gd name="connsiteY177" fmla="*/ 38195 h 342900"/>
                  <a:gd name="connsiteX178" fmla="*/ 32861 w 371475"/>
                  <a:gd name="connsiteY178" fmla="*/ 42482 h 342900"/>
                  <a:gd name="connsiteX179" fmla="*/ 26956 w 371475"/>
                  <a:gd name="connsiteY179" fmla="*/ 49244 h 342900"/>
                  <a:gd name="connsiteX180" fmla="*/ 26099 w 371475"/>
                  <a:gd name="connsiteY180" fmla="*/ 50102 h 342900"/>
                  <a:gd name="connsiteX181" fmla="*/ 25337 w 371475"/>
                  <a:gd name="connsiteY181" fmla="*/ 51816 h 342900"/>
                  <a:gd name="connsiteX182" fmla="*/ 26956 w 371475"/>
                  <a:gd name="connsiteY182" fmla="*/ 54388 h 342900"/>
                  <a:gd name="connsiteX183" fmla="*/ 26956 w 371475"/>
                  <a:gd name="connsiteY183" fmla="*/ 55150 h 342900"/>
                  <a:gd name="connsiteX184" fmla="*/ 26099 w 371475"/>
                  <a:gd name="connsiteY184" fmla="*/ 56864 h 342900"/>
                  <a:gd name="connsiteX185" fmla="*/ 25337 w 371475"/>
                  <a:gd name="connsiteY185" fmla="*/ 57722 h 342900"/>
                  <a:gd name="connsiteX186" fmla="*/ 24479 w 371475"/>
                  <a:gd name="connsiteY186" fmla="*/ 57722 h 342900"/>
                  <a:gd name="connsiteX187" fmla="*/ 23622 w 371475"/>
                  <a:gd name="connsiteY187" fmla="*/ 57722 h 342900"/>
                  <a:gd name="connsiteX188" fmla="*/ 21908 w 371475"/>
                  <a:gd name="connsiteY188" fmla="*/ 57722 h 342900"/>
                  <a:gd name="connsiteX189" fmla="*/ 21050 w 371475"/>
                  <a:gd name="connsiteY189" fmla="*/ 57722 h 342900"/>
                  <a:gd name="connsiteX190" fmla="*/ 20193 w 371475"/>
                  <a:gd name="connsiteY190" fmla="*/ 57722 h 342900"/>
                  <a:gd name="connsiteX191" fmla="*/ 20193 w 371475"/>
                  <a:gd name="connsiteY191" fmla="*/ 59436 h 342900"/>
                  <a:gd name="connsiteX192" fmla="*/ 21908 w 371475"/>
                  <a:gd name="connsiteY192" fmla="*/ 62008 h 342900"/>
                  <a:gd name="connsiteX193" fmla="*/ 22765 w 371475"/>
                  <a:gd name="connsiteY193" fmla="*/ 62865 h 342900"/>
                  <a:gd name="connsiteX194" fmla="*/ 23622 w 371475"/>
                  <a:gd name="connsiteY194" fmla="*/ 63722 h 342900"/>
                  <a:gd name="connsiteX195" fmla="*/ 24479 w 371475"/>
                  <a:gd name="connsiteY195" fmla="*/ 64484 h 342900"/>
                  <a:gd name="connsiteX196" fmla="*/ 25337 w 371475"/>
                  <a:gd name="connsiteY196" fmla="*/ 66199 h 342900"/>
                  <a:gd name="connsiteX197" fmla="*/ 25337 w 371475"/>
                  <a:gd name="connsiteY197" fmla="*/ 68771 h 342900"/>
                  <a:gd name="connsiteX198" fmla="*/ 24479 w 371475"/>
                  <a:gd name="connsiteY198" fmla="*/ 72200 h 342900"/>
                  <a:gd name="connsiteX199" fmla="*/ 22765 w 371475"/>
                  <a:gd name="connsiteY199" fmla="*/ 71342 h 342900"/>
                  <a:gd name="connsiteX200" fmla="*/ 22765 w 371475"/>
                  <a:gd name="connsiteY200" fmla="*/ 71342 h 342900"/>
                  <a:gd name="connsiteX201" fmla="*/ 21050 w 371475"/>
                  <a:gd name="connsiteY201" fmla="*/ 70485 h 342900"/>
                  <a:gd name="connsiteX202" fmla="*/ 20193 w 371475"/>
                  <a:gd name="connsiteY202" fmla="*/ 70485 h 342900"/>
                  <a:gd name="connsiteX203" fmla="*/ 19431 w 371475"/>
                  <a:gd name="connsiteY203" fmla="*/ 72200 h 342900"/>
                  <a:gd name="connsiteX204" fmla="*/ 17717 w 371475"/>
                  <a:gd name="connsiteY204" fmla="*/ 76391 h 342900"/>
                  <a:gd name="connsiteX205" fmla="*/ 16002 w 371475"/>
                  <a:gd name="connsiteY205" fmla="*/ 82391 h 342900"/>
                  <a:gd name="connsiteX206" fmla="*/ 15145 w 371475"/>
                  <a:gd name="connsiteY206" fmla="*/ 84868 h 342900"/>
                  <a:gd name="connsiteX207" fmla="*/ 16002 w 371475"/>
                  <a:gd name="connsiteY207" fmla="*/ 86582 h 342900"/>
                  <a:gd name="connsiteX208" fmla="*/ 18574 w 371475"/>
                  <a:gd name="connsiteY208" fmla="*/ 89154 h 342900"/>
                  <a:gd name="connsiteX209" fmla="*/ 19431 w 371475"/>
                  <a:gd name="connsiteY209" fmla="*/ 91726 h 342900"/>
                  <a:gd name="connsiteX210" fmla="*/ 19431 w 371475"/>
                  <a:gd name="connsiteY210" fmla="*/ 94202 h 342900"/>
                  <a:gd name="connsiteX211" fmla="*/ 19431 w 371475"/>
                  <a:gd name="connsiteY211" fmla="*/ 95917 h 342900"/>
                  <a:gd name="connsiteX212" fmla="*/ 21050 w 371475"/>
                  <a:gd name="connsiteY212" fmla="*/ 97631 h 342900"/>
                  <a:gd name="connsiteX213" fmla="*/ 21908 w 371475"/>
                  <a:gd name="connsiteY213" fmla="*/ 99346 h 342900"/>
                  <a:gd name="connsiteX214" fmla="*/ 22765 w 371475"/>
                  <a:gd name="connsiteY214" fmla="*/ 101822 h 342900"/>
                  <a:gd name="connsiteX215" fmla="*/ 22765 w 371475"/>
                  <a:gd name="connsiteY215" fmla="*/ 103537 h 342900"/>
                  <a:gd name="connsiteX216" fmla="*/ 21908 w 371475"/>
                  <a:gd name="connsiteY216" fmla="*/ 104394 h 342900"/>
                  <a:gd name="connsiteX217" fmla="*/ 20193 w 371475"/>
                  <a:gd name="connsiteY217" fmla="*/ 106109 h 342900"/>
                  <a:gd name="connsiteX218" fmla="*/ 19431 w 371475"/>
                  <a:gd name="connsiteY218" fmla="*/ 106966 h 342900"/>
                  <a:gd name="connsiteX219" fmla="*/ 21908 w 371475"/>
                  <a:gd name="connsiteY219" fmla="*/ 111157 h 342900"/>
                  <a:gd name="connsiteX220" fmla="*/ 22765 w 371475"/>
                  <a:gd name="connsiteY220" fmla="*/ 112014 h 342900"/>
                  <a:gd name="connsiteX221" fmla="*/ 24479 w 371475"/>
                  <a:gd name="connsiteY221" fmla="*/ 112871 h 342900"/>
                  <a:gd name="connsiteX222" fmla="*/ 26099 w 371475"/>
                  <a:gd name="connsiteY222" fmla="*/ 112871 h 342900"/>
                  <a:gd name="connsiteX223" fmla="*/ 26956 w 371475"/>
                  <a:gd name="connsiteY223" fmla="*/ 112871 h 342900"/>
                  <a:gd name="connsiteX224" fmla="*/ 27813 w 371475"/>
                  <a:gd name="connsiteY224" fmla="*/ 113729 h 342900"/>
                  <a:gd name="connsiteX225" fmla="*/ 27813 w 371475"/>
                  <a:gd name="connsiteY225" fmla="*/ 114586 h 342900"/>
                  <a:gd name="connsiteX226" fmla="*/ 27813 w 371475"/>
                  <a:gd name="connsiteY226" fmla="*/ 115443 h 342900"/>
                  <a:gd name="connsiteX227" fmla="*/ 26956 w 371475"/>
                  <a:gd name="connsiteY227" fmla="*/ 117158 h 342900"/>
                  <a:gd name="connsiteX228" fmla="*/ 26099 w 371475"/>
                  <a:gd name="connsiteY228" fmla="*/ 118872 h 342900"/>
                  <a:gd name="connsiteX229" fmla="*/ 25337 w 371475"/>
                  <a:gd name="connsiteY229" fmla="*/ 118872 h 342900"/>
                  <a:gd name="connsiteX230" fmla="*/ 22765 w 371475"/>
                  <a:gd name="connsiteY230" fmla="*/ 119729 h 342900"/>
                  <a:gd name="connsiteX231" fmla="*/ 13526 w 371475"/>
                  <a:gd name="connsiteY231" fmla="*/ 125635 h 342900"/>
                  <a:gd name="connsiteX232" fmla="*/ 10954 w 371475"/>
                  <a:gd name="connsiteY232" fmla="*/ 126492 h 342900"/>
                  <a:gd name="connsiteX233" fmla="*/ 8382 w 371475"/>
                  <a:gd name="connsiteY233" fmla="*/ 127349 h 342900"/>
                  <a:gd name="connsiteX234" fmla="*/ 6763 w 371475"/>
                  <a:gd name="connsiteY234" fmla="*/ 127349 h 342900"/>
                  <a:gd name="connsiteX235" fmla="*/ 3334 w 371475"/>
                  <a:gd name="connsiteY235" fmla="*/ 127349 h 342900"/>
                  <a:gd name="connsiteX236" fmla="*/ 857 w 371475"/>
                  <a:gd name="connsiteY236" fmla="*/ 129064 h 342900"/>
                  <a:gd name="connsiteX237" fmla="*/ 0 w 371475"/>
                  <a:gd name="connsiteY237" fmla="*/ 130683 h 342900"/>
                  <a:gd name="connsiteX238" fmla="*/ 0 w 371475"/>
                  <a:gd name="connsiteY238" fmla="*/ 131540 h 342900"/>
                  <a:gd name="connsiteX239" fmla="*/ 1715 w 371475"/>
                  <a:gd name="connsiteY239" fmla="*/ 134112 h 342900"/>
                  <a:gd name="connsiteX240" fmla="*/ 2477 w 371475"/>
                  <a:gd name="connsiteY240" fmla="*/ 134969 h 342900"/>
                  <a:gd name="connsiteX241" fmla="*/ 5906 w 371475"/>
                  <a:gd name="connsiteY241" fmla="*/ 132398 h 342900"/>
                  <a:gd name="connsiteX242" fmla="*/ 7620 w 371475"/>
                  <a:gd name="connsiteY242" fmla="*/ 132398 h 342900"/>
                  <a:gd name="connsiteX243" fmla="*/ 10954 w 371475"/>
                  <a:gd name="connsiteY243" fmla="*/ 133255 h 342900"/>
                  <a:gd name="connsiteX244" fmla="*/ 20193 w 371475"/>
                  <a:gd name="connsiteY244" fmla="*/ 141732 h 342900"/>
                  <a:gd name="connsiteX245" fmla="*/ 26956 w 371475"/>
                  <a:gd name="connsiteY245" fmla="*/ 146018 h 342900"/>
                  <a:gd name="connsiteX246" fmla="*/ 39624 w 371475"/>
                  <a:gd name="connsiteY246" fmla="*/ 151924 h 342900"/>
                  <a:gd name="connsiteX247" fmla="*/ 42196 w 371475"/>
                  <a:gd name="connsiteY247" fmla="*/ 154496 h 342900"/>
                  <a:gd name="connsiteX248" fmla="*/ 41339 w 371475"/>
                  <a:gd name="connsiteY248" fmla="*/ 156210 h 342900"/>
                  <a:gd name="connsiteX249" fmla="*/ 38767 w 371475"/>
                  <a:gd name="connsiteY249" fmla="*/ 157829 h 342900"/>
                  <a:gd name="connsiteX250" fmla="*/ 33719 w 371475"/>
                  <a:gd name="connsiteY250" fmla="*/ 162116 h 342900"/>
                  <a:gd name="connsiteX251" fmla="*/ 29527 w 371475"/>
                  <a:gd name="connsiteY251" fmla="*/ 166307 h 342900"/>
                  <a:gd name="connsiteX252" fmla="*/ 25337 w 371475"/>
                  <a:gd name="connsiteY252" fmla="*/ 178213 h 342900"/>
                  <a:gd name="connsiteX253" fmla="*/ 20193 w 371475"/>
                  <a:gd name="connsiteY253" fmla="*/ 185833 h 342900"/>
                  <a:gd name="connsiteX254" fmla="*/ 19431 w 371475"/>
                  <a:gd name="connsiteY254" fmla="*/ 188405 h 342900"/>
                  <a:gd name="connsiteX255" fmla="*/ 20193 w 371475"/>
                  <a:gd name="connsiteY255" fmla="*/ 193548 h 342900"/>
                  <a:gd name="connsiteX256" fmla="*/ 20193 w 371475"/>
                  <a:gd name="connsiteY256" fmla="*/ 198596 h 342900"/>
                  <a:gd name="connsiteX257" fmla="*/ 20193 w 371475"/>
                  <a:gd name="connsiteY257" fmla="*/ 201168 h 342900"/>
                  <a:gd name="connsiteX258" fmla="*/ 21908 w 371475"/>
                  <a:gd name="connsiteY258" fmla="*/ 206216 h 342900"/>
                  <a:gd name="connsiteX259" fmla="*/ 23622 w 371475"/>
                  <a:gd name="connsiteY259" fmla="*/ 212979 h 342900"/>
                  <a:gd name="connsiteX260" fmla="*/ 24479 w 371475"/>
                  <a:gd name="connsiteY260" fmla="*/ 216408 h 342900"/>
                  <a:gd name="connsiteX261" fmla="*/ 29527 w 371475"/>
                  <a:gd name="connsiteY261" fmla="*/ 226600 h 342900"/>
                  <a:gd name="connsiteX262" fmla="*/ 39624 w 371475"/>
                  <a:gd name="connsiteY262" fmla="*/ 221552 h 342900"/>
                  <a:gd name="connsiteX263" fmla="*/ 43053 w 371475"/>
                  <a:gd name="connsiteY263" fmla="*/ 218123 h 342900"/>
                  <a:gd name="connsiteX264" fmla="*/ 44672 w 371475"/>
                  <a:gd name="connsiteY264" fmla="*/ 218123 h 342900"/>
                  <a:gd name="connsiteX265" fmla="*/ 46387 w 371475"/>
                  <a:gd name="connsiteY265" fmla="*/ 218980 h 342900"/>
                  <a:gd name="connsiteX266" fmla="*/ 52292 w 371475"/>
                  <a:gd name="connsiteY266" fmla="*/ 223171 h 342900"/>
                  <a:gd name="connsiteX267" fmla="*/ 56483 w 371475"/>
                  <a:gd name="connsiteY267" fmla="*/ 225743 h 342900"/>
                  <a:gd name="connsiteX268" fmla="*/ 57341 w 371475"/>
                  <a:gd name="connsiteY268" fmla="*/ 226600 h 342900"/>
                  <a:gd name="connsiteX269" fmla="*/ 59912 w 371475"/>
                  <a:gd name="connsiteY269" fmla="*/ 227457 h 342900"/>
                  <a:gd name="connsiteX270" fmla="*/ 64960 w 371475"/>
                  <a:gd name="connsiteY270" fmla="*/ 224885 h 342900"/>
                  <a:gd name="connsiteX271" fmla="*/ 68294 w 371475"/>
                  <a:gd name="connsiteY271" fmla="*/ 220694 h 342900"/>
                  <a:gd name="connsiteX272" fmla="*/ 70009 w 371475"/>
                  <a:gd name="connsiteY272" fmla="*/ 215551 h 342900"/>
                  <a:gd name="connsiteX273" fmla="*/ 69152 w 371475"/>
                  <a:gd name="connsiteY273" fmla="*/ 209645 h 342900"/>
                  <a:gd name="connsiteX274" fmla="*/ 65818 w 371475"/>
                  <a:gd name="connsiteY274" fmla="*/ 198596 h 342900"/>
                  <a:gd name="connsiteX275" fmla="*/ 64960 w 371475"/>
                  <a:gd name="connsiteY275" fmla="*/ 196025 h 342900"/>
                  <a:gd name="connsiteX276" fmla="*/ 64960 w 371475"/>
                  <a:gd name="connsiteY276" fmla="*/ 192691 h 342900"/>
                  <a:gd name="connsiteX277" fmla="*/ 65818 w 371475"/>
                  <a:gd name="connsiteY277" fmla="*/ 190976 h 342900"/>
                  <a:gd name="connsiteX278" fmla="*/ 66675 w 371475"/>
                  <a:gd name="connsiteY278" fmla="*/ 190119 h 342900"/>
                  <a:gd name="connsiteX279" fmla="*/ 67532 w 371475"/>
                  <a:gd name="connsiteY279" fmla="*/ 189262 h 342900"/>
                  <a:gd name="connsiteX280" fmla="*/ 69152 w 371475"/>
                  <a:gd name="connsiteY280" fmla="*/ 189262 h 342900"/>
                  <a:gd name="connsiteX281" fmla="*/ 70866 w 371475"/>
                  <a:gd name="connsiteY281" fmla="*/ 189262 h 342900"/>
                  <a:gd name="connsiteX282" fmla="*/ 71723 w 371475"/>
                  <a:gd name="connsiteY282" fmla="*/ 189262 h 342900"/>
                  <a:gd name="connsiteX283" fmla="*/ 72581 w 371475"/>
                  <a:gd name="connsiteY283" fmla="*/ 190119 h 342900"/>
                  <a:gd name="connsiteX284" fmla="*/ 79343 w 371475"/>
                  <a:gd name="connsiteY284" fmla="*/ 196882 h 342900"/>
                  <a:gd name="connsiteX285" fmla="*/ 83534 w 371475"/>
                  <a:gd name="connsiteY285" fmla="*/ 202883 h 342900"/>
                  <a:gd name="connsiteX286" fmla="*/ 86868 w 371475"/>
                  <a:gd name="connsiteY286" fmla="*/ 210503 h 342900"/>
                  <a:gd name="connsiteX287" fmla="*/ 87725 w 371475"/>
                  <a:gd name="connsiteY287" fmla="*/ 212217 h 342900"/>
                  <a:gd name="connsiteX288" fmla="*/ 89440 w 371475"/>
                  <a:gd name="connsiteY288" fmla="*/ 213836 h 342900"/>
                  <a:gd name="connsiteX289" fmla="*/ 100394 w 371475"/>
                  <a:gd name="connsiteY289" fmla="*/ 218123 h 342900"/>
                  <a:gd name="connsiteX290" fmla="*/ 104585 w 371475"/>
                  <a:gd name="connsiteY290" fmla="*/ 223171 h 342900"/>
                  <a:gd name="connsiteX291" fmla="*/ 107156 w 371475"/>
                  <a:gd name="connsiteY291" fmla="*/ 228314 h 342900"/>
                  <a:gd name="connsiteX292" fmla="*/ 108871 w 371475"/>
                  <a:gd name="connsiteY292" fmla="*/ 231648 h 342900"/>
                  <a:gd name="connsiteX293" fmla="*/ 112204 w 371475"/>
                  <a:gd name="connsiteY293" fmla="*/ 236792 h 342900"/>
                  <a:gd name="connsiteX294" fmla="*/ 118967 w 371475"/>
                  <a:gd name="connsiteY294" fmla="*/ 241840 h 342900"/>
                  <a:gd name="connsiteX295" fmla="*/ 136684 w 371475"/>
                  <a:gd name="connsiteY295" fmla="*/ 252889 h 342900"/>
                  <a:gd name="connsiteX296" fmla="*/ 139256 w 371475"/>
                  <a:gd name="connsiteY296" fmla="*/ 253746 h 342900"/>
                  <a:gd name="connsiteX297" fmla="*/ 147638 w 371475"/>
                  <a:gd name="connsiteY297" fmla="*/ 255461 h 342900"/>
                  <a:gd name="connsiteX298" fmla="*/ 149352 w 371475"/>
                  <a:gd name="connsiteY298" fmla="*/ 256318 h 342900"/>
                  <a:gd name="connsiteX299" fmla="*/ 149352 w 371475"/>
                  <a:gd name="connsiteY299" fmla="*/ 258032 h 342900"/>
                  <a:gd name="connsiteX300" fmla="*/ 148495 w 371475"/>
                  <a:gd name="connsiteY300" fmla="*/ 258794 h 342900"/>
                  <a:gd name="connsiteX301" fmla="*/ 147638 w 371475"/>
                  <a:gd name="connsiteY301" fmla="*/ 260509 h 342900"/>
                  <a:gd name="connsiteX302" fmla="*/ 142589 w 371475"/>
                  <a:gd name="connsiteY302" fmla="*/ 265652 h 342900"/>
                  <a:gd name="connsiteX303" fmla="*/ 140875 w 371475"/>
                  <a:gd name="connsiteY303" fmla="*/ 266510 h 342900"/>
                  <a:gd name="connsiteX304" fmla="*/ 140018 w 371475"/>
                  <a:gd name="connsiteY304" fmla="*/ 266510 h 342900"/>
                  <a:gd name="connsiteX305" fmla="*/ 139256 w 371475"/>
                  <a:gd name="connsiteY305" fmla="*/ 265652 h 342900"/>
                  <a:gd name="connsiteX306" fmla="*/ 138398 w 371475"/>
                  <a:gd name="connsiteY306" fmla="*/ 265652 h 342900"/>
                  <a:gd name="connsiteX307" fmla="*/ 137541 w 371475"/>
                  <a:gd name="connsiteY307" fmla="*/ 265652 h 342900"/>
                  <a:gd name="connsiteX308" fmla="*/ 136684 w 371475"/>
                  <a:gd name="connsiteY308" fmla="*/ 266510 h 342900"/>
                  <a:gd name="connsiteX309" fmla="*/ 135827 w 371475"/>
                  <a:gd name="connsiteY309" fmla="*/ 268986 h 342900"/>
                  <a:gd name="connsiteX310" fmla="*/ 134969 w 371475"/>
                  <a:gd name="connsiteY310" fmla="*/ 269843 h 342900"/>
                  <a:gd name="connsiteX311" fmla="*/ 133350 w 371475"/>
                  <a:gd name="connsiteY311" fmla="*/ 268986 h 342900"/>
                  <a:gd name="connsiteX312" fmla="*/ 132493 w 371475"/>
                  <a:gd name="connsiteY312" fmla="*/ 268129 h 342900"/>
                  <a:gd name="connsiteX313" fmla="*/ 131636 w 371475"/>
                  <a:gd name="connsiteY313" fmla="*/ 268129 h 342900"/>
                  <a:gd name="connsiteX314" fmla="*/ 130778 w 371475"/>
                  <a:gd name="connsiteY314" fmla="*/ 268129 h 342900"/>
                  <a:gd name="connsiteX315" fmla="*/ 129921 w 371475"/>
                  <a:gd name="connsiteY315" fmla="*/ 268986 h 342900"/>
                  <a:gd name="connsiteX316" fmla="*/ 128206 w 371475"/>
                  <a:gd name="connsiteY316" fmla="*/ 268986 h 342900"/>
                  <a:gd name="connsiteX317" fmla="*/ 127445 w 371475"/>
                  <a:gd name="connsiteY317" fmla="*/ 269843 h 342900"/>
                  <a:gd name="connsiteX318" fmla="*/ 127445 w 371475"/>
                  <a:gd name="connsiteY318" fmla="*/ 270701 h 342900"/>
                  <a:gd name="connsiteX319" fmla="*/ 128206 w 371475"/>
                  <a:gd name="connsiteY319" fmla="*/ 271558 h 342900"/>
                  <a:gd name="connsiteX320" fmla="*/ 127445 w 371475"/>
                  <a:gd name="connsiteY320" fmla="*/ 272415 h 342900"/>
                  <a:gd name="connsiteX321" fmla="*/ 126587 w 371475"/>
                  <a:gd name="connsiteY321" fmla="*/ 272415 h 342900"/>
                  <a:gd name="connsiteX322" fmla="*/ 126587 w 371475"/>
                  <a:gd name="connsiteY322" fmla="*/ 273272 h 342900"/>
                  <a:gd name="connsiteX323" fmla="*/ 127445 w 371475"/>
                  <a:gd name="connsiteY323" fmla="*/ 274130 h 342900"/>
                  <a:gd name="connsiteX324" fmla="*/ 143447 w 371475"/>
                  <a:gd name="connsiteY324" fmla="*/ 282607 h 342900"/>
                  <a:gd name="connsiteX325" fmla="*/ 145161 w 371475"/>
                  <a:gd name="connsiteY325" fmla="*/ 285179 h 342900"/>
                  <a:gd name="connsiteX326" fmla="*/ 146780 w 371475"/>
                  <a:gd name="connsiteY326" fmla="*/ 287655 h 342900"/>
                  <a:gd name="connsiteX327" fmla="*/ 147638 w 371475"/>
                  <a:gd name="connsiteY327" fmla="*/ 289370 h 342900"/>
                  <a:gd name="connsiteX328" fmla="*/ 148495 w 371475"/>
                  <a:gd name="connsiteY328" fmla="*/ 296132 h 342900"/>
                  <a:gd name="connsiteX329" fmla="*/ 152686 w 371475"/>
                  <a:gd name="connsiteY329" fmla="*/ 293656 h 342900"/>
                  <a:gd name="connsiteX330" fmla="*/ 159449 w 371475"/>
                  <a:gd name="connsiteY330" fmla="*/ 291941 h 342900"/>
                  <a:gd name="connsiteX331" fmla="*/ 162020 w 371475"/>
                  <a:gd name="connsiteY331" fmla="*/ 290227 h 342900"/>
                  <a:gd name="connsiteX332" fmla="*/ 162877 w 371475"/>
                  <a:gd name="connsiteY332" fmla="*/ 290227 h 342900"/>
                  <a:gd name="connsiteX333" fmla="*/ 163735 w 371475"/>
                  <a:gd name="connsiteY333" fmla="*/ 291084 h 342900"/>
                  <a:gd name="connsiteX334" fmla="*/ 172117 w 371475"/>
                  <a:gd name="connsiteY334" fmla="*/ 295370 h 342900"/>
                  <a:gd name="connsiteX335" fmla="*/ 172974 w 371475"/>
                  <a:gd name="connsiteY335" fmla="*/ 296132 h 342900"/>
                  <a:gd name="connsiteX336" fmla="*/ 173831 w 371475"/>
                  <a:gd name="connsiteY336" fmla="*/ 296990 h 342900"/>
                  <a:gd name="connsiteX337" fmla="*/ 173831 w 371475"/>
                  <a:gd name="connsiteY337" fmla="*/ 298704 h 342900"/>
                  <a:gd name="connsiteX338" fmla="*/ 173831 w 371475"/>
                  <a:gd name="connsiteY338" fmla="*/ 299561 h 342900"/>
                  <a:gd name="connsiteX339" fmla="*/ 174689 w 371475"/>
                  <a:gd name="connsiteY339" fmla="*/ 301276 h 342900"/>
                  <a:gd name="connsiteX340" fmla="*/ 176308 w 371475"/>
                  <a:gd name="connsiteY340" fmla="*/ 302990 h 342900"/>
                  <a:gd name="connsiteX341" fmla="*/ 190690 w 371475"/>
                  <a:gd name="connsiteY341" fmla="*/ 313182 h 342900"/>
                  <a:gd name="connsiteX342" fmla="*/ 193262 w 371475"/>
                  <a:gd name="connsiteY342" fmla="*/ 314039 h 342900"/>
                  <a:gd name="connsiteX343" fmla="*/ 194881 w 371475"/>
                  <a:gd name="connsiteY343" fmla="*/ 314039 h 342900"/>
                  <a:gd name="connsiteX344" fmla="*/ 196596 w 371475"/>
                  <a:gd name="connsiteY344" fmla="*/ 314039 h 342900"/>
                  <a:gd name="connsiteX345" fmla="*/ 197453 w 371475"/>
                  <a:gd name="connsiteY345" fmla="*/ 313182 h 342900"/>
                  <a:gd name="connsiteX346" fmla="*/ 199168 w 371475"/>
                  <a:gd name="connsiteY346" fmla="*/ 313182 h 342900"/>
                  <a:gd name="connsiteX347" fmla="*/ 199168 w 371475"/>
                  <a:gd name="connsiteY347" fmla="*/ 314039 h 342900"/>
                  <a:gd name="connsiteX348" fmla="*/ 199930 w 371475"/>
                  <a:gd name="connsiteY348" fmla="*/ 315659 h 342900"/>
                  <a:gd name="connsiteX349" fmla="*/ 201644 w 371475"/>
                  <a:gd name="connsiteY349" fmla="*/ 317373 h 342900"/>
                  <a:gd name="connsiteX350" fmla="*/ 202502 w 371475"/>
                  <a:gd name="connsiteY350" fmla="*/ 318230 h 342900"/>
                  <a:gd name="connsiteX351" fmla="*/ 203359 w 371475"/>
                  <a:gd name="connsiteY351" fmla="*/ 319945 h 342900"/>
                  <a:gd name="connsiteX352" fmla="*/ 205073 w 371475"/>
                  <a:gd name="connsiteY352" fmla="*/ 324993 h 342900"/>
                  <a:gd name="connsiteX353" fmla="*/ 206693 w 371475"/>
                  <a:gd name="connsiteY353" fmla="*/ 328422 h 342900"/>
                  <a:gd name="connsiteX354" fmla="*/ 216027 w 371475"/>
                  <a:gd name="connsiteY354" fmla="*/ 324993 h 342900"/>
                  <a:gd name="connsiteX355" fmla="*/ 220218 w 371475"/>
                  <a:gd name="connsiteY355" fmla="*/ 324993 h 342900"/>
                  <a:gd name="connsiteX356" fmla="*/ 221075 w 371475"/>
                  <a:gd name="connsiteY356" fmla="*/ 325850 h 342900"/>
                  <a:gd name="connsiteX357" fmla="*/ 221932 w 371475"/>
                  <a:gd name="connsiteY357" fmla="*/ 327565 h 342900"/>
                  <a:gd name="connsiteX358" fmla="*/ 222790 w 371475"/>
                  <a:gd name="connsiteY358" fmla="*/ 328422 h 342900"/>
                  <a:gd name="connsiteX359" fmla="*/ 223647 w 371475"/>
                  <a:gd name="connsiteY359" fmla="*/ 328422 h 342900"/>
                  <a:gd name="connsiteX360" fmla="*/ 225266 w 371475"/>
                  <a:gd name="connsiteY360" fmla="*/ 328422 h 342900"/>
                  <a:gd name="connsiteX361" fmla="*/ 227838 w 371475"/>
                  <a:gd name="connsiteY361" fmla="*/ 326708 h 342900"/>
                  <a:gd name="connsiteX362" fmla="*/ 234601 w 371475"/>
                  <a:gd name="connsiteY362" fmla="*/ 328422 h 342900"/>
                  <a:gd name="connsiteX363" fmla="*/ 237935 w 371475"/>
                  <a:gd name="connsiteY363" fmla="*/ 327565 h 342900"/>
                  <a:gd name="connsiteX364" fmla="*/ 237935 w 371475"/>
                  <a:gd name="connsiteY364" fmla="*/ 326708 h 342900"/>
                  <a:gd name="connsiteX365" fmla="*/ 237935 w 371475"/>
                  <a:gd name="connsiteY365" fmla="*/ 325850 h 342900"/>
                  <a:gd name="connsiteX366" fmla="*/ 237935 w 371475"/>
                  <a:gd name="connsiteY366" fmla="*/ 324993 h 342900"/>
                  <a:gd name="connsiteX367" fmla="*/ 239649 w 371475"/>
                  <a:gd name="connsiteY367" fmla="*/ 324136 h 342900"/>
                  <a:gd name="connsiteX368" fmla="*/ 242126 w 371475"/>
                  <a:gd name="connsiteY368" fmla="*/ 324136 h 342900"/>
                  <a:gd name="connsiteX369" fmla="*/ 247269 w 371475"/>
                  <a:gd name="connsiteY369" fmla="*/ 324993 h 342900"/>
                  <a:gd name="connsiteX370" fmla="*/ 249746 w 371475"/>
                  <a:gd name="connsiteY370" fmla="*/ 326708 h 342900"/>
                  <a:gd name="connsiteX371" fmla="*/ 250603 w 371475"/>
                  <a:gd name="connsiteY371" fmla="*/ 327565 h 342900"/>
                  <a:gd name="connsiteX372" fmla="*/ 249746 w 371475"/>
                  <a:gd name="connsiteY372" fmla="*/ 329279 h 342900"/>
                  <a:gd name="connsiteX373" fmla="*/ 248888 w 371475"/>
                  <a:gd name="connsiteY373" fmla="*/ 331851 h 342900"/>
                  <a:gd name="connsiteX374" fmla="*/ 248888 w 371475"/>
                  <a:gd name="connsiteY374" fmla="*/ 332708 h 342900"/>
                  <a:gd name="connsiteX375" fmla="*/ 249746 w 371475"/>
                  <a:gd name="connsiteY375" fmla="*/ 334328 h 342900"/>
                  <a:gd name="connsiteX376" fmla="*/ 250603 w 371475"/>
                  <a:gd name="connsiteY376" fmla="*/ 334328 h 342900"/>
                  <a:gd name="connsiteX377" fmla="*/ 253936 w 371475"/>
                  <a:gd name="connsiteY377" fmla="*/ 332708 h 342900"/>
                  <a:gd name="connsiteX378" fmla="*/ 255651 w 371475"/>
                  <a:gd name="connsiteY378" fmla="*/ 332708 h 342900"/>
                  <a:gd name="connsiteX379" fmla="*/ 255651 w 371475"/>
                  <a:gd name="connsiteY379" fmla="*/ 333470 h 342900"/>
                  <a:gd name="connsiteX380" fmla="*/ 256508 w 371475"/>
                  <a:gd name="connsiteY380" fmla="*/ 334328 h 342900"/>
                  <a:gd name="connsiteX381" fmla="*/ 255651 w 371475"/>
                  <a:gd name="connsiteY381" fmla="*/ 336042 h 342900"/>
                  <a:gd name="connsiteX382" fmla="*/ 255651 w 371475"/>
                  <a:gd name="connsiteY382" fmla="*/ 336899 h 342900"/>
                  <a:gd name="connsiteX383" fmla="*/ 256508 w 371475"/>
                  <a:gd name="connsiteY383" fmla="*/ 337757 h 342900"/>
                  <a:gd name="connsiteX384" fmla="*/ 257365 w 371475"/>
                  <a:gd name="connsiteY384" fmla="*/ 337757 h 342900"/>
                  <a:gd name="connsiteX385" fmla="*/ 259080 w 371475"/>
                  <a:gd name="connsiteY385" fmla="*/ 336899 h 342900"/>
                  <a:gd name="connsiteX386" fmla="*/ 259842 w 371475"/>
                  <a:gd name="connsiteY386" fmla="*/ 336899 h 342900"/>
                  <a:gd name="connsiteX387" fmla="*/ 260699 w 371475"/>
                  <a:gd name="connsiteY387" fmla="*/ 337757 h 342900"/>
                  <a:gd name="connsiteX388" fmla="*/ 259842 w 371475"/>
                  <a:gd name="connsiteY388" fmla="*/ 338614 h 342900"/>
                  <a:gd name="connsiteX389" fmla="*/ 259842 w 371475"/>
                  <a:gd name="connsiteY389" fmla="*/ 340328 h 342900"/>
                  <a:gd name="connsiteX390" fmla="*/ 260699 w 371475"/>
                  <a:gd name="connsiteY390" fmla="*/ 341186 h 342900"/>
                  <a:gd name="connsiteX391" fmla="*/ 262414 w 371475"/>
                  <a:gd name="connsiteY391" fmla="*/ 342805 h 342900"/>
                  <a:gd name="connsiteX392" fmla="*/ 264986 w 371475"/>
                  <a:gd name="connsiteY392" fmla="*/ 343662 h 342900"/>
                  <a:gd name="connsiteX393" fmla="*/ 266605 w 371475"/>
                  <a:gd name="connsiteY393" fmla="*/ 342805 h 342900"/>
                  <a:gd name="connsiteX394" fmla="*/ 268319 w 371475"/>
                  <a:gd name="connsiteY394" fmla="*/ 342805 h 342900"/>
                  <a:gd name="connsiteX395" fmla="*/ 269177 w 371475"/>
                  <a:gd name="connsiteY395" fmla="*/ 342043 h 342900"/>
                  <a:gd name="connsiteX396" fmla="*/ 270891 w 371475"/>
                  <a:gd name="connsiteY396" fmla="*/ 341186 h 342900"/>
                  <a:gd name="connsiteX397" fmla="*/ 274225 w 371475"/>
                  <a:gd name="connsiteY397" fmla="*/ 337757 h 342900"/>
                  <a:gd name="connsiteX398" fmla="*/ 275082 w 371475"/>
                  <a:gd name="connsiteY398" fmla="*/ 335185 h 342900"/>
                  <a:gd name="connsiteX399" fmla="*/ 275082 w 371475"/>
                  <a:gd name="connsiteY399" fmla="*/ 334328 h 342900"/>
                  <a:gd name="connsiteX400" fmla="*/ 275939 w 371475"/>
                  <a:gd name="connsiteY400" fmla="*/ 332708 h 342900"/>
                  <a:gd name="connsiteX401" fmla="*/ 273368 w 371475"/>
                  <a:gd name="connsiteY401" fmla="*/ 331851 h 342900"/>
                  <a:gd name="connsiteX402" fmla="*/ 271653 w 371475"/>
                  <a:gd name="connsiteY402" fmla="*/ 330137 h 342900"/>
                  <a:gd name="connsiteX403" fmla="*/ 270891 w 371475"/>
                  <a:gd name="connsiteY403" fmla="*/ 324993 h 342900"/>
                  <a:gd name="connsiteX404" fmla="*/ 270891 w 371475"/>
                  <a:gd name="connsiteY404" fmla="*/ 322517 h 342900"/>
                  <a:gd name="connsiteX405" fmla="*/ 271653 w 371475"/>
                  <a:gd name="connsiteY405" fmla="*/ 319945 h 342900"/>
                  <a:gd name="connsiteX406" fmla="*/ 272510 w 371475"/>
                  <a:gd name="connsiteY406" fmla="*/ 318230 h 342900"/>
                  <a:gd name="connsiteX407" fmla="*/ 273368 w 371475"/>
                  <a:gd name="connsiteY407" fmla="*/ 316516 h 342900"/>
                  <a:gd name="connsiteX408" fmla="*/ 275082 w 371475"/>
                  <a:gd name="connsiteY408" fmla="*/ 314801 h 342900"/>
                  <a:gd name="connsiteX409" fmla="*/ 277654 w 371475"/>
                  <a:gd name="connsiteY409" fmla="*/ 314039 h 342900"/>
                  <a:gd name="connsiteX410" fmla="*/ 278416 w 371475"/>
                  <a:gd name="connsiteY410" fmla="*/ 312325 h 342900"/>
                  <a:gd name="connsiteX411" fmla="*/ 280130 w 371475"/>
                  <a:gd name="connsiteY411" fmla="*/ 310610 h 342900"/>
                  <a:gd name="connsiteX412" fmla="*/ 280130 w 371475"/>
                  <a:gd name="connsiteY412" fmla="*/ 310610 h 342900"/>
                  <a:gd name="connsiteX413" fmla="*/ 279273 w 371475"/>
                  <a:gd name="connsiteY413" fmla="*/ 306324 h 342900"/>
                  <a:gd name="connsiteX414" fmla="*/ 280130 w 371475"/>
                  <a:gd name="connsiteY414" fmla="*/ 300419 h 342900"/>
                  <a:gd name="connsiteX415" fmla="*/ 282702 w 371475"/>
                  <a:gd name="connsiteY415" fmla="*/ 296132 h 342900"/>
                  <a:gd name="connsiteX416" fmla="*/ 286036 w 371475"/>
                  <a:gd name="connsiteY416" fmla="*/ 294513 h 342900"/>
                  <a:gd name="connsiteX417" fmla="*/ 287750 w 371475"/>
                  <a:gd name="connsiteY417" fmla="*/ 294513 h 342900"/>
                  <a:gd name="connsiteX418" fmla="*/ 290227 w 371475"/>
                  <a:gd name="connsiteY418" fmla="*/ 294513 h 342900"/>
                  <a:gd name="connsiteX419" fmla="*/ 291941 w 371475"/>
                  <a:gd name="connsiteY419" fmla="*/ 293656 h 342900"/>
                  <a:gd name="connsiteX420" fmla="*/ 293656 w 371475"/>
                  <a:gd name="connsiteY420" fmla="*/ 291941 h 342900"/>
                  <a:gd name="connsiteX421" fmla="*/ 292798 w 371475"/>
                  <a:gd name="connsiteY421" fmla="*/ 290227 h 342900"/>
                  <a:gd name="connsiteX422" fmla="*/ 291084 w 371475"/>
                  <a:gd name="connsiteY422" fmla="*/ 285179 h 342900"/>
                  <a:gd name="connsiteX423" fmla="*/ 291941 w 371475"/>
                  <a:gd name="connsiteY423" fmla="*/ 283464 h 342900"/>
                  <a:gd name="connsiteX424" fmla="*/ 293656 w 371475"/>
                  <a:gd name="connsiteY424" fmla="*/ 282607 h 342900"/>
                  <a:gd name="connsiteX425" fmla="*/ 295370 w 371475"/>
                  <a:gd name="connsiteY425" fmla="*/ 284321 h 342900"/>
                  <a:gd name="connsiteX426" fmla="*/ 296132 w 371475"/>
                  <a:gd name="connsiteY426" fmla="*/ 284321 h 342900"/>
                  <a:gd name="connsiteX427" fmla="*/ 298704 w 371475"/>
                  <a:gd name="connsiteY427" fmla="*/ 275844 h 342900"/>
                  <a:gd name="connsiteX428" fmla="*/ 298704 w 371475"/>
                  <a:gd name="connsiteY428" fmla="*/ 273272 h 342900"/>
                  <a:gd name="connsiteX429" fmla="*/ 298704 w 371475"/>
                  <a:gd name="connsiteY429" fmla="*/ 270701 h 342900"/>
                  <a:gd name="connsiteX430" fmla="*/ 297847 w 371475"/>
                  <a:gd name="connsiteY430" fmla="*/ 269843 h 342900"/>
                  <a:gd name="connsiteX431" fmla="*/ 296990 w 371475"/>
                  <a:gd name="connsiteY431" fmla="*/ 269843 h 342900"/>
                  <a:gd name="connsiteX432" fmla="*/ 296132 w 371475"/>
                  <a:gd name="connsiteY432" fmla="*/ 269843 h 342900"/>
                  <a:gd name="connsiteX433" fmla="*/ 295370 w 371475"/>
                  <a:gd name="connsiteY433" fmla="*/ 268129 h 342900"/>
                  <a:gd name="connsiteX434" fmla="*/ 294513 w 371475"/>
                  <a:gd name="connsiteY434" fmla="*/ 263081 h 342900"/>
                  <a:gd name="connsiteX435" fmla="*/ 291941 w 371475"/>
                  <a:gd name="connsiteY435" fmla="*/ 258794 h 342900"/>
                  <a:gd name="connsiteX436" fmla="*/ 291084 w 371475"/>
                  <a:gd name="connsiteY436" fmla="*/ 257175 h 342900"/>
                  <a:gd name="connsiteX437" fmla="*/ 291941 w 371475"/>
                  <a:gd name="connsiteY437" fmla="*/ 254603 h 342900"/>
                  <a:gd name="connsiteX438" fmla="*/ 292798 w 371475"/>
                  <a:gd name="connsiteY438" fmla="*/ 253746 h 342900"/>
                  <a:gd name="connsiteX439" fmla="*/ 296132 w 371475"/>
                  <a:gd name="connsiteY439" fmla="*/ 252889 h 342900"/>
                  <a:gd name="connsiteX440" fmla="*/ 296990 w 371475"/>
                  <a:gd name="connsiteY440" fmla="*/ 252032 h 342900"/>
                  <a:gd name="connsiteX441" fmla="*/ 296990 w 371475"/>
                  <a:gd name="connsiteY441" fmla="*/ 250317 h 342900"/>
                  <a:gd name="connsiteX442" fmla="*/ 297847 w 371475"/>
                  <a:gd name="connsiteY442" fmla="*/ 249460 h 342900"/>
                  <a:gd name="connsiteX443" fmla="*/ 298704 w 371475"/>
                  <a:gd name="connsiteY443" fmla="*/ 248698 h 342900"/>
                  <a:gd name="connsiteX444" fmla="*/ 299561 w 371475"/>
                  <a:gd name="connsiteY444" fmla="*/ 246983 h 342900"/>
                  <a:gd name="connsiteX445" fmla="*/ 299561 w 371475"/>
                  <a:gd name="connsiteY445" fmla="*/ 246983 h 342900"/>
                  <a:gd name="connsiteX446" fmla="*/ 302038 w 371475"/>
                  <a:gd name="connsiteY446" fmla="*/ 245269 h 342900"/>
                  <a:gd name="connsiteX447" fmla="*/ 302895 w 371475"/>
                  <a:gd name="connsiteY447" fmla="*/ 244412 h 342900"/>
                  <a:gd name="connsiteX448" fmla="*/ 303752 w 371475"/>
                  <a:gd name="connsiteY448" fmla="*/ 243554 h 342900"/>
                  <a:gd name="connsiteX449" fmla="*/ 303752 w 371475"/>
                  <a:gd name="connsiteY449" fmla="*/ 242697 h 342900"/>
                  <a:gd name="connsiteX450" fmla="*/ 303752 w 371475"/>
                  <a:gd name="connsiteY450" fmla="*/ 241840 h 342900"/>
                  <a:gd name="connsiteX451" fmla="*/ 303752 w 371475"/>
                  <a:gd name="connsiteY451" fmla="*/ 240983 h 342900"/>
                  <a:gd name="connsiteX452" fmla="*/ 303752 w 371475"/>
                  <a:gd name="connsiteY452" fmla="*/ 240221 h 342900"/>
                  <a:gd name="connsiteX453" fmla="*/ 304610 w 371475"/>
                  <a:gd name="connsiteY453" fmla="*/ 240221 h 342900"/>
                  <a:gd name="connsiteX454" fmla="*/ 305467 w 371475"/>
                  <a:gd name="connsiteY454" fmla="*/ 239363 h 342900"/>
                  <a:gd name="connsiteX455" fmla="*/ 306324 w 371475"/>
                  <a:gd name="connsiteY455" fmla="*/ 238506 h 342900"/>
                  <a:gd name="connsiteX456" fmla="*/ 308801 w 371475"/>
                  <a:gd name="connsiteY456" fmla="*/ 235934 h 342900"/>
                  <a:gd name="connsiteX457" fmla="*/ 310515 w 371475"/>
                  <a:gd name="connsiteY457" fmla="*/ 233363 h 342900"/>
                  <a:gd name="connsiteX458" fmla="*/ 310515 w 371475"/>
                  <a:gd name="connsiteY458" fmla="*/ 230886 h 342900"/>
                  <a:gd name="connsiteX459" fmla="*/ 309658 w 371475"/>
                  <a:gd name="connsiteY459" fmla="*/ 227457 h 342900"/>
                  <a:gd name="connsiteX460" fmla="*/ 307943 w 371475"/>
                  <a:gd name="connsiteY460" fmla="*/ 224028 h 342900"/>
                  <a:gd name="connsiteX461" fmla="*/ 306324 w 371475"/>
                  <a:gd name="connsiteY461" fmla="*/ 220694 h 342900"/>
                  <a:gd name="connsiteX462" fmla="*/ 306324 w 371475"/>
                  <a:gd name="connsiteY462" fmla="*/ 217265 h 342900"/>
                  <a:gd name="connsiteX463" fmla="*/ 308801 w 371475"/>
                  <a:gd name="connsiteY463" fmla="*/ 213836 h 342900"/>
                  <a:gd name="connsiteX464" fmla="*/ 311372 w 371475"/>
                  <a:gd name="connsiteY464" fmla="*/ 211360 h 342900"/>
                  <a:gd name="connsiteX465" fmla="*/ 318135 w 371475"/>
                  <a:gd name="connsiteY465" fmla="*/ 209645 h 342900"/>
                  <a:gd name="connsiteX466" fmla="*/ 319754 w 371475"/>
                  <a:gd name="connsiteY466" fmla="*/ 207931 h 342900"/>
                  <a:gd name="connsiteX467" fmla="*/ 325660 w 371475"/>
                  <a:gd name="connsiteY467" fmla="*/ 201168 h 342900"/>
                  <a:gd name="connsiteX468" fmla="*/ 328232 w 371475"/>
                  <a:gd name="connsiteY468" fmla="*/ 196882 h 342900"/>
                  <a:gd name="connsiteX469" fmla="*/ 329946 w 371475"/>
                  <a:gd name="connsiteY469" fmla="*/ 191834 h 342900"/>
                  <a:gd name="connsiteX470" fmla="*/ 330803 w 371475"/>
                  <a:gd name="connsiteY470" fmla="*/ 190119 h 342900"/>
                  <a:gd name="connsiteX471" fmla="*/ 332423 w 371475"/>
                  <a:gd name="connsiteY471" fmla="*/ 189262 h 342900"/>
                  <a:gd name="connsiteX472" fmla="*/ 335852 w 371475"/>
                  <a:gd name="connsiteY472" fmla="*/ 188405 h 342900"/>
                  <a:gd name="connsiteX473" fmla="*/ 338328 w 371475"/>
                  <a:gd name="connsiteY473" fmla="*/ 187547 h 342900"/>
                  <a:gd name="connsiteX474" fmla="*/ 340043 w 371475"/>
                  <a:gd name="connsiteY474" fmla="*/ 186690 h 342900"/>
                  <a:gd name="connsiteX475" fmla="*/ 342614 w 371475"/>
                  <a:gd name="connsiteY475" fmla="*/ 184214 h 342900"/>
                  <a:gd name="connsiteX476" fmla="*/ 346805 w 371475"/>
                  <a:gd name="connsiteY476" fmla="*/ 181642 h 342900"/>
                  <a:gd name="connsiteX477" fmla="*/ 347663 w 371475"/>
                  <a:gd name="connsiteY477" fmla="*/ 179927 h 342900"/>
                  <a:gd name="connsiteX478" fmla="*/ 350996 w 371475"/>
                  <a:gd name="connsiteY478" fmla="*/ 174879 h 342900"/>
                  <a:gd name="connsiteX479" fmla="*/ 352711 w 371475"/>
                  <a:gd name="connsiteY479" fmla="*/ 173165 h 342900"/>
                  <a:gd name="connsiteX480" fmla="*/ 359473 w 371475"/>
                  <a:gd name="connsiteY480" fmla="*/ 168021 h 342900"/>
                  <a:gd name="connsiteX481" fmla="*/ 361188 w 371475"/>
                  <a:gd name="connsiteY481" fmla="*/ 164687 h 342900"/>
                  <a:gd name="connsiteX482" fmla="*/ 359473 w 371475"/>
                  <a:gd name="connsiteY482" fmla="*/ 162116 h 342900"/>
                  <a:gd name="connsiteX483" fmla="*/ 361188 w 371475"/>
                  <a:gd name="connsiteY483" fmla="*/ 160401 h 342900"/>
                  <a:gd name="connsiteX484" fmla="*/ 362807 w 371475"/>
                  <a:gd name="connsiteY484" fmla="*/ 157829 h 342900"/>
                  <a:gd name="connsiteX485" fmla="*/ 365379 w 371475"/>
                  <a:gd name="connsiteY485" fmla="*/ 156972 h 342900"/>
                  <a:gd name="connsiteX486" fmla="*/ 366236 w 371475"/>
                  <a:gd name="connsiteY486" fmla="*/ 157829 h 342900"/>
                  <a:gd name="connsiteX487" fmla="*/ 367094 w 371475"/>
                  <a:gd name="connsiteY487" fmla="*/ 160401 h 342900"/>
                  <a:gd name="connsiteX488" fmla="*/ 368713 w 371475"/>
                  <a:gd name="connsiteY488" fmla="*/ 161258 h 342900"/>
                  <a:gd name="connsiteX489" fmla="*/ 376333 w 371475"/>
                  <a:gd name="connsiteY489" fmla="*/ 158687 h 342900"/>
                  <a:gd name="connsiteX490" fmla="*/ 377190 w 371475"/>
                  <a:gd name="connsiteY490" fmla="*/ 158687 h 342900"/>
                  <a:gd name="connsiteX491" fmla="*/ 378047 w 371475"/>
                  <a:gd name="connsiteY491" fmla="*/ 156210 h 342900"/>
                  <a:gd name="connsiteX492" fmla="*/ 377190 w 371475"/>
                  <a:gd name="connsiteY492" fmla="*/ 154496 h 342900"/>
                  <a:gd name="connsiteX493" fmla="*/ 377190 w 371475"/>
                  <a:gd name="connsiteY493" fmla="*/ 154496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</a:cxnLst>
                <a:rect l="l" t="t" r="r" b="b"/>
                <a:pathLst>
                  <a:path w="371475" h="342900">
                    <a:moveTo>
                      <a:pt x="377190" y="154496"/>
                    </a:moveTo>
                    <a:lnTo>
                      <a:pt x="375476" y="151067"/>
                    </a:lnTo>
                    <a:lnTo>
                      <a:pt x="371285" y="148495"/>
                    </a:lnTo>
                    <a:lnTo>
                      <a:pt x="362807" y="146876"/>
                    </a:lnTo>
                    <a:lnTo>
                      <a:pt x="353568" y="142589"/>
                    </a:lnTo>
                    <a:lnTo>
                      <a:pt x="351853" y="140875"/>
                    </a:lnTo>
                    <a:lnTo>
                      <a:pt x="350996" y="139160"/>
                    </a:lnTo>
                    <a:lnTo>
                      <a:pt x="348520" y="134969"/>
                    </a:lnTo>
                    <a:lnTo>
                      <a:pt x="346805" y="133255"/>
                    </a:lnTo>
                    <a:lnTo>
                      <a:pt x="344234" y="130683"/>
                    </a:lnTo>
                    <a:lnTo>
                      <a:pt x="333280" y="124778"/>
                    </a:lnTo>
                    <a:lnTo>
                      <a:pt x="330803" y="123920"/>
                    </a:lnTo>
                    <a:lnTo>
                      <a:pt x="329089" y="123920"/>
                    </a:lnTo>
                    <a:lnTo>
                      <a:pt x="328232" y="124778"/>
                    </a:lnTo>
                    <a:lnTo>
                      <a:pt x="325660" y="124778"/>
                    </a:lnTo>
                    <a:lnTo>
                      <a:pt x="324040" y="124778"/>
                    </a:lnTo>
                    <a:lnTo>
                      <a:pt x="319754" y="122206"/>
                    </a:lnTo>
                    <a:lnTo>
                      <a:pt x="314706" y="119729"/>
                    </a:lnTo>
                    <a:lnTo>
                      <a:pt x="303752" y="113729"/>
                    </a:lnTo>
                    <a:lnTo>
                      <a:pt x="295370" y="111157"/>
                    </a:lnTo>
                    <a:lnTo>
                      <a:pt x="291941" y="111157"/>
                    </a:lnTo>
                    <a:lnTo>
                      <a:pt x="287750" y="112014"/>
                    </a:lnTo>
                    <a:lnTo>
                      <a:pt x="288607" y="109538"/>
                    </a:lnTo>
                    <a:lnTo>
                      <a:pt x="289465" y="107823"/>
                    </a:lnTo>
                    <a:lnTo>
                      <a:pt x="290227" y="106109"/>
                    </a:lnTo>
                    <a:lnTo>
                      <a:pt x="289465" y="103537"/>
                    </a:lnTo>
                    <a:lnTo>
                      <a:pt x="288607" y="101822"/>
                    </a:lnTo>
                    <a:lnTo>
                      <a:pt x="287750" y="100203"/>
                    </a:lnTo>
                    <a:lnTo>
                      <a:pt x="286036" y="98489"/>
                    </a:lnTo>
                    <a:lnTo>
                      <a:pt x="286036" y="97631"/>
                    </a:lnTo>
                    <a:lnTo>
                      <a:pt x="286893" y="96774"/>
                    </a:lnTo>
                    <a:lnTo>
                      <a:pt x="287750" y="96774"/>
                    </a:lnTo>
                    <a:lnTo>
                      <a:pt x="288607" y="96774"/>
                    </a:lnTo>
                    <a:lnTo>
                      <a:pt x="289465" y="96774"/>
                    </a:lnTo>
                    <a:lnTo>
                      <a:pt x="290227" y="95917"/>
                    </a:lnTo>
                    <a:lnTo>
                      <a:pt x="293656" y="90869"/>
                    </a:lnTo>
                    <a:lnTo>
                      <a:pt x="292798" y="90011"/>
                    </a:lnTo>
                    <a:lnTo>
                      <a:pt x="289465" y="87440"/>
                    </a:lnTo>
                    <a:lnTo>
                      <a:pt x="286036" y="83153"/>
                    </a:lnTo>
                    <a:lnTo>
                      <a:pt x="285178" y="82391"/>
                    </a:lnTo>
                    <a:lnTo>
                      <a:pt x="283559" y="82391"/>
                    </a:lnTo>
                    <a:lnTo>
                      <a:pt x="280130" y="84011"/>
                    </a:lnTo>
                    <a:lnTo>
                      <a:pt x="277654" y="84868"/>
                    </a:lnTo>
                    <a:lnTo>
                      <a:pt x="274225" y="83153"/>
                    </a:lnTo>
                    <a:lnTo>
                      <a:pt x="272510" y="80677"/>
                    </a:lnTo>
                    <a:lnTo>
                      <a:pt x="270891" y="77248"/>
                    </a:lnTo>
                    <a:lnTo>
                      <a:pt x="268319" y="74676"/>
                    </a:lnTo>
                    <a:lnTo>
                      <a:pt x="260699" y="72200"/>
                    </a:lnTo>
                    <a:lnTo>
                      <a:pt x="259080" y="70485"/>
                    </a:lnTo>
                    <a:lnTo>
                      <a:pt x="258223" y="70485"/>
                    </a:lnTo>
                    <a:lnTo>
                      <a:pt x="257365" y="69628"/>
                    </a:lnTo>
                    <a:lnTo>
                      <a:pt x="254794" y="67056"/>
                    </a:lnTo>
                    <a:lnTo>
                      <a:pt x="252317" y="62865"/>
                    </a:lnTo>
                    <a:lnTo>
                      <a:pt x="251460" y="61151"/>
                    </a:lnTo>
                    <a:lnTo>
                      <a:pt x="249746" y="60293"/>
                    </a:lnTo>
                    <a:lnTo>
                      <a:pt x="241364" y="58579"/>
                    </a:lnTo>
                    <a:lnTo>
                      <a:pt x="238792" y="58579"/>
                    </a:lnTo>
                    <a:lnTo>
                      <a:pt x="233744" y="59436"/>
                    </a:lnTo>
                    <a:lnTo>
                      <a:pt x="229552" y="60293"/>
                    </a:lnTo>
                    <a:lnTo>
                      <a:pt x="226981" y="60293"/>
                    </a:lnTo>
                    <a:lnTo>
                      <a:pt x="222790" y="63722"/>
                    </a:lnTo>
                    <a:lnTo>
                      <a:pt x="221075" y="63722"/>
                    </a:lnTo>
                    <a:lnTo>
                      <a:pt x="220218" y="62865"/>
                    </a:lnTo>
                    <a:lnTo>
                      <a:pt x="217742" y="62008"/>
                    </a:lnTo>
                    <a:lnTo>
                      <a:pt x="216027" y="61151"/>
                    </a:lnTo>
                    <a:lnTo>
                      <a:pt x="214313" y="60293"/>
                    </a:lnTo>
                    <a:lnTo>
                      <a:pt x="212598" y="57722"/>
                    </a:lnTo>
                    <a:lnTo>
                      <a:pt x="211741" y="56007"/>
                    </a:lnTo>
                    <a:lnTo>
                      <a:pt x="211741" y="55150"/>
                    </a:lnTo>
                    <a:lnTo>
                      <a:pt x="210979" y="55150"/>
                    </a:lnTo>
                    <a:lnTo>
                      <a:pt x="210979" y="54388"/>
                    </a:lnTo>
                    <a:lnTo>
                      <a:pt x="210122" y="53531"/>
                    </a:lnTo>
                    <a:lnTo>
                      <a:pt x="208407" y="52673"/>
                    </a:lnTo>
                    <a:lnTo>
                      <a:pt x="206693" y="52673"/>
                    </a:lnTo>
                    <a:lnTo>
                      <a:pt x="205073" y="52673"/>
                    </a:lnTo>
                    <a:lnTo>
                      <a:pt x="203359" y="52673"/>
                    </a:lnTo>
                    <a:lnTo>
                      <a:pt x="201644" y="52673"/>
                    </a:lnTo>
                    <a:lnTo>
                      <a:pt x="201644" y="50959"/>
                    </a:lnTo>
                    <a:lnTo>
                      <a:pt x="200787" y="46673"/>
                    </a:lnTo>
                    <a:lnTo>
                      <a:pt x="199930" y="45815"/>
                    </a:lnTo>
                    <a:lnTo>
                      <a:pt x="199168" y="43339"/>
                    </a:lnTo>
                    <a:lnTo>
                      <a:pt x="196596" y="42482"/>
                    </a:lnTo>
                    <a:lnTo>
                      <a:pt x="193262" y="41624"/>
                    </a:lnTo>
                    <a:lnTo>
                      <a:pt x="190690" y="39910"/>
                    </a:lnTo>
                    <a:lnTo>
                      <a:pt x="188976" y="38195"/>
                    </a:lnTo>
                    <a:lnTo>
                      <a:pt x="188119" y="35719"/>
                    </a:lnTo>
                    <a:lnTo>
                      <a:pt x="188119" y="33147"/>
                    </a:lnTo>
                    <a:lnTo>
                      <a:pt x="188119" y="31433"/>
                    </a:lnTo>
                    <a:lnTo>
                      <a:pt x="187357" y="28004"/>
                    </a:lnTo>
                    <a:lnTo>
                      <a:pt x="185642" y="27242"/>
                    </a:lnTo>
                    <a:lnTo>
                      <a:pt x="183928" y="27242"/>
                    </a:lnTo>
                    <a:lnTo>
                      <a:pt x="182213" y="25527"/>
                    </a:lnTo>
                    <a:lnTo>
                      <a:pt x="181451" y="24670"/>
                    </a:lnTo>
                    <a:lnTo>
                      <a:pt x="181451" y="22955"/>
                    </a:lnTo>
                    <a:lnTo>
                      <a:pt x="182213" y="22098"/>
                    </a:lnTo>
                    <a:lnTo>
                      <a:pt x="182213" y="21241"/>
                    </a:lnTo>
                    <a:lnTo>
                      <a:pt x="181451" y="19526"/>
                    </a:lnTo>
                    <a:lnTo>
                      <a:pt x="179737" y="18669"/>
                    </a:lnTo>
                    <a:lnTo>
                      <a:pt x="178880" y="17907"/>
                    </a:lnTo>
                    <a:lnTo>
                      <a:pt x="179737" y="16193"/>
                    </a:lnTo>
                    <a:lnTo>
                      <a:pt x="179737" y="15335"/>
                    </a:lnTo>
                    <a:lnTo>
                      <a:pt x="179737" y="13621"/>
                    </a:lnTo>
                    <a:lnTo>
                      <a:pt x="178880" y="12764"/>
                    </a:lnTo>
                    <a:lnTo>
                      <a:pt x="178022" y="11906"/>
                    </a:lnTo>
                    <a:lnTo>
                      <a:pt x="176308" y="11906"/>
                    </a:lnTo>
                    <a:lnTo>
                      <a:pt x="175546" y="11049"/>
                    </a:lnTo>
                    <a:lnTo>
                      <a:pt x="173831" y="9335"/>
                    </a:lnTo>
                    <a:lnTo>
                      <a:pt x="173831" y="7715"/>
                    </a:lnTo>
                    <a:lnTo>
                      <a:pt x="172974" y="6001"/>
                    </a:lnTo>
                    <a:lnTo>
                      <a:pt x="169640" y="3429"/>
                    </a:lnTo>
                    <a:lnTo>
                      <a:pt x="166211" y="857"/>
                    </a:lnTo>
                    <a:lnTo>
                      <a:pt x="164497" y="0"/>
                    </a:lnTo>
                    <a:lnTo>
                      <a:pt x="159449" y="857"/>
                    </a:lnTo>
                    <a:lnTo>
                      <a:pt x="157829" y="6001"/>
                    </a:lnTo>
                    <a:lnTo>
                      <a:pt x="156972" y="11906"/>
                    </a:lnTo>
                    <a:lnTo>
                      <a:pt x="155258" y="14478"/>
                    </a:lnTo>
                    <a:lnTo>
                      <a:pt x="153543" y="13621"/>
                    </a:lnTo>
                    <a:lnTo>
                      <a:pt x="151067" y="11049"/>
                    </a:lnTo>
                    <a:lnTo>
                      <a:pt x="148495" y="10192"/>
                    </a:lnTo>
                    <a:lnTo>
                      <a:pt x="146780" y="13621"/>
                    </a:lnTo>
                    <a:lnTo>
                      <a:pt x="145923" y="16193"/>
                    </a:lnTo>
                    <a:lnTo>
                      <a:pt x="144304" y="17050"/>
                    </a:lnTo>
                    <a:lnTo>
                      <a:pt x="146780" y="20384"/>
                    </a:lnTo>
                    <a:lnTo>
                      <a:pt x="147638" y="21241"/>
                    </a:lnTo>
                    <a:lnTo>
                      <a:pt x="151067" y="24670"/>
                    </a:lnTo>
                    <a:lnTo>
                      <a:pt x="153543" y="29718"/>
                    </a:lnTo>
                    <a:lnTo>
                      <a:pt x="156972" y="34862"/>
                    </a:lnTo>
                    <a:lnTo>
                      <a:pt x="157829" y="36576"/>
                    </a:lnTo>
                    <a:lnTo>
                      <a:pt x="156972" y="39053"/>
                    </a:lnTo>
                    <a:lnTo>
                      <a:pt x="153543" y="39910"/>
                    </a:lnTo>
                    <a:lnTo>
                      <a:pt x="151829" y="39910"/>
                    </a:lnTo>
                    <a:lnTo>
                      <a:pt x="150209" y="40767"/>
                    </a:lnTo>
                    <a:lnTo>
                      <a:pt x="143447" y="39910"/>
                    </a:lnTo>
                    <a:lnTo>
                      <a:pt x="140875" y="38195"/>
                    </a:lnTo>
                    <a:lnTo>
                      <a:pt x="139256" y="36576"/>
                    </a:lnTo>
                    <a:lnTo>
                      <a:pt x="138398" y="34862"/>
                    </a:lnTo>
                    <a:lnTo>
                      <a:pt x="135827" y="29718"/>
                    </a:lnTo>
                    <a:lnTo>
                      <a:pt x="134969" y="28861"/>
                    </a:lnTo>
                    <a:lnTo>
                      <a:pt x="133350" y="28861"/>
                    </a:lnTo>
                    <a:lnTo>
                      <a:pt x="130778" y="28861"/>
                    </a:lnTo>
                    <a:lnTo>
                      <a:pt x="127445" y="28004"/>
                    </a:lnTo>
                    <a:lnTo>
                      <a:pt x="123158" y="28004"/>
                    </a:lnTo>
                    <a:lnTo>
                      <a:pt x="121539" y="28004"/>
                    </a:lnTo>
                    <a:lnTo>
                      <a:pt x="119825" y="28004"/>
                    </a:lnTo>
                    <a:lnTo>
                      <a:pt x="117253" y="27242"/>
                    </a:lnTo>
                    <a:lnTo>
                      <a:pt x="116396" y="26384"/>
                    </a:lnTo>
                    <a:lnTo>
                      <a:pt x="114776" y="26384"/>
                    </a:lnTo>
                    <a:lnTo>
                      <a:pt x="112204" y="26384"/>
                    </a:lnTo>
                    <a:lnTo>
                      <a:pt x="107156" y="26384"/>
                    </a:lnTo>
                    <a:lnTo>
                      <a:pt x="105442" y="27242"/>
                    </a:lnTo>
                    <a:lnTo>
                      <a:pt x="102965" y="27242"/>
                    </a:lnTo>
                    <a:lnTo>
                      <a:pt x="102108" y="27242"/>
                    </a:lnTo>
                    <a:lnTo>
                      <a:pt x="99536" y="25527"/>
                    </a:lnTo>
                    <a:lnTo>
                      <a:pt x="97060" y="22098"/>
                    </a:lnTo>
                    <a:lnTo>
                      <a:pt x="95345" y="21241"/>
                    </a:lnTo>
                    <a:lnTo>
                      <a:pt x="94488" y="20384"/>
                    </a:lnTo>
                    <a:lnTo>
                      <a:pt x="92774" y="21241"/>
                    </a:lnTo>
                    <a:lnTo>
                      <a:pt x="91916" y="21241"/>
                    </a:lnTo>
                    <a:lnTo>
                      <a:pt x="91154" y="20384"/>
                    </a:lnTo>
                    <a:lnTo>
                      <a:pt x="90297" y="19526"/>
                    </a:lnTo>
                    <a:lnTo>
                      <a:pt x="89440" y="18669"/>
                    </a:lnTo>
                    <a:lnTo>
                      <a:pt x="88583" y="18669"/>
                    </a:lnTo>
                    <a:lnTo>
                      <a:pt x="86011" y="18669"/>
                    </a:lnTo>
                    <a:lnTo>
                      <a:pt x="81820" y="17907"/>
                    </a:lnTo>
                    <a:lnTo>
                      <a:pt x="80105" y="17907"/>
                    </a:lnTo>
                    <a:lnTo>
                      <a:pt x="79343" y="17907"/>
                    </a:lnTo>
                    <a:lnTo>
                      <a:pt x="73438" y="22098"/>
                    </a:lnTo>
                    <a:lnTo>
                      <a:pt x="68294" y="23813"/>
                    </a:lnTo>
                    <a:lnTo>
                      <a:pt x="60770" y="28004"/>
                    </a:lnTo>
                    <a:lnTo>
                      <a:pt x="55721" y="31433"/>
                    </a:lnTo>
                    <a:lnTo>
                      <a:pt x="52292" y="33147"/>
                    </a:lnTo>
                    <a:lnTo>
                      <a:pt x="50578" y="34004"/>
                    </a:lnTo>
                    <a:lnTo>
                      <a:pt x="48958" y="34004"/>
                    </a:lnTo>
                    <a:lnTo>
                      <a:pt x="43910" y="33147"/>
                    </a:lnTo>
                    <a:lnTo>
                      <a:pt x="43053" y="33147"/>
                    </a:lnTo>
                    <a:lnTo>
                      <a:pt x="41339" y="33147"/>
                    </a:lnTo>
                    <a:lnTo>
                      <a:pt x="39624" y="34004"/>
                    </a:lnTo>
                    <a:lnTo>
                      <a:pt x="37148" y="38195"/>
                    </a:lnTo>
                    <a:lnTo>
                      <a:pt x="32861" y="42482"/>
                    </a:lnTo>
                    <a:lnTo>
                      <a:pt x="26956" y="49244"/>
                    </a:lnTo>
                    <a:lnTo>
                      <a:pt x="26099" y="50102"/>
                    </a:lnTo>
                    <a:lnTo>
                      <a:pt x="25337" y="51816"/>
                    </a:lnTo>
                    <a:lnTo>
                      <a:pt x="26956" y="54388"/>
                    </a:lnTo>
                    <a:lnTo>
                      <a:pt x="26956" y="55150"/>
                    </a:lnTo>
                    <a:lnTo>
                      <a:pt x="26099" y="56864"/>
                    </a:lnTo>
                    <a:lnTo>
                      <a:pt x="25337" y="57722"/>
                    </a:lnTo>
                    <a:lnTo>
                      <a:pt x="24479" y="57722"/>
                    </a:lnTo>
                    <a:lnTo>
                      <a:pt x="23622" y="57722"/>
                    </a:lnTo>
                    <a:lnTo>
                      <a:pt x="21908" y="57722"/>
                    </a:lnTo>
                    <a:lnTo>
                      <a:pt x="21050" y="57722"/>
                    </a:lnTo>
                    <a:lnTo>
                      <a:pt x="20193" y="57722"/>
                    </a:lnTo>
                    <a:lnTo>
                      <a:pt x="20193" y="59436"/>
                    </a:lnTo>
                    <a:lnTo>
                      <a:pt x="21908" y="62008"/>
                    </a:lnTo>
                    <a:lnTo>
                      <a:pt x="22765" y="62865"/>
                    </a:lnTo>
                    <a:lnTo>
                      <a:pt x="23622" y="63722"/>
                    </a:lnTo>
                    <a:lnTo>
                      <a:pt x="24479" y="64484"/>
                    </a:lnTo>
                    <a:lnTo>
                      <a:pt x="25337" y="66199"/>
                    </a:lnTo>
                    <a:lnTo>
                      <a:pt x="25337" y="68771"/>
                    </a:lnTo>
                    <a:lnTo>
                      <a:pt x="24479" y="72200"/>
                    </a:lnTo>
                    <a:lnTo>
                      <a:pt x="22765" y="71342"/>
                    </a:lnTo>
                    <a:lnTo>
                      <a:pt x="22765" y="71342"/>
                    </a:lnTo>
                    <a:lnTo>
                      <a:pt x="21050" y="70485"/>
                    </a:lnTo>
                    <a:lnTo>
                      <a:pt x="20193" y="70485"/>
                    </a:lnTo>
                    <a:lnTo>
                      <a:pt x="19431" y="72200"/>
                    </a:lnTo>
                    <a:lnTo>
                      <a:pt x="17717" y="76391"/>
                    </a:lnTo>
                    <a:lnTo>
                      <a:pt x="16002" y="82391"/>
                    </a:lnTo>
                    <a:lnTo>
                      <a:pt x="15145" y="84868"/>
                    </a:lnTo>
                    <a:lnTo>
                      <a:pt x="16002" y="86582"/>
                    </a:lnTo>
                    <a:lnTo>
                      <a:pt x="18574" y="89154"/>
                    </a:lnTo>
                    <a:lnTo>
                      <a:pt x="19431" y="91726"/>
                    </a:lnTo>
                    <a:lnTo>
                      <a:pt x="19431" y="94202"/>
                    </a:lnTo>
                    <a:lnTo>
                      <a:pt x="19431" y="95917"/>
                    </a:lnTo>
                    <a:lnTo>
                      <a:pt x="21050" y="97631"/>
                    </a:lnTo>
                    <a:lnTo>
                      <a:pt x="21908" y="99346"/>
                    </a:lnTo>
                    <a:lnTo>
                      <a:pt x="22765" y="101822"/>
                    </a:lnTo>
                    <a:lnTo>
                      <a:pt x="22765" y="103537"/>
                    </a:lnTo>
                    <a:lnTo>
                      <a:pt x="21908" y="104394"/>
                    </a:lnTo>
                    <a:lnTo>
                      <a:pt x="20193" y="106109"/>
                    </a:lnTo>
                    <a:lnTo>
                      <a:pt x="19431" y="106966"/>
                    </a:lnTo>
                    <a:lnTo>
                      <a:pt x="21908" y="111157"/>
                    </a:lnTo>
                    <a:lnTo>
                      <a:pt x="22765" y="112014"/>
                    </a:lnTo>
                    <a:lnTo>
                      <a:pt x="24479" y="112871"/>
                    </a:lnTo>
                    <a:lnTo>
                      <a:pt x="26099" y="112871"/>
                    </a:lnTo>
                    <a:lnTo>
                      <a:pt x="26956" y="112871"/>
                    </a:lnTo>
                    <a:lnTo>
                      <a:pt x="27813" y="113729"/>
                    </a:lnTo>
                    <a:lnTo>
                      <a:pt x="27813" y="114586"/>
                    </a:lnTo>
                    <a:lnTo>
                      <a:pt x="27813" y="115443"/>
                    </a:lnTo>
                    <a:lnTo>
                      <a:pt x="26956" y="117158"/>
                    </a:lnTo>
                    <a:lnTo>
                      <a:pt x="26099" y="118872"/>
                    </a:lnTo>
                    <a:lnTo>
                      <a:pt x="25337" y="118872"/>
                    </a:lnTo>
                    <a:lnTo>
                      <a:pt x="22765" y="119729"/>
                    </a:lnTo>
                    <a:lnTo>
                      <a:pt x="13526" y="125635"/>
                    </a:lnTo>
                    <a:lnTo>
                      <a:pt x="10954" y="126492"/>
                    </a:lnTo>
                    <a:lnTo>
                      <a:pt x="8382" y="127349"/>
                    </a:lnTo>
                    <a:lnTo>
                      <a:pt x="6763" y="127349"/>
                    </a:lnTo>
                    <a:lnTo>
                      <a:pt x="3334" y="127349"/>
                    </a:lnTo>
                    <a:lnTo>
                      <a:pt x="857" y="129064"/>
                    </a:lnTo>
                    <a:lnTo>
                      <a:pt x="0" y="130683"/>
                    </a:lnTo>
                    <a:lnTo>
                      <a:pt x="0" y="131540"/>
                    </a:lnTo>
                    <a:lnTo>
                      <a:pt x="1715" y="134112"/>
                    </a:lnTo>
                    <a:lnTo>
                      <a:pt x="2477" y="134969"/>
                    </a:lnTo>
                    <a:lnTo>
                      <a:pt x="5906" y="132398"/>
                    </a:lnTo>
                    <a:lnTo>
                      <a:pt x="7620" y="132398"/>
                    </a:lnTo>
                    <a:lnTo>
                      <a:pt x="10954" y="133255"/>
                    </a:lnTo>
                    <a:lnTo>
                      <a:pt x="20193" y="141732"/>
                    </a:lnTo>
                    <a:lnTo>
                      <a:pt x="26956" y="146018"/>
                    </a:lnTo>
                    <a:lnTo>
                      <a:pt x="39624" y="151924"/>
                    </a:lnTo>
                    <a:lnTo>
                      <a:pt x="42196" y="154496"/>
                    </a:lnTo>
                    <a:lnTo>
                      <a:pt x="41339" y="156210"/>
                    </a:lnTo>
                    <a:lnTo>
                      <a:pt x="38767" y="157829"/>
                    </a:lnTo>
                    <a:lnTo>
                      <a:pt x="33719" y="162116"/>
                    </a:lnTo>
                    <a:lnTo>
                      <a:pt x="29527" y="166307"/>
                    </a:lnTo>
                    <a:lnTo>
                      <a:pt x="25337" y="178213"/>
                    </a:lnTo>
                    <a:lnTo>
                      <a:pt x="20193" y="185833"/>
                    </a:lnTo>
                    <a:lnTo>
                      <a:pt x="19431" y="188405"/>
                    </a:lnTo>
                    <a:lnTo>
                      <a:pt x="20193" y="193548"/>
                    </a:lnTo>
                    <a:lnTo>
                      <a:pt x="20193" y="198596"/>
                    </a:lnTo>
                    <a:lnTo>
                      <a:pt x="20193" y="201168"/>
                    </a:lnTo>
                    <a:lnTo>
                      <a:pt x="21908" y="206216"/>
                    </a:lnTo>
                    <a:lnTo>
                      <a:pt x="23622" y="212979"/>
                    </a:lnTo>
                    <a:lnTo>
                      <a:pt x="24479" y="216408"/>
                    </a:lnTo>
                    <a:lnTo>
                      <a:pt x="29527" y="226600"/>
                    </a:lnTo>
                    <a:lnTo>
                      <a:pt x="39624" y="221552"/>
                    </a:lnTo>
                    <a:lnTo>
                      <a:pt x="43053" y="218123"/>
                    </a:lnTo>
                    <a:lnTo>
                      <a:pt x="44672" y="218123"/>
                    </a:lnTo>
                    <a:lnTo>
                      <a:pt x="46387" y="218980"/>
                    </a:lnTo>
                    <a:lnTo>
                      <a:pt x="52292" y="223171"/>
                    </a:lnTo>
                    <a:lnTo>
                      <a:pt x="56483" y="225743"/>
                    </a:lnTo>
                    <a:lnTo>
                      <a:pt x="57341" y="226600"/>
                    </a:lnTo>
                    <a:lnTo>
                      <a:pt x="59912" y="227457"/>
                    </a:lnTo>
                    <a:lnTo>
                      <a:pt x="64960" y="224885"/>
                    </a:lnTo>
                    <a:lnTo>
                      <a:pt x="68294" y="220694"/>
                    </a:lnTo>
                    <a:lnTo>
                      <a:pt x="70009" y="215551"/>
                    </a:lnTo>
                    <a:lnTo>
                      <a:pt x="69152" y="209645"/>
                    </a:lnTo>
                    <a:lnTo>
                      <a:pt x="65818" y="198596"/>
                    </a:lnTo>
                    <a:lnTo>
                      <a:pt x="64960" y="196025"/>
                    </a:lnTo>
                    <a:lnTo>
                      <a:pt x="64960" y="192691"/>
                    </a:lnTo>
                    <a:lnTo>
                      <a:pt x="65818" y="190976"/>
                    </a:lnTo>
                    <a:lnTo>
                      <a:pt x="66675" y="190119"/>
                    </a:lnTo>
                    <a:lnTo>
                      <a:pt x="67532" y="189262"/>
                    </a:lnTo>
                    <a:lnTo>
                      <a:pt x="69152" y="189262"/>
                    </a:lnTo>
                    <a:lnTo>
                      <a:pt x="70866" y="189262"/>
                    </a:lnTo>
                    <a:lnTo>
                      <a:pt x="71723" y="189262"/>
                    </a:lnTo>
                    <a:lnTo>
                      <a:pt x="72581" y="190119"/>
                    </a:lnTo>
                    <a:lnTo>
                      <a:pt x="79343" y="196882"/>
                    </a:lnTo>
                    <a:lnTo>
                      <a:pt x="83534" y="202883"/>
                    </a:lnTo>
                    <a:lnTo>
                      <a:pt x="86868" y="210503"/>
                    </a:lnTo>
                    <a:lnTo>
                      <a:pt x="87725" y="212217"/>
                    </a:lnTo>
                    <a:lnTo>
                      <a:pt x="89440" y="213836"/>
                    </a:lnTo>
                    <a:lnTo>
                      <a:pt x="100394" y="218123"/>
                    </a:lnTo>
                    <a:lnTo>
                      <a:pt x="104585" y="223171"/>
                    </a:lnTo>
                    <a:lnTo>
                      <a:pt x="107156" y="228314"/>
                    </a:lnTo>
                    <a:lnTo>
                      <a:pt x="108871" y="231648"/>
                    </a:lnTo>
                    <a:lnTo>
                      <a:pt x="112204" y="236792"/>
                    </a:lnTo>
                    <a:lnTo>
                      <a:pt x="118967" y="241840"/>
                    </a:lnTo>
                    <a:lnTo>
                      <a:pt x="136684" y="252889"/>
                    </a:lnTo>
                    <a:lnTo>
                      <a:pt x="139256" y="253746"/>
                    </a:lnTo>
                    <a:lnTo>
                      <a:pt x="147638" y="255461"/>
                    </a:lnTo>
                    <a:lnTo>
                      <a:pt x="149352" y="256318"/>
                    </a:lnTo>
                    <a:lnTo>
                      <a:pt x="149352" y="258032"/>
                    </a:lnTo>
                    <a:lnTo>
                      <a:pt x="148495" y="258794"/>
                    </a:lnTo>
                    <a:lnTo>
                      <a:pt x="147638" y="260509"/>
                    </a:lnTo>
                    <a:lnTo>
                      <a:pt x="142589" y="265652"/>
                    </a:lnTo>
                    <a:lnTo>
                      <a:pt x="140875" y="266510"/>
                    </a:lnTo>
                    <a:lnTo>
                      <a:pt x="140018" y="266510"/>
                    </a:lnTo>
                    <a:lnTo>
                      <a:pt x="139256" y="265652"/>
                    </a:lnTo>
                    <a:lnTo>
                      <a:pt x="138398" y="265652"/>
                    </a:lnTo>
                    <a:lnTo>
                      <a:pt x="137541" y="265652"/>
                    </a:lnTo>
                    <a:lnTo>
                      <a:pt x="136684" y="266510"/>
                    </a:lnTo>
                    <a:lnTo>
                      <a:pt x="135827" y="268986"/>
                    </a:lnTo>
                    <a:lnTo>
                      <a:pt x="134969" y="269843"/>
                    </a:lnTo>
                    <a:lnTo>
                      <a:pt x="133350" y="268986"/>
                    </a:lnTo>
                    <a:lnTo>
                      <a:pt x="132493" y="268129"/>
                    </a:lnTo>
                    <a:lnTo>
                      <a:pt x="131636" y="268129"/>
                    </a:lnTo>
                    <a:lnTo>
                      <a:pt x="130778" y="268129"/>
                    </a:lnTo>
                    <a:lnTo>
                      <a:pt x="129921" y="268986"/>
                    </a:lnTo>
                    <a:lnTo>
                      <a:pt x="128206" y="268986"/>
                    </a:lnTo>
                    <a:lnTo>
                      <a:pt x="127445" y="269843"/>
                    </a:lnTo>
                    <a:lnTo>
                      <a:pt x="127445" y="270701"/>
                    </a:lnTo>
                    <a:lnTo>
                      <a:pt x="128206" y="271558"/>
                    </a:lnTo>
                    <a:lnTo>
                      <a:pt x="127445" y="272415"/>
                    </a:lnTo>
                    <a:lnTo>
                      <a:pt x="126587" y="272415"/>
                    </a:lnTo>
                    <a:lnTo>
                      <a:pt x="126587" y="273272"/>
                    </a:lnTo>
                    <a:lnTo>
                      <a:pt x="127445" y="274130"/>
                    </a:lnTo>
                    <a:lnTo>
                      <a:pt x="143447" y="282607"/>
                    </a:lnTo>
                    <a:lnTo>
                      <a:pt x="145161" y="285179"/>
                    </a:lnTo>
                    <a:lnTo>
                      <a:pt x="146780" y="287655"/>
                    </a:lnTo>
                    <a:lnTo>
                      <a:pt x="147638" y="289370"/>
                    </a:lnTo>
                    <a:lnTo>
                      <a:pt x="148495" y="296132"/>
                    </a:lnTo>
                    <a:lnTo>
                      <a:pt x="152686" y="293656"/>
                    </a:lnTo>
                    <a:lnTo>
                      <a:pt x="159449" y="291941"/>
                    </a:lnTo>
                    <a:lnTo>
                      <a:pt x="162020" y="290227"/>
                    </a:lnTo>
                    <a:lnTo>
                      <a:pt x="162877" y="290227"/>
                    </a:lnTo>
                    <a:lnTo>
                      <a:pt x="163735" y="291084"/>
                    </a:lnTo>
                    <a:lnTo>
                      <a:pt x="172117" y="295370"/>
                    </a:lnTo>
                    <a:lnTo>
                      <a:pt x="172974" y="296132"/>
                    </a:lnTo>
                    <a:lnTo>
                      <a:pt x="173831" y="296990"/>
                    </a:lnTo>
                    <a:lnTo>
                      <a:pt x="173831" y="298704"/>
                    </a:lnTo>
                    <a:lnTo>
                      <a:pt x="173831" y="299561"/>
                    </a:lnTo>
                    <a:lnTo>
                      <a:pt x="174689" y="301276"/>
                    </a:lnTo>
                    <a:lnTo>
                      <a:pt x="176308" y="302990"/>
                    </a:lnTo>
                    <a:lnTo>
                      <a:pt x="190690" y="313182"/>
                    </a:lnTo>
                    <a:lnTo>
                      <a:pt x="193262" y="314039"/>
                    </a:lnTo>
                    <a:lnTo>
                      <a:pt x="194881" y="314039"/>
                    </a:lnTo>
                    <a:lnTo>
                      <a:pt x="196596" y="314039"/>
                    </a:lnTo>
                    <a:lnTo>
                      <a:pt x="197453" y="313182"/>
                    </a:lnTo>
                    <a:lnTo>
                      <a:pt x="199168" y="313182"/>
                    </a:lnTo>
                    <a:lnTo>
                      <a:pt x="199168" y="314039"/>
                    </a:lnTo>
                    <a:lnTo>
                      <a:pt x="199930" y="315659"/>
                    </a:lnTo>
                    <a:lnTo>
                      <a:pt x="201644" y="317373"/>
                    </a:lnTo>
                    <a:lnTo>
                      <a:pt x="202502" y="318230"/>
                    </a:lnTo>
                    <a:lnTo>
                      <a:pt x="203359" y="319945"/>
                    </a:lnTo>
                    <a:lnTo>
                      <a:pt x="205073" y="324993"/>
                    </a:lnTo>
                    <a:lnTo>
                      <a:pt x="206693" y="328422"/>
                    </a:lnTo>
                    <a:lnTo>
                      <a:pt x="216027" y="324993"/>
                    </a:lnTo>
                    <a:lnTo>
                      <a:pt x="220218" y="324993"/>
                    </a:lnTo>
                    <a:lnTo>
                      <a:pt x="221075" y="325850"/>
                    </a:lnTo>
                    <a:lnTo>
                      <a:pt x="221932" y="327565"/>
                    </a:lnTo>
                    <a:lnTo>
                      <a:pt x="222790" y="328422"/>
                    </a:lnTo>
                    <a:lnTo>
                      <a:pt x="223647" y="328422"/>
                    </a:lnTo>
                    <a:lnTo>
                      <a:pt x="225266" y="328422"/>
                    </a:lnTo>
                    <a:lnTo>
                      <a:pt x="227838" y="326708"/>
                    </a:lnTo>
                    <a:lnTo>
                      <a:pt x="234601" y="328422"/>
                    </a:lnTo>
                    <a:lnTo>
                      <a:pt x="237935" y="327565"/>
                    </a:lnTo>
                    <a:lnTo>
                      <a:pt x="237935" y="326708"/>
                    </a:lnTo>
                    <a:lnTo>
                      <a:pt x="237935" y="325850"/>
                    </a:lnTo>
                    <a:lnTo>
                      <a:pt x="237935" y="324993"/>
                    </a:lnTo>
                    <a:lnTo>
                      <a:pt x="239649" y="324136"/>
                    </a:lnTo>
                    <a:lnTo>
                      <a:pt x="242126" y="324136"/>
                    </a:lnTo>
                    <a:lnTo>
                      <a:pt x="247269" y="324993"/>
                    </a:lnTo>
                    <a:lnTo>
                      <a:pt x="249746" y="326708"/>
                    </a:lnTo>
                    <a:lnTo>
                      <a:pt x="250603" y="327565"/>
                    </a:lnTo>
                    <a:lnTo>
                      <a:pt x="249746" y="329279"/>
                    </a:lnTo>
                    <a:lnTo>
                      <a:pt x="248888" y="331851"/>
                    </a:lnTo>
                    <a:lnTo>
                      <a:pt x="248888" y="332708"/>
                    </a:lnTo>
                    <a:lnTo>
                      <a:pt x="249746" y="334328"/>
                    </a:lnTo>
                    <a:lnTo>
                      <a:pt x="250603" y="334328"/>
                    </a:lnTo>
                    <a:lnTo>
                      <a:pt x="253936" y="332708"/>
                    </a:lnTo>
                    <a:lnTo>
                      <a:pt x="255651" y="332708"/>
                    </a:lnTo>
                    <a:lnTo>
                      <a:pt x="255651" y="333470"/>
                    </a:lnTo>
                    <a:lnTo>
                      <a:pt x="256508" y="334328"/>
                    </a:lnTo>
                    <a:lnTo>
                      <a:pt x="255651" y="336042"/>
                    </a:lnTo>
                    <a:lnTo>
                      <a:pt x="255651" y="336899"/>
                    </a:lnTo>
                    <a:lnTo>
                      <a:pt x="256508" y="337757"/>
                    </a:lnTo>
                    <a:lnTo>
                      <a:pt x="257365" y="337757"/>
                    </a:lnTo>
                    <a:lnTo>
                      <a:pt x="259080" y="336899"/>
                    </a:lnTo>
                    <a:lnTo>
                      <a:pt x="259842" y="336899"/>
                    </a:lnTo>
                    <a:lnTo>
                      <a:pt x="260699" y="337757"/>
                    </a:lnTo>
                    <a:lnTo>
                      <a:pt x="259842" y="338614"/>
                    </a:lnTo>
                    <a:lnTo>
                      <a:pt x="259842" y="340328"/>
                    </a:lnTo>
                    <a:lnTo>
                      <a:pt x="260699" y="341186"/>
                    </a:lnTo>
                    <a:lnTo>
                      <a:pt x="262414" y="342805"/>
                    </a:lnTo>
                    <a:lnTo>
                      <a:pt x="264986" y="343662"/>
                    </a:lnTo>
                    <a:lnTo>
                      <a:pt x="266605" y="342805"/>
                    </a:lnTo>
                    <a:lnTo>
                      <a:pt x="268319" y="342805"/>
                    </a:lnTo>
                    <a:lnTo>
                      <a:pt x="269177" y="342043"/>
                    </a:lnTo>
                    <a:lnTo>
                      <a:pt x="270891" y="341186"/>
                    </a:lnTo>
                    <a:lnTo>
                      <a:pt x="274225" y="337757"/>
                    </a:lnTo>
                    <a:lnTo>
                      <a:pt x="275082" y="335185"/>
                    </a:lnTo>
                    <a:lnTo>
                      <a:pt x="275082" y="334328"/>
                    </a:lnTo>
                    <a:lnTo>
                      <a:pt x="275939" y="332708"/>
                    </a:lnTo>
                    <a:lnTo>
                      <a:pt x="273368" y="331851"/>
                    </a:lnTo>
                    <a:lnTo>
                      <a:pt x="271653" y="330137"/>
                    </a:lnTo>
                    <a:lnTo>
                      <a:pt x="270891" y="324993"/>
                    </a:lnTo>
                    <a:lnTo>
                      <a:pt x="270891" y="322517"/>
                    </a:lnTo>
                    <a:lnTo>
                      <a:pt x="271653" y="319945"/>
                    </a:lnTo>
                    <a:lnTo>
                      <a:pt x="272510" y="318230"/>
                    </a:lnTo>
                    <a:lnTo>
                      <a:pt x="273368" y="316516"/>
                    </a:lnTo>
                    <a:lnTo>
                      <a:pt x="275082" y="314801"/>
                    </a:lnTo>
                    <a:lnTo>
                      <a:pt x="277654" y="314039"/>
                    </a:lnTo>
                    <a:lnTo>
                      <a:pt x="278416" y="312325"/>
                    </a:lnTo>
                    <a:lnTo>
                      <a:pt x="280130" y="310610"/>
                    </a:lnTo>
                    <a:lnTo>
                      <a:pt x="280130" y="310610"/>
                    </a:lnTo>
                    <a:lnTo>
                      <a:pt x="279273" y="306324"/>
                    </a:lnTo>
                    <a:lnTo>
                      <a:pt x="280130" y="300419"/>
                    </a:lnTo>
                    <a:lnTo>
                      <a:pt x="282702" y="296132"/>
                    </a:lnTo>
                    <a:lnTo>
                      <a:pt x="286036" y="294513"/>
                    </a:lnTo>
                    <a:lnTo>
                      <a:pt x="287750" y="294513"/>
                    </a:lnTo>
                    <a:lnTo>
                      <a:pt x="290227" y="294513"/>
                    </a:lnTo>
                    <a:lnTo>
                      <a:pt x="291941" y="293656"/>
                    </a:lnTo>
                    <a:lnTo>
                      <a:pt x="293656" y="291941"/>
                    </a:lnTo>
                    <a:lnTo>
                      <a:pt x="292798" y="290227"/>
                    </a:lnTo>
                    <a:lnTo>
                      <a:pt x="291084" y="285179"/>
                    </a:lnTo>
                    <a:lnTo>
                      <a:pt x="291941" y="283464"/>
                    </a:lnTo>
                    <a:lnTo>
                      <a:pt x="293656" y="282607"/>
                    </a:lnTo>
                    <a:lnTo>
                      <a:pt x="295370" y="284321"/>
                    </a:lnTo>
                    <a:lnTo>
                      <a:pt x="296132" y="284321"/>
                    </a:lnTo>
                    <a:lnTo>
                      <a:pt x="298704" y="275844"/>
                    </a:lnTo>
                    <a:lnTo>
                      <a:pt x="298704" y="273272"/>
                    </a:lnTo>
                    <a:lnTo>
                      <a:pt x="298704" y="270701"/>
                    </a:lnTo>
                    <a:lnTo>
                      <a:pt x="297847" y="269843"/>
                    </a:lnTo>
                    <a:lnTo>
                      <a:pt x="296990" y="269843"/>
                    </a:lnTo>
                    <a:lnTo>
                      <a:pt x="296132" y="269843"/>
                    </a:lnTo>
                    <a:lnTo>
                      <a:pt x="295370" y="268129"/>
                    </a:lnTo>
                    <a:lnTo>
                      <a:pt x="294513" y="263081"/>
                    </a:lnTo>
                    <a:lnTo>
                      <a:pt x="291941" y="258794"/>
                    </a:lnTo>
                    <a:lnTo>
                      <a:pt x="291084" y="257175"/>
                    </a:lnTo>
                    <a:lnTo>
                      <a:pt x="291941" y="254603"/>
                    </a:lnTo>
                    <a:lnTo>
                      <a:pt x="292798" y="253746"/>
                    </a:lnTo>
                    <a:lnTo>
                      <a:pt x="296132" y="252889"/>
                    </a:lnTo>
                    <a:lnTo>
                      <a:pt x="296990" y="252032"/>
                    </a:lnTo>
                    <a:lnTo>
                      <a:pt x="296990" y="250317"/>
                    </a:lnTo>
                    <a:lnTo>
                      <a:pt x="297847" y="249460"/>
                    </a:lnTo>
                    <a:lnTo>
                      <a:pt x="298704" y="248698"/>
                    </a:lnTo>
                    <a:lnTo>
                      <a:pt x="299561" y="246983"/>
                    </a:lnTo>
                    <a:lnTo>
                      <a:pt x="299561" y="246983"/>
                    </a:lnTo>
                    <a:lnTo>
                      <a:pt x="302038" y="245269"/>
                    </a:lnTo>
                    <a:lnTo>
                      <a:pt x="302895" y="244412"/>
                    </a:lnTo>
                    <a:lnTo>
                      <a:pt x="303752" y="243554"/>
                    </a:lnTo>
                    <a:lnTo>
                      <a:pt x="303752" y="242697"/>
                    </a:lnTo>
                    <a:lnTo>
                      <a:pt x="303752" y="241840"/>
                    </a:lnTo>
                    <a:lnTo>
                      <a:pt x="303752" y="240983"/>
                    </a:lnTo>
                    <a:lnTo>
                      <a:pt x="303752" y="240221"/>
                    </a:lnTo>
                    <a:lnTo>
                      <a:pt x="304610" y="240221"/>
                    </a:lnTo>
                    <a:lnTo>
                      <a:pt x="305467" y="239363"/>
                    </a:lnTo>
                    <a:lnTo>
                      <a:pt x="306324" y="238506"/>
                    </a:lnTo>
                    <a:lnTo>
                      <a:pt x="308801" y="235934"/>
                    </a:lnTo>
                    <a:lnTo>
                      <a:pt x="310515" y="233363"/>
                    </a:lnTo>
                    <a:lnTo>
                      <a:pt x="310515" y="230886"/>
                    </a:lnTo>
                    <a:lnTo>
                      <a:pt x="309658" y="227457"/>
                    </a:lnTo>
                    <a:lnTo>
                      <a:pt x="307943" y="224028"/>
                    </a:lnTo>
                    <a:lnTo>
                      <a:pt x="306324" y="220694"/>
                    </a:lnTo>
                    <a:lnTo>
                      <a:pt x="306324" y="217265"/>
                    </a:lnTo>
                    <a:lnTo>
                      <a:pt x="308801" y="213836"/>
                    </a:lnTo>
                    <a:lnTo>
                      <a:pt x="311372" y="211360"/>
                    </a:lnTo>
                    <a:lnTo>
                      <a:pt x="318135" y="209645"/>
                    </a:lnTo>
                    <a:lnTo>
                      <a:pt x="319754" y="207931"/>
                    </a:lnTo>
                    <a:lnTo>
                      <a:pt x="325660" y="201168"/>
                    </a:lnTo>
                    <a:lnTo>
                      <a:pt x="328232" y="196882"/>
                    </a:lnTo>
                    <a:lnTo>
                      <a:pt x="329946" y="191834"/>
                    </a:lnTo>
                    <a:lnTo>
                      <a:pt x="330803" y="190119"/>
                    </a:lnTo>
                    <a:lnTo>
                      <a:pt x="332423" y="189262"/>
                    </a:lnTo>
                    <a:lnTo>
                      <a:pt x="335852" y="188405"/>
                    </a:lnTo>
                    <a:lnTo>
                      <a:pt x="338328" y="187547"/>
                    </a:lnTo>
                    <a:lnTo>
                      <a:pt x="340043" y="186690"/>
                    </a:lnTo>
                    <a:lnTo>
                      <a:pt x="342614" y="184214"/>
                    </a:lnTo>
                    <a:lnTo>
                      <a:pt x="346805" y="181642"/>
                    </a:lnTo>
                    <a:lnTo>
                      <a:pt x="347663" y="179927"/>
                    </a:lnTo>
                    <a:lnTo>
                      <a:pt x="350996" y="174879"/>
                    </a:lnTo>
                    <a:lnTo>
                      <a:pt x="352711" y="173165"/>
                    </a:lnTo>
                    <a:lnTo>
                      <a:pt x="359473" y="168021"/>
                    </a:lnTo>
                    <a:lnTo>
                      <a:pt x="361188" y="164687"/>
                    </a:lnTo>
                    <a:lnTo>
                      <a:pt x="359473" y="162116"/>
                    </a:lnTo>
                    <a:lnTo>
                      <a:pt x="361188" y="160401"/>
                    </a:lnTo>
                    <a:lnTo>
                      <a:pt x="362807" y="157829"/>
                    </a:lnTo>
                    <a:lnTo>
                      <a:pt x="365379" y="156972"/>
                    </a:lnTo>
                    <a:lnTo>
                      <a:pt x="366236" y="157829"/>
                    </a:lnTo>
                    <a:lnTo>
                      <a:pt x="367094" y="160401"/>
                    </a:lnTo>
                    <a:lnTo>
                      <a:pt x="368713" y="161258"/>
                    </a:lnTo>
                    <a:lnTo>
                      <a:pt x="376333" y="158687"/>
                    </a:lnTo>
                    <a:lnTo>
                      <a:pt x="377190" y="158687"/>
                    </a:lnTo>
                    <a:lnTo>
                      <a:pt x="378047" y="156210"/>
                    </a:lnTo>
                    <a:lnTo>
                      <a:pt x="377190" y="154496"/>
                    </a:lnTo>
                    <a:lnTo>
                      <a:pt x="377190" y="154496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26" name="Freeform: Shape 130">
                <a:extLst>
                  <a:ext uri="{FF2B5EF4-FFF2-40B4-BE49-F238E27FC236}">
                    <a16:creationId xmlns:a16="http://schemas.microsoft.com/office/drawing/2014/main" id="{AEB7FF91-0FAA-4F1C-B032-523A532CBEDC}"/>
                  </a:ext>
                </a:extLst>
              </p:cNvPr>
              <p:cNvSpPr/>
              <p:nvPr/>
            </p:nvSpPr>
            <p:spPr>
              <a:xfrm>
                <a:off x="5467921" y="2474595"/>
                <a:ext cx="828675" cy="800100"/>
              </a:xfrm>
              <a:custGeom>
                <a:avLst/>
                <a:gdLst>
                  <a:gd name="connsiteX0" fmla="*/ 834295 w 828675"/>
                  <a:gd name="connsiteY0" fmla="*/ 576739 h 800100"/>
                  <a:gd name="connsiteX1" fmla="*/ 834295 w 828675"/>
                  <a:gd name="connsiteY1" fmla="*/ 576739 h 800100"/>
                  <a:gd name="connsiteX2" fmla="*/ 833438 w 828675"/>
                  <a:gd name="connsiteY2" fmla="*/ 575024 h 800100"/>
                  <a:gd name="connsiteX3" fmla="*/ 825818 w 828675"/>
                  <a:gd name="connsiteY3" fmla="*/ 567404 h 800100"/>
                  <a:gd name="connsiteX4" fmla="*/ 824103 w 828675"/>
                  <a:gd name="connsiteY4" fmla="*/ 567404 h 800100"/>
                  <a:gd name="connsiteX5" fmla="*/ 822388 w 828675"/>
                  <a:gd name="connsiteY5" fmla="*/ 567404 h 800100"/>
                  <a:gd name="connsiteX6" fmla="*/ 819055 w 828675"/>
                  <a:gd name="connsiteY6" fmla="*/ 567404 h 800100"/>
                  <a:gd name="connsiteX7" fmla="*/ 817340 w 828675"/>
                  <a:gd name="connsiteY7" fmla="*/ 566547 h 800100"/>
                  <a:gd name="connsiteX8" fmla="*/ 813054 w 828675"/>
                  <a:gd name="connsiteY8" fmla="*/ 563975 h 800100"/>
                  <a:gd name="connsiteX9" fmla="*/ 812197 w 828675"/>
                  <a:gd name="connsiteY9" fmla="*/ 563975 h 800100"/>
                  <a:gd name="connsiteX10" fmla="*/ 812197 w 828675"/>
                  <a:gd name="connsiteY10" fmla="*/ 562261 h 800100"/>
                  <a:gd name="connsiteX11" fmla="*/ 810578 w 828675"/>
                  <a:gd name="connsiteY11" fmla="*/ 560546 h 800100"/>
                  <a:gd name="connsiteX12" fmla="*/ 809720 w 828675"/>
                  <a:gd name="connsiteY12" fmla="*/ 558832 h 800100"/>
                  <a:gd name="connsiteX13" fmla="*/ 808006 w 828675"/>
                  <a:gd name="connsiteY13" fmla="*/ 557975 h 800100"/>
                  <a:gd name="connsiteX14" fmla="*/ 805434 w 828675"/>
                  <a:gd name="connsiteY14" fmla="*/ 557975 h 800100"/>
                  <a:gd name="connsiteX15" fmla="*/ 803720 w 828675"/>
                  <a:gd name="connsiteY15" fmla="*/ 558832 h 800100"/>
                  <a:gd name="connsiteX16" fmla="*/ 799529 w 828675"/>
                  <a:gd name="connsiteY16" fmla="*/ 559689 h 800100"/>
                  <a:gd name="connsiteX17" fmla="*/ 797814 w 828675"/>
                  <a:gd name="connsiteY17" fmla="*/ 559689 h 800100"/>
                  <a:gd name="connsiteX18" fmla="*/ 796100 w 828675"/>
                  <a:gd name="connsiteY18" fmla="*/ 559689 h 800100"/>
                  <a:gd name="connsiteX19" fmla="*/ 793623 w 828675"/>
                  <a:gd name="connsiteY19" fmla="*/ 557975 h 800100"/>
                  <a:gd name="connsiteX20" fmla="*/ 792766 w 828675"/>
                  <a:gd name="connsiteY20" fmla="*/ 556260 h 800100"/>
                  <a:gd name="connsiteX21" fmla="*/ 791909 w 828675"/>
                  <a:gd name="connsiteY21" fmla="*/ 555498 h 800100"/>
                  <a:gd name="connsiteX22" fmla="*/ 791051 w 828675"/>
                  <a:gd name="connsiteY22" fmla="*/ 553784 h 800100"/>
                  <a:gd name="connsiteX23" fmla="*/ 790194 w 828675"/>
                  <a:gd name="connsiteY23" fmla="*/ 550355 h 800100"/>
                  <a:gd name="connsiteX24" fmla="*/ 789337 w 828675"/>
                  <a:gd name="connsiteY24" fmla="*/ 548640 h 800100"/>
                  <a:gd name="connsiteX25" fmla="*/ 788480 w 828675"/>
                  <a:gd name="connsiteY25" fmla="*/ 548640 h 800100"/>
                  <a:gd name="connsiteX26" fmla="*/ 787622 w 828675"/>
                  <a:gd name="connsiteY26" fmla="*/ 548640 h 800100"/>
                  <a:gd name="connsiteX27" fmla="*/ 786765 w 828675"/>
                  <a:gd name="connsiteY27" fmla="*/ 547783 h 800100"/>
                  <a:gd name="connsiteX28" fmla="*/ 785908 w 828675"/>
                  <a:gd name="connsiteY28" fmla="*/ 546068 h 800100"/>
                  <a:gd name="connsiteX29" fmla="*/ 785146 w 828675"/>
                  <a:gd name="connsiteY29" fmla="*/ 544354 h 800100"/>
                  <a:gd name="connsiteX30" fmla="*/ 783431 w 828675"/>
                  <a:gd name="connsiteY30" fmla="*/ 542734 h 800100"/>
                  <a:gd name="connsiteX31" fmla="*/ 782574 w 828675"/>
                  <a:gd name="connsiteY31" fmla="*/ 541877 h 800100"/>
                  <a:gd name="connsiteX32" fmla="*/ 780859 w 828675"/>
                  <a:gd name="connsiteY32" fmla="*/ 541877 h 800100"/>
                  <a:gd name="connsiteX33" fmla="*/ 779145 w 828675"/>
                  <a:gd name="connsiteY33" fmla="*/ 540163 h 800100"/>
                  <a:gd name="connsiteX34" fmla="*/ 777430 w 828675"/>
                  <a:gd name="connsiteY34" fmla="*/ 539305 h 800100"/>
                  <a:gd name="connsiteX35" fmla="*/ 776669 w 828675"/>
                  <a:gd name="connsiteY35" fmla="*/ 539305 h 800100"/>
                  <a:gd name="connsiteX36" fmla="*/ 774954 w 828675"/>
                  <a:gd name="connsiteY36" fmla="*/ 538448 h 800100"/>
                  <a:gd name="connsiteX37" fmla="*/ 774097 w 828675"/>
                  <a:gd name="connsiteY37" fmla="*/ 538448 h 800100"/>
                  <a:gd name="connsiteX38" fmla="*/ 770668 w 828675"/>
                  <a:gd name="connsiteY38" fmla="*/ 530828 h 800100"/>
                  <a:gd name="connsiteX39" fmla="*/ 768953 w 828675"/>
                  <a:gd name="connsiteY39" fmla="*/ 528256 h 800100"/>
                  <a:gd name="connsiteX40" fmla="*/ 766477 w 828675"/>
                  <a:gd name="connsiteY40" fmla="*/ 526542 h 800100"/>
                  <a:gd name="connsiteX41" fmla="*/ 765620 w 828675"/>
                  <a:gd name="connsiteY41" fmla="*/ 524827 h 800100"/>
                  <a:gd name="connsiteX42" fmla="*/ 765620 w 828675"/>
                  <a:gd name="connsiteY42" fmla="*/ 523970 h 800100"/>
                  <a:gd name="connsiteX43" fmla="*/ 765620 w 828675"/>
                  <a:gd name="connsiteY43" fmla="*/ 523113 h 800100"/>
                  <a:gd name="connsiteX44" fmla="*/ 765620 w 828675"/>
                  <a:gd name="connsiteY44" fmla="*/ 522256 h 800100"/>
                  <a:gd name="connsiteX45" fmla="*/ 766477 w 828675"/>
                  <a:gd name="connsiteY45" fmla="*/ 521398 h 800100"/>
                  <a:gd name="connsiteX46" fmla="*/ 766477 w 828675"/>
                  <a:gd name="connsiteY46" fmla="*/ 520541 h 800100"/>
                  <a:gd name="connsiteX47" fmla="*/ 767334 w 828675"/>
                  <a:gd name="connsiteY47" fmla="*/ 520541 h 800100"/>
                  <a:gd name="connsiteX48" fmla="*/ 768096 w 828675"/>
                  <a:gd name="connsiteY48" fmla="*/ 519684 h 800100"/>
                  <a:gd name="connsiteX49" fmla="*/ 769811 w 828675"/>
                  <a:gd name="connsiteY49" fmla="*/ 519684 h 800100"/>
                  <a:gd name="connsiteX50" fmla="*/ 775811 w 828675"/>
                  <a:gd name="connsiteY50" fmla="*/ 518827 h 800100"/>
                  <a:gd name="connsiteX51" fmla="*/ 776669 w 828675"/>
                  <a:gd name="connsiteY51" fmla="*/ 518827 h 800100"/>
                  <a:gd name="connsiteX52" fmla="*/ 777430 w 828675"/>
                  <a:gd name="connsiteY52" fmla="*/ 518065 h 800100"/>
                  <a:gd name="connsiteX53" fmla="*/ 779145 w 828675"/>
                  <a:gd name="connsiteY53" fmla="*/ 517208 h 800100"/>
                  <a:gd name="connsiteX54" fmla="*/ 779145 w 828675"/>
                  <a:gd name="connsiteY54" fmla="*/ 517208 h 800100"/>
                  <a:gd name="connsiteX55" fmla="*/ 780002 w 828675"/>
                  <a:gd name="connsiteY55" fmla="*/ 516350 h 800100"/>
                  <a:gd name="connsiteX56" fmla="*/ 780859 w 828675"/>
                  <a:gd name="connsiteY56" fmla="*/ 516350 h 800100"/>
                  <a:gd name="connsiteX57" fmla="*/ 781717 w 828675"/>
                  <a:gd name="connsiteY57" fmla="*/ 516350 h 800100"/>
                  <a:gd name="connsiteX58" fmla="*/ 782574 w 828675"/>
                  <a:gd name="connsiteY58" fmla="*/ 517208 h 800100"/>
                  <a:gd name="connsiteX59" fmla="*/ 785146 w 828675"/>
                  <a:gd name="connsiteY59" fmla="*/ 517208 h 800100"/>
                  <a:gd name="connsiteX60" fmla="*/ 787622 w 828675"/>
                  <a:gd name="connsiteY60" fmla="*/ 516350 h 800100"/>
                  <a:gd name="connsiteX61" fmla="*/ 787622 w 828675"/>
                  <a:gd name="connsiteY61" fmla="*/ 515493 h 800100"/>
                  <a:gd name="connsiteX62" fmla="*/ 787622 w 828675"/>
                  <a:gd name="connsiteY62" fmla="*/ 514636 h 800100"/>
                  <a:gd name="connsiteX63" fmla="*/ 785908 w 828675"/>
                  <a:gd name="connsiteY63" fmla="*/ 512064 h 800100"/>
                  <a:gd name="connsiteX64" fmla="*/ 785146 w 828675"/>
                  <a:gd name="connsiteY64" fmla="*/ 510350 h 800100"/>
                  <a:gd name="connsiteX65" fmla="*/ 785146 w 828675"/>
                  <a:gd name="connsiteY65" fmla="*/ 509492 h 800100"/>
                  <a:gd name="connsiteX66" fmla="*/ 785146 w 828675"/>
                  <a:gd name="connsiteY66" fmla="*/ 508635 h 800100"/>
                  <a:gd name="connsiteX67" fmla="*/ 786765 w 828675"/>
                  <a:gd name="connsiteY67" fmla="*/ 505301 h 800100"/>
                  <a:gd name="connsiteX68" fmla="*/ 787622 w 828675"/>
                  <a:gd name="connsiteY68" fmla="*/ 503587 h 800100"/>
                  <a:gd name="connsiteX69" fmla="*/ 787622 w 828675"/>
                  <a:gd name="connsiteY69" fmla="*/ 501872 h 800100"/>
                  <a:gd name="connsiteX70" fmla="*/ 787622 w 828675"/>
                  <a:gd name="connsiteY70" fmla="*/ 501872 h 800100"/>
                  <a:gd name="connsiteX71" fmla="*/ 786765 w 828675"/>
                  <a:gd name="connsiteY71" fmla="*/ 501015 h 800100"/>
                  <a:gd name="connsiteX72" fmla="*/ 778288 w 828675"/>
                  <a:gd name="connsiteY72" fmla="*/ 499300 h 800100"/>
                  <a:gd name="connsiteX73" fmla="*/ 776669 w 828675"/>
                  <a:gd name="connsiteY73" fmla="*/ 498443 h 800100"/>
                  <a:gd name="connsiteX74" fmla="*/ 774097 w 828675"/>
                  <a:gd name="connsiteY74" fmla="*/ 496729 h 800100"/>
                  <a:gd name="connsiteX75" fmla="*/ 771525 w 828675"/>
                  <a:gd name="connsiteY75" fmla="*/ 494157 h 800100"/>
                  <a:gd name="connsiteX76" fmla="*/ 769811 w 828675"/>
                  <a:gd name="connsiteY76" fmla="*/ 493395 h 800100"/>
                  <a:gd name="connsiteX77" fmla="*/ 768953 w 828675"/>
                  <a:gd name="connsiteY77" fmla="*/ 492538 h 800100"/>
                  <a:gd name="connsiteX78" fmla="*/ 768096 w 828675"/>
                  <a:gd name="connsiteY78" fmla="*/ 492538 h 800100"/>
                  <a:gd name="connsiteX79" fmla="*/ 767334 w 828675"/>
                  <a:gd name="connsiteY79" fmla="*/ 493395 h 800100"/>
                  <a:gd name="connsiteX80" fmla="*/ 767334 w 828675"/>
                  <a:gd name="connsiteY80" fmla="*/ 494157 h 800100"/>
                  <a:gd name="connsiteX81" fmla="*/ 766477 w 828675"/>
                  <a:gd name="connsiteY81" fmla="*/ 494157 h 800100"/>
                  <a:gd name="connsiteX82" fmla="*/ 765620 w 828675"/>
                  <a:gd name="connsiteY82" fmla="*/ 494157 h 800100"/>
                  <a:gd name="connsiteX83" fmla="*/ 764762 w 828675"/>
                  <a:gd name="connsiteY83" fmla="*/ 495014 h 800100"/>
                  <a:gd name="connsiteX84" fmla="*/ 763905 w 828675"/>
                  <a:gd name="connsiteY84" fmla="*/ 495014 h 800100"/>
                  <a:gd name="connsiteX85" fmla="*/ 762191 w 828675"/>
                  <a:gd name="connsiteY85" fmla="*/ 495014 h 800100"/>
                  <a:gd name="connsiteX86" fmla="*/ 760476 w 828675"/>
                  <a:gd name="connsiteY86" fmla="*/ 495014 h 800100"/>
                  <a:gd name="connsiteX87" fmla="*/ 758857 w 828675"/>
                  <a:gd name="connsiteY87" fmla="*/ 493395 h 800100"/>
                  <a:gd name="connsiteX88" fmla="*/ 758000 w 828675"/>
                  <a:gd name="connsiteY88" fmla="*/ 492538 h 800100"/>
                  <a:gd name="connsiteX89" fmla="*/ 758000 w 828675"/>
                  <a:gd name="connsiteY89" fmla="*/ 491680 h 800100"/>
                  <a:gd name="connsiteX90" fmla="*/ 758000 w 828675"/>
                  <a:gd name="connsiteY90" fmla="*/ 489109 h 800100"/>
                  <a:gd name="connsiteX91" fmla="*/ 758000 w 828675"/>
                  <a:gd name="connsiteY91" fmla="*/ 489109 h 800100"/>
                  <a:gd name="connsiteX92" fmla="*/ 758000 w 828675"/>
                  <a:gd name="connsiteY92" fmla="*/ 484822 h 800100"/>
                  <a:gd name="connsiteX93" fmla="*/ 758000 w 828675"/>
                  <a:gd name="connsiteY93" fmla="*/ 483965 h 800100"/>
                  <a:gd name="connsiteX94" fmla="*/ 758857 w 828675"/>
                  <a:gd name="connsiteY94" fmla="*/ 483965 h 800100"/>
                  <a:gd name="connsiteX95" fmla="*/ 759619 w 828675"/>
                  <a:gd name="connsiteY95" fmla="*/ 483108 h 800100"/>
                  <a:gd name="connsiteX96" fmla="*/ 760476 w 828675"/>
                  <a:gd name="connsiteY96" fmla="*/ 483108 h 800100"/>
                  <a:gd name="connsiteX97" fmla="*/ 760476 w 828675"/>
                  <a:gd name="connsiteY97" fmla="*/ 483108 h 800100"/>
                  <a:gd name="connsiteX98" fmla="*/ 761333 w 828675"/>
                  <a:gd name="connsiteY98" fmla="*/ 483965 h 800100"/>
                  <a:gd name="connsiteX99" fmla="*/ 761333 w 828675"/>
                  <a:gd name="connsiteY99" fmla="*/ 483965 h 800100"/>
                  <a:gd name="connsiteX100" fmla="*/ 761333 w 828675"/>
                  <a:gd name="connsiteY100" fmla="*/ 484822 h 800100"/>
                  <a:gd name="connsiteX101" fmla="*/ 761333 w 828675"/>
                  <a:gd name="connsiteY101" fmla="*/ 485680 h 800100"/>
                  <a:gd name="connsiteX102" fmla="*/ 762191 w 828675"/>
                  <a:gd name="connsiteY102" fmla="*/ 486537 h 800100"/>
                  <a:gd name="connsiteX103" fmla="*/ 762191 w 828675"/>
                  <a:gd name="connsiteY103" fmla="*/ 487394 h 800100"/>
                  <a:gd name="connsiteX104" fmla="*/ 763048 w 828675"/>
                  <a:gd name="connsiteY104" fmla="*/ 487394 h 800100"/>
                  <a:gd name="connsiteX105" fmla="*/ 763048 w 828675"/>
                  <a:gd name="connsiteY105" fmla="*/ 487394 h 800100"/>
                  <a:gd name="connsiteX106" fmla="*/ 763905 w 828675"/>
                  <a:gd name="connsiteY106" fmla="*/ 486537 h 800100"/>
                  <a:gd name="connsiteX107" fmla="*/ 765620 w 828675"/>
                  <a:gd name="connsiteY107" fmla="*/ 484822 h 800100"/>
                  <a:gd name="connsiteX108" fmla="*/ 765620 w 828675"/>
                  <a:gd name="connsiteY108" fmla="*/ 483965 h 800100"/>
                  <a:gd name="connsiteX109" fmla="*/ 765620 w 828675"/>
                  <a:gd name="connsiteY109" fmla="*/ 483965 h 800100"/>
                  <a:gd name="connsiteX110" fmla="*/ 766477 w 828675"/>
                  <a:gd name="connsiteY110" fmla="*/ 483108 h 800100"/>
                  <a:gd name="connsiteX111" fmla="*/ 770668 w 828675"/>
                  <a:gd name="connsiteY111" fmla="*/ 482251 h 800100"/>
                  <a:gd name="connsiteX112" fmla="*/ 771525 w 828675"/>
                  <a:gd name="connsiteY112" fmla="*/ 482251 h 800100"/>
                  <a:gd name="connsiteX113" fmla="*/ 772382 w 828675"/>
                  <a:gd name="connsiteY113" fmla="*/ 481489 h 800100"/>
                  <a:gd name="connsiteX114" fmla="*/ 774097 w 828675"/>
                  <a:gd name="connsiteY114" fmla="*/ 480631 h 800100"/>
                  <a:gd name="connsiteX115" fmla="*/ 774097 w 828675"/>
                  <a:gd name="connsiteY115" fmla="*/ 478917 h 800100"/>
                  <a:gd name="connsiteX116" fmla="*/ 774954 w 828675"/>
                  <a:gd name="connsiteY116" fmla="*/ 478060 h 800100"/>
                  <a:gd name="connsiteX117" fmla="*/ 775811 w 828675"/>
                  <a:gd name="connsiteY117" fmla="*/ 473773 h 800100"/>
                  <a:gd name="connsiteX118" fmla="*/ 776669 w 828675"/>
                  <a:gd name="connsiteY118" fmla="*/ 472059 h 800100"/>
                  <a:gd name="connsiteX119" fmla="*/ 777430 w 828675"/>
                  <a:gd name="connsiteY119" fmla="*/ 471202 h 800100"/>
                  <a:gd name="connsiteX120" fmla="*/ 778288 w 828675"/>
                  <a:gd name="connsiteY120" fmla="*/ 471202 h 800100"/>
                  <a:gd name="connsiteX121" fmla="*/ 778288 w 828675"/>
                  <a:gd name="connsiteY121" fmla="*/ 470344 h 800100"/>
                  <a:gd name="connsiteX122" fmla="*/ 781717 w 828675"/>
                  <a:gd name="connsiteY122" fmla="*/ 470344 h 800100"/>
                  <a:gd name="connsiteX123" fmla="*/ 784288 w 828675"/>
                  <a:gd name="connsiteY123" fmla="*/ 470344 h 800100"/>
                  <a:gd name="connsiteX124" fmla="*/ 785146 w 828675"/>
                  <a:gd name="connsiteY124" fmla="*/ 470344 h 800100"/>
                  <a:gd name="connsiteX125" fmla="*/ 788480 w 828675"/>
                  <a:gd name="connsiteY125" fmla="*/ 471202 h 800100"/>
                  <a:gd name="connsiteX126" fmla="*/ 791909 w 828675"/>
                  <a:gd name="connsiteY126" fmla="*/ 472059 h 800100"/>
                  <a:gd name="connsiteX127" fmla="*/ 808863 w 828675"/>
                  <a:gd name="connsiteY127" fmla="*/ 472059 h 800100"/>
                  <a:gd name="connsiteX128" fmla="*/ 810578 w 828675"/>
                  <a:gd name="connsiteY128" fmla="*/ 471202 h 800100"/>
                  <a:gd name="connsiteX129" fmla="*/ 810578 w 828675"/>
                  <a:gd name="connsiteY129" fmla="*/ 470344 h 800100"/>
                  <a:gd name="connsiteX130" fmla="*/ 810578 w 828675"/>
                  <a:gd name="connsiteY130" fmla="*/ 469487 h 800100"/>
                  <a:gd name="connsiteX131" fmla="*/ 809720 w 828675"/>
                  <a:gd name="connsiteY131" fmla="*/ 468725 h 800100"/>
                  <a:gd name="connsiteX132" fmla="*/ 808863 w 828675"/>
                  <a:gd name="connsiteY132" fmla="*/ 467868 h 800100"/>
                  <a:gd name="connsiteX133" fmla="*/ 800386 w 828675"/>
                  <a:gd name="connsiteY133" fmla="*/ 459296 h 800100"/>
                  <a:gd name="connsiteX134" fmla="*/ 799529 w 828675"/>
                  <a:gd name="connsiteY134" fmla="*/ 458438 h 800100"/>
                  <a:gd name="connsiteX135" fmla="*/ 798671 w 828675"/>
                  <a:gd name="connsiteY135" fmla="*/ 457581 h 800100"/>
                  <a:gd name="connsiteX136" fmla="*/ 796957 w 828675"/>
                  <a:gd name="connsiteY136" fmla="*/ 457581 h 800100"/>
                  <a:gd name="connsiteX137" fmla="*/ 795242 w 828675"/>
                  <a:gd name="connsiteY137" fmla="*/ 457581 h 800100"/>
                  <a:gd name="connsiteX138" fmla="*/ 794385 w 828675"/>
                  <a:gd name="connsiteY138" fmla="*/ 457581 h 800100"/>
                  <a:gd name="connsiteX139" fmla="*/ 793623 w 828675"/>
                  <a:gd name="connsiteY139" fmla="*/ 456819 h 800100"/>
                  <a:gd name="connsiteX140" fmla="*/ 793623 w 828675"/>
                  <a:gd name="connsiteY140" fmla="*/ 455962 h 800100"/>
                  <a:gd name="connsiteX141" fmla="*/ 794385 w 828675"/>
                  <a:gd name="connsiteY141" fmla="*/ 449961 h 800100"/>
                  <a:gd name="connsiteX142" fmla="*/ 794385 w 828675"/>
                  <a:gd name="connsiteY142" fmla="*/ 447389 h 800100"/>
                  <a:gd name="connsiteX143" fmla="*/ 794385 w 828675"/>
                  <a:gd name="connsiteY143" fmla="*/ 445675 h 800100"/>
                  <a:gd name="connsiteX144" fmla="*/ 793623 w 828675"/>
                  <a:gd name="connsiteY144" fmla="*/ 443198 h 800100"/>
                  <a:gd name="connsiteX145" fmla="*/ 792766 w 828675"/>
                  <a:gd name="connsiteY145" fmla="*/ 441484 h 800100"/>
                  <a:gd name="connsiteX146" fmla="*/ 791909 w 828675"/>
                  <a:gd name="connsiteY146" fmla="*/ 440626 h 800100"/>
                  <a:gd name="connsiteX147" fmla="*/ 791051 w 828675"/>
                  <a:gd name="connsiteY147" fmla="*/ 440626 h 800100"/>
                  <a:gd name="connsiteX148" fmla="*/ 790194 w 828675"/>
                  <a:gd name="connsiteY148" fmla="*/ 440626 h 800100"/>
                  <a:gd name="connsiteX149" fmla="*/ 788480 w 828675"/>
                  <a:gd name="connsiteY149" fmla="*/ 440626 h 800100"/>
                  <a:gd name="connsiteX150" fmla="*/ 787622 w 828675"/>
                  <a:gd name="connsiteY150" fmla="*/ 440626 h 800100"/>
                  <a:gd name="connsiteX151" fmla="*/ 786765 w 828675"/>
                  <a:gd name="connsiteY151" fmla="*/ 441484 h 800100"/>
                  <a:gd name="connsiteX152" fmla="*/ 785908 w 828675"/>
                  <a:gd name="connsiteY152" fmla="*/ 441484 h 800100"/>
                  <a:gd name="connsiteX153" fmla="*/ 785146 w 828675"/>
                  <a:gd name="connsiteY153" fmla="*/ 442341 h 800100"/>
                  <a:gd name="connsiteX154" fmla="*/ 784288 w 828675"/>
                  <a:gd name="connsiteY154" fmla="*/ 443198 h 800100"/>
                  <a:gd name="connsiteX155" fmla="*/ 783431 w 828675"/>
                  <a:gd name="connsiteY155" fmla="*/ 443198 h 800100"/>
                  <a:gd name="connsiteX156" fmla="*/ 780002 w 828675"/>
                  <a:gd name="connsiteY156" fmla="*/ 440626 h 800100"/>
                  <a:gd name="connsiteX157" fmla="*/ 779145 w 828675"/>
                  <a:gd name="connsiteY157" fmla="*/ 439769 h 800100"/>
                  <a:gd name="connsiteX158" fmla="*/ 777430 w 828675"/>
                  <a:gd name="connsiteY158" fmla="*/ 438912 h 800100"/>
                  <a:gd name="connsiteX159" fmla="*/ 776669 w 828675"/>
                  <a:gd name="connsiteY159" fmla="*/ 438055 h 800100"/>
                  <a:gd name="connsiteX160" fmla="*/ 774954 w 828675"/>
                  <a:gd name="connsiteY160" fmla="*/ 437197 h 800100"/>
                  <a:gd name="connsiteX161" fmla="*/ 773240 w 828675"/>
                  <a:gd name="connsiteY161" fmla="*/ 434626 h 800100"/>
                  <a:gd name="connsiteX162" fmla="*/ 769811 w 828675"/>
                  <a:gd name="connsiteY162" fmla="*/ 427863 h 800100"/>
                  <a:gd name="connsiteX163" fmla="*/ 769811 w 828675"/>
                  <a:gd name="connsiteY163" fmla="*/ 427006 h 800100"/>
                  <a:gd name="connsiteX164" fmla="*/ 769811 w 828675"/>
                  <a:gd name="connsiteY164" fmla="*/ 423577 h 800100"/>
                  <a:gd name="connsiteX165" fmla="*/ 769811 w 828675"/>
                  <a:gd name="connsiteY165" fmla="*/ 421862 h 800100"/>
                  <a:gd name="connsiteX166" fmla="*/ 769811 w 828675"/>
                  <a:gd name="connsiteY166" fmla="*/ 420148 h 800100"/>
                  <a:gd name="connsiteX167" fmla="*/ 768953 w 828675"/>
                  <a:gd name="connsiteY167" fmla="*/ 419386 h 800100"/>
                  <a:gd name="connsiteX168" fmla="*/ 766477 w 828675"/>
                  <a:gd name="connsiteY168" fmla="*/ 417671 h 800100"/>
                  <a:gd name="connsiteX169" fmla="*/ 766477 w 828675"/>
                  <a:gd name="connsiteY169" fmla="*/ 415957 h 800100"/>
                  <a:gd name="connsiteX170" fmla="*/ 764762 w 828675"/>
                  <a:gd name="connsiteY170" fmla="*/ 412528 h 800100"/>
                  <a:gd name="connsiteX171" fmla="*/ 763905 w 828675"/>
                  <a:gd name="connsiteY171" fmla="*/ 411671 h 800100"/>
                  <a:gd name="connsiteX172" fmla="*/ 761333 w 828675"/>
                  <a:gd name="connsiteY172" fmla="*/ 409956 h 800100"/>
                  <a:gd name="connsiteX173" fmla="*/ 760476 w 828675"/>
                  <a:gd name="connsiteY173" fmla="*/ 408242 h 800100"/>
                  <a:gd name="connsiteX174" fmla="*/ 759619 w 828675"/>
                  <a:gd name="connsiteY174" fmla="*/ 407480 h 800100"/>
                  <a:gd name="connsiteX175" fmla="*/ 760476 w 828675"/>
                  <a:gd name="connsiteY175" fmla="*/ 404050 h 800100"/>
                  <a:gd name="connsiteX176" fmla="*/ 760476 w 828675"/>
                  <a:gd name="connsiteY176" fmla="*/ 402336 h 800100"/>
                  <a:gd name="connsiteX177" fmla="*/ 760476 w 828675"/>
                  <a:gd name="connsiteY177" fmla="*/ 399764 h 800100"/>
                  <a:gd name="connsiteX178" fmla="*/ 758857 w 828675"/>
                  <a:gd name="connsiteY178" fmla="*/ 397192 h 800100"/>
                  <a:gd name="connsiteX179" fmla="*/ 758857 w 828675"/>
                  <a:gd name="connsiteY179" fmla="*/ 397192 h 800100"/>
                  <a:gd name="connsiteX180" fmla="*/ 757142 w 828675"/>
                  <a:gd name="connsiteY180" fmla="*/ 395478 h 800100"/>
                  <a:gd name="connsiteX181" fmla="*/ 756285 w 828675"/>
                  <a:gd name="connsiteY181" fmla="*/ 394716 h 800100"/>
                  <a:gd name="connsiteX182" fmla="*/ 754571 w 828675"/>
                  <a:gd name="connsiteY182" fmla="*/ 393859 h 800100"/>
                  <a:gd name="connsiteX183" fmla="*/ 754571 w 828675"/>
                  <a:gd name="connsiteY183" fmla="*/ 393001 h 800100"/>
                  <a:gd name="connsiteX184" fmla="*/ 754571 w 828675"/>
                  <a:gd name="connsiteY184" fmla="*/ 392144 h 800100"/>
                  <a:gd name="connsiteX185" fmla="*/ 755428 w 828675"/>
                  <a:gd name="connsiteY185" fmla="*/ 388715 h 800100"/>
                  <a:gd name="connsiteX186" fmla="*/ 755428 w 828675"/>
                  <a:gd name="connsiteY186" fmla="*/ 387858 h 800100"/>
                  <a:gd name="connsiteX187" fmla="*/ 754571 w 828675"/>
                  <a:gd name="connsiteY187" fmla="*/ 387001 h 800100"/>
                  <a:gd name="connsiteX188" fmla="*/ 753713 w 828675"/>
                  <a:gd name="connsiteY188" fmla="*/ 387001 h 800100"/>
                  <a:gd name="connsiteX189" fmla="*/ 750380 w 828675"/>
                  <a:gd name="connsiteY189" fmla="*/ 387001 h 800100"/>
                  <a:gd name="connsiteX190" fmla="*/ 750380 w 828675"/>
                  <a:gd name="connsiteY190" fmla="*/ 387001 h 800100"/>
                  <a:gd name="connsiteX191" fmla="*/ 750380 w 828675"/>
                  <a:gd name="connsiteY191" fmla="*/ 386143 h 800100"/>
                  <a:gd name="connsiteX192" fmla="*/ 750380 w 828675"/>
                  <a:gd name="connsiteY192" fmla="*/ 386143 h 800100"/>
                  <a:gd name="connsiteX193" fmla="*/ 750380 w 828675"/>
                  <a:gd name="connsiteY193" fmla="*/ 384429 h 800100"/>
                  <a:gd name="connsiteX194" fmla="*/ 750380 w 828675"/>
                  <a:gd name="connsiteY194" fmla="*/ 384429 h 800100"/>
                  <a:gd name="connsiteX195" fmla="*/ 750380 w 828675"/>
                  <a:gd name="connsiteY195" fmla="*/ 384429 h 800100"/>
                  <a:gd name="connsiteX196" fmla="*/ 745236 w 828675"/>
                  <a:gd name="connsiteY196" fmla="*/ 381952 h 800100"/>
                  <a:gd name="connsiteX197" fmla="*/ 729996 w 828675"/>
                  <a:gd name="connsiteY197" fmla="*/ 374237 h 800100"/>
                  <a:gd name="connsiteX198" fmla="*/ 721519 w 828675"/>
                  <a:gd name="connsiteY198" fmla="*/ 370808 h 800100"/>
                  <a:gd name="connsiteX199" fmla="*/ 709613 w 828675"/>
                  <a:gd name="connsiteY199" fmla="*/ 369189 h 800100"/>
                  <a:gd name="connsiteX200" fmla="*/ 699421 w 828675"/>
                  <a:gd name="connsiteY200" fmla="*/ 369189 h 800100"/>
                  <a:gd name="connsiteX201" fmla="*/ 696087 w 828675"/>
                  <a:gd name="connsiteY201" fmla="*/ 370046 h 800100"/>
                  <a:gd name="connsiteX202" fmla="*/ 696087 w 828675"/>
                  <a:gd name="connsiteY202" fmla="*/ 371666 h 800100"/>
                  <a:gd name="connsiteX203" fmla="*/ 695230 w 828675"/>
                  <a:gd name="connsiteY203" fmla="*/ 373380 h 800100"/>
                  <a:gd name="connsiteX204" fmla="*/ 696087 w 828675"/>
                  <a:gd name="connsiteY204" fmla="*/ 374237 h 800100"/>
                  <a:gd name="connsiteX205" fmla="*/ 697802 w 828675"/>
                  <a:gd name="connsiteY205" fmla="*/ 376809 h 800100"/>
                  <a:gd name="connsiteX206" fmla="*/ 696944 w 828675"/>
                  <a:gd name="connsiteY206" fmla="*/ 378523 h 800100"/>
                  <a:gd name="connsiteX207" fmla="*/ 696944 w 828675"/>
                  <a:gd name="connsiteY207" fmla="*/ 379381 h 800100"/>
                  <a:gd name="connsiteX208" fmla="*/ 694373 w 828675"/>
                  <a:gd name="connsiteY208" fmla="*/ 383572 h 800100"/>
                  <a:gd name="connsiteX209" fmla="*/ 692658 w 828675"/>
                  <a:gd name="connsiteY209" fmla="*/ 385286 h 800100"/>
                  <a:gd name="connsiteX210" fmla="*/ 690182 w 828675"/>
                  <a:gd name="connsiteY210" fmla="*/ 386143 h 800100"/>
                  <a:gd name="connsiteX211" fmla="*/ 687610 w 828675"/>
                  <a:gd name="connsiteY211" fmla="*/ 387001 h 800100"/>
                  <a:gd name="connsiteX212" fmla="*/ 685038 w 828675"/>
                  <a:gd name="connsiteY212" fmla="*/ 385286 h 800100"/>
                  <a:gd name="connsiteX213" fmla="*/ 684181 w 828675"/>
                  <a:gd name="connsiteY213" fmla="*/ 384429 h 800100"/>
                  <a:gd name="connsiteX214" fmla="*/ 683324 w 828675"/>
                  <a:gd name="connsiteY214" fmla="*/ 382810 h 800100"/>
                  <a:gd name="connsiteX215" fmla="*/ 682466 w 828675"/>
                  <a:gd name="connsiteY215" fmla="*/ 380238 h 800100"/>
                  <a:gd name="connsiteX216" fmla="*/ 680847 w 828675"/>
                  <a:gd name="connsiteY216" fmla="*/ 378523 h 800100"/>
                  <a:gd name="connsiteX217" fmla="*/ 674846 w 828675"/>
                  <a:gd name="connsiteY217" fmla="*/ 374237 h 800100"/>
                  <a:gd name="connsiteX218" fmla="*/ 670655 w 828675"/>
                  <a:gd name="connsiteY218" fmla="*/ 372523 h 800100"/>
                  <a:gd name="connsiteX219" fmla="*/ 657892 w 828675"/>
                  <a:gd name="connsiteY219" fmla="*/ 372523 h 800100"/>
                  <a:gd name="connsiteX220" fmla="*/ 650272 w 828675"/>
                  <a:gd name="connsiteY220" fmla="*/ 370808 h 800100"/>
                  <a:gd name="connsiteX221" fmla="*/ 645224 w 828675"/>
                  <a:gd name="connsiteY221" fmla="*/ 368332 h 800100"/>
                  <a:gd name="connsiteX222" fmla="*/ 642652 w 828675"/>
                  <a:gd name="connsiteY222" fmla="*/ 366617 h 800100"/>
                  <a:gd name="connsiteX223" fmla="*/ 629126 w 828675"/>
                  <a:gd name="connsiteY223" fmla="*/ 365760 h 800100"/>
                  <a:gd name="connsiteX224" fmla="*/ 626555 w 828675"/>
                  <a:gd name="connsiteY224" fmla="*/ 363188 h 800100"/>
                  <a:gd name="connsiteX225" fmla="*/ 625697 w 828675"/>
                  <a:gd name="connsiteY225" fmla="*/ 358902 h 800100"/>
                  <a:gd name="connsiteX226" fmla="*/ 623983 w 828675"/>
                  <a:gd name="connsiteY226" fmla="*/ 349567 h 800100"/>
                  <a:gd name="connsiteX227" fmla="*/ 623126 w 828675"/>
                  <a:gd name="connsiteY227" fmla="*/ 344519 h 800100"/>
                  <a:gd name="connsiteX228" fmla="*/ 621506 w 828675"/>
                  <a:gd name="connsiteY228" fmla="*/ 341090 h 800100"/>
                  <a:gd name="connsiteX229" fmla="*/ 620649 w 828675"/>
                  <a:gd name="connsiteY229" fmla="*/ 341090 h 800100"/>
                  <a:gd name="connsiteX230" fmla="*/ 618077 w 828675"/>
                  <a:gd name="connsiteY230" fmla="*/ 340233 h 800100"/>
                  <a:gd name="connsiteX231" fmla="*/ 604552 w 828675"/>
                  <a:gd name="connsiteY231" fmla="*/ 343662 h 800100"/>
                  <a:gd name="connsiteX232" fmla="*/ 594360 w 828675"/>
                  <a:gd name="connsiteY232" fmla="*/ 344519 h 800100"/>
                  <a:gd name="connsiteX233" fmla="*/ 590074 w 828675"/>
                  <a:gd name="connsiteY233" fmla="*/ 343662 h 800100"/>
                  <a:gd name="connsiteX234" fmla="*/ 584168 w 828675"/>
                  <a:gd name="connsiteY234" fmla="*/ 337661 h 800100"/>
                  <a:gd name="connsiteX235" fmla="*/ 575691 w 828675"/>
                  <a:gd name="connsiteY235" fmla="*/ 333470 h 800100"/>
                  <a:gd name="connsiteX236" fmla="*/ 562928 w 828675"/>
                  <a:gd name="connsiteY236" fmla="*/ 322326 h 800100"/>
                  <a:gd name="connsiteX237" fmla="*/ 557879 w 828675"/>
                  <a:gd name="connsiteY237" fmla="*/ 320707 h 800100"/>
                  <a:gd name="connsiteX238" fmla="*/ 556165 w 828675"/>
                  <a:gd name="connsiteY238" fmla="*/ 318992 h 800100"/>
                  <a:gd name="connsiteX239" fmla="*/ 553593 w 828675"/>
                  <a:gd name="connsiteY239" fmla="*/ 317278 h 800100"/>
                  <a:gd name="connsiteX240" fmla="*/ 551974 w 828675"/>
                  <a:gd name="connsiteY240" fmla="*/ 314706 h 800100"/>
                  <a:gd name="connsiteX241" fmla="*/ 551974 w 828675"/>
                  <a:gd name="connsiteY241" fmla="*/ 314706 h 800100"/>
                  <a:gd name="connsiteX242" fmla="*/ 549402 w 828675"/>
                  <a:gd name="connsiteY242" fmla="*/ 313849 h 800100"/>
                  <a:gd name="connsiteX243" fmla="*/ 543497 w 828675"/>
                  <a:gd name="connsiteY243" fmla="*/ 313849 h 800100"/>
                  <a:gd name="connsiteX244" fmla="*/ 540068 w 828675"/>
                  <a:gd name="connsiteY244" fmla="*/ 314706 h 800100"/>
                  <a:gd name="connsiteX245" fmla="*/ 535781 w 828675"/>
                  <a:gd name="connsiteY245" fmla="*/ 320707 h 800100"/>
                  <a:gd name="connsiteX246" fmla="*/ 533305 w 828675"/>
                  <a:gd name="connsiteY246" fmla="*/ 322326 h 800100"/>
                  <a:gd name="connsiteX247" fmla="*/ 529876 w 828675"/>
                  <a:gd name="connsiteY247" fmla="*/ 321469 h 800100"/>
                  <a:gd name="connsiteX248" fmla="*/ 526542 w 828675"/>
                  <a:gd name="connsiteY248" fmla="*/ 319849 h 800100"/>
                  <a:gd name="connsiteX249" fmla="*/ 523970 w 828675"/>
                  <a:gd name="connsiteY249" fmla="*/ 318135 h 800100"/>
                  <a:gd name="connsiteX250" fmla="*/ 518827 w 828675"/>
                  <a:gd name="connsiteY250" fmla="*/ 314706 h 800100"/>
                  <a:gd name="connsiteX251" fmla="*/ 513779 w 828675"/>
                  <a:gd name="connsiteY251" fmla="*/ 309563 h 800100"/>
                  <a:gd name="connsiteX252" fmla="*/ 511207 w 828675"/>
                  <a:gd name="connsiteY252" fmla="*/ 307943 h 800100"/>
                  <a:gd name="connsiteX253" fmla="*/ 508730 w 828675"/>
                  <a:gd name="connsiteY253" fmla="*/ 307086 h 800100"/>
                  <a:gd name="connsiteX254" fmla="*/ 503587 w 828675"/>
                  <a:gd name="connsiteY254" fmla="*/ 305371 h 800100"/>
                  <a:gd name="connsiteX255" fmla="*/ 501110 w 828675"/>
                  <a:gd name="connsiteY255" fmla="*/ 303657 h 800100"/>
                  <a:gd name="connsiteX256" fmla="*/ 501110 w 828675"/>
                  <a:gd name="connsiteY256" fmla="*/ 303657 h 800100"/>
                  <a:gd name="connsiteX257" fmla="*/ 501110 w 828675"/>
                  <a:gd name="connsiteY257" fmla="*/ 303657 h 800100"/>
                  <a:gd name="connsiteX258" fmla="*/ 500253 w 828675"/>
                  <a:gd name="connsiteY258" fmla="*/ 301085 h 800100"/>
                  <a:gd name="connsiteX259" fmla="*/ 497681 w 828675"/>
                  <a:gd name="connsiteY259" fmla="*/ 300228 h 800100"/>
                  <a:gd name="connsiteX260" fmla="*/ 487490 w 828675"/>
                  <a:gd name="connsiteY260" fmla="*/ 295180 h 800100"/>
                  <a:gd name="connsiteX261" fmla="*/ 485775 w 828675"/>
                  <a:gd name="connsiteY261" fmla="*/ 293465 h 800100"/>
                  <a:gd name="connsiteX262" fmla="*/ 485775 w 828675"/>
                  <a:gd name="connsiteY262" fmla="*/ 292608 h 800100"/>
                  <a:gd name="connsiteX263" fmla="*/ 485775 w 828675"/>
                  <a:gd name="connsiteY263" fmla="*/ 290893 h 800100"/>
                  <a:gd name="connsiteX264" fmla="*/ 484918 w 828675"/>
                  <a:gd name="connsiteY264" fmla="*/ 289179 h 800100"/>
                  <a:gd name="connsiteX265" fmla="*/ 483299 w 828675"/>
                  <a:gd name="connsiteY265" fmla="*/ 286607 h 800100"/>
                  <a:gd name="connsiteX266" fmla="*/ 481584 w 828675"/>
                  <a:gd name="connsiteY266" fmla="*/ 284893 h 800100"/>
                  <a:gd name="connsiteX267" fmla="*/ 479012 w 828675"/>
                  <a:gd name="connsiteY267" fmla="*/ 283273 h 800100"/>
                  <a:gd name="connsiteX268" fmla="*/ 476441 w 828675"/>
                  <a:gd name="connsiteY268" fmla="*/ 282416 h 800100"/>
                  <a:gd name="connsiteX269" fmla="*/ 474821 w 828675"/>
                  <a:gd name="connsiteY269" fmla="*/ 282416 h 800100"/>
                  <a:gd name="connsiteX270" fmla="*/ 473964 w 828675"/>
                  <a:gd name="connsiteY270" fmla="*/ 283273 h 800100"/>
                  <a:gd name="connsiteX271" fmla="*/ 473964 w 828675"/>
                  <a:gd name="connsiteY271" fmla="*/ 284893 h 800100"/>
                  <a:gd name="connsiteX272" fmla="*/ 473107 w 828675"/>
                  <a:gd name="connsiteY272" fmla="*/ 286607 h 800100"/>
                  <a:gd name="connsiteX273" fmla="*/ 471392 w 828675"/>
                  <a:gd name="connsiteY273" fmla="*/ 287465 h 800100"/>
                  <a:gd name="connsiteX274" fmla="*/ 469678 w 828675"/>
                  <a:gd name="connsiteY274" fmla="*/ 287465 h 800100"/>
                  <a:gd name="connsiteX275" fmla="*/ 467963 w 828675"/>
                  <a:gd name="connsiteY275" fmla="*/ 287465 h 800100"/>
                  <a:gd name="connsiteX276" fmla="*/ 468821 w 828675"/>
                  <a:gd name="connsiteY276" fmla="*/ 285750 h 800100"/>
                  <a:gd name="connsiteX277" fmla="*/ 466344 w 828675"/>
                  <a:gd name="connsiteY277" fmla="*/ 284893 h 800100"/>
                  <a:gd name="connsiteX278" fmla="*/ 466344 w 828675"/>
                  <a:gd name="connsiteY278" fmla="*/ 284131 h 800100"/>
                  <a:gd name="connsiteX279" fmla="*/ 466344 w 828675"/>
                  <a:gd name="connsiteY279" fmla="*/ 283273 h 800100"/>
                  <a:gd name="connsiteX280" fmla="*/ 467963 w 828675"/>
                  <a:gd name="connsiteY280" fmla="*/ 282416 h 800100"/>
                  <a:gd name="connsiteX281" fmla="*/ 466344 w 828675"/>
                  <a:gd name="connsiteY281" fmla="*/ 278987 h 800100"/>
                  <a:gd name="connsiteX282" fmla="*/ 460343 w 828675"/>
                  <a:gd name="connsiteY282" fmla="*/ 272129 h 800100"/>
                  <a:gd name="connsiteX283" fmla="*/ 458629 w 828675"/>
                  <a:gd name="connsiteY283" fmla="*/ 268795 h 800100"/>
                  <a:gd name="connsiteX284" fmla="*/ 456152 w 828675"/>
                  <a:gd name="connsiteY284" fmla="*/ 261080 h 800100"/>
                  <a:gd name="connsiteX285" fmla="*/ 454438 w 828675"/>
                  <a:gd name="connsiteY285" fmla="*/ 257746 h 800100"/>
                  <a:gd name="connsiteX286" fmla="*/ 451866 w 828675"/>
                  <a:gd name="connsiteY286" fmla="*/ 256889 h 800100"/>
                  <a:gd name="connsiteX287" fmla="*/ 440912 w 828675"/>
                  <a:gd name="connsiteY287" fmla="*/ 254317 h 800100"/>
                  <a:gd name="connsiteX288" fmla="*/ 435769 w 828675"/>
                  <a:gd name="connsiteY288" fmla="*/ 253460 h 800100"/>
                  <a:gd name="connsiteX289" fmla="*/ 434912 w 828675"/>
                  <a:gd name="connsiteY289" fmla="*/ 252603 h 800100"/>
                  <a:gd name="connsiteX290" fmla="*/ 434054 w 828675"/>
                  <a:gd name="connsiteY290" fmla="*/ 250888 h 800100"/>
                  <a:gd name="connsiteX291" fmla="*/ 434054 w 828675"/>
                  <a:gd name="connsiteY291" fmla="*/ 249174 h 800100"/>
                  <a:gd name="connsiteX292" fmla="*/ 433197 w 828675"/>
                  <a:gd name="connsiteY292" fmla="*/ 248317 h 800100"/>
                  <a:gd name="connsiteX293" fmla="*/ 431578 w 828675"/>
                  <a:gd name="connsiteY293" fmla="*/ 249174 h 800100"/>
                  <a:gd name="connsiteX294" fmla="*/ 429006 w 828675"/>
                  <a:gd name="connsiteY294" fmla="*/ 249174 h 800100"/>
                  <a:gd name="connsiteX295" fmla="*/ 427292 w 828675"/>
                  <a:gd name="connsiteY295" fmla="*/ 248317 h 800100"/>
                  <a:gd name="connsiteX296" fmla="*/ 424720 w 828675"/>
                  <a:gd name="connsiteY296" fmla="*/ 248317 h 800100"/>
                  <a:gd name="connsiteX297" fmla="*/ 423100 w 828675"/>
                  <a:gd name="connsiteY297" fmla="*/ 246697 h 800100"/>
                  <a:gd name="connsiteX298" fmla="*/ 422243 w 828675"/>
                  <a:gd name="connsiteY298" fmla="*/ 244983 h 800100"/>
                  <a:gd name="connsiteX299" fmla="*/ 422243 w 828675"/>
                  <a:gd name="connsiteY299" fmla="*/ 243268 h 800100"/>
                  <a:gd name="connsiteX300" fmla="*/ 421386 w 828675"/>
                  <a:gd name="connsiteY300" fmla="*/ 240697 h 800100"/>
                  <a:gd name="connsiteX301" fmla="*/ 419671 w 828675"/>
                  <a:gd name="connsiteY301" fmla="*/ 240697 h 800100"/>
                  <a:gd name="connsiteX302" fmla="*/ 415385 w 828675"/>
                  <a:gd name="connsiteY302" fmla="*/ 240697 h 800100"/>
                  <a:gd name="connsiteX303" fmla="*/ 412909 w 828675"/>
                  <a:gd name="connsiteY303" fmla="*/ 239840 h 800100"/>
                  <a:gd name="connsiteX304" fmla="*/ 411194 w 828675"/>
                  <a:gd name="connsiteY304" fmla="*/ 238982 h 800100"/>
                  <a:gd name="connsiteX305" fmla="*/ 406908 w 828675"/>
                  <a:gd name="connsiteY305" fmla="*/ 233934 h 800100"/>
                  <a:gd name="connsiteX306" fmla="*/ 405289 w 828675"/>
                  <a:gd name="connsiteY306" fmla="*/ 233077 h 800100"/>
                  <a:gd name="connsiteX307" fmla="*/ 401860 w 828675"/>
                  <a:gd name="connsiteY307" fmla="*/ 232219 h 800100"/>
                  <a:gd name="connsiteX308" fmla="*/ 400145 w 828675"/>
                  <a:gd name="connsiteY308" fmla="*/ 231362 h 800100"/>
                  <a:gd name="connsiteX309" fmla="*/ 398431 w 828675"/>
                  <a:gd name="connsiteY309" fmla="*/ 229648 h 800100"/>
                  <a:gd name="connsiteX310" fmla="*/ 396812 w 828675"/>
                  <a:gd name="connsiteY310" fmla="*/ 225361 h 800100"/>
                  <a:gd name="connsiteX311" fmla="*/ 395097 w 828675"/>
                  <a:gd name="connsiteY311" fmla="*/ 224504 h 800100"/>
                  <a:gd name="connsiteX312" fmla="*/ 390811 w 828675"/>
                  <a:gd name="connsiteY312" fmla="*/ 223647 h 800100"/>
                  <a:gd name="connsiteX313" fmla="*/ 389192 w 828675"/>
                  <a:gd name="connsiteY313" fmla="*/ 223647 h 800100"/>
                  <a:gd name="connsiteX314" fmla="*/ 387477 w 828675"/>
                  <a:gd name="connsiteY314" fmla="*/ 222028 h 800100"/>
                  <a:gd name="connsiteX315" fmla="*/ 386620 w 828675"/>
                  <a:gd name="connsiteY315" fmla="*/ 221170 h 800100"/>
                  <a:gd name="connsiteX316" fmla="*/ 386620 w 828675"/>
                  <a:gd name="connsiteY316" fmla="*/ 220313 h 800100"/>
                  <a:gd name="connsiteX317" fmla="*/ 386620 w 828675"/>
                  <a:gd name="connsiteY317" fmla="*/ 218599 h 800100"/>
                  <a:gd name="connsiteX318" fmla="*/ 386620 w 828675"/>
                  <a:gd name="connsiteY318" fmla="*/ 217742 h 800100"/>
                  <a:gd name="connsiteX319" fmla="*/ 384048 w 828675"/>
                  <a:gd name="connsiteY319" fmla="*/ 217742 h 800100"/>
                  <a:gd name="connsiteX320" fmla="*/ 382334 w 828675"/>
                  <a:gd name="connsiteY320" fmla="*/ 217742 h 800100"/>
                  <a:gd name="connsiteX321" fmla="*/ 379857 w 828675"/>
                  <a:gd name="connsiteY321" fmla="*/ 219456 h 800100"/>
                  <a:gd name="connsiteX322" fmla="*/ 379000 w 828675"/>
                  <a:gd name="connsiteY322" fmla="*/ 221170 h 800100"/>
                  <a:gd name="connsiteX323" fmla="*/ 379000 w 828675"/>
                  <a:gd name="connsiteY323" fmla="*/ 222790 h 800100"/>
                  <a:gd name="connsiteX324" fmla="*/ 379857 w 828675"/>
                  <a:gd name="connsiteY324" fmla="*/ 231362 h 800100"/>
                  <a:gd name="connsiteX325" fmla="*/ 379000 w 828675"/>
                  <a:gd name="connsiteY325" fmla="*/ 233077 h 800100"/>
                  <a:gd name="connsiteX326" fmla="*/ 377285 w 828675"/>
                  <a:gd name="connsiteY326" fmla="*/ 231362 h 800100"/>
                  <a:gd name="connsiteX327" fmla="*/ 372237 w 828675"/>
                  <a:gd name="connsiteY327" fmla="*/ 226219 h 800100"/>
                  <a:gd name="connsiteX328" fmla="*/ 370523 w 828675"/>
                  <a:gd name="connsiteY328" fmla="*/ 224504 h 800100"/>
                  <a:gd name="connsiteX329" fmla="*/ 367951 w 828675"/>
                  <a:gd name="connsiteY329" fmla="*/ 224504 h 800100"/>
                  <a:gd name="connsiteX330" fmla="*/ 366236 w 828675"/>
                  <a:gd name="connsiteY330" fmla="*/ 225361 h 800100"/>
                  <a:gd name="connsiteX331" fmla="*/ 363665 w 828675"/>
                  <a:gd name="connsiteY331" fmla="*/ 225361 h 800100"/>
                  <a:gd name="connsiteX332" fmla="*/ 361188 w 828675"/>
                  <a:gd name="connsiteY332" fmla="*/ 224504 h 800100"/>
                  <a:gd name="connsiteX333" fmla="*/ 360331 w 828675"/>
                  <a:gd name="connsiteY333" fmla="*/ 222790 h 800100"/>
                  <a:gd name="connsiteX334" fmla="*/ 356902 w 828675"/>
                  <a:gd name="connsiteY334" fmla="*/ 216884 h 800100"/>
                  <a:gd name="connsiteX335" fmla="*/ 356045 w 828675"/>
                  <a:gd name="connsiteY335" fmla="*/ 216027 h 800100"/>
                  <a:gd name="connsiteX336" fmla="*/ 354425 w 828675"/>
                  <a:gd name="connsiteY336" fmla="*/ 215170 h 800100"/>
                  <a:gd name="connsiteX337" fmla="*/ 353568 w 828675"/>
                  <a:gd name="connsiteY337" fmla="*/ 215170 h 800100"/>
                  <a:gd name="connsiteX338" fmla="*/ 352711 w 828675"/>
                  <a:gd name="connsiteY338" fmla="*/ 214313 h 800100"/>
                  <a:gd name="connsiteX339" fmla="*/ 350996 w 828675"/>
                  <a:gd name="connsiteY339" fmla="*/ 212598 h 800100"/>
                  <a:gd name="connsiteX340" fmla="*/ 350996 w 828675"/>
                  <a:gd name="connsiteY340" fmla="*/ 211741 h 800100"/>
                  <a:gd name="connsiteX341" fmla="*/ 349282 w 828675"/>
                  <a:gd name="connsiteY341" fmla="*/ 210121 h 800100"/>
                  <a:gd name="connsiteX342" fmla="*/ 345091 w 828675"/>
                  <a:gd name="connsiteY342" fmla="*/ 209264 h 800100"/>
                  <a:gd name="connsiteX343" fmla="*/ 342519 w 828675"/>
                  <a:gd name="connsiteY343" fmla="*/ 208407 h 800100"/>
                  <a:gd name="connsiteX344" fmla="*/ 341662 w 828675"/>
                  <a:gd name="connsiteY344" fmla="*/ 207550 h 800100"/>
                  <a:gd name="connsiteX345" fmla="*/ 337471 w 828675"/>
                  <a:gd name="connsiteY345" fmla="*/ 202406 h 800100"/>
                  <a:gd name="connsiteX346" fmla="*/ 334042 w 828675"/>
                  <a:gd name="connsiteY346" fmla="*/ 200692 h 800100"/>
                  <a:gd name="connsiteX347" fmla="*/ 333184 w 828675"/>
                  <a:gd name="connsiteY347" fmla="*/ 200692 h 800100"/>
                  <a:gd name="connsiteX348" fmla="*/ 332327 w 828675"/>
                  <a:gd name="connsiteY348" fmla="*/ 202406 h 800100"/>
                  <a:gd name="connsiteX349" fmla="*/ 332327 w 828675"/>
                  <a:gd name="connsiteY349" fmla="*/ 203263 h 800100"/>
                  <a:gd name="connsiteX350" fmla="*/ 331470 w 828675"/>
                  <a:gd name="connsiteY350" fmla="*/ 205835 h 800100"/>
                  <a:gd name="connsiteX351" fmla="*/ 328136 w 828675"/>
                  <a:gd name="connsiteY351" fmla="*/ 209264 h 800100"/>
                  <a:gd name="connsiteX352" fmla="*/ 326422 w 828675"/>
                  <a:gd name="connsiteY352" fmla="*/ 210121 h 800100"/>
                  <a:gd name="connsiteX353" fmla="*/ 325565 w 828675"/>
                  <a:gd name="connsiteY353" fmla="*/ 210884 h 800100"/>
                  <a:gd name="connsiteX354" fmla="*/ 323850 w 828675"/>
                  <a:gd name="connsiteY354" fmla="*/ 210884 h 800100"/>
                  <a:gd name="connsiteX355" fmla="*/ 322136 w 828675"/>
                  <a:gd name="connsiteY355" fmla="*/ 211741 h 800100"/>
                  <a:gd name="connsiteX356" fmla="*/ 319659 w 828675"/>
                  <a:gd name="connsiteY356" fmla="*/ 210884 h 800100"/>
                  <a:gd name="connsiteX357" fmla="*/ 317945 w 828675"/>
                  <a:gd name="connsiteY357" fmla="*/ 209264 h 800100"/>
                  <a:gd name="connsiteX358" fmla="*/ 317087 w 828675"/>
                  <a:gd name="connsiteY358" fmla="*/ 208407 h 800100"/>
                  <a:gd name="connsiteX359" fmla="*/ 317087 w 828675"/>
                  <a:gd name="connsiteY359" fmla="*/ 206692 h 800100"/>
                  <a:gd name="connsiteX360" fmla="*/ 317945 w 828675"/>
                  <a:gd name="connsiteY360" fmla="*/ 205835 h 800100"/>
                  <a:gd name="connsiteX361" fmla="*/ 317087 w 828675"/>
                  <a:gd name="connsiteY361" fmla="*/ 204978 h 800100"/>
                  <a:gd name="connsiteX362" fmla="*/ 316230 w 828675"/>
                  <a:gd name="connsiteY362" fmla="*/ 204978 h 800100"/>
                  <a:gd name="connsiteX363" fmla="*/ 314516 w 828675"/>
                  <a:gd name="connsiteY363" fmla="*/ 205835 h 800100"/>
                  <a:gd name="connsiteX364" fmla="*/ 313658 w 828675"/>
                  <a:gd name="connsiteY364" fmla="*/ 205835 h 800100"/>
                  <a:gd name="connsiteX365" fmla="*/ 312801 w 828675"/>
                  <a:gd name="connsiteY365" fmla="*/ 204978 h 800100"/>
                  <a:gd name="connsiteX366" fmla="*/ 312801 w 828675"/>
                  <a:gd name="connsiteY366" fmla="*/ 204121 h 800100"/>
                  <a:gd name="connsiteX367" fmla="*/ 313658 w 828675"/>
                  <a:gd name="connsiteY367" fmla="*/ 202406 h 800100"/>
                  <a:gd name="connsiteX368" fmla="*/ 312801 w 828675"/>
                  <a:gd name="connsiteY368" fmla="*/ 201549 h 800100"/>
                  <a:gd name="connsiteX369" fmla="*/ 312801 w 828675"/>
                  <a:gd name="connsiteY369" fmla="*/ 200692 h 800100"/>
                  <a:gd name="connsiteX370" fmla="*/ 311182 w 828675"/>
                  <a:gd name="connsiteY370" fmla="*/ 200692 h 800100"/>
                  <a:gd name="connsiteX371" fmla="*/ 307753 w 828675"/>
                  <a:gd name="connsiteY371" fmla="*/ 202406 h 800100"/>
                  <a:gd name="connsiteX372" fmla="*/ 306896 w 828675"/>
                  <a:gd name="connsiteY372" fmla="*/ 202406 h 800100"/>
                  <a:gd name="connsiteX373" fmla="*/ 306038 w 828675"/>
                  <a:gd name="connsiteY373" fmla="*/ 200692 h 800100"/>
                  <a:gd name="connsiteX374" fmla="*/ 306038 w 828675"/>
                  <a:gd name="connsiteY374" fmla="*/ 199834 h 800100"/>
                  <a:gd name="connsiteX375" fmla="*/ 306896 w 828675"/>
                  <a:gd name="connsiteY375" fmla="*/ 197358 h 800100"/>
                  <a:gd name="connsiteX376" fmla="*/ 307753 w 828675"/>
                  <a:gd name="connsiteY376" fmla="*/ 195643 h 800100"/>
                  <a:gd name="connsiteX377" fmla="*/ 306896 w 828675"/>
                  <a:gd name="connsiteY377" fmla="*/ 194786 h 800100"/>
                  <a:gd name="connsiteX378" fmla="*/ 304324 w 828675"/>
                  <a:gd name="connsiteY378" fmla="*/ 193072 h 800100"/>
                  <a:gd name="connsiteX379" fmla="*/ 299275 w 828675"/>
                  <a:gd name="connsiteY379" fmla="*/ 192215 h 800100"/>
                  <a:gd name="connsiteX380" fmla="*/ 296704 w 828675"/>
                  <a:gd name="connsiteY380" fmla="*/ 192215 h 800100"/>
                  <a:gd name="connsiteX381" fmla="*/ 294989 w 828675"/>
                  <a:gd name="connsiteY381" fmla="*/ 193072 h 800100"/>
                  <a:gd name="connsiteX382" fmla="*/ 294989 w 828675"/>
                  <a:gd name="connsiteY382" fmla="*/ 193929 h 800100"/>
                  <a:gd name="connsiteX383" fmla="*/ 294989 w 828675"/>
                  <a:gd name="connsiteY383" fmla="*/ 194786 h 800100"/>
                  <a:gd name="connsiteX384" fmla="*/ 294989 w 828675"/>
                  <a:gd name="connsiteY384" fmla="*/ 195643 h 800100"/>
                  <a:gd name="connsiteX385" fmla="*/ 291655 w 828675"/>
                  <a:gd name="connsiteY385" fmla="*/ 196501 h 800100"/>
                  <a:gd name="connsiteX386" fmla="*/ 284893 w 828675"/>
                  <a:gd name="connsiteY386" fmla="*/ 194786 h 800100"/>
                  <a:gd name="connsiteX387" fmla="*/ 282321 w 828675"/>
                  <a:gd name="connsiteY387" fmla="*/ 196501 h 800100"/>
                  <a:gd name="connsiteX388" fmla="*/ 280607 w 828675"/>
                  <a:gd name="connsiteY388" fmla="*/ 196501 h 800100"/>
                  <a:gd name="connsiteX389" fmla="*/ 279749 w 828675"/>
                  <a:gd name="connsiteY389" fmla="*/ 196501 h 800100"/>
                  <a:gd name="connsiteX390" fmla="*/ 278892 w 828675"/>
                  <a:gd name="connsiteY390" fmla="*/ 195643 h 800100"/>
                  <a:gd name="connsiteX391" fmla="*/ 278035 w 828675"/>
                  <a:gd name="connsiteY391" fmla="*/ 193929 h 800100"/>
                  <a:gd name="connsiteX392" fmla="*/ 277273 w 828675"/>
                  <a:gd name="connsiteY392" fmla="*/ 193072 h 800100"/>
                  <a:gd name="connsiteX393" fmla="*/ 272987 w 828675"/>
                  <a:gd name="connsiteY393" fmla="*/ 193072 h 800100"/>
                  <a:gd name="connsiteX394" fmla="*/ 263652 w 828675"/>
                  <a:gd name="connsiteY394" fmla="*/ 196501 h 800100"/>
                  <a:gd name="connsiteX395" fmla="*/ 261938 w 828675"/>
                  <a:gd name="connsiteY395" fmla="*/ 193072 h 800100"/>
                  <a:gd name="connsiteX396" fmla="*/ 260318 w 828675"/>
                  <a:gd name="connsiteY396" fmla="*/ 187928 h 800100"/>
                  <a:gd name="connsiteX397" fmla="*/ 259461 w 828675"/>
                  <a:gd name="connsiteY397" fmla="*/ 186214 h 800100"/>
                  <a:gd name="connsiteX398" fmla="*/ 258604 w 828675"/>
                  <a:gd name="connsiteY398" fmla="*/ 185452 h 800100"/>
                  <a:gd name="connsiteX399" fmla="*/ 256889 w 828675"/>
                  <a:gd name="connsiteY399" fmla="*/ 183737 h 800100"/>
                  <a:gd name="connsiteX400" fmla="*/ 256032 w 828675"/>
                  <a:gd name="connsiteY400" fmla="*/ 182023 h 800100"/>
                  <a:gd name="connsiteX401" fmla="*/ 256032 w 828675"/>
                  <a:gd name="connsiteY401" fmla="*/ 181165 h 800100"/>
                  <a:gd name="connsiteX402" fmla="*/ 254317 w 828675"/>
                  <a:gd name="connsiteY402" fmla="*/ 181165 h 800100"/>
                  <a:gd name="connsiteX403" fmla="*/ 253460 w 828675"/>
                  <a:gd name="connsiteY403" fmla="*/ 182023 h 800100"/>
                  <a:gd name="connsiteX404" fmla="*/ 251746 w 828675"/>
                  <a:gd name="connsiteY404" fmla="*/ 182023 h 800100"/>
                  <a:gd name="connsiteX405" fmla="*/ 250127 w 828675"/>
                  <a:gd name="connsiteY405" fmla="*/ 182023 h 800100"/>
                  <a:gd name="connsiteX406" fmla="*/ 247555 w 828675"/>
                  <a:gd name="connsiteY406" fmla="*/ 181165 h 800100"/>
                  <a:gd name="connsiteX407" fmla="*/ 233172 w 828675"/>
                  <a:gd name="connsiteY407" fmla="*/ 170974 h 800100"/>
                  <a:gd name="connsiteX408" fmla="*/ 231458 w 828675"/>
                  <a:gd name="connsiteY408" fmla="*/ 169259 h 800100"/>
                  <a:gd name="connsiteX409" fmla="*/ 230600 w 828675"/>
                  <a:gd name="connsiteY409" fmla="*/ 167545 h 800100"/>
                  <a:gd name="connsiteX410" fmla="*/ 230600 w 828675"/>
                  <a:gd name="connsiteY410" fmla="*/ 166688 h 800100"/>
                  <a:gd name="connsiteX411" fmla="*/ 230600 w 828675"/>
                  <a:gd name="connsiteY411" fmla="*/ 164973 h 800100"/>
                  <a:gd name="connsiteX412" fmla="*/ 229743 w 828675"/>
                  <a:gd name="connsiteY412" fmla="*/ 164116 h 800100"/>
                  <a:gd name="connsiteX413" fmla="*/ 228886 w 828675"/>
                  <a:gd name="connsiteY413" fmla="*/ 163259 h 800100"/>
                  <a:gd name="connsiteX414" fmla="*/ 220409 w 828675"/>
                  <a:gd name="connsiteY414" fmla="*/ 159067 h 800100"/>
                  <a:gd name="connsiteX415" fmla="*/ 219551 w 828675"/>
                  <a:gd name="connsiteY415" fmla="*/ 158210 h 800100"/>
                  <a:gd name="connsiteX416" fmla="*/ 218694 w 828675"/>
                  <a:gd name="connsiteY416" fmla="*/ 158210 h 800100"/>
                  <a:gd name="connsiteX417" fmla="*/ 216218 w 828675"/>
                  <a:gd name="connsiteY417" fmla="*/ 159925 h 800100"/>
                  <a:gd name="connsiteX418" fmla="*/ 209360 w 828675"/>
                  <a:gd name="connsiteY418" fmla="*/ 161544 h 800100"/>
                  <a:gd name="connsiteX419" fmla="*/ 205169 w 828675"/>
                  <a:gd name="connsiteY419" fmla="*/ 164116 h 800100"/>
                  <a:gd name="connsiteX420" fmla="*/ 204311 w 828675"/>
                  <a:gd name="connsiteY420" fmla="*/ 157353 h 800100"/>
                  <a:gd name="connsiteX421" fmla="*/ 203454 w 828675"/>
                  <a:gd name="connsiteY421" fmla="*/ 155638 h 800100"/>
                  <a:gd name="connsiteX422" fmla="*/ 201740 w 828675"/>
                  <a:gd name="connsiteY422" fmla="*/ 153067 h 800100"/>
                  <a:gd name="connsiteX423" fmla="*/ 200120 w 828675"/>
                  <a:gd name="connsiteY423" fmla="*/ 150495 h 800100"/>
                  <a:gd name="connsiteX424" fmla="*/ 183928 w 828675"/>
                  <a:gd name="connsiteY424" fmla="*/ 142018 h 800100"/>
                  <a:gd name="connsiteX425" fmla="*/ 183071 w 828675"/>
                  <a:gd name="connsiteY425" fmla="*/ 141161 h 800100"/>
                  <a:gd name="connsiteX426" fmla="*/ 183071 w 828675"/>
                  <a:gd name="connsiteY426" fmla="*/ 140303 h 800100"/>
                  <a:gd name="connsiteX427" fmla="*/ 183928 w 828675"/>
                  <a:gd name="connsiteY427" fmla="*/ 140303 h 800100"/>
                  <a:gd name="connsiteX428" fmla="*/ 184785 w 828675"/>
                  <a:gd name="connsiteY428" fmla="*/ 139446 h 800100"/>
                  <a:gd name="connsiteX429" fmla="*/ 183928 w 828675"/>
                  <a:gd name="connsiteY429" fmla="*/ 138589 h 800100"/>
                  <a:gd name="connsiteX430" fmla="*/ 183928 w 828675"/>
                  <a:gd name="connsiteY430" fmla="*/ 137731 h 800100"/>
                  <a:gd name="connsiteX431" fmla="*/ 184785 w 828675"/>
                  <a:gd name="connsiteY431" fmla="*/ 136874 h 800100"/>
                  <a:gd name="connsiteX432" fmla="*/ 186500 w 828675"/>
                  <a:gd name="connsiteY432" fmla="*/ 136874 h 800100"/>
                  <a:gd name="connsiteX433" fmla="*/ 187357 w 828675"/>
                  <a:gd name="connsiteY433" fmla="*/ 136112 h 800100"/>
                  <a:gd name="connsiteX434" fmla="*/ 188214 w 828675"/>
                  <a:gd name="connsiteY434" fmla="*/ 136112 h 800100"/>
                  <a:gd name="connsiteX435" fmla="*/ 189071 w 828675"/>
                  <a:gd name="connsiteY435" fmla="*/ 136112 h 800100"/>
                  <a:gd name="connsiteX436" fmla="*/ 189929 w 828675"/>
                  <a:gd name="connsiteY436" fmla="*/ 136874 h 800100"/>
                  <a:gd name="connsiteX437" fmla="*/ 191548 w 828675"/>
                  <a:gd name="connsiteY437" fmla="*/ 137731 h 800100"/>
                  <a:gd name="connsiteX438" fmla="*/ 192405 w 828675"/>
                  <a:gd name="connsiteY438" fmla="*/ 136874 h 800100"/>
                  <a:gd name="connsiteX439" fmla="*/ 193262 w 828675"/>
                  <a:gd name="connsiteY439" fmla="*/ 134398 h 800100"/>
                  <a:gd name="connsiteX440" fmla="*/ 194120 w 828675"/>
                  <a:gd name="connsiteY440" fmla="*/ 133540 h 800100"/>
                  <a:gd name="connsiteX441" fmla="*/ 194977 w 828675"/>
                  <a:gd name="connsiteY441" fmla="*/ 133540 h 800100"/>
                  <a:gd name="connsiteX442" fmla="*/ 195834 w 828675"/>
                  <a:gd name="connsiteY442" fmla="*/ 133540 h 800100"/>
                  <a:gd name="connsiteX443" fmla="*/ 196691 w 828675"/>
                  <a:gd name="connsiteY443" fmla="*/ 134398 h 800100"/>
                  <a:gd name="connsiteX444" fmla="*/ 197549 w 828675"/>
                  <a:gd name="connsiteY444" fmla="*/ 134398 h 800100"/>
                  <a:gd name="connsiteX445" fmla="*/ 199263 w 828675"/>
                  <a:gd name="connsiteY445" fmla="*/ 133540 h 800100"/>
                  <a:gd name="connsiteX446" fmla="*/ 204311 w 828675"/>
                  <a:gd name="connsiteY446" fmla="*/ 128397 h 800100"/>
                  <a:gd name="connsiteX447" fmla="*/ 205169 w 828675"/>
                  <a:gd name="connsiteY447" fmla="*/ 126682 h 800100"/>
                  <a:gd name="connsiteX448" fmla="*/ 206026 w 828675"/>
                  <a:gd name="connsiteY448" fmla="*/ 125825 h 800100"/>
                  <a:gd name="connsiteX449" fmla="*/ 206026 w 828675"/>
                  <a:gd name="connsiteY449" fmla="*/ 124111 h 800100"/>
                  <a:gd name="connsiteX450" fmla="*/ 204311 w 828675"/>
                  <a:gd name="connsiteY450" fmla="*/ 123349 h 800100"/>
                  <a:gd name="connsiteX451" fmla="*/ 195834 w 828675"/>
                  <a:gd name="connsiteY451" fmla="*/ 121634 h 800100"/>
                  <a:gd name="connsiteX452" fmla="*/ 193262 w 828675"/>
                  <a:gd name="connsiteY452" fmla="*/ 120777 h 800100"/>
                  <a:gd name="connsiteX453" fmla="*/ 175451 w 828675"/>
                  <a:gd name="connsiteY453" fmla="*/ 109728 h 800100"/>
                  <a:gd name="connsiteX454" fmla="*/ 168688 w 828675"/>
                  <a:gd name="connsiteY454" fmla="*/ 104584 h 800100"/>
                  <a:gd name="connsiteX455" fmla="*/ 165354 w 828675"/>
                  <a:gd name="connsiteY455" fmla="*/ 99441 h 800100"/>
                  <a:gd name="connsiteX456" fmla="*/ 163640 w 828675"/>
                  <a:gd name="connsiteY456" fmla="*/ 96107 h 800100"/>
                  <a:gd name="connsiteX457" fmla="*/ 161068 w 828675"/>
                  <a:gd name="connsiteY457" fmla="*/ 90964 h 800100"/>
                  <a:gd name="connsiteX458" fmla="*/ 156877 w 828675"/>
                  <a:gd name="connsiteY458" fmla="*/ 85915 h 800100"/>
                  <a:gd name="connsiteX459" fmla="*/ 145828 w 828675"/>
                  <a:gd name="connsiteY459" fmla="*/ 81629 h 800100"/>
                  <a:gd name="connsiteX460" fmla="*/ 144113 w 828675"/>
                  <a:gd name="connsiteY460" fmla="*/ 79915 h 800100"/>
                  <a:gd name="connsiteX461" fmla="*/ 143256 w 828675"/>
                  <a:gd name="connsiteY461" fmla="*/ 78200 h 800100"/>
                  <a:gd name="connsiteX462" fmla="*/ 139922 w 828675"/>
                  <a:gd name="connsiteY462" fmla="*/ 70580 h 800100"/>
                  <a:gd name="connsiteX463" fmla="*/ 135636 w 828675"/>
                  <a:gd name="connsiteY463" fmla="*/ 64579 h 800100"/>
                  <a:gd name="connsiteX464" fmla="*/ 128873 w 828675"/>
                  <a:gd name="connsiteY464" fmla="*/ 57817 h 800100"/>
                  <a:gd name="connsiteX465" fmla="*/ 128016 w 828675"/>
                  <a:gd name="connsiteY465" fmla="*/ 56959 h 800100"/>
                  <a:gd name="connsiteX466" fmla="*/ 127159 w 828675"/>
                  <a:gd name="connsiteY466" fmla="*/ 56959 h 800100"/>
                  <a:gd name="connsiteX467" fmla="*/ 125444 w 828675"/>
                  <a:gd name="connsiteY467" fmla="*/ 56959 h 800100"/>
                  <a:gd name="connsiteX468" fmla="*/ 123730 w 828675"/>
                  <a:gd name="connsiteY468" fmla="*/ 56959 h 800100"/>
                  <a:gd name="connsiteX469" fmla="*/ 122873 w 828675"/>
                  <a:gd name="connsiteY469" fmla="*/ 57817 h 800100"/>
                  <a:gd name="connsiteX470" fmla="*/ 122111 w 828675"/>
                  <a:gd name="connsiteY470" fmla="*/ 58674 h 800100"/>
                  <a:gd name="connsiteX471" fmla="*/ 121253 w 828675"/>
                  <a:gd name="connsiteY471" fmla="*/ 60388 h 800100"/>
                  <a:gd name="connsiteX472" fmla="*/ 121253 w 828675"/>
                  <a:gd name="connsiteY472" fmla="*/ 63722 h 800100"/>
                  <a:gd name="connsiteX473" fmla="*/ 122111 w 828675"/>
                  <a:gd name="connsiteY473" fmla="*/ 66294 h 800100"/>
                  <a:gd name="connsiteX474" fmla="*/ 125444 w 828675"/>
                  <a:gd name="connsiteY474" fmla="*/ 77343 h 800100"/>
                  <a:gd name="connsiteX475" fmla="*/ 126302 w 828675"/>
                  <a:gd name="connsiteY475" fmla="*/ 83344 h 800100"/>
                  <a:gd name="connsiteX476" fmla="*/ 124587 w 828675"/>
                  <a:gd name="connsiteY476" fmla="*/ 88392 h 800100"/>
                  <a:gd name="connsiteX477" fmla="*/ 121253 w 828675"/>
                  <a:gd name="connsiteY477" fmla="*/ 92678 h 800100"/>
                  <a:gd name="connsiteX478" fmla="*/ 116110 w 828675"/>
                  <a:gd name="connsiteY478" fmla="*/ 95250 h 800100"/>
                  <a:gd name="connsiteX479" fmla="*/ 113633 w 828675"/>
                  <a:gd name="connsiteY479" fmla="*/ 94393 h 800100"/>
                  <a:gd name="connsiteX480" fmla="*/ 112776 w 828675"/>
                  <a:gd name="connsiteY480" fmla="*/ 93536 h 800100"/>
                  <a:gd name="connsiteX481" fmla="*/ 108490 w 828675"/>
                  <a:gd name="connsiteY481" fmla="*/ 90964 h 800100"/>
                  <a:gd name="connsiteX482" fmla="*/ 102584 w 828675"/>
                  <a:gd name="connsiteY482" fmla="*/ 86773 h 800100"/>
                  <a:gd name="connsiteX483" fmla="*/ 100870 w 828675"/>
                  <a:gd name="connsiteY483" fmla="*/ 85915 h 800100"/>
                  <a:gd name="connsiteX484" fmla="*/ 99155 w 828675"/>
                  <a:gd name="connsiteY484" fmla="*/ 85915 h 800100"/>
                  <a:gd name="connsiteX485" fmla="*/ 95822 w 828675"/>
                  <a:gd name="connsiteY485" fmla="*/ 89249 h 800100"/>
                  <a:gd name="connsiteX486" fmla="*/ 85630 w 828675"/>
                  <a:gd name="connsiteY486" fmla="*/ 94393 h 800100"/>
                  <a:gd name="connsiteX487" fmla="*/ 80486 w 828675"/>
                  <a:gd name="connsiteY487" fmla="*/ 84201 h 800100"/>
                  <a:gd name="connsiteX488" fmla="*/ 79629 w 828675"/>
                  <a:gd name="connsiteY488" fmla="*/ 80772 h 800100"/>
                  <a:gd name="connsiteX489" fmla="*/ 78010 w 828675"/>
                  <a:gd name="connsiteY489" fmla="*/ 74009 h 800100"/>
                  <a:gd name="connsiteX490" fmla="*/ 76295 w 828675"/>
                  <a:gd name="connsiteY490" fmla="*/ 68866 h 800100"/>
                  <a:gd name="connsiteX491" fmla="*/ 76295 w 828675"/>
                  <a:gd name="connsiteY491" fmla="*/ 66294 h 800100"/>
                  <a:gd name="connsiteX492" fmla="*/ 76295 w 828675"/>
                  <a:gd name="connsiteY492" fmla="*/ 61246 h 800100"/>
                  <a:gd name="connsiteX493" fmla="*/ 75438 w 828675"/>
                  <a:gd name="connsiteY493" fmla="*/ 56102 h 800100"/>
                  <a:gd name="connsiteX494" fmla="*/ 76295 w 828675"/>
                  <a:gd name="connsiteY494" fmla="*/ 53530 h 800100"/>
                  <a:gd name="connsiteX495" fmla="*/ 81344 w 828675"/>
                  <a:gd name="connsiteY495" fmla="*/ 45910 h 800100"/>
                  <a:gd name="connsiteX496" fmla="*/ 85630 w 828675"/>
                  <a:gd name="connsiteY496" fmla="*/ 34004 h 800100"/>
                  <a:gd name="connsiteX497" fmla="*/ 89821 w 828675"/>
                  <a:gd name="connsiteY497" fmla="*/ 29718 h 800100"/>
                  <a:gd name="connsiteX498" fmla="*/ 94964 w 828675"/>
                  <a:gd name="connsiteY498" fmla="*/ 25432 h 800100"/>
                  <a:gd name="connsiteX499" fmla="*/ 97441 w 828675"/>
                  <a:gd name="connsiteY499" fmla="*/ 23813 h 800100"/>
                  <a:gd name="connsiteX500" fmla="*/ 98298 w 828675"/>
                  <a:gd name="connsiteY500" fmla="*/ 22098 h 800100"/>
                  <a:gd name="connsiteX501" fmla="*/ 95822 w 828675"/>
                  <a:gd name="connsiteY501" fmla="*/ 19526 h 800100"/>
                  <a:gd name="connsiteX502" fmla="*/ 83058 w 828675"/>
                  <a:gd name="connsiteY502" fmla="*/ 13525 h 800100"/>
                  <a:gd name="connsiteX503" fmla="*/ 76295 w 828675"/>
                  <a:gd name="connsiteY503" fmla="*/ 9334 h 800100"/>
                  <a:gd name="connsiteX504" fmla="*/ 66961 w 828675"/>
                  <a:gd name="connsiteY504" fmla="*/ 762 h 800100"/>
                  <a:gd name="connsiteX505" fmla="*/ 63532 w 828675"/>
                  <a:gd name="connsiteY505" fmla="*/ 0 h 800100"/>
                  <a:gd name="connsiteX506" fmla="*/ 61913 w 828675"/>
                  <a:gd name="connsiteY506" fmla="*/ 0 h 800100"/>
                  <a:gd name="connsiteX507" fmla="*/ 58483 w 828675"/>
                  <a:gd name="connsiteY507" fmla="*/ 2476 h 800100"/>
                  <a:gd name="connsiteX508" fmla="*/ 58483 w 828675"/>
                  <a:gd name="connsiteY508" fmla="*/ 2476 h 800100"/>
                  <a:gd name="connsiteX509" fmla="*/ 58483 w 828675"/>
                  <a:gd name="connsiteY509" fmla="*/ 3334 h 800100"/>
                  <a:gd name="connsiteX510" fmla="*/ 58483 w 828675"/>
                  <a:gd name="connsiteY510" fmla="*/ 9334 h 800100"/>
                  <a:gd name="connsiteX511" fmla="*/ 56769 w 828675"/>
                  <a:gd name="connsiteY511" fmla="*/ 15240 h 800100"/>
                  <a:gd name="connsiteX512" fmla="*/ 54197 w 828675"/>
                  <a:gd name="connsiteY512" fmla="*/ 17812 h 800100"/>
                  <a:gd name="connsiteX513" fmla="*/ 50006 w 828675"/>
                  <a:gd name="connsiteY513" fmla="*/ 21241 h 800100"/>
                  <a:gd name="connsiteX514" fmla="*/ 42386 w 828675"/>
                  <a:gd name="connsiteY514" fmla="*/ 28861 h 800100"/>
                  <a:gd name="connsiteX515" fmla="*/ 39815 w 828675"/>
                  <a:gd name="connsiteY515" fmla="*/ 31432 h 800100"/>
                  <a:gd name="connsiteX516" fmla="*/ 38100 w 828675"/>
                  <a:gd name="connsiteY516" fmla="*/ 33147 h 800100"/>
                  <a:gd name="connsiteX517" fmla="*/ 38100 w 828675"/>
                  <a:gd name="connsiteY517" fmla="*/ 36576 h 800100"/>
                  <a:gd name="connsiteX518" fmla="*/ 34766 w 828675"/>
                  <a:gd name="connsiteY518" fmla="*/ 39052 h 800100"/>
                  <a:gd name="connsiteX519" fmla="*/ 31337 w 828675"/>
                  <a:gd name="connsiteY519" fmla="*/ 42481 h 800100"/>
                  <a:gd name="connsiteX520" fmla="*/ 29623 w 828675"/>
                  <a:gd name="connsiteY520" fmla="*/ 42481 h 800100"/>
                  <a:gd name="connsiteX521" fmla="*/ 28766 w 828675"/>
                  <a:gd name="connsiteY521" fmla="*/ 43339 h 800100"/>
                  <a:gd name="connsiteX522" fmla="*/ 28766 w 828675"/>
                  <a:gd name="connsiteY522" fmla="*/ 44196 h 800100"/>
                  <a:gd name="connsiteX523" fmla="*/ 28766 w 828675"/>
                  <a:gd name="connsiteY523" fmla="*/ 45910 h 800100"/>
                  <a:gd name="connsiteX524" fmla="*/ 28766 w 828675"/>
                  <a:gd name="connsiteY524" fmla="*/ 45910 h 800100"/>
                  <a:gd name="connsiteX525" fmla="*/ 28004 w 828675"/>
                  <a:gd name="connsiteY525" fmla="*/ 45910 h 800100"/>
                  <a:gd name="connsiteX526" fmla="*/ 27146 w 828675"/>
                  <a:gd name="connsiteY526" fmla="*/ 45910 h 800100"/>
                  <a:gd name="connsiteX527" fmla="*/ 27146 w 828675"/>
                  <a:gd name="connsiteY527" fmla="*/ 45910 h 800100"/>
                  <a:gd name="connsiteX528" fmla="*/ 25432 w 828675"/>
                  <a:gd name="connsiteY528" fmla="*/ 45910 h 800100"/>
                  <a:gd name="connsiteX529" fmla="*/ 25432 w 828675"/>
                  <a:gd name="connsiteY529" fmla="*/ 45910 h 800100"/>
                  <a:gd name="connsiteX530" fmla="*/ 24575 w 828675"/>
                  <a:gd name="connsiteY530" fmla="*/ 46768 h 800100"/>
                  <a:gd name="connsiteX531" fmla="*/ 24575 w 828675"/>
                  <a:gd name="connsiteY531" fmla="*/ 47625 h 800100"/>
                  <a:gd name="connsiteX532" fmla="*/ 24575 w 828675"/>
                  <a:gd name="connsiteY532" fmla="*/ 48482 h 800100"/>
                  <a:gd name="connsiteX533" fmla="*/ 24575 w 828675"/>
                  <a:gd name="connsiteY533" fmla="*/ 48482 h 800100"/>
                  <a:gd name="connsiteX534" fmla="*/ 20288 w 828675"/>
                  <a:gd name="connsiteY534" fmla="*/ 53530 h 800100"/>
                  <a:gd name="connsiteX535" fmla="*/ 19431 w 828675"/>
                  <a:gd name="connsiteY535" fmla="*/ 54388 h 800100"/>
                  <a:gd name="connsiteX536" fmla="*/ 17812 w 828675"/>
                  <a:gd name="connsiteY536" fmla="*/ 56102 h 800100"/>
                  <a:gd name="connsiteX537" fmla="*/ 16954 w 828675"/>
                  <a:gd name="connsiteY537" fmla="*/ 60388 h 800100"/>
                  <a:gd name="connsiteX538" fmla="*/ 13526 w 828675"/>
                  <a:gd name="connsiteY538" fmla="*/ 75628 h 800100"/>
                  <a:gd name="connsiteX539" fmla="*/ 11811 w 828675"/>
                  <a:gd name="connsiteY539" fmla="*/ 79915 h 800100"/>
                  <a:gd name="connsiteX540" fmla="*/ 10954 w 828675"/>
                  <a:gd name="connsiteY540" fmla="*/ 80772 h 800100"/>
                  <a:gd name="connsiteX541" fmla="*/ 10192 w 828675"/>
                  <a:gd name="connsiteY541" fmla="*/ 79915 h 800100"/>
                  <a:gd name="connsiteX542" fmla="*/ 9335 w 828675"/>
                  <a:gd name="connsiteY542" fmla="*/ 79915 h 800100"/>
                  <a:gd name="connsiteX543" fmla="*/ 8477 w 828675"/>
                  <a:gd name="connsiteY543" fmla="*/ 80772 h 800100"/>
                  <a:gd name="connsiteX544" fmla="*/ 8477 w 828675"/>
                  <a:gd name="connsiteY544" fmla="*/ 82486 h 800100"/>
                  <a:gd name="connsiteX545" fmla="*/ 8477 w 828675"/>
                  <a:gd name="connsiteY545" fmla="*/ 83344 h 800100"/>
                  <a:gd name="connsiteX546" fmla="*/ 9335 w 828675"/>
                  <a:gd name="connsiteY546" fmla="*/ 84201 h 800100"/>
                  <a:gd name="connsiteX547" fmla="*/ 9335 w 828675"/>
                  <a:gd name="connsiteY547" fmla="*/ 85058 h 800100"/>
                  <a:gd name="connsiteX548" fmla="*/ 9335 w 828675"/>
                  <a:gd name="connsiteY548" fmla="*/ 85915 h 800100"/>
                  <a:gd name="connsiteX549" fmla="*/ 7620 w 828675"/>
                  <a:gd name="connsiteY549" fmla="*/ 87535 h 800100"/>
                  <a:gd name="connsiteX550" fmla="*/ 5048 w 828675"/>
                  <a:gd name="connsiteY550" fmla="*/ 88392 h 800100"/>
                  <a:gd name="connsiteX551" fmla="*/ 5906 w 828675"/>
                  <a:gd name="connsiteY551" fmla="*/ 91821 h 800100"/>
                  <a:gd name="connsiteX552" fmla="*/ 3334 w 828675"/>
                  <a:gd name="connsiteY552" fmla="*/ 94393 h 800100"/>
                  <a:gd name="connsiteX553" fmla="*/ 4191 w 828675"/>
                  <a:gd name="connsiteY553" fmla="*/ 96965 h 800100"/>
                  <a:gd name="connsiteX554" fmla="*/ 3334 w 828675"/>
                  <a:gd name="connsiteY554" fmla="*/ 98679 h 800100"/>
                  <a:gd name="connsiteX555" fmla="*/ 3334 w 828675"/>
                  <a:gd name="connsiteY555" fmla="*/ 100298 h 800100"/>
                  <a:gd name="connsiteX556" fmla="*/ 4191 w 828675"/>
                  <a:gd name="connsiteY556" fmla="*/ 102013 h 800100"/>
                  <a:gd name="connsiteX557" fmla="*/ 4191 w 828675"/>
                  <a:gd name="connsiteY557" fmla="*/ 103727 h 800100"/>
                  <a:gd name="connsiteX558" fmla="*/ 4191 w 828675"/>
                  <a:gd name="connsiteY558" fmla="*/ 104584 h 800100"/>
                  <a:gd name="connsiteX559" fmla="*/ 2477 w 828675"/>
                  <a:gd name="connsiteY559" fmla="*/ 104584 h 800100"/>
                  <a:gd name="connsiteX560" fmla="*/ 857 w 828675"/>
                  <a:gd name="connsiteY560" fmla="*/ 105442 h 800100"/>
                  <a:gd name="connsiteX561" fmla="*/ 0 w 828675"/>
                  <a:gd name="connsiteY561" fmla="*/ 107156 h 800100"/>
                  <a:gd name="connsiteX562" fmla="*/ 0 w 828675"/>
                  <a:gd name="connsiteY562" fmla="*/ 108013 h 800100"/>
                  <a:gd name="connsiteX563" fmla="*/ 1715 w 828675"/>
                  <a:gd name="connsiteY563" fmla="*/ 109728 h 800100"/>
                  <a:gd name="connsiteX564" fmla="*/ 1715 w 828675"/>
                  <a:gd name="connsiteY564" fmla="*/ 110585 h 800100"/>
                  <a:gd name="connsiteX565" fmla="*/ 1715 w 828675"/>
                  <a:gd name="connsiteY565" fmla="*/ 113062 h 800100"/>
                  <a:gd name="connsiteX566" fmla="*/ 857 w 828675"/>
                  <a:gd name="connsiteY566" fmla="*/ 113919 h 800100"/>
                  <a:gd name="connsiteX567" fmla="*/ 857 w 828675"/>
                  <a:gd name="connsiteY567" fmla="*/ 113919 h 800100"/>
                  <a:gd name="connsiteX568" fmla="*/ 2477 w 828675"/>
                  <a:gd name="connsiteY568" fmla="*/ 115633 h 800100"/>
                  <a:gd name="connsiteX569" fmla="*/ 5048 w 828675"/>
                  <a:gd name="connsiteY569" fmla="*/ 114776 h 800100"/>
                  <a:gd name="connsiteX570" fmla="*/ 6763 w 828675"/>
                  <a:gd name="connsiteY570" fmla="*/ 116491 h 800100"/>
                  <a:gd name="connsiteX571" fmla="*/ 5048 w 828675"/>
                  <a:gd name="connsiteY571" fmla="*/ 118205 h 800100"/>
                  <a:gd name="connsiteX572" fmla="*/ 1715 w 828675"/>
                  <a:gd name="connsiteY572" fmla="*/ 122492 h 800100"/>
                  <a:gd name="connsiteX573" fmla="*/ 857 w 828675"/>
                  <a:gd name="connsiteY573" fmla="*/ 124111 h 800100"/>
                  <a:gd name="connsiteX574" fmla="*/ 2477 w 828675"/>
                  <a:gd name="connsiteY574" fmla="*/ 124111 h 800100"/>
                  <a:gd name="connsiteX575" fmla="*/ 5048 w 828675"/>
                  <a:gd name="connsiteY575" fmla="*/ 124111 h 800100"/>
                  <a:gd name="connsiteX576" fmla="*/ 8477 w 828675"/>
                  <a:gd name="connsiteY576" fmla="*/ 124111 h 800100"/>
                  <a:gd name="connsiteX577" fmla="*/ 10192 w 828675"/>
                  <a:gd name="connsiteY577" fmla="*/ 124968 h 800100"/>
                  <a:gd name="connsiteX578" fmla="*/ 10192 w 828675"/>
                  <a:gd name="connsiteY578" fmla="*/ 126682 h 800100"/>
                  <a:gd name="connsiteX579" fmla="*/ 10192 w 828675"/>
                  <a:gd name="connsiteY579" fmla="*/ 127540 h 800100"/>
                  <a:gd name="connsiteX580" fmla="*/ 9335 w 828675"/>
                  <a:gd name="connsiteY580" fmla="*/ 128397 h 800100"/>
                  <a:gd name="connsiteX581" fmla="*/ 8477 w 828675"/>
                  <a:gd name="connsiteY581" fmla="*/ 130111 h 800100"/>
                  <a:gd name="connsiteX582" fmla="*/ 8477 w 828675"/>
                  <a:gd name="connsiteY582" fmla="*/ 130969 h 800100"/>
                  <a:gd name="connsiteX583" fmla="*/ 8477 w 828675"/>
                  <a:gd name="connsiteY583" fmla="*/ 134398 h 800100"/>
                  <a:gd name="connsiteX584" fmla="*/ 9335 w 828675"/>
                  <a:gd name="connsiteY584" fmla="*/ 135255 h 800100"/>
                  <a:gd name="connsiteX585" fmla="*/ 10192 w 828675"/>
                  <a:gd name="connsiteY585" fmla="*/ 136874 h 800100"/>
                  <a:gd name="connsiteX586" fmla="*/ 10192 w 828675"/>
                  <a:gd name="connsiteY586" fmla="*/ 137731 h 800100"/>
                  <a:gd name="connsiteX587" fmla="*/ 9335 w 828675"/>
                  <a:gd name="connsiteY587" fmla="*/ 139446 h 800100"/>
                  <a:gd name="connsiteX588" fmla="*/ 8477 w 828675"/>
                  <a:gd name="connsiteY588" fmla="*/ 141161 h 800100"/>
                  <a:gd name="connsiteX589" fmla="*/ 8477 w 828675"/>
                  <a:gd name="connsiteY589" fmla="*/ 142018 h 800100"/>
                  <a:gd name="connsiteX590" fmla="*/ 9335 w 828675"/>
                  <a:gd name="connsiteY590" fmla="*/ 161544 h 800100"/>
                  <a:gd name="connsiteX591" fmla="*/ 9335 w 828675"/>
                  <a:gd name="connsiteY591" fmla="*/ 162401 h 800100"/>
                  <a:gd name="connsiteX592" fmla="*/ 9335 w 828675"/>
                  <a:gd name="connsiteY592" fmla="*/ 162401 h 800100"/>
                  <a:gd name="connsiteX593" fmla="*/ 8477 w 828675"/>
                  <a:gd name="connsiteY593" fmla="*/ 162401 h 800100"/>
                  <a:gd name="connsiteX594" fmla="*/ 8477 w 828675"/>
                  <a:gd name="connsiteY594" fmla="*/ 163259 h 800100"/>
                  <a:gd name="connsiteX595" fmla="*/ 8477 w 828675"/>
                  <a:gd name="connsiteY595" fmla="*/ 164116 h 800100"/>
                  <a:gd name="connsiteX596" fmla="*/ 9335 w 828675"/>
                  <a:gd name="connsiteY596" fmla="*/ 164116 h 800100"/>
                  <a:gd name="connsiteX597" fmla="*/ 9335 w 828675"/>
                  <a:gd name="connsiteY597" fmla="*/ 164973 h 800100"/>
                  <a:gd name="connsiteX598" fmla="*/ 10192 w 828675"/>
                  <a:gd name="connsiteY598" fmla="*/ 164973 h 800100"/>
                  <a:gd name="connsiteX599" fmla="*/ 12668 w 828675"/>
                  <a:gd name="connsiteY599" fmla="*/ 173450 h 800100"/>
                  <a:gd name="connsiteX600" fmla="*/ 15240 w 828675"/>
                  <a:gd name="connsiteY600" fmla="*/ 177736 h 800100"/>
                  <a:gd name="connsiteX601" fmla="*/ 14383 w 828675"/>
                  <a:gd name="connsiteY601" fmla="*/ 179451 h 800100"/>
                  <a:gd name="connsiteX602" fmla="*/ 13526 w 828675"/>
                  <a:gd name="connsiteY602" fmla="*/ 180308 h 800100"/>
                  <a:gd name="connsiteX603" fmla="*/ 12668 w 828675"/>
                  <a:gd name="connsiteY603" fmla="*/ 182023 h 800100"/>
                  <a:gd name="connsiteX604" fmla="*/ 16097 w 828675"/>
                  <a:gd name="connsiteY604" fmla="*/ 185452 h 800100"/>
                  <a:gd name="connsiteX605" fmla="*/ 16954 w 828675"/>
                  <a:gd name="connsiteY605" fmla="*/ 186214 h 800100"/>
                  <a:gd name="connsiteX606" fmla="*/ 17812 w 828675"/>
                  <a:gd name="connsiteY606" fmla="*/ 187071 h 800100"/>
                  <a:gd name="connsiteX607" fmla="*/ 17812 w 828675"/>
                  <a:gd name="connsiteY607" fmla="*/ 188786 h 800100"/>
                  <a:gd name="connsiteX608" fmla="*/ 17812 w 828675"/>
                  <a:gd name="connsiteY608" fmla="*/ 189643 h 800100"/>
                  <a:gd name="connsiteX609" fmla="*/ 16954 w 828675"/>
                  <a:gd name="connsiteY609" fmla="*/ 190500 h 800100"/>
                  <a:gd name="connsiteX610" fmla="*/ 16097 w 828675"/>
                  <a:gd name="connsiteY610" fmla="*/ 193072 h 800100"/>
                  <a:gd name="connsiteX611" fmla="*/ 17812 w 828675"/>
                  <a:gd name="connsiteY611" fmla="*/ 197358 h 800100"/>
                  <a:gd name="connsiteX612" fmla="*/ 16097 w 828675"/>
                  <a:gd name="connsiteY612" fmla="*/ 199834 h 800100"/>
                  <a:gd name="connsiteX613" fmla="*/ 17812 w 828675"/>
                  <a:gd name="connsiteY613" fmla="*/ 202406 h 800100"/>
                  <a:gd name="connsiteX614" fmla="*/ 18669 w 828675"/>
                  <a:gd name="connsiteY614" fmla="*/ 204978 h 800100"/>
                  <a:gd name="connsiteX615" fmla="*/ 28004 w 828675"/>
                  <a:gd name="connsiteY615" fmla="*/ 212598 h 800100"/>
                  <a:gd name="connsiteX616" fmla="*/ 28004 w 828675"/>
                  <a:gd name="connsiteY616" fmla="*/ 214313 h 800100"/>
                  <a:gd name="connsiteX617" fmla="*/ 28766 w 828675"/>
                  <a:gd name="connsiteY617" fmla="*/ 216027 h 800100"/>
                  <a:gd name="connsiteX618" fmla="*/ 28766 w 828675"/>
                  <a:gd name="connsiteY618" fmla="*/ 216884 h 800100"/>
                  <a:gd name="connsiteX619" fmla="*/ 28766 w 828675"/>
                  <a:gd name="connsiteY619" fmla="*/ 217742 h 800100"/>
                  <a:gd name="connsiteX620" fmla="*/ 30480 w 828675"/>
                  <a:gd name="connsiteY620" fmla="*/ 222028 h 800100"/>
                  <a:gd name="connsiteX621" fmla="*/ 30480 w 828675"/>
                  <a:gd name="connsiteY621" fmla="*/ 223647 h 800100"/>
                  <a:gd name="connsiteX622" fmla="*/ 31337 w 828675"/>
                  <a:gd name="connsiteY622" fmla="*/ 224504 h 800100"/>
                  <a:gd name="connsiteX623" fmla="*/ 30480 w 828675"/>
                  <a:gd name="connsiteY623" fmla="*/ 225361 h 800100"/>
                  <a:gd name="connsiteX624" fmla="*/ 30480 w 828675"/>
                  <a:gd name="connsiteY624" fmla="*/ 226219 h 800100"/>
                  <a:gd name="connsiteX625" fmla="*/ 29623 w 828675"/>
                  <a:gd name="connsiteY625" fmla="*/ 227076 h 800100"/>
                  <a:gd name="connsiteX626" fmla="*/ 28004 w 828675"/>
                  <a:gd name="connsiteY626" fmla="*/ 228790 h 800100"/>
                  <a:gd name="connsiteX627" fmla="*/ 27146 w 828675"/>
                  <a:gd name="connsiteY627" fmla="*/ 229648 h 800100"/>
                  <a:gd name="connsiteX628" fmla="*/ 27146 w 828675"/>
                  <a:gd name="connsiteY628" fmla="*/ 230505 h 800100"/>
                  <a:gd name="connsiteX629" fmla="*/ 26289 w 828675"/>
                  <a:gd name="connsiteY629" fmla="*/ 232219 h 800100"/>
                  <a:gd name="connsiteX630" fmla="*/ 27146 w 828675"/>
                  <a:gd name="connsiteY630" fmla="*/ 233077 h 800100"/>
                  <a:gd name="connsiteX631" fmla="*/ 29623 w 828675"/>
                  <a:gd name="connsiteY631" fmla="*/ 238125 h 800100"/>
                  <a:gd name="connsiteX632" fmla="*/ 30480 w 828675"/>
                  <a:gd name="connsiteY632" fmla="*/ 239840 h 800100"/>
                  <a:gd name="connsiteX633" fmla="*/ 31337 w 828675"/>
                  <a:gd name="connsiteY633" fmla="*/ 240697 h 800100"/>
                  <a:gd name="connsiteX634" fmla="*/ 32195 w 828675"/>
                  <a:gd name="connsiteY634" fmla="*/ 241554 h 800100"/>
                  <a:gd name="connsiteX635" fmla="*/ 33909 w 828675"/>
                  <a:gd name="connsiteY635" fmla="*/ 241554 h 800100"/>
                  <a:gd name="connsiteX636" fmla="*/ 35624 w 828675"/>
                  <a:gd name="connsiteY636" fmla="*/ 242411 h 800100"/>
                  <a:gd name="connsiteX637" fmla="*/ 35624 w 828675"/>
                  <a:gd name="connsiteY637" fmla="*/ 244126 h 800100"/>
                  <a:gd name="connsiteX638" fmla="*/ 34766 w 828675"/>
                  <a:gd name="connsiteY638" fmla="*/ 245840 h 800100"/>
                  <a:gd name="connsiteX639" fmla="*/ 35624 w 828675"/>
                  <a:gd name="connsiteY639" fmla="*/ 245840 h 800100"/>
                  <a:gd name="connsiteX640" fmla="*/ 36481 w 828675"/>
                  <a:gd name="connsiteY640" fmla="*/ 245840 h 800100"/>
                  <a:gd name="connsiteX641" fmla="*/ 38100 w 828675"/>
                  <a:gd name="connsiteY641" fmla="*/ 244983 h 800100"/>
                  <a:gd name="connsiteX642" fmla="*/ 38957 w 828675"/>
                  <a:gd name="connsiteY642" fmla="*/ 244126 h 800100"/>
                  <a:gd name="connsiteX643" fmla="*/ 39815 w 828675"/>
                  <a:gd name="connsiteY643" fmla="*/ 244983 h 800100"/>
                  <a:gd name="connsiteX644" fmla="*/ 39815 w 828675"/>
                  <a:gd name="connsiteY644" fmla="*/ 245840 h 800100"/>
                  <a:gd name="connsiteX645" fmla="*/ 39815 w 828675"/>
                  <a:gd name="connsiteY645" fmla="*/ 246697 h 800100"/>
                  <a:gd name="connsiteX646" fmla="*/ 40672 w 828675"/>
                  <a:gd name="connsiteY646" fmla="*/ 247459 h 800100"/>
                  <a:gd name="connsiteX647" fmla="*/ 40672 w 828675"/>
                  <a:gd name="connsiteY647" fmla="*/ 248317 h 800100"/>
                  <a:gd name="connsiteX648" fmla="*/ 40672 w 828675"/>
                  <a:gd name="connsiteY648" fmla="*/ 249174 h 800100"/>
                  <a:gd name="connsiteX649" fmla="*/ 42386 w 828675"/>
                  <a:gd name="connsiteY649" fmla="*/ 250031 h 800100"/>
                  <a:gd name="connsiteX650" fmla="*/ 44101 w 828675"/>
                  <a:gd name="connsiteY650" fmla="*/ 248317 h 800100"/>
                  <a:gd name="connsiteX651" fmla="*/ 44958 w 828675"/>
                  <a:gd name="connsiteY651" fmla="*/ 248317 h 800100"/>
                  <a:gd name="connsiteX652" fmla="*/ 45720 w 828675"/>
                  <a:gd name="connsiteY652" fmla="*/ 250031 h 800100"/>
                  <a:gd name="connsiteX653" fmla="*/ 44958 w 828675"/>
                  <a:gd name="connsiteY653" fmla="*/ 253460 h 800100"/>
                  <a:gd name="connsiteX654" fmla="*/ 45720 w 828675"/>
                  <a:gd name="connsiteY654" fmla="*/ 254317 h 800100"/>
                  <a:gd name="connsiteX655" fmla="*/ 48292 w 828675"/>
                  <a:gd name="connsiteY655" fmla="*/ 254317 h 800100"/>
                  <a:gd name="connsiteX656" fmla="*/ 45720 w 828675"/>
                  <a:gd name="connsiteY656" fmla="*/ 260223 h 800100"/>
                  <a:gd name="connsiteX657" fmla="*/ 44958 w 828675"/>
                  <a:gd name="connsiteY657" fmla="*/ 263652 h 800100"/>
                  <a:gd name="connsiteX658" fmla="*/ 47435 w 828675"/>
                  <a:gd name="connsiteY658" fmla="*/ 266224 h 800100"/>
                  <a:gd name="connsiteX659" fmla="*/ 47435 w 828675"/>
                  <a:gd name="connsiteY659" fmla="*/ 267081 h 800100"/>
                  <a:gd name="connsiteX660" fmla="*/ 47435 w 828675"/>
                  <a:gd name="connsiteY660" fmla="*/ 268795 h 800100"/>
                  <a:gd name="connsiteX661" fmla="*/ 47435 w 828675"/>
                  <a:gd name="connsiteY661" fmla="*/ 270510 h 800100"/>
                  <a:gd name="connsiteX662" fmla="*/ 49149 w 828675"/>
                  <a:gd name="connsiteY662" fmla="*/ 271367 h 800100"/>
                  <a:gd name="connsiteX663" fmla="*/ 51721 w 828675"/>
                  <a:gd name="connsiteY663" fmla="*/ 271367 h 800100"/>
                  <a:gd name="connsiteX664" fmla="*/ 53435 w 828675"/>
                  <a:gd name="connsiteY664" fmla="*/ 272986 h 800100"/>
                  <a:gd name="connsiteX665" fmla="*/ 52578 w 828675"/>
                  <a:gd name="connsiteY665" fmla="*/ 272986 h 800100"/>
                  <a:gd name="connsiteX666" fmla="*/ 51721 w 828675"/>
                  <a:gd name="connsiteY666" fmla="*/ 272986 h 800100"/>
                  <a:gd name="connsiteX667" fmla="*/ 51721 w 828675"/>
                  <a:gd name="connsiteY667" fmla="*/ 273844 h 800100"/>
                  <a:gd name="connsiteX668" fmla="*/ 51721 w 828675"/>
                  <a:gd name="connsiteY668" fmla="*/ 274701 h 800100"/>
                  <a:gd name="connsiteX669" fmla="*/ 50864 w 828675"/>
                  <a:gd name="connsiteY669" fmla="*/ 275558 h 800100"/>
                  <a:gd name="connsiteX670" fmla="*/ 50006 w 828675"/>
                  <a:gd name="connsiteY670" fmla="*/ 276415 h 800100"/>
                  <a:gd name="connsiteX671" fmla="*/ 49149 w 828675"/>
                  <a:gd name="connsiteY671" fmla="*/ 277273 h 800100"/>
                  <a:gd name="connsiteX672" fmla="*/ 48292 w 828675"/>
                  <a:gd name="connsiteY672" fmla="*/ 277273 h 800100"/>
                  <a:gd name="connsiteX673" fmla="*/ 49149 w 828675"/>
                  <a:gd name="connsiteY673" fmla="*/ 278987 h 800100"/>
                  <a:gd name="connsiteX674" fmla="*/ 51721 w 828675"/>
                  <a:gd name="connsiteY674" fmla="*/ 278987 h 800100"/>
                  <a:gd name="connsiteX675" fmla="*/ 53435 w 828675"/>
                  <a:gd name="connsiteY675" fmla="*/ 280702 h 800100"/>
                  <a:gd name="connsiteX676" fmla="*/ 50006 w 828675"/>
                  <a:gd name="connsiteY676" fmla="*/ 281559 h 800100"/>
                  <a:gd name="connsiteX677" fmla="*/ 48292 w 828675"/>
                  <a:gd name="connsiteY677" fmla="*/ 284131 h 800100"/>
                  <a:gd name="connsiteX678" fmla="*/ 48292 w 828675"/>
                  <a:gd name="connsiteY678" fmla="*/ 287465 h 800100"/>
                  <a:gd name="connsiteX679" fmla="*/ 49149 w 828675"/>
                  <a:gd name="connsiteY679" fmla="*/ 291751 h 800100"/>
                  <a:gd name="connsiteX680" fmla="*/ 45720 w 828675"/>
                  <a:gd name="connsiteY680" fmla="*/ 289179 h 800100"/>
                  <a:gd name="connsiteX681" fmla="*/ 45720 w 828675"/>
                  <a:gd name="connsiteY681" fmla="*/ 290893 h 800100"/>
                  <a:gd name="connsiteX682" fmla="*/ 45720 w 828675"/>
                  <a:gd name="connsiteY682" fmla="*/ 294322 h 800100"/>
                  <a:gd name="connsiteX683" fmla="*/ 44958 w 828675"/>
                  <a:gd name="connsiteY683" fmla="*/ 297656 h 800100"/>
                  <a:gd name="connsiteX684" fmla="*/ 46577 w 828675"/>
                  <a:gd name="connsiteY684" fmla="*/ 298513 h 800100"/>
                  <a:gd name="connsiteX685" fmla="*/ 48292 w 828675"/>
                  <a:gd name="connsiteY685" fmla="*/ 299371 h 800100"/>
                  <a:gd name="connsiteX686" fmla="*/ 49149 w 828675"/>
                  <a:gd name="connsiteY686" fmla="*/ 300228 h 800100"/>
                  <a:gd name="connsiteX687" fmla="*/ 50006 w 828675"/>
                  <a:gd name="connsiteY687" fmla="*/ 303657 h 800100"/>
                  <a:gd name="connsiteX688" fmla="*/ 51721 w 828675"/>
                  <a:gd name="connsiteY688" fmla="*/ 306229 h 800100"/>
                  <a:gd name="connsiteX689" fmla="*/ 51721 w 828675"/>
                  <a:gd name="connsiteY689" fmla="*/ 308800 h 800100"/>
                  <a:gd name="connsiteX690" fmla="*/ 50006 w 828675"/>
                  <a:gd name="connsiteY690" fmla="*/ 310420 h 800100"/>
                  <a:gd name="connsiteX691" fmla="*/ 48292 w 828675"/>
                  <a:gd name="connsiteY691" fmla="*/ 312134 h 800100"/>
                  <a:gd name="connsiteX692" fmla="*/ 47435 w 828675"/>
                  <a:gd name="connsiteY692" fmla="*/ 312992 h 800100"/>
                  <a:gd name="connsiteX693" fmla="*/ 46577 w 828675"/>
                  <a:gd name="connsiteY693" fmla="*/ 315563 h 800100"/>
                  <a:gd name="connsiteX694" fmla="*/ 45720 w 828675"/>
                  <a:gd name="connsiteY694" fmla="*/ 317278 h 800100"/>
                  <a:gd name="connsiteX695" fmla="*/ 44101 w 828675"/>
                  <a:gd name="connsiteY695" fmla="*/ 317278 h 800100"/>
                  <a:gd name="connsiteX696" fmla="*/ 43244 w 828675"/>
                  <a:gd name="connsiteY696" fmla="*/ 317278 h 800100"/>
                  <a:gd name="connsiteX697" fmla="*/ 41529 w 828675"/>
                  <a:gd name="connsiteY697" fmla="*/ 316420 h 800100"/>
                  <a:gd name="connsiteX698" fmla="*/ 40672 w 828675"/>
                  <a:gd name="connsiteY698" fmla="*/ 317278 h 800100"/>
                  <a:gd name="connsiteX699" fmla="*/ 37243 w 828675"/>
                  <a:gd name="connsiteY699" fmla="*/ 319849 h 800100"/>
                  <a:gd name="connsiteX700" fmla="*/ 36481 w 828675"/>
                  <a:gd name="connsiteY700" fmla="*/ 320707 h 800100"/>
                  <a:gd name="connsiteX701" fmla="*/ 33052 w 828675"/>
                  <a:gd name="connsiteY701" fmla="*/ 321469 h 800100"/>
                  <a:gd name="connsiteX702" fmla="*/ 31337 w 828675"/>
                  <a:gd name="connsiteY702" fmla="*/ 322326 h 800100"/>
                  <a:gd name="connsiteX703" fmla="*/ 30480 w 828675"/>
                  <a:gd name="connsiteY703" fmla="*/ 323183 h 800100"/>
                  <a:gd name="connsiteX704" fmla="*/ 29623 w 828675"/>
                  <a:gd name="connsiteY704" fmla="*/ 323183 h 800100"/>
                  <a:gd name="connsiteX705" fmla="*/ 28766 w 828675"/>
                  <a:gd name="connsiteY705" fmla="*/ 323183 h 800100"/>
                  <a:gd name="connsiteX706" fmla="*/ 28004 w 828675"/>
                  <a:gd name="connsiteY706" fmla="*/ 324040 h 800100"/>
                  <a:gd name="connsiteX707" fmla="*/ 28004 w 828675"/>
                  <a:gd name="connsiteY707" fmla="*/ 324040 h 800100"/>
                  <a:gd name="connsiteX708" fmla="*/ 24575 w 828675"/>
                  <a:gd name="connsiteY708" fmla="*/ 326612 h 800100"/>
                  <a:gd name="connsiteX709" fmla="*/ 26289 w 828675"/>
                  <a:gd name="connsiteY709" fmla="*/ 331756 h 800100"/>
                  <a:gd name="connsiteX710" fmla="*/ 26289 w 828675"/>
                  <a:gd name="connsiteY710" fmla="*/ 335090 h 800100"/>
                  <a:gd name="connsiteX711" fmla="*/ 26289 w 828675"/>
                  <a:gd name="connsiteY711" fmla="*/ 337661 h 800100"/>
                  <a:gd name="connsiteX712" fmla="*/ 26289 w 828675"/>
                  <a:gd name="connsiteY712" fmla="*/ 338518 h 800100"/>
                  <a:gd name="connsiteX713" fmla="*/ 27146 w 828675"/>
                  <a:gd name="connsiteY713" fmla="*/ 339376 h 800100"/>
                  <a:gd name="connsiteX714" fmla="*/ 27146 w 828675"/>
                  <a:gd name="connsiteY714" fmla="*/ 339376 h 800100"/>
                  <a:gd name="connsiteX715" fmla="*/ 28004 w 828675"/>
                  <a:gd name="connsiteY715" fmla="*/ 339376 h 800100"/>
                  <a:gd name="connsiteX716" fmla="*/ 28766 w 828675"/>
                  <a:gd name="connsiteY716" fmla="*/ 339376 h 800100"/>
                  <a:gd name="connsiteX717" fmla="*/ 28766 w 828675"/>
                  <a:gd name="connsiteY717" fmla="*/ 340233 h 800100"/>
                  <a:gd name="connsiteX718" fmla="*/ 29623 w 828675"/>
                  <a:gd name="connsiteY718" fmla="*/ 341947 h 800100"/>
                  <a:gd name="connsiteX719" fmla="*/ 30480 w 828675"/>
                  <a:gd name="connsiteY719" fmla="*/ 344519 h 800100"/>
                  <a:gd name="connsiteX720" fmla="*/ 30480 w 828675"/>
                  <a:gd name="connsiteY720" fmla="*/ 346138 h 800100"/>
                  <a:gd name="connsiteX721" fmla="*/ 30480 w 828675"/>
                  <a:gd name="connsiteY721" fmla="*/ 346996 h 800100"/>
                  <a:gd name="connsiteX722" fmla="*/ 30480 w 828675"/>
                  <a:gd name="connsiteY722" fmla="*/ 347853 h 800100"/>
                  <a:gd name="connsiteX723" fmla="*/ 29623 w 828675"/>
                  <a:gd name="connsiteY723" fmla="*/ 348710 h 800100"/>
                  <a:gd name="connsiteX724" fmla="*/ 28766 w 828675"/>
                  <a:gd name="connsiteY724" fmla="*/ 349567 h 800100"/>
                  <a:gd name="connsiteX725" fmla="*/ 28766 w 828675"/>
                  <a:gd name="connsiteY725" fmla="*/ 350425 h 800100"/>
                  <a:gd name="connsiteX726" fmla="*/ 28766 w 828675"/>
                  <a:gd name="connsiteY726" fmla="*/ 351282 h 800100"/>
                  <a:gd name="connsiteX727" fmla="*/ 29623 w 828675"/>
                  <a:gd name="connsiteY727" fmla="*/ 351282 h 800100"/>
                  <a:gd name="connsiteX728" fmla="*/ 30480 w 828675"/>
                  <a:gd name="connsiteY728" fmla="*/ 352139 h 800100"/>
                  <a:gd name="connsiteX729" fmla="*/ 31337 w 828675"/>
                  <a:gd name="connsiteY729" fmla="*/ 352996 h 800100"/>
                  <a:gd name="connsiteX730" fmla="*/ 31337 w 828675"/>
                  <a:gd name="connsiteY730" fmla="*/ 353854 h 800100"/>
                  <a:gd name="connsiteX731" fmla="*/ 31337 w 828675"/>
                  <a:gd name="connsiteY731" fmla="*/ 354711 h 800100"/>
                  <a:gd name="connsiteX732" fmla="*/ 31337 w 828675"/>
                  <a:gd name="connsiteY732" fmla="*/ 355568 h 800100"/>
                  <a:gd name="connsiteX733" fmla="*/ 30480 w 828675"/>
                  <a:gd name="connsiteY733" fmla="*/ 358140 h 800100"/>
                  <a:gd name="connsiteX734" fmla="*/ 31337 w 828675"/>
                  <a:gd name="connsiteY734" fmla="*/ 358902 h 800100"/>
                  <a:gd name="connsiteX735" fmla="*/ 32195 w 828675"/>
                  <a:gd name="connsiteY735" fmla="*/ 360617 h 800100"/>
                  <a:gd name="connsiteX736" fmla="*/ 36481 w 828675"/>
                  <a:gd name="connsiteY736" fmla="*/ 365760 h 800100"/>
                  <a:gd name="connsiteX737" fmla="*/ 38100 w 828675"/>
                  <a:gd name="connsiteY737" fmla="*/ 369189 h 800100"/>
                  <a:gd name="connsiteX738" fmla="*/ 39815 w 828675"/>
                  <a:gd name="connsiteY738" fmla="*/ 370808 h 800100"/>
                  <a:gd name="connsiteX739" fmla="*/ 40672 w 828675"/>
                  <a:gd name="connsiteY739" fmla="*/ 375952 h 800100"/>
                  <a:gd name="connsiteX740" fmla="*/ 41529 w 828675"/>
                  <a:gd name="connsiteY740" fmla="*/ 376809 h 800100"/>
                  <a:gd name="connsiteX741" fmla="*/ 42386 w 828675"/>
                  <a:gd name="connsiteY741" fmla="*/ 378523 h 800100"/>
                  <a:gd name="connsiteX742" fmla="*/ 43244 w 828675"/>
                  <a:gd name="connsiteY742" fmla="*/ 379381 h 800100"/>
                  <a:gd name="connsiteX743" fmla="*/ 44101 w 828675"/>
                  <a:gd name="connsiteY743" fmla="*/ 379381 h 800100"/>
                  <a:gd name="connsiteX744" fmla="*/ 44958 w 828675"/>
                  <a:gd name="connsiteY744" fmla="*/ 380238 h 800100"/>
                  <a:gd name="connsiteX745" fmla="*/ 47435 w 828675"/>
                  <a:gd name="connsiteY745" fmla="*/ 380238 h 800100"/>
                  <a:gd name="connsiteX746" fmla="*/ 48292 w 828675"/>
                  <a:gd name="connsiteY746" fmla="*/ 380238 h 800100"/>
                  <a:gd name="connsiteX747" fmla="*/ 49149 w 828675"/>
                  <a:gd name="connsiteY747" fmla="*/ 381095 h 800100"/>
                  <a:gd name="connsiteX748" fmla="*/ 55054 w 828675"/>
                  <a:gd name="connsiteY748" fmla="*/ 385286 h 800100"/>
                  <a:gd name="connsiteX749" fmla="*/ 55912 w 828675"/>
                  <a:gd name="connsiteY749" fmla="*/ 386143 h 800100"/>
                  <a:gd name="connsiteX750" fmla="*/ 56769 w 828675"/>
                  <a:gd name="connsiteY750" fmla="*/ 386143 h 800100"/>
                  <a:gd name="connsiteX751" fmla="*/ 59341 w 828675"/>
                  <a:gd name="connsiteY751" fmla="*/ 386143 h 800100"/>
                  <a:gd name="connsiteX752" fmla="*/ 60198 w 828675"/>
                  <a:gd name="connsiteY752" fmla="*/ 387001 h 800100"/>
                  <a:gd name="connsiteX753" fmla="*/ 61055 w 828675"/>
                  <a:gd name="connsiteY753" fmla="*/ 387858 h 800100"/>
                  <a:gd name="connsiteX754" fmla="*/ 61055 w 828675"/>
                  <a:gd name="connsiteY754" fmla="*/ 387858 h 800100"/>
                  <a:gd name="connsiteX755" fmla="*/ 61055 w 828675"/>
                  <a:gd name="connsiteY755" fmla="*/ 389572 h 800100"/>
                  <a:gd name="connsiteX756" fmla="*/ 60198 w 828675"/>
                  <a:gd name="connsiteY756" fmla="*/ 390430 h 800100"/>
                  <a:gd name="connsiteX757" fmla="*/ 61055 w 828675"/>
                  <a:gd name="connsiteY757" fmla="*/ 393001 h 800100"/>
                  <a:gd name="connsiteX758" fmla="*/ 61913 w 828675"/>
                  <a:gd name="connsiteY758" fmla="*/ 393859 h 800100"/>
                  <a:gd name="connsiteX759" fmla="*/ 62675 w 828675"/>
                  <a:gd name="connsiteY759" fmla="*/ 395478 h 800100"/>
                  <a:gd name="connsiteX760" fmla="*/ 62675 w 828675"/>
                  <a:gd name="connsiteY760" fmla="*/ 397192 h 800100"/>
                  <a:gd name="connsiteX761" fmla="*/ 63532 w 828675"/>
                  <a:gd name="connsiteY761" fmla="*/ 399764 h 800100"/>
                  <a:gd name="connsiteX762" fmla="*/ 64389 w 828675"/>
                  <a:gd name="connsiteY762" fmla="*/ 400621 h 800100"/>
                  <a:gd name="connsiteX763" fmla="*/ 65246 w 828675"/>
                  <a:gd name="connsiteY763" fmla="*/ 400621 h 800100"/>
                  <a:gd name="connsiteX764" fmla="*/ 65246 w 828675"/>
                  <a:gd name="connsiteY764" fmla="*/ 400621 h 800100"/>
                  <a:gd name="connsiteX765" fmla="*/ 66104 w 828675"/>
                  <a:gd name="connsiteY765" fmla="*/ 402336 h 800100"/>
                  <a:gd name="connsiteX766" fmla="*/ 64389 w 828675"/>
                  <a:gd name="connsiteY766" fmla="*/ 405765 h 800100"/>
                  <a:gd name="connsiteX767" fmla="*/ 61913 w 828675"/>
                  <a:gd name="connsiteY767" fmla="*/ 406622 h 800100"/>
                  <a:gd name="connsiteX768" fmla="*/ 60198 w 828675"/>
                  <a:gd name="connsiteY768" fmla="*/ 407480 h 800100"/>
                  <a:gd name="connsiteX769" fmla="*/ 60198 w 828675"/>
                  <a:gd name="connsiteY769" fmla="*/ 408242 h 800100"/>
                  <a:gd name="connsiteX770" fmla="*/ 60198 w 828675"/>
                  <a:gd name="connsiteY770" fmla="*/ 409956 h 800100"/>
                  <a:gd name="connsiteX771" fmla="*/ 59341 w 828675"/>
                  <a:gd name="connsiteY771" fmla="*/ 411671 h 800100"/>
                  <a:gd name="connsiteX772" fmla="*/ 56769 w 828675"/>
                  <a:gd name="connsiteY772" fmla="*/ 412528 h 800100"/>
                  <a:gd name="connsiteX773" fmla="*/ 50006 w 828675"/>
                  <a:gd name="connsiteY773" fmla="*/ 414242 h 800100"/>
                  <a:gd name="connsiteX774" fmla="*/ 49149 w 828675"/>
                  <a:gd name="connsiteY774" fmla="*/ 414242 h 800100"/>
                  <a:gd name="connsiteX775" fmla="*/ 49149 w 828675"/>
                  <a:gd name="connsiteY775" fmla="*/ 415100 h 800100"/>
                  <a:gd name="connsiteX776" fmla="*/ 49149 w 828675"/>
                  <a:gd name="connsiteY776" fmla="*/ 415957 h 800100"/>
                  <a:gd name="connsiteX777" fmla="*/ 49149 w 828675"/>
                  <a:gd name="connsiteY777" fmla="*/ 416814 h 800100"/>
                  <a:gd name="connsiteX778" fmla="*/ 49149 w 828675"/>
                  <a:gd name="connsiteY778" fmla="*/ 416814 h 800100"/>
                  <a:gd name="connsiteX779" fmla="*/ 49149 w 828675"/>
                  <a:gd name="connsiteY779" fmla="*/ 417671 h 800100"/>
                  <a:gd name="connsiteX780" fmla="*/ 50006 w 828675"/>
                  <a:gd name="connsiteY780" fmla="*/ 418529 h 800100"/>
                  <a:gd name="connsiteX781" fmla="*/ 50006 w 828675"/>
                  <a:gd name="connsiteY781" fmla="*/ 418529 h 800100"/>
                  <a:gd name="connsiteX782" fmla="*/ 50864 w 828675"/>
                  <a:gd name="connsiteY782" fmla="*/ 418529 h 800100"/>
                  <a:gd name="connsiteX783" fmla="*/ 51721 w 828675"/>
                  <a:gd name="connsiteY783" fmla="*/ 418529 h 800100"/>
                  <a:gd name="connsiteX784" fmla="*/ 52578 w 828675"/>
                  <a:gd name="connsiteY784" fmla="*/ 418529 h 800100"/>
                  <a:gd name="connsiteX785" fmla="*/ 52578 w 828675"/>
                  <a:gd name="connsiteY785" fmla="*/ 419386 h 800100"/>
                  <a:gd name="connsiteX786" fmla="*/ 53435 w 828675"/>
                  <a:gd name="connsiteY786" fmla="*/ 421005 h 800100"/>
                  <a:gd name="connsiteX787" fmla="*/ 53435 w 828675"/>
                  <a:gd name="connsiteY787" fmla="*/ 421862 h 800100"/>
                  <a:gd name="connsiteX788" fmla="*/ 54197 w 828675"/>
                  <a:gd name="connsiteY788" fmla="*/ 422719 h 800100"/>
                  <a:gd name="connsiteX789" fmla="*/ 55054 w 828675"/>
                  <a:gd name="connsiteY789" fmla="*/ 422719 h 800100"/>
                  <a:gd name="connsiteX790" fmla="*/ 59341 w 828675"/>
                  <a:gd name="connsiteY790" fmla="*/ 423577 h 800100"/>
                  <a:gd name="connsiteX791" fmla="*/ 61913 w 828675"/>
                  <a:gd name="connsiteY791" fmla="*/ 423577 h 800100"/>
                  <a:gd name="connsiteX792" fmla="*/ 62675 w 828675"/>
                  <a:gd name="connsiteY792" fmla="*/ 423577 h 800100"/>
                  <a:gd name="connsiteX793" fmla="*/ 62675 w 828675"/>
                  <a:gd name="connsiteY793" fmla="*/ 423577 h 800100"/>
                  <a:gd name="connsiteX794" fmla="*/ 63532 w 828675"/>
                  <a:gd name="connsiteY794" fmla="*/ 422719 h 800100"/>
                  <a:gd name="connsiteX795" fmla="*/ 63532 w 828675"/>
                  <a:gd name="connsiteY795" fmla="*/ 421862 h 800100"/>
                  <a:gd name="connsiteX796" fmla="*/ 64389 w 828675"/>
                  <a:gd name="connsiteY796" fmla="*/ 421862 h 800100"/>
                  <a:gd name="connsiteX797" fmla="*/ 64389 w 828675"/>
                  <a:gd name="connsiteY797" fmla="*/ 421862 h 800100"/>
                  <a:gd name="connsiteX798" fmla="*/ 65246 w 828675"/>
                  <a:gd name="connsiteY798" fmla="*/ 421862 h 800100"/>
                  <a:gd name="connsiteX799" fmla="*/ 65246 w 828675"/>
                  <a:gd name="connsiteY799" fmla="*/ 422719 h 800100"/>
                  <a:gd name="connsiteX800" fmla="*/ 66961 w 828675"/>
                  <a:gd name="connsiteY800" fmla="*/ 426148 h 800100"/>
                  <a:gd name="connsiteX801" fmla="*/ 67818 w 828675"/>
                  <a:gd name="connsiteY801" fmla="*/ 427006 h 800100"/>
                  <a:gd name="connsiteX802" fmla="*/ 68675 w 828675"/>
                  <a:gd name="connsiteY802" fmla="*/ 427006 h 800100"/>
                  <a:gd name="connsiteX803" fmla="*/ 69533 w 828675"/>
                  <a:gd name="connsiteY803" fmla="*/ 427006 h 800100"/>
                  <a:gd name="connsiteX804" fmla="*/ 70390 w 828675"/>
                  <a:gd name="connsiteY804" fmla="*/ 425291 h 800100"/>
                  <a:gd name="connsiteX805" fmla="*/ 70390 w 828675"/>
                  <a:gd name="connsiteY805" fmla="*/ 425291 h 800100"/>
                  <a:gd name="connsiteX806" fmla="*/ 71152 w 828675"/>
                  <a:gd name="connsiteY806" fmla="*/ 424434 h 800100"/>
                  <a:gd name="connsiteX807" fmla="*/ 72009 w 828675"/>
                  <a:gd name="connsiteY807" fmla="*/ 424434 h 800100"/>
                  <a:gd name="connsiteX808" fmla="*/ 72866 w 828675"/>
                  <a:gd name="connsiteY808" fmla="*/ 424434 h 800100"/>
                  <a:gd name="connsiteX809" fmla="*/ 72866 w 828675"/>
                  <a:gd name="connsiteY809" fmla="*/ 425291 h 800100"/>
                  <a:gd name="connsiteX810" fmla="*/ 72866 w 828675"/>
                  <a:gd name="connsiteY810" fmla="*/ 427006 h 800100"/>
                  <a:gd name="connsiteX811" fmla="*/ 72009 w 828675"/>
                  <a:gd name="connsiteY811" fmla="*/ 427863 h 800100"/>
                  <a:gd name="connsiteX812" fmla="*/ 71152 w 828675"/>
                  <a:gd name="connsiteY812" fmla="*/ 428720 h 800100"/>
                  <a:gd name="connsiteX813" fmla="*/ 65246 w 828675"/>
                  <a:gd name="connsiteY813" fmla="*/ 430435 h 800100"/>
                  <a:gd name="connsiteX814" fmla="*/ 62675 w 828675"/>
                  <a:gd name="connsiteY814" fmla="*/ 431292 h 800100"/>
                  <a:gd name="connsiteX815" fmla="*/ 44958 w 828675"/>
                  <a:gd name="connsiteY815" fmla="*/ 439769 h 800100"/>
                  <a:gd name="connsiteX816" fmla="*/ 40672 w 828675"/>
                  <a:gd name="connsiteY816" fmla="*/ 442341 h 800100"/>
                  <a:gd name="connsiteX817" fmla="*/ 38957 w 828675"/>
                  <a:gd name="connsiteY817" fmla="*/ 443198 h 800100"/>
                  <a:gd name="connsiteX818" fmla="*/ 38100 w 828675"/>
                  <a:gd name="connsiteY818" fmla="*/ 444055 h 800100"/>
                  <a:gd name="connsiteX819" fmla="*/ 38100 w 828675"/>
                  <a:gd name="connsiteY819" fmla="*/ 445675 h 800100"/>
                  <a:gd name="connsiteX820" fmla="*/ 38100 w 828675"/>
                  <a:gd name="connsiteY820" fmla="*/ 446532 h 800100"/>
                  <a:gd name="connsiteX821" fmla="*/ 38100 w 828675"/>
                  <a:gd name="connsiteY821" fmla="*/ 448246 h 800100"/>
                  <a:gd name="connsiteX822" fmla="*/ 38100 w 828675"/>
                  <a:gd name="connsiteY822" fmla="*/ 450818 h 800100"/>
                  <a:gd name="connsiteX823" fmla="*/ 37243 w 828675"/>
                  <a:gd name="connsiteY823" fmla="*/ 453390 h 800100"/>
                  <a:gd name="connsiteX824" fmla="*/ 37243 w 828675"/>
                  <a:gd name="connsiteY824" fmla="*/ 454247 h 800100"/>
                  <a:gd name="connsiteX825" fmla="*/ 37243 w 828675"/>
                  <a:gd name="connsiteY825" fmla="*/ 455105 h 800100"/>
                  <a:gd name="connsiteX826" fmla="*/ 38957 w 828675"/>
                  <a:gd name="connsiteY826" fmla="*/ 455105 h 800100"/>
                  <a:gd name="connsiteX827" fmla="*/ 41529 w 828675"/>
                  <a:gd name="connsiteY827" fmla="*/ 455105 h 800100"/>
                  <a:gd name="connsiteX828" fmla="*/ 43244 w 828675"/>
                  <a:gd name="connsiteY828" fmla="*/ 452533 h 800100"/>
                  <a:gd name="connsiteX829" fmla="*/ 44101 w 828675"/>
                  <a:gd name="connsiteY829" fmla="*/ 451675 h 800100"/>
                  <a:gd name="connsiteX830" fmla="*/ 44958 w 828675"/>
                  <a:gd name="connsiteY830" fmla="*/ 448246 h 800100"/>
                  <a:gd name="connsiteX831" fmla="*/ 45720 w 828675"/>
                  <a:gd name="connsiteY831" fmla="*/ 447389 h 800100"/>
                  <a:gd name="connsiteX832" fmla="*/ 46577 w 828675"/>
                  <a:gd name="connsiteY832" fmla="*/ 447389 h 800100"/>
                  <a:gd name="connsiteX833" fmla="*/ 48292 w 828675"/>
                  <a:gd name="connsiteY833" fmla="*/ 448246 h 800100"/>
                  <a:gd name="connsiteX834" fmla="*/ 49149 w 828675"/>
                  <a:gd name="connsiteY834" fmla="*/ 448246 h 800100"/>
                  <a:gd name="connsiteX835" fmla="*/ 50006 w 828675"/>
                  <a:gd name="connsiteY835" fmla="*/ 448246 h 800100"/>
                  <a:gd name="connsiteX836" fmla="*/ 64389 w 828675"/>
                  <a:gd name="connsiteY836" fmla="*/ 442341 h 800100"/>
                  <a:gd name="connsiteX837" fmla="*/ 66961 w 828675"/>
                  <a:gd name="connsiteY837" fmla="*/ 440626 h 800100"/>
                  <a:gd name="connsiteX838" fmla="*/ 70390 w 828675"/>
                  <a:gd name="connsiteY838" fmla="*/ 437197 h 800100"/>
                  <a:gd name="connsiteX839" fmla="*/ 71152 w 828675"/>
                  <a:gd name="connsiteY839" fmla="*/ 436340 h 800100"/>
                  <a:gd name="connsiteX840" fmla="*/ 72866 w 828675"/>
                  <a:gd name="connsiteY840" fmla="*/ 435483 h 800100"/>
                  <a:gd name="connsiteX841" fmla="*/ 74581 w 828675"/>
                  <a:gd name="connsiteY841" fmla="*/ 435483 h 800100"/>
                  <a:gd name="connsiteX842" fmla="*/ 78010 w 828675"/>
                  <a:gd name="connsiteY842" fmla="*/ 436340 h 800100"/>
                  <a:gd name="connsiteX843" fmla="*/ 84773 w 828675"/>
                  <a:gd name="connsiteY843" fmla="*/ 438055 h 800100"/>
                  <a:gd name="connsiteX844" fmla="*/ 85630 w 828675"/>
                  <a:gd name="connsiteY844" fmla="*/ 438055 h 800100"/>
                  <a:gd name="connsiteX845" fmla="*/ 86487 w 828675"/>
                  <a:gd name="connsiteY845" fmla="*/ 438055 h 800100"/>
                  <a:gd name="connsiteX846" fmla="*/ 86487 w 828675"/>
                  <a:gd name="connsiteY846" fmla="*/ 438912 h 800100"/>
                  <a:gd name="connsiteX847" fmla="*/ 87344 w 828675"/>
                  <a:gd name="connsiteY847" fmla="*/ 438912 h 800100"/>
                  <a:gd name="connsiteX848" fmla="*/ 87344 w 828675"/>
                  <a:gd name="connsiteY848" fmla="*/ 439769 h 800100"/>
                  <a:gd name="connsiteX849" fmla="*/ 88202 w 828675"/>
                  <a:gd name="connsiteY849" fmla="*/ 439769 h 800100"/>
                  <a:gd name="connsiteX850" fmla="*/ 89821 w 828675"/>
                  <a:gd name="connsiteY850" fmla="*/ 438055 h 800100"/>
                  <a:gd name="connsiteX851" fmla="*/ 90678 w 828675"/>
                  <a:gd name="connsiteY851" fmla="*/ 438055 h 800100"/>
                  <a:gd name="connsiteX852" fmla="*/ 91535 w 828675"/>
                  <a:gd name="connsiteY852" fmla="*/ 438055 h 800100"/>
                  <a:gd name="connsiteX853" fmla="*/ 94964 w 828675"/>
                  <a:gd name="connsiteY853" fmla="*/ 438912 h 800100"/>
                  <a:gd name="connsiteX854" fmla="*/ 101727 w 828675"/>
                  <a:gd name="connsiteY854" fmla="*/ 439769 h 800100"/>
                  <a:gd name="connsiteX855" fmla="*/ 102584 w 828675"/>
                  <a:gd name="connsiteY855" fmla="*/ 439769 h 800100"/>
                  <a:gd name="connsiteX856" fmla="*/ 103442 w 828675"/>
                  <a:gd name="connsiteY856" fmla="*/ 440626 h 800100"/>
                  <a:gd name="connsiteX857" fmla="*/ 104299 w 828675"/>
                  <a:gd name="connsiteY857" fmla="*/ 441484 h 800100"/>
                  <a:gd name="connsiteX858" fmla="*/ 104299 w 828675"/>
                  <a:gd name="connsiteY858" fmla="*/ 442341 h 800100"/>
                  <a:gd name="connsiteX859" fmla="*/ 105156 w 828675"/>
                  <a:gd name="connsiteY859" fmla="*/ 443198 h 800100"/>
                  <a:gd name="connsiteX860" fmla="*/ 105156 w 828675"/>
                  <a:gd name="connsiteY860" fmla="*/ 444055 h 800100"/>
                  <a:gd name="connsiteX861" fmla="*/ 105918 w 828675"/>
                  <a:gd name="connsiteY861" fmla="*/ 444055 h 800100"/>
                  <a:gd name="connsiteX862" fmla="*/ 105918 w 828675"/>
                  <a:gd name="connsiteY862" fmla="*/ 444055 h 800100"/>
                  <a:gd name="connsiteX863" fmla="*/ 106775 w 828675"/>
                  <a:gd name="connsiteY863" fmla="*/ 443198 h 800100"/>
                  <a:gd name="connsiteX864" fmla="*/ 105918 w 828675"/>
                  <a:gd name="connsiteY864" fmla="*/ 440626 h 800100"/>
                  <a:gd name="connsiteX865" fmla="*/ 106775 w 828675"/>
                  <a:gd name="connsiteY865" fmla="*/ 439769 h 800100"/>
                  <a:gd name="connsiteX866" fmla="*/ 106775 w 828675"/>
                  <a:gd name="connsiteY866" fmla="*/ 439769 h 800100"/>
                  <a:gd name="connsiteX867" fmla="*/ 107633 w 828675"/>
                  <a:gd name="connsiteY867" fmla="*/ 438912 h 800100"/>
                  <a:gd name="connsiteX868" fmla="*/ 108490 w 828675"/>
                  <a:gd name="connsiteY868" fmla="*/ 438912 h 800100"/>
                  <a:gd name="connsiteX869" fmla="*/ 110204 w 828675"/>
                  <a:gd name="connsiteY869" fmla="*/ 438912 h 800100"/>
                  <a:gd name="connsiteX870" fmla="*/ 111062 w 828675"/>
                  <a:gd name="connsiteY870" fmla="*/ 438912 h 800100"/>
                  <a:gd name="connsiteX871" fmla="*/ 111919 w 828675"/>
                  <a:gd name="connsiteY871" fmla="*/ 438055 h 800100"/>
                  <a:gd name="connsiteX872" fmla="*/ 112776 w 828675"/>
                  <a:gd name="connsiteY872" fmla="*/ 437197 h 800100"/>
                  <a:gd name="connsiteX873" fmla="*/ 112776 w 828675"/>
                  <a:gd name="connsiteY873" fmla="*/ 436340 h 800100"/>
                  <a:gd name="connsiteX874" fmla="*/ 113633 w 828675"/>
                  <a:gd name="connsiteY874" fmla="*/ 435483 h 800100"/>
                  <a:gd name="connsiteX875" fmla="*/ 114395 w 828675"/>
                  <a:gd name="connsiteY875" fmla="*/ 434626 h 800100"/>
                  <a:gd name="connsiteX876" fmla="*/ 116110 w 828675"/>
                  <a:gd name="connsiteY876" fmla="*/ 433768 h 800100"/>
                  <a:gd name="connsiteX877" fmla="*/ 117824 w 828675"/>
                  <a:gd name="connsiteY877" fmla="*/ 433768 h 800100"/>
                  <a:gd name="connsiteX878" fmla="*/ 121253 w 828675"/>
                  <a:gd name="connsiteY878" fmla="*/ 433768 h 800100"/>
                  <a:gd name="connsiteX879" fmla="*/ 122873 w 828675"/>
                  <a:gd name="connsiteY879" fmla="*/ 433768 h 800100"/>
                  <a:gd name="connsiteX880" fmla="*/ 123730 w 828675"/>
                  <a:gd name="connsiteY880" fmla="*/ 433768 h 800100"/>
                  <a:gd name="connsiteX881" fmla="*/ 125444 w 828675"/>
                  <a:gd name="connsiteY881" fmla="*/ 434626 h 800100"/>
                  <a:gd name="connsiteX882" fmla="*/ 126302 w 828675"/>
                  <a:gd name="connsiteY882" fmla="*/ 434626 h 800100"/>
                  <a:gd name="connsiteX883" fmla="*/ 128873 w 828675"/>
                  <a:gd name="connsiteY883" fmla="*/ 435483 h 800100"/>
                  <a:gd name="connsiteX884" fmla="*/ 129731 w 828675"/>
                  <a:gd name="connsiteY884" fmla="*/ 435483 h 800100"/>
                  <a:gd name="connsiteX885" fmla="*/ 130588 w 828675"/>
                  <a:gd name="connsiteY885" fmla="*/ 436340 h 800100"/>
                  <a:gd name="connsiteX886" fmla="*/ 131350 w 828675"/>
                  <a:gd name="connsiteY886" fmla="*/ 436340 h 800100"/>
                  <a:gd name="connsiteX887" fmla="*/ 131350 w 828675"/>
                  <a:gd name="connsiteY887" fmla="*/ 437197 h 800100"/>
                  <a:gd name="connsiteX888" fmla="*/ 131350 w 828675"/>
                  <a:gd name="connsiteY888" fmla="*/ 438055 h 800100"/>
                  <a:gd name="connsiteX889" fmla="*/ 130588 w 828675"/>
                  <a:gd name="connsiteY889" fmla="*/ 438912 h 800100"/>
                  <a:gd name="connsiteX890" fmla="*/ 127159 w 828675"/>
                  <a:gd name="connsiteY890" fmla="*/ 442341 h 800100"/>
                  <a:gd name="connsiteX891" fmla="*/ 126302 w 828675"/>
                  <a:gd name="connsiteY891" fmla="*/ 443198 h 800100"/>
                  <a:gd name="connsiteX892" fmla="*/ 124587 w 828675"/>
                  <a:gd name="connsiteY892" fmla="*/ 443198 h 800100"/>
                  <a:gd name="connsiteX893" fmla="*/ 123730 w 828675"/>
                  <a:gd name="connsiteY893" fmla="*/ 443198 h 800100"/>
                  <a:gd name="connsiteX894" fmla="*/ 123730 w 828675"/>
                  <a:gd name="connsiteY894" fmla="*/ 443198 h 800100"/>
                  <a:gd name="connsiteX895" fmla="*/ 122873 w 828675"/>
                  <a:gd name="connsiteY895" fmla="*/ 444055 h 800100"/>
                  <a:gd name="connsiteX896" fmla="*/ 122873 w 828675"/>
                  <a:gd name="connsiteY896" fmla="*/ 444817 h 800100"/>
                  <a:gd name="connsiteX897" fmla="*/ 123730 w 828675"/>
                  <a:gd name="connsiteY897" fmla="*/ 444817 h 800100"/>
                  <a:gd name="connsiteX898" fmla="*/ 124587 w 828675"/>
                  <a:gd name="connsiteY898" fmla="*/ 446532 h 800100"/>
                  <a:gd name="connsiteX899" fmla="*/ 125444 w 828675"/>
                  <a:gd name="connsiteY899" fmla="*/ 447389 h 800100"/>
                  <a:gd name="connsiteX900" fmla="*/ 126302 w 828675"/>
                  <a:gd name="connsiteY900" fmla="*/ 448246 h 800100"/>
                  <a:gd name="connsiteX901" fmla="*/ 126302 w 828675"/>
                  <a:gd name="connsiteY901" fmla="*/ 449104 h 800100"/>
                  <a:gd name="connsiteX902" fmla="*/ 128016 w 828675"/>
                  <a:gd name="connsiteY902" fmla="*/ 449104 h 800100"/>
                  <a:gd name="connsiteX903" fmla="*/ 129731 w 828675"/>
                  <a:gd name="connsiteY903" fmla="*/ 449961 h 800100"/>
                  <a:gd name="connsiteX904" fmla="*/ 132207 w 828675"/>
                  <a:gd name="connsiteY904" fmla="*/ 449961 h 800100"/>
                  <a:gd name="connsiteX905" fmla="*/ 132207 w 828675"/>
                  <a:gd name="connsiteY905" fmla="*/ 449961 h 800100"/>
                  <a:gd name="connsiteX906" fmla="*/ 133922 w 828675"/>
                  <a:gd name="connsiteY906" fmla="*/ 446532 h 800100"/>
                  <a:gd name="connsiteX907" fmla="*/ 134779 w 828675"/>
                  <a:gd name="connsiteY907" fmla="*/ 445675 h 800100"/>
                  <a:gd name="connsiteX908" fmla="*/ 135636 w 828675"/>
                  <a:gd name="connsiteY908" fmla="*/ 445675 h 800100"/>
                  <a:gd name="connsiteX909" fmla="*/ 139922 w 828675"/>
                  <a:gd name="connsiteY909" fmla="*/ 444817 h 800100"/>
                  <a:gd name="connsiteX910" fmla="*/ 143256 w 828675"/>
                  <a:gd name="connsiteY910" fmla="*/ 444817 h 800100"/>
                  <a:gd name="connsiteX911" fmla="*/ 144971 w 828675"/>
                  <a:gd name="connsiteY911" fmla="*/ 445675 h 800100"/>
                  <a:gd name="connsiteX912" fmla="*/ 146685 w 828675"/>
                  <a:gd name="connsiteY912" fmla="*/ 449104 h 800100"/>
                  <a:gd name="connsiteX913" fmla="*/ 147542 w 828675"/>
                  <a:gd name="connsiteY913" fmla="*/ 449104 h 800100"/>
                  <a:gd name="connsiteX914" fmla="*/ 150019 w 828675"/>
                  <a:gd name="connsiteY914" fmla="*/ 449104 h 800100"/>
                  <a:gd name="connsiteX915" fmla="*/ 151733 w 828675"/>
                  <a:gd name="connsiteY915" fmla="*/ 449961 h 800100"/>
                  <a:gd name="connsiteX916" fmla="*/ 151733 w 828675"/>
                  <a:gd name="connsiteY916" fmla="*/ 449961 h 800100"/>
                  <a:gd name="connsiteX917" fmla="*/ 152591 w 828675"/>
                  <a:gd name="connsiteY917" fmla="*/ 451675 h 800100"/>
                  <a:gd name="connsiteX918" fmla="*/ 153448 w 828675"/>
                  <a:gd name="connsiteY918" fmla="*/ 452533 h 800100"/>
                  <a:gd name="connsiteX919" fmla="*/ 155162 w 828675"/>
                  <a:gd name="connsiteY919" fmla="*/ 453390 h 800100"/>
                  <a:gd name="connsiteX920" fmla="*/ 159353 w 828675"/>
                  <a:gd name="connsiteY920" fmla="*/ 454247 h 800100"/>
                  <a:gd name="connsiteX921" fmla="*/ 161068 w 828675"/>
                  <a:gd name="connsiteY921" fmla="*/ 454247 h 800100"/>
                  <a:gd name="connsiteX922" fmla="*/ 166116 w 828675"/>
                  <a:gd name="connsiteY922" fmla="*/ 457581 h 800100"/>
                  <a:gd name="connsiteX923" fmla="*/ 168688 w 828675"/>
                  <a:gd name="connsiteY923" fmla="*/ 457581 h 800100"/>
                  <a:gd name="connsiteX924" fmla="*/ 169545 w 828675"/>
                  <a:gd name="connsiteY924" fmla="*/ 457581 h 800100"/>
                  <a:gd name="connsiteX925" fmla="*/ 170402 w 828675"/>
                  <a:gd name="connsiteY925" fmla="*/ 456819 h 800100"/>
                  <a:gd name="connsiteX926" fmla="*/ 171260 w 828675"/>
                  <a:gd name="connsiteY926" fmla="*/ 455962 h 800100"/>
                  <a:gd name="connsiteX927" fmla="*/ 172117 w 828675"/>
                  <a:gd name="connsiteY927" fmla="*/ 455105 h 800100"/>
                  <a:gd name="connsiteX928" fmla="*/ 172974 w 828675"/>
                  <a:gd name="connsiteY928" fmla="*/ 455105 h 800100"/>
                  <a:gd name="connsiteX929" fmla="*/ 175451 w 828675"/>
                  <a:gd name="connsiteY929" fmla="*/ 455105 h 800100"/>
                  <a:gd name="connsiteX930" fmla="*/ 176308 w 828675"/>
                  <a:gd name="connsiteY930" fmla="*/ 455105 h 800100"/>
                  <a:gd name="connsiteX931" fmla="*/ 180594 w 828675"/>
                  <a:gd name="connsiteY931" fmla="*/ 452533 h 800100"/>
                  <a:gd name="connsiteX932" fmla="*/ 182309 w 828675"/>
                  <a:gd name="connsiteY932" fmla="*/ 452533 h 800100"/>
                  <a:gd name="connsiteX933" fmla="*/ 183928 w 828675"/>
                  <a:gd name="connsiteY933" fmla="*/ 455105 h 800100"/>
                  <a:gd name="connsiteX934" fmla="*/ 184785 w 828675"/>
                  <a:gd name="connsiteY934" fmla="*/ 454247 h 800100"/>
                  <a:gd name="connsiteX935" fmla="*/ 186500 w 828675"/>
                  <a:gd name="connsiteY935" fmla="*/ 453390 h 800100"/>
                  <a:gd name="connsiteX936" fmla="*/ 187357 w 828675"/>
                  <a:gd name="connsiteY936" fmla="*/ 454247 h 800100"/>
                  <a:gd name="connsiteX937" fmla="*/ 188214 w 828675"/>
                  <a:gd name="connsiteY937" fmla="*/ 455962 h 800100"/>
                  <a:gd name="connsiteX938" fmla="*/ 188214 w 828675"/>
                  <a:gd name="connsiteY938" fmla="*/ 456819 h 800100"/>
                  <a:gd name="connsiteX939" fmla="*/ 189071 w 828675"/>
                  <a:gd name="connsiteY939" fmla="*/ 456819 h 800100"/>
                  <a:gd name="connsiteX940" fmla="*/ 190786 w 828675"/>
                  <a:gd name="connsiteY940" fmla="*/ 456819 h 800100"/>
                  <a:gd name="connsiteX941" fmla="*/ 191548 w 828675"/>
                  <a:gd name="connsiteY941" fmla="*/ 456819 h 800100"/>
                  <a:gd name="connsiteX942" fmla="*/ 194120 w 828675"/>
                  <a:gd name="connsiteY942" fmla="*/ 458438 h 800100"/>
                  <a:gd name="connsiteX943" fmla="*/ 197549 w 828675"/>
                  <a:gd name="connsiteY943" fmla="*/ 463582 h 800100"/>
                  <a:gd name="connsiteX944" fmla="*/ 199263 w 828675"/>
                  <a:gd name="connsiteY944" fmla="*/ 464439 h 800100"/>
                  <a:gd name="connsiteX945" fmla="*/ 200120 w 828675"/>
                  <a:gd name="connsiteY945" fmla="*/ 464439 h 800100"/>
                  <a:gd name="connsiteX946" fmla="*/ 204311 w 828675"/>
                  <a:gd name="connsiteY946" fmla="*/ 463582 h 800100"/>
                  <a:gd name="connsiteX947" fmla="*/ 206026 w 828675"/>
                  <a:gd name="connsiteY947" fmla="*/ 463582 h 800100"/>
                  <a:gd name="connsiteX948" fmla="*/ 206026 w 828675"/>
                  <a:gd name="connsiteY948" fmla="*/ 463582 h 800100"/>
                  <a:gd name="connsiteX949" fmla="*/ 207740 w 828675"/>
                  <a:gd name="connsiteY949" fmla="*/ 465296 h 800100"/>
                  <a:gd name="connsiteX950" fmla="*/ 207740 w 828675"/>
                  <a:gd name="connsiteY950" fmla="*/ 466154 h 800100"/>
                  <a:gd name="connsiteX951" fmla="*/ 207740 w 828675"/>
                  <a:gd name="connsiteY951" fmla="*/ 467868 h 800100"/>
                  <a:gd name="connsiteX952" fmla="*/ 207740 w 828675"/>
                  <a:gd name="connsiteY952" fmla="*/ 467868 h 800100"/>
                  <a:gd name="connsiteX953" fmla="*/ 207740 w 828675"/>
                  <a:gd name="connsiteY953" fmla="*/ 468725 h 800100"/>
                  <a:gd name="connsiteX954" fmla="*/ 208598 w 828675"/>
                  <a:gd name="connsiteY954" fmla="*/ 472916 h 800100"/>
                  <a:gd name="connsiteX955" fmla="*/ 210217 w 828675"/>
                  <a:gd name="connsiteY955" fmla="*/ 477202 h 800100"/>
                  <a:gd name="connsiteX956" fmla="*/ 211931 w 828675"/>
                  <a:gd name="connsiteY956" fmla="*/ 480631 h 800100"/>
                  <a:gd name="connsiteX957" fmla="*/ 217837 w 828675"/>
                  <a:gd name="connsiteY957" fmla="*/ 489966 h 800100"/>
                  <a:gd name="connsiteX958" fmla="*/ 218694 w 828675"/>
                  <a:gd name="connsiteY958" fmla="*/ 493395 h 800100"/>
                  <a:gd name="connsiteX959" fmla="*/ 219551 w 828675"/>
                  <a:gd name="connsiteY959" fmla="*/ 496729 h 800100"/>
                  <a:gd name="connsiteX960" fmla="*/ 220409 w 828675"/>
                  <a:gd name="connsiteY960" fmla="*/ 500158 h 800100"/>
                  <a:gd name="connsiteX961" fmla="*/ 218694 w 828675"/>
                  <a:gd name="connsiteY961" fmla="*/ 504444 h 800100"/>
                  <a:gd name="connsiteX962" fmla="*/ 219551 w 828675"/>
                  <a:gd name="connsiteY962" fmla="*/ 506159 h 800100"/>
                  <a:gd name="connsiteX963" fmla="*/ 220409 w 828675"/>
                  <a:gd name="connsiteY963" fmla="*/ 506159 h 800100"/>
                  <a:gd name="connsiteX964" fmla="*/ 221266 w 828675"/>
                  <a:gd name="connsiteY964" fmla="*/ 506921 h 800100"/>
                  <a:gd name="connsiteX965" fmla="*/ 221266 w 828675"/>
                  <a:gd name="connsiteY965" fmla="*/ 506921 h 800100"/>
                  <a:gd name="connsiteX966" fmla="*/ 221266 w 828675"/>
                  <a:gd name="connsiteY966" fmla="*/ 507778 h 800100"/>
                  <a:gd name="connsiteX967" fmla="*/ 221266 w 828675"/>
                  <a:gd name="connsiteY967" fmla="*/ 508635 h 800100"/>
                  <a:gd name="connsiteX968" fmla="*/ 218694 w 828675"/>
                  <a:gd name="connsiteY968" fmla="*/ 512921 h 800100"/>
                  <a:gd name="connsiteX969" fmla="*/ 217837 w 828675"/>
                  <a:gd name="connsiteY969" fmla="*/ 513779 h 800100"/>
                  <a:gd name="connsiteX970" fmla="*/ 217075 w 828675"/>
                  <a:gd name="connsiteY970" fmla="*/ 514636 h 800100"/>
                  <a:gd name="connsiteX971" fmla="*/ 215360 w 828675"/>
                  <a:gd name="connsiteY971" fmla="*/ 515493 h 800100"/>
                  <a:gd name="connsiteX972" fmla="*/ 212789 w 828675"/>
                  <a:gd name="connsiteY972" fmla="*/ 516350 h 800100"/>
                  <a:gd name="connsiteX973" fmla="*/ 211074 w 828675"/>
                  <a:gd name="connsiteY973" fmla="*/ 516350 h 800100"/>
                  <a:gd name="connsiteX974" fmla="*/ 210217 w 828675"/>
                  <a:gd name="connsiteY974" fmla="*/ 517208 h 800100"/>
                  <a:gd name="connsiteX975" fmla="*/ 209360 w 828675"/>
                  <a:gd name="connsiteY975" fmla="*/ 517208 h 800100"/>
                  <a:gd name="connsiteX976" fmla="*/ 208598 w 828675"/>
                  <a:gd name="connsiteY976" fmla="*/ 518827 h 800100"/>
                  <a:gd name="connsiteX977" fmla="*/ 207740 w 828675"/>
                  <a:gd name="connsiteY977" fmla="*/ 519684 h 800100"/>
                  <a:gd name="connsiteX978" fmla="*/ 207740 w 828675"/>
                  <a:gd name="connsiteY978" fmla="*/ 520541 h 800100"/>
                  <a:gd name="connsiteX979" fmla="*/ 207740 w 828675"/>
                  <a:gd name="connsiteY979" fmla="*/ 522256 h 800100"/>
                  <a:gd name="connsiteX980" fmla="*/ 208598 w 828675"/>
                  <a:gd name="connsiteY980" fmla="*/ 523970 h 800100"/>
                  <a:gd name="connsiteX981" fmla="*/ 209360 w 828675"/>
                  <a:gd name="connsiteY981" fmla="*/ 525685 h 800100"/>
                  <a:gd name="connsiteX982" fmla="*/ 209360 w 828675"/>
                  <a:gd name="connsiteY982" fmla="*/ 526542 h 800100"/>
                  <a:gd name="connsiteX983" fmla="*/ 209360 w 828675"/>
                  <a:gd name="connsiteY983" fmla="*/ 527399 h 800100"/>
                  <a:gd name="connsiteX984" fmla="*/ 208598 w 828675"/>
                  <a:gd name="connsiteY984" fmla="*/ 528256 h 800100"/>
                  <a:gd name="connsiteX985" fmla="*/ 206883 w 828675"/>
                  <a:gd name="connsiteY985" fmla="*/ 529114 h 800100"/>
                  <a:gd name="connsiteX986" fmla="*/ 206026 w 828675"/>
                  <a:gd name="connsiteY986" fmla="*/ 529971 h 800100"/>
                  <a:gd name="connsiteX987" fmla="*/ 205169 w 828675"/>
                  <a:gd name="connsiteY987" fmla="*/ 530828 h 800100"/>
                  <a:gd name="connsiteX988" fmla="*/ 206026 w 828675"/>
                  <a:gd name="connsiteY988" fmla="*/ 533305 h 800100"/>
                  <a:gd name="connsiteX989" fmla="*/ 206026 w 828675"/>
                  <a:gd name="connsiteY989" fmla="*/ 534162 h 800100"/>
                  <a:gd name="connsiteX990" fmla="*/ 206883 w 828675"/>
                  <a:gd name="connsiteY990" fmla="*/ 535876 h 800100"/>
                  <a:gd name="connsiteX991" fmla="*/ 208598 w 828675"/>
                  <a:gd name="connsiteY991" fmla="*/ 536734 h 800100"/>
                  <a:gd name="connsiteX992" fmla="*/ 209360 w 828675"/>
                  <a:gd name="connsiteY992" fmla="*/ 537591 h 800100"/>
                  <a:gd name="connsiteX993" fmla="*/ 209360 w 828675"/>
                  <a:gd name="connsiteY993" fmla="*/ 538448 h 800100"/>
                  <a:gd name="connsiteX994" fmla="*/ 208598 w 828675"/>
                  <a:gd name="connsiteY994" fmla="*/ 540163 h 800100"/>
                  <a:gd name="connsiteX995" fmla="*/ 205169 w 828675"/>
                  <a:gd name="connsiteY995" fmla="*/ 545211 h 800100"/>
                  <a:gd name="connsiteX996" fmla="*/ 202597 w 828675"/>
                  <a:gd name="connsiteY996" fmla="*/ 551212 h 800100"/>
                  <a:gd name="connsiteX997" fmla="*/ 202597 w 828675"/>
                  <a:gd name="connsiteY997" fmla="*/ 553784 h 800100"/>
                  <a:gd name="connsiteX998" fmla="*/ 201740 w 828675"/>
                  <a:gd name="connsiteY998" fmla="*/ 554641 h 800100"/>
                  <a:gd name="connsiteX999" fmla="*/ 201740 w 828675"/>
                  <a:gd name="connsiteY999" fmla="*/ 556260 h 800100"/>
                  <a:gd name="connsiteX1000" fmla="*/ 196691 w 828675"/>
                  <a:gd name="connsiteY1000" fmla="*/ 562261 h 800100"/>
                  <a:gd name="connsiteX1001" fmla="*/ 194977 w 828675"/>
                  <a:gd name="connsiteY1001" fmla="*/ 565690 h 800100"/>
                  <a:gd name="connsiteX1002" fmla="*/ 193262 w 828675"/>
                  <a:gd name="connsiteY1002" fmla="*/ 570738 h 800100"/>
                  <a:gd name="connsiteX1003" fmla="*/ 191548 w 828675"/>
                  <a:gd name="connsiteY1003" fmla="*/ 572452 h 800100"/>
                  <a:gd name="connsiteX1004" fmla="*/ 189929 w 828675"/>
                  <a:gd name="connsiteY1004" fmla="*/ 573310 h 800100"/>
                  <a:gd name="connsiteX1005" fmla="*/ 188214 w 828675"/>
                  <a:gd name="connsiteY1005" fmla="*/ 574167 h 800100"/>
                  <a:gd name="connsiteX1006" fmla="*/ 186500 w 828675"/>
                  <a:gd name="connsiteY1006" fmla="*/ 575024 h 800100"/>
                  <a:gd name="connsiteX1007" fmla="*/ 185642 w 828675"/>
                  <a:gd name="connsiteY1007" fmla="*/ 576739 h 800100"/>
                  <a:gd name="connsiteX1008" fmla="*/ 184785 w 828675"/>
                  <a:gd name="connsiteY1008" fmla="*/ 578453 h 800100"/>
                  <a:gd name="connsiteX1009" fmla="*/ 184785 w 828675"/>
                  <a:gd name="connsiteY1009" fmla="*/ 580168 h 800100"/>
                  <a:gd name="connsiteX1010" fmla="*/ 184785 w 828675"/>
                  <a:gd name="connsiteY1010" fmla="*/ 580930 h 800100"/>
                  <a:gd name="connsiteX1011" fmla="*/ 184785 w 828675"/>
                  <a:gd name="connsiteY1011" fmla="*/ 582644 h 800100"/>
                  <a:gd name="connsiteX1012" fmla="*/ 184785 w 828675"/>
                  <a:gd name="connsiteY1012" fmla="*/ 584359 h 800100"/>
                  <a:gd name="connsiteX1013" fmla="*/ 184785 w 828675"/>
                  <a:gd name="connsiteY1013" fmla="*/ 585216 h 800100"/>
                  <a:gd name="connsiteX1014" fmla="*/ 186500 w 828675"/>
                  <a:gd name="connsiteY1014" fmla="*/ 587788 h 800100"/>
                  <a:gd name="connsiteX1015" fmla="*/ 187357 w 828675"/>
                  <a:gd name="connsiteY1015" fmla="*/ 589502 h 800100"/>
                  <a:gd name="connsiteX1016" fmla="*/ 187357 w 828675"/>
                  <a:gd name="connsiteY1016" fmla="*/ 590359 h 800100"/>
                  <a:gd name="connsiteX1017" fmla="*/ 187357 w 828675"/>
                  <a:gd name="connsiteY1017" fmla="*/ 592074 h 800100"/>
                  <a:gd name="connsiteX1018" fmla="*/ 187357 w 828675"/>
                  <a:gd name="connsiteY1018" fmla="*/ 592931 h 800100"/>
                  <a:gd name="connsiteX1019" fmla="*/ 187357 w 828675"/>
                  <a:gd name="connsiteY1019" fmla="*/ 592931 h 800100"/>
                  <a:gd name="connsiteX1020" fmla="*/ 187357 w 828675"/>
                  <a:gd name="connsiteY1020" fmla="*/ 593693 h 800100"/>
                  <a:gd name="connsiteX1021" fmla="*/ 186500 w 828675"/>
                  <a:gd name="connsiteY1021" fmla="*/ 594551 h 800100"/>
                  <a:gd name="connsiteX1022" fmla="*/ 183071 w 828675"/>
                  <a:gd name="connsiteY1022" fmla="*/ 597122 h 800100"/>
                  <a:gd name="connsiteX1023" fmla="*/ 172117 w 828675"/>
                  <a:gd name="connsiteY1023" fmla="*/ 598837 h 800100"/>
                  <a:gd name="connsiteX1024" fmla="*/ 168688 w 828675"/>
                  <a:gd name="connsiteY1024" fmla="*/ 601409 h 800100"/>
                  <a:gd name="connsiteX1025" fmla="*/ 166973 w 828675"/>
                  <a:gd name="connsiteY1025" fmla="*/ 602266 h 800100"/>
                  <a:gd name="connsiteX1026" fmla="*/ 166116 w 828675"/>
                  <a:gd name="connsiteY1026" fmla="*/ 603123 h 800100"/>
                  <a:gd name="connsiteX1027" fmla="*/ 164497 w 828675"/>
                  <a:gd name="connsiteY1027" fmla="*/ 603123 h 800100"/>
                  <a:gd name="connsiteX1028" fmla="*/ 161925 w 828675"/>
                  <a:gd name="connsiteY1028" fmla="*/ 603123 h 800100"/>
                  <a:gd name="connsiteX1029" fmla="*/ 158496 w 828675"/>
                  <a:gd name="connsiteY1029" fmla="*/ 602266 h 800100"/>
                  <a:gd name="connsiteX1030" fmla="*/ 157639 w 828675"/>
                  <a:gd name="connsiteY1030" fmla="*/ 602266 h 800100"/>
                  <a:gd name="connsiteX1031" fmla="*/ 155162 w 828675"/>
                  <a:gd name="connsiteY1031" fmla="*/ 603123 h 800100"/>
                  <a:gd name="connsiteX1032" fmla="*/ 144971 w 828675"/>
                  <a:gd name="connsiteY1032" fmla="*/ 605600 h 800100"/>
                  <a:gd name="connsiteX1033" fmla="*/ 143256 w 828675"/>
                  <a:gd name="connsiteY1033" fmla="*/ 607314 h 800100"/>
                  <a:gd name="connsiteX1034" fmla="*/ 142399 w 828675"/>
                  <a:gd name="connsiteY1034" fmla="*/ 614172 h 800100"/>
                  <a:gd name="connsiteX1035" fmla="*/ 140684 w 828675"/>
                  <a:gd name="connsiteY1035" fmla="*/ 616744 h 800100"/>
                  <a:gd name="connsiteX1036" fmla="*/ 133064 w 828675"/>
                  <a:gd name="connsiteY1036" fmla="*/ 622649 h 800100"/>
                  <a:gd name="connsiteX1037" fmla="*/ 132207 w 828675"/>
                  <a:gd name="connsiteY1037" fmla="*/ 623506 h 800100"/>
                  <a:gd name="connsiteX1038" fmla="*/ 132207 w 828675"/>
                  <a:gd name="connsiteY1038" fmla="*/ 624364 h 800100"/>
                  <a:gd name="connsiteX1039" fmla="*/ 132207 w 828675"/>
                  <a:gd name="connsiteY1039" fmla="*/ 626078 h 800100"/>
                  <a:gd name="connsiteX1040" fmla="*/ 132207 w 828675"/>
                  <a:gd name="connsiteY1040" fmla="*/ 626935 h 800100"/>
                  <a:gd name="connsiteX1041" fmla="*/ 133922 w 828675"/>
                  <a:gd name="connsiteY1041" fmla="*/ 629507 h 800100"/>
                  <a:gd name="connsiteX1042" fmla="*/ 135636 w 828675"/>
                  <a:gd name="connsiteY1042" fmla="*/ 631126 h 800100"/>
                  <a:gd name="connsiteX1043" fmla="*/ 137351 w 828675"/>
                  <a:gd name="connsiteY1043" fmla="*/ 632841 h 800100"/>
                  <a:gd name="connsiteX1044" fmla="*/ 142399 w 828675"/>
                  <a:gd name="connsiteY1044" fmla="*/ 644747 h 800100"/>
                  <a:gd name="connsiteX1045" fmla="*/ 144113 w 828675"/>
                  <a:gd name="connsiteY1045" fmla="*/ 647319 h 800100"/>
                  <a:gd name="connsiteX1046" fmla="*/ 144113 w 828675"/>
                  <a:gd name="connsiteY1046" fmla="*/ 649034 h 800100"/>
                  <a:gd name="connsiteX1047" fmla="*/ 144971 w 828675"/>
                  <a:gd name="connsiteY1047" fmla="*/ 650748 h 800100"/>
                  <a:gd name="connsiteX1048" fmla="*/ 144113 w 828675"/>
                  <a:gd name="connsiteY1048" fmla="*/ 654177 h 800100"/>
                  <a:gd name="connsiteX1049" fmla="*/ 142399 w 828675"/>
                  <a:gd name="connsiteY1049" fmla="*/ 655796 h 800100"/>
                  <a:gd name="connsiteX1050" fmla="*/ 141542 w 828675"/>
                  <a:gd name="connsiteY1050" fmla="*/ 657511 h 800100"/>
                  <a:gd name="connsiteX1051" fmla="*/ 141542 w 828675"/>
                  <a:gd name="connsiteY1051" fmla="*/ 659225 h 800100"/>
                  <a:gd name="connsiteX1052" fmla="*/ 141542 w 828675"/>
                  <a:gd name="connsiteY1052" fmla="*/ 662654 h 800100"/>
                  <a:gd name="connsiteX1053" fmla="*/ 140684 w 828675"/>
                  <a:gd name="connsiteY1053" fmla="*/ 663512 h 800100"/>
                  <a:gd name="connsiteX1054" fmla="*/ 140684 w 828675"/>
                  <a:gd name="connsiteY1054" fmla="*/ 665226 h 800100"/>
                  <a:gd name="connsiteX1055" fmla="*/ 141542 w 828675"/>
                  <a:gd name="connsiteY1055" fmla="*/ 667702 h 800100"/>
                  <a:gd name="connsiteX1056" fmla="*/ 141542 w 828675"/>
                  <a:gd name="connsiteY1056" fmla="*/ 670274 h 800100"/>
                  <a:gd name="connsiteX1057" fmla="*/ 139922 w 828675"/>
                  <a:gd name="connsiteY1057" fmla="*/ 672846 h 800100"/>
                  <a:gd name="connsiteX1058" fmla="*/ 138208 w 828675"/>
                  <a:gd name="connsiteY1058" fmla="*/ 674560 h 800100"/>
                  <a:gd name="connsiteX1059" fmla="*/ 132207 w 828675"/>
                  <a:gd name="connsiteY1059" fmla="*/ 680466 h 800100"/>
                  <a:gd name="connsiteX1060" fmla="*/ 128873 w 828675"/>
                  <a:gd name="connsiteY1060" fmla="*/ 682180 h 800100"/>
                  <a:gd name="connsiteX1061" fmla="*/ 123730 w 828675"/>
                  <a:gd name="connsiteY1061" fmla="*/ 686467 h 800100"/>
                  <a:gd name="connsiteX1062" fmla="*/ 122873 w 828675"/>
                  <a:gd name="connsiteY1062" fmla="*/ 688181 h 800100"/>
                  <a:gd name="connsiteX1063" fmla="*/ 122873 w 828675"/>
                  <a:gd name="connsiteY1063" fmla="*/ 689896 h 800100"/>
                  <a:gd name="connsiteX1064" fmla="*/ 122873 w 828675"/>
                  <a:gd name="connsiteY1064" fmla="*/ 690753 h 800100"/>
                  <a:gd name="connsiteX1065" fmla="*/ 124587 w 828675"/>
                  <a:gd name="connsiteY1065" fmla="*/ 691610 h 800100"/>
                  <a:gd name="connsiteX1066" fmla="*/ 125444 w 828675"/>
                  <a:gd name="connsiteY1066" fmla="*/ 692372 h 800100"/>
                  <a:gd name="connsiteX1067" fmla="*/ 126302 w 828675"/>
                  <a:gd name="connsiteY1067" fmla="*/ 692372 h 800100"/>
                  <a:gd name="connsiteX1068" fmla="*/ 128873 w 828675"/>
                  <a:gd name="connsiteY1068" fmla="*/ 698373 h 800100"/>
                  <a:gd name="connsiteX1069" fmla="*/ 128873 w 828675"/>
                  <a:gd name="connsiteY1069" fmla="*/ 700945 h 800100"/>
                  <a:gd name="connsiteX1070" fmla="*/ 128873 w 828675"/>
                  <a:gd name="connsiteY1070" fmla="*/ 703517 h 800100"/>
                  <a:gd name="connsiteX1071" fmla="*/ 129731 w 828675"/>
                  <a:gd name="connsiteY1071" fmla="*/ 705136 h 800100"/>
                  <a:gd name="connsiteX1072" fmla="*/ 130588 w 828675"/>
                  <a:gd name="connsiteY1072" fmla="*/ 706850 h 800100"/>
                  <a:gd name="connsiteX1073" fmla="*/ 132207 w 828675"/>
                  <a:gd name="connsiteY1073" fmla="*/ 708565 h 800100"/>
                  <a:gd name="connsiteX1074" fmla="*/ 133064 w 828675"/>
                  <a:gd name="connsiteY1074" fmla="*/ 710279 h 800100"/>
                  <a:gd name="connsiteX1075" fmla="*/ 133064 w 828675"/>
                  <a:gd name="connsiteY1075" fmla="*/ 712851 h 800100"/>
                  <a:gd name="connsiteX1076" fmla="*/ 133064 w 828675"/>
                  <a:gd name="connsiteY1076" fmla="*/ 713708 h 800100"/>
                  <a:gd name="connsiteX1077" fmla="*/ 132207 w 828675"/>
                  <a:gd name="connsiteY1077" fmla="*/ 716280 h 800100"/>
                  <a:gd name="connsiteX1078" fmla="*/ 133064 w 828675"/>
                  <a:gd name="connsiteY1078" fmla="*/ 717042 h 800100"/>
                  <a:gd name="connsiteX1079" fmla="*/ 133922 w 828675"/>
                  <a:gd name="connsiteY1079" fmla="*/ 717899 h 800100"/>
                  <a:gd name="connsiteX1080" fmla="*/ 133922 w 828675"/>
                  <a:gd name="connsiteY1080" fmla="*/ 718756 h 800100"/>
                  <a:gd name="connsiteX1081" fmla="*/ 133922 w 828675"/>
                  <a:gd name="connsiteY1081" fmla="*/ 721328 h 800100"/>
                  <a:gd name="connsiteX1082" fmla="*/ 133064 w 828675"/>
                  <a:gd name="connsiteY1082" fmla="*/ 723900 h 800100"/>
                  <a:gd name="connsiteX1083" fmla="*/ 132207 w 828675"/>
                  <a:gd name="connsiteY1083" fmla="*/ 725614 h 800100"/>
                  <a:gd name="connsiteX1084" fmla="*/ 129731 w 828675"/>
                  <a:gd name="connsiteY1084" fmla="*/ 729805 h 800100"/>
                  <a:gd name="connsiteX1085" fmla="*/ 128873 w 828675"/>
                  <a:gd name="connsiteY1085" fmla="*/ 731520 h 800100"/>
                  <a:gd name="connsiteX1086" fmla="*/ 128873 w 828675"/>
                  <a:gd name="connsiteY1086" fmla="*/ 731520 h 800100"/>
                  <a:gd name="connsiteX1087" fmla="*/ 130588 w 828675"/>
                  <a:gd name="connsiteY1087" fmla="*/ 734949 h 800100"/>
                  <a:gd name="connsiteX1088" fmla="*/ 131350 w 828675"/>
                  <a:gd name="connsiteY1088" fmla="*/ 734949 h 800100"/>
                  <a:gd name="connsiteX1089" fmla="*/ 132207 w 828675"/>
                  <a:gd name="connsiteY1089" fmla="*/ 735806 h 800100"/>
                  <a:gd name="connsiteX1090" fmla="*/ 133064 w 828675"/>
                  <a:gd name="connsiteY1090" fmla="*/ 735806 h 800100"/>
                  <a:gd name="connsiteX1091" fmla="*/ 133922 w 828675"/>
                  <a:gd name="connsiteY1091" fmla="*/ 736663 h 800100"/>
                  <a:gd name="connsiteX1092" fmla="*/ 133922 w 828675"/>
                  <a:gd name="connsiteY1092" fmla="*/ 737521 h 800100"/>
                  <a:gd name="connsiteX1093" fmla="*/ 134779 w 828675"/>
                  <a:gd name="connsiteY1093" fmla="*/ 739235 h 800100"/>
                  <a:gd name="connsiteX1094" fmla="*/ 136493 w 828675"/>
                  <a:gd name="connsiteY1094" fmla="*/ 740950 h 800100"/>
                  <a:gd name="connsiteX1095" fmla="*/ 138208 w 828675"/>
                  <a:gd name="connsiteY1095" fmla="*/ 742569 h 800100"/>
                  <a:gd name="connsiteX1096" fmla="*/ 141542 w 828675"/>
                  <a:gd name="connsiteY1096" fmla="*/ 743426 h 800100"/>
                  <a:gd name="connsiteX1097" fmla="*/ 142399 w 828675"/>
                  <a:gd name="connsiteY1097" fmla="*/ 744284 h 800100"/>
                  <a:gd name="connsiteX1098" fmla="*/ 143256 w 828675"/>
                  <a:gd name="connsiteY1098" fmla="*/ 745141 h 800100"/>
                  <a:gd name="connsiteX1099" fmla="*/ 143256 w 828675"/>
                  <a:gd name="connsiteY1099" fmla="*/ 745998 h 800100"/>
                  <a:gd name="connsiteX1100" fmla="*/ 142399 w 828675"/>
                  <a:gd name="connsiteY1100" fmla="*/ 746855 h 800100"/>
                  <a:gd name="connsiteX1101" fmla="*/ 140684 w 828675"/>
                  <a:gd name="connsiteY1101" fmla="*/ 750284 h 800100"/>
                  <a:gd name="connsiteX1102" fmla="*/ 140684 w 828675"/>
                  <a:gd name="connsiteY1102" fmla="*/ 751142 h 800100"/>
                  <a:gd name="connsiteX1103" fmla="*/ 140684 w 828675"/>
                  <a:gd name="connsiteY1103" fmla="*/ 752856 h 800100"/>
                  <a:gd name="connsiteX1104" fmla="*/ 141542 w 828675"/>
                  <a:gd name="connsiteY1104" fmla="*/ 754475 h 800100"/>
                  <a:gd name="connsiteX1105" fmla="*/ 142399 w 828675"/>
                  <a:gd name="connsiteY1105" fmla="*/ 756190 h 800100"/>
                  <a:gd name="connsiteX1106" fmla="*/ 143256 w 828675"/>
                  <a:gd name="connsiteY1106" fmla="*/ 757047 h 800100"/>
                  <a:gd name="connsiteX1107" fmla="*/ 144971 w 828675"/>
                  <a:gd name="connsiteY1107" fmla="*/ 757904 h 800100"/>
                  <a:gd name="connsiteX1108" fmla="*/ 146685 w 828675"/>
                  <a:gd name="connsiteY1108" fmla="*/ 757904 h 800100"/>
                  <a:gd name="connsiteX1109" fmla="*/ 149162 w 828675"/>
                  <a:gd name="connsiteY1109" fmla="*/ 757047 h 800100"/>
                  <a:gd name="connsiteX1110" fmla="*/ 150876 w 828675"/>
                  <a:gd name="connsiteY1110" fmla="*/ 756190 h 800100"/>
                  <a:gd name="connsiteX1111" fmla="*/ 152591 w 828675"/>
                  <a:gd name="connsiteY1111" fmla="*/ 754475 h 800100"/>
                  <a:gd name="connsiteX1112" fmla="*/ 152591 w 828675"/>
                  <a:gd name="connsiteY1112" fmla="*/ 753618 h 800100"/>
                  <a:gd name="connsiteX1113" fmla="*/ 153448 w 828675"/>
                  <a:gd name="connsiteY1113" fmla="*/ 752856 h 800100"/>
                  <a:gd name="connsiteX1114" fmla="*/ 153448 w 828675"/>
                  <a:gd name="connsiteY1114" fmla="*/ 751142 h 800100"/>
                  <a:gd name="connsiteX1115" fmla="*/ 153448 w 828675"/>
                  <a:gd name="connsiteY1115" fmla="*/ 750284 h 800100"/>
                  <a:gd name="connsiteX1116" fmla="*/ 153448 w 828675"/>
                  <a:gd name="connsiteY1116" fmla="*/ 749427 h 800100"/>
                  <a:gd name="connsiteX1117" fmla="*/ 154305 w 828675"/>
                  <a:gd name="connsiteY1117" fmla="*/ 747713 h 800100"/>
                  <a:gd name="connsiteX1118" fmla="*/ 154305 w 828675"/>
                  <a:gd name="connsiteY1118" fmla="*/ 746855 h 800100"/>
                  <a:gd name="connsiteX1119" fmla="*/ 155162 w 828675"/>
                  <a:gd name="connsiteY1119" fmla="*/ 745998 h 800100"/>
                  <a:gd name="connsiteX1120" fmla="*/ 156020 w 828675"/>
                  <a:gd name="connsiteY1120" fmla="*/ 745141 h 800100"/>
                  <a:gd name="connsiteX1121" fmla="*/ 156877 w 828675"/>
                  <a:gd name="connsiteY1121" fmla="*/ 744284 h 800100"/>
                  <a:gd name="connsiteX1122" fmla="*/ 157639 w 828675"/>
                  <a:gd name="connsiteY1122" fmla="*/ 744284 h 800100"/>
                  <a:gd name="connsiteX1123" fmla="*/ 160211 w 828675"/>
                  <a:gd name="connsiteY1123" fmla="*/ 745141 h 800100"/>
                  <a:gd name="connsiteX1124" fmla="*/ 163640 w 828675"/>
                  <a:gd name="connsiteY1124" fmla="*/ 747713 h 800100"/>
                  <a:gd name="connsiteX1125" fmla="*/ 169545 w 828675"/>
                  <a:gd name="connsiteY1125" fmla="*/ 752856 h 800100"/>
                  <a:gd name="connsiteX1126" fmla="*/ 171260 w 828675"/>
                  <a:gd name="connsiteY1126" fmla="*/ 753618 h 800100"/>
                  <a:gd name="connsiteX1127" fmla="*/ 174593 w 828675"/>
                  <a:gd name="connsiteY1127" fmla="*/ 757904 h 800100"/>
                  <a:gd name="connsiteX1128" fmla="*/ 176308 w 828675"/>
                  <a:gd name="connsiteY1128" fmla="*/ 758762 h 800100"/>
                  <a:gd name="connsiteX1129" fmla="*/ 178022 w 828675"/>
                  <a:gd name="connsiteY1129" fmla="*/ 759619 h 800100"/>
                  <a:gd name="connsiteX1130" fmla="*/ 179737 w 828675"/>
                  <a:gd name="connsiteY1130" fmla="*/ 760476 h 800100"/>
                  <a:gd name="connsiteX1131" fmla="*/ 183928 w 828675"/>
                  <a:gd name="connsiteY1131" fmla="*/ 760476 h 800100"/>
                  <a:gd name="connsiteX1132" fmla="*/ 185642 w 828675"/>
                  <a:gd name="connsiteY1132" fmla="*/ 760476 h 800100"/>
                  <a:gd name="connsiteX1133" fmla="*/ 186500 w 828675"/>
                  <a:gd name="connsiteY1133" fmla="*/ 760476 h 800100"/>
                  <a:gd name="connsiteX1134" fmla="*/ 187357 w 828675"/>
                  <a:gd name="connsiteY1134" fmla="*/ 760476 h 800100"/>
                  <a:gd name="connsiteX1135" fmla="*/ 187357 w 828675"/>
                  <a:gd name="connsiteY1135" fmla="*/ 761333 h 800100"/>
                  <a:gd name="connsiteX1136" fmla="*/ 187357 w 828675"/>
                  <a:gd name="connsiteY1136" fmla="*/ 763048 h 800100"/>
                  <a:gd name="connsiteX1137" fmla="*/ 187357 w 828675"/>
                  <a:gd name="connsiteY1137" fmla="*/ 763905 h 800100"/>
                  <a:gd name="connsiteX1138" fmla="*/ 188214 w 828675"/>
                  <a:gd name="connsiteY1138" fmla="*/ 765619 h 800100"/>
                  <a:gd name="connsiteX1139" fmla="*/ 189929 w 828675"/>
                  <a:gd name="connsiteY1139" fmla="*/ 767239 h 800100"/>
                  <a:gd name="connsiteX1140" fmla="*/ 191548 w 828675"/>
                  <a:gd name="connsiteY1140" fmla="*/ 768096 h 800100"/>
                  <a:gd name="connsiteX1141" fmla="*/ 193262 w 828675"/>
                  <a:gd name="connsiteY1141" fmla="*/ 767239 h 800100"/>
                  <a:gd name="connsiteX1142" fmla="*/ 194977 w 828675"/>
                  <a:gd name="connsiteY1142" fmla="*/ 766381 h 800100"/>
                  <a:gd name="connsiteX1143" fmla="*/ 198406 w 828675"/>
                  <a:gd name="connsiteY1143" fmla="*/ 763905 h 800100"/>
                  <a:gd name="connsiteX1144" fmla="*/ 200120 w 828675"/>
                  <a:gd name="connsiteY1144" fmla="*/ 761333 h 800100"/>
                  <a:gd name="connsiteX1145" fmla="*/ 201740 w 828675"/>
                  <a:gd name="connsiteY1145" fmla="*/ 758762 h 800100"/>
                  <a:gd name="connsiteX1146" fmla="*/ 202597 w 828675"/>
                  <a:gd name="connsiteY1146" fmla="*/ 755333 h 800100"/>
                  <a:gd name="connsiteX1147" fmla="*/ 203454 w 828675"/>
                  <a:gd name="connsiteY1147" fmla="*/ 751999 h 800100"/>
                  <a:gd name="connsiteX1148" fmla="*/ 207740 w 828675"/>
                  <a:gd name="connsiteY1148" fmla="*/ 748570 h 800100"/>
                  <a:gd name="connsiteX1149" fmla="*/ 208598 w 828675"/>
                  <a:gd name="connsiteY1149" fmla="*/ 747713 h 800100"/>
                  <a:gd name="connsiteX1150" fmla="*/ 209360 w 828675"/>
                  <a:gd name="connsiteY1150" fmla="*/ 746855 h 800100"/>
                  <a:gd name="connsiteX1151" fmla="*/ 210217 w 828675"/>
                  <a:gd name="connsiteY1151" fmla="*/ 745141 h 800100"/>
                  <a:gd name="connsiteX1152" fmla="*/ 211931 w 828675"/>
                  <a:gd name="connsiteY1152" fmla="*/ 743426 h 800100"/>
                  <a:gd name="connsiteX1153" fmla="*/ 211931 w 828675"/>
                  <a:gd name="connsiteY1153" fmla="*/ 740950 h 800100"/>
                  <a:gd name="connsiteX1154" fmla="*/ 211931 w 828675"/>
                  <a:gd name="connsiteY1154" fmla="*/ 737521 h 800100"/>
                  <a:gd name="connsiteX1155" fmla="*/ 210217 w 828675"/>
                  <a:gd name="connsiteY1155" fmla="*/ 736663 h 800100"/>
                  <a:gd name="connsiteX1156" fmla="*/ 207740 w 828675"/>
                  <a:gd name="connsiteY1156" fmla="*/ 735806 h 800100"/>
                  <a:gd name="connsiteX1157" fmla="*/ 206883 w 828675"/>
                  <a:gd name="connsiteY1157" fmla="*/ 735806 h 800100"/>
                  <a:gd name="connsiteX1158" fmla="*/ 206026 w 828675"/>
                  <a:gd name="connsiteY1158" fmla="*/ 735806 h 800100"/>
                  <a:gd name="connsiteX1159" fmla="*/ 205169 w 828675"/>
                  <a:gd name="connsiteY1159" fmla="*/ 735806 h 800100"/>
                  <a:gd name="connsiteX1160" fmla="*/ 205169 w 828675"/>
                  <a:gd name="connsiteY1160" fmla="*/ 734092 h 800100"/>
                  <a:gd name="connsiteX1161" fmla="*/ 205169 w 828675"/>
                  <a:gd name="connsiteY1161" fmla="*/ 734092 h 800100"/>
                  <a:gd name="connsiteX1162" fmla="*/ 205169 w 828675"/>
                  <a:gd name="connsiteY1162" fmla="*/ 734092 h 800100"/>
                  <a:gd name="connsiteX1163" fmla="*/ 205169 w 828675"/>
                  <a:gd name="connsiteY1163" fmla="*/ 733234 h 800100"/>
                  <a:gd name="connsiteX1164" fmla="*/ 205169 w 828675"/>
                  <a:gd name="connsiteY1164" fmla="*/ 733234 h 800100"/>
                  <a:gd name="connsiteX1165" fmla="*/ 206026 w 828675"/>
                  <a:gd name="connsiteY1165" fmla="*/ 730663 h 800100"/>
                  <a:gd name="connsiteX1166" fmla="*/ 206026 w 828675"/>
                  <a:gd name="connsiteY1166" fmla="*/ 729805 h 800100"/>
                  <a:gd name="connsiteX1167" fmla="*/ 205169 w 828675"/>
                  <a:gd name="connsiteY1167" fmla="*/ 728186 h 800100"/>
                  <a:gd name="connsiteX1168" fmla="*/ 202597 w 828675"/>
                  <a:gd name="connsiteY1168" fmla="*/ 724757 h 800100"/>
                  <a:gd name="connsiteX1169" fmla="*/ 202597 w 828675"/>
                  <a:gd name="connsiteY1169" fmla="*/ 723900 h 800100"/>
                  <a:gd name="connsiteX1170" fmla="*/ 201740 w 828675"/>
                  <a:gd name="connsiteY1170" fmla="*/ 722185 h 800100"/>
                  <a:gd name="connsiteX1171" fmla="*/ 200882 w 828675"/>
                  <a:gd name="connsiteY1171" fmla="*/ 720471 h 800100"/>
                  <a:gd name="connsiteX1172" fmla="*/ 200120 w 828675"/>
                  <a:gd name="connsiteY1172" fmla="*/ 718756 h 800100"/>
                  <a:gd name="connsiteX1173" fmla="*/ 198406 w 828675"/>
                  <a:gd name="connsiteY1173" fmla="*/ 717042 h 800100"/>
                  <a:gd name="connsiteX1174" fmla="*/ 196691 w 828675"/>
                  <a:gd name="connsiteY1174" fmla="*/ 716280 h 800100"/>
                  <a:gd name="connsiteX1175" fmla="*/ 195834 w 828675"/>
                  <a:gd name="connsiteY1175" fmla="*/ 716280 h 800100"/>
                  <a:gd name="connsiteX1176" fmla="*/ 194120 w 828675"/>
                  <a:gd name="connsiteY1176" fmla="*/ 716280 h 800100"/>
                  <a:gd name="connsiteX1177" fmla="*/ 191548 w 828675"/>
                  <a:gd name="connsiteY1177" fmla="*/ 716280 h 800100"/>
                  <a:gd name="connsiteX1178" fmla="*/ 188214 w 828675"/>
                  <a:gd name="connsiteY1178" fmla="*/ 717899 h 800100"/>
                  <a:gd name="connsiteX1179" fmla="*/ 187357 w 828675"/>
                  <a:gd name="connsiteY1179" fmla="*/ 717899 h 800100"/>
                  <a:gd name="connsiteX1180" fmla="*/ 185642 w 828675"/>
                  <a:gd name="connsiteY1180" fmla="*/ 717899 h 800100"/>
                  <a:gd name="connsiteX1181" fmla="*/ 184785 w 828675"/>
                  <a:gd name="connsiteY1181" fmla="*/ 717042 h 800100"/>
                  <a:gd name="connsiteX1182" fmla="*/ 184785 w 828675"/>
                  <a:gd name="connsiteY1182" fmla="*/ 716280 h 800100"/>
                  <a:gd name="connsiteX1183" fmla="*/ 183928 w 828675"/>
                  <a:gd name="connsiteY1183" fmla="*/ 714566 h 800100"/>
                  <a:gd name="connsiteX1184" fmla="*/ 183071 w 828675"/>
                  <a:gd name="connsiteY1184" fmla="*/ 712851 h 800100"/>
                  <a:gd name="connsiteX1185" fmla="*/ 183071 w 828675"/>
                  <a:gd name="connsiteY1185" fmla="*/ 711137 h 800100"/>
                  <a:gd name="connsiteX1186" fmla="*/ 183928 w 828675"/>
                  <a:gd name="connsiteY1186" fmla="*/ 710279 h 800100"/>
                  <a:gd name="connsiteX1187" fmla="*/ 184785 w 828675"/>
                  <a:gd name="connsiteY1187" fmla="*/ 708565 h 800100"/>
                  <a:gd name="connsiteX1188" fmla="*/ 184785 w 828675"/>
                  <a:gd name="connsiteY1188" fmla="*/ 707708 h 800100"/>
                  <a:gd name="connsiteX1189" fmla="*/ 185642 w 828675"/>
                  <a:gd name="connsiteY1189" fmla="*/ 706850 h 800100"/>
                  <a:gd name="connsiteX1190" fmla="*/ 185642 w 828675"/>
                  <a:gd name="connsiteY1190" fmla="*/ 705136 h 800100"/>
                  <a:gd name="connsiteX1191" fmla="*/ 184785 w 828675"/>
                  <a:gd name="connsiteY1191" fmla="*/ 700945 h 800100"/>
                  <a:gd name="connsiteX1192" fmla="*/ 184785 w 828675"/>
                  <a:gd name="connsiteY1192" fmla="*/ 695801 h 800100"/>
                  <a:gd name="connsiteX1193" fmla="*/ 184785 w 828675"/>
                  <a:gd name="connsiteY1193" fmla="*/ 693230 h 800100"/>
                  <a:gd name="connsiteX1194" fmla="*/ 183928 w 828675"/>
                  <a:gd name="connsiteY1194" fmla="*/ 691610 h 800100"/>
                  <a:gd name="connsiteX1195" fmla="*/ 182309 w 828675"/>
                  <a:gd name="connsiteY1195" fmla="*/ 688181 h 800100"/>
                  <a:gd name="connsiteX1196" fmla="*/ 181451 w 828675"/>
                  <a:gd name="connsiteY1196" fmla="*/ 686467 h 800100"/>
                  <a:gd name="connsiteX1197" fmla="*/ 177165 w 828675"/>
                  <a:gd name="connsiteY1197" fmla="*/ 682180 h 800100"/>
                  <a:gd name="connsiteX1198" fmla="*/ 175451 w 828675"/>
                  <a:gd name="connsiteY1198" fmla="*/ 680466 h 800100"/>
                  <a:gd name="connsiteX1199" fmla="*/ 174593 w 828675"/>
                  <a:gd name="connsiteY1199" fmla="*/ 677132 h 800100"/>
                  <a:gd name="connsiteX1200" fmla="*/ 172974 w 828675"/>
                  <a:gd name="connsiteY1200" fmla="*/ 665226 h 800100"/>
                  <a:gd name="connsiteX1201" fmla="*/ 172117 w 828675"/>
                  <a:gd name="connsiteY1201" fmla="*/ 660083 h 800100"/>
                  <a:gd name="connsiteX1202" fmla="*/ 171260 w 828675"/>
                  <a:gd name="connsiteY1202" fmla="*/ 656654 h 800100"/>
                  <a:gd name="connsiteX1203" fmla="*/ 167831 w 828675"/>
                  <a:gd name="connsiteY1203" fmla="*/ 647319 h 800100"/>
                  <a:gd name="connsiteX1204" fmla="*/ 166116 w 828675"/>
                  <a:gd name="connsiteY1204" fmla="*/ 645605 h 800100"/>
                  <a:gd name="connsiteX1205" fmla="*/ 164497 w 828675"/>
                  <a:gd name="connsiteY1205" fmla="*/ 643890 h 800100"/>
                  <a:gd name="connsiteX1206" fmla="*/ 162782 w 828675"/>
                  <a:gd name="connsiteY1206" fmla="*/ 642271 h 800100"/>
                  <a:gd name="connsiteX1207" fmla="*/ 161925 w 828675"/>
                  <a:gd name="connsiteY1207" fmla="*/ 641413 h 800100"/>
                  <a:gd name="connsiteX1208" fmla="*/ 161068 w 828675"/>
                  <a:gd name="connsiteY1208" fmla="*/ 640556 h 800100"/>
                  <a:gd name="connsiteX1209" fmla="*/ 161068 w 828675"/>
                  <a:gd name="connsiteY1209" fmla="*/ 639699 h 800100"/>
                  <a:gd name="connsiteX1210" fmla="*/ 161068 w 828675"/>
                  <a:gd name="connsiteY1210" fmla="*/ 638842 h 800100"/>
                  <a:gd name="connsiteX1211" fmla="*/ 161068 w 828675"/>
                  <a:gd name="connsiteY1211" fmla="*/ 637984 h 800100"/>
                  <a:gd name="connsiteX1212" fmla="*/ 161925 w 828675"/>
                  <a:gd name="connsiteY1212" fmla="*/ 637127 h 800100"/>
                  <a:gd name="connsiteX1213" fmla="*/ 162782 w 828675"/>
                  <a:gd name="connsiteY1213" fmla="*/ 634555 h 800100"/>
                  <a:gd name="connsiteX1214" fmla="*/ 165354 w 828675"/>
                  <a:gd name="connsiteY1214" fmla="*/ 630269 h 800100"/>
                  <a:gd name="connsiteX1215" fmla="*/ 166116 w 828675"/>
                  <a:gd name="connsiteY1215" fmla="*/ 629507 h 800100"/>
                  <a:gd name="connsiteX1216" fmla="*/ 167831 w 828675"/>
                  <a:gd name="connsiteY1216" fmla="*/ 628650 h 800100"/>
                  <a:gd name="connsiteX1217" fmla="*/ 167831 w 828675"/>
                  <a:gd name="connsiteY1217" fmla="*/ 627793 h 800100"/>
                  <a:gd name="connsiteX1218" fmla="*/ 167831 w 828675"/>
                  <a:gd name="connsiteY1218" fmla="*/ 627793 h 800100"/>
                  <a:gd name="connsiteX1219" fmla="*/ 167831 w 828675"/>
                  <a:gd name="connsiteY1219" fmla="*/ 626935 h 800100"/>
                  <a:gd name="connsiteX1220" fmla="*/ 167831 w 828675"/>
                  <a:gd name="connsiteY1220" fmla="*/ 626078 h 800100"/>
                  <a:gd name="connsiteX1221" fmla="*/ 167831 w 828675"/>
                  <a:gd name="connsiteY1221" fmla="*/ 625221 h 800100"/>
                  <a:gd name="connsiteX1222" fmla="*/ 167831 w 828675"/>
                  <a:gd name="connsiteY1222" fmla="*/ 624364 h 800100"/>
                  <a:gd name="connsiteX1223" fmla="*/ 168688 w 828675"/>
                  <a:gd name="connsiteY1223" fmla="*/ 623506 h 800100"/>
                  <a:gd name="connsiteX1224" fmla="*/ 168688 w 828675"/>
                  <a:gd name="connsiteY1224" fmla="*/ 622649 h 800100"/>
                  <a:gd name="connsiteX1225" fmla="*/ 169545 w 828675"/>
                  <a:gd name="connsiteY1225" fmla="*/ 622649 h 800100"/>
                  <a:gd name="connsiteX1226" fmla="*/ 172117 w 828675"/>
                  <a:gd name="connsiteY1226" fmla="*/ 622649 h 800100"/>
                  <a:gd name="connsiteX1227" fmla="*/ 173831 w 828675"/>
                  <a:gd name="connsiteY1227" fmla="*/ 622649 h 800100"/>
                  <a:gd name="connsiteX1228" fmla="*/ 176308 w 828675"/>
                  <a:gd name="connsiteY1228" fmla="*/ 623506 h 800100"/>
                  <a:gd name="connsiteX1229" fmla="*/ 177165 w 828675"/>
                  <a:gd name="connsiteY1229" fmla="*/ 623506 h 800100"/>
                  <a:gd name="connsiteX1230" fmla="*/ 177165 w 828675"/>
                  <a:gd name="connsiteY1230" fmla="*/ 624364 h 800100"/>
                  <a:gd name="connsiteX1231" fmla="*/ 178022 w 828675"/>
                  <a:gd name="connsiteY1231" fmla="*/ 626078 h 800100"/>
                  <a:gd name="connsiteX1232" fmla="*/ 178879 w 828675"/>
                  <a:gd name="connsiteY1232" fmla="*/ 626078 h 800100"/>
                  <a:gd name="connsiteX1233" fmla="*/ 180594 w 828675"/>
                  <a:gd name="connsiteY1233" fmla="*/ 627793 h 800100"/>
                  <a:gd name="connsiteX1234" fmla="*/ 181451 w 828675"/>
                  <a:gd name="connsiteY1234" fmla="*/ 628650 h 800100"/>
                  <a:gd name="connsiteX1235" fmla="*/ 183071 w 828675"/>
                  <a:gd name="connsiteY1235" fmla="*/ 630269 h 800100"/>
                  <a:gd name="connsiteX1236" fmla="*/ 183928 w 828675"/>
                  <a:gd name="connsiteY1236" fmla="*/ 630269 h 800100"/>
                  <a:gd name="connsiteX1237" fmla="*/ 184785 w 828675"/>
                  <a:gd name="connsiteY1237" fmla="*/ 631126 h 800100"/>
                  <a:gd name="connsiteX1238" fmla="*/ 185642 w 828675"/>
                  <a:gd name="connsiteY1238" fmla="*/ 630269 h 800100"/>
                  <a:gd name="connsiteX1239" fmla="*/ 185642 w 828675"/>
                  <a:gd name="connsiteY1239" fmla="*/ 629507 h 800100"/>
                  <a:gd name="connsiteX1240" fmla="*/ 185642 w 828675"/>
                  <a:gd name="connsiteY1240" fmla="*/ 627793 h 800100"/>
                  <a:gd name="connsiteX1241" fmla="*/ 184785 w 828675"/>
                  <a:gd name="connsiteY1241" fmla="*/ 626935 h 800100"/>
                  <a:gd name="connsiteX1242" fmla="*/ 184785 w 828675"/>
                  <a:gd name="connsiteY1242" fmla="*/ 626078 h 800100"/>
                  <a:gd name="connsiteX1243" fmla="*/ 184785 w 828675"/>
                  <a:gd name="connsiteY1243" fmla="*/ 625221 h 800100"/>
                  <a:gd name="connsiteX1244" fmla="*/ 185642 w 828675"/>
                  <a:gd name="connsiteY1244" fmla="*/ 624364 h 800100"/>
                  <a:gd name="connsiteX1245" fmla="*/ 186500 w 828675"/>
                  <a:gd name="connsiteY1245" fmla="*/ 621792 h 800100"/>
                  <a:gd name="connsiteX1246" fmla="*/ 186500 w 828675"/>
                  <a:gd name="connsiteY1246" fmla="*/ 620935 h 800100"/>
                  <a:gd name="connsiteX1247" fmla="*/ 186500 w 828675"/>
                  <a:gd name="connsiteY1247" fmla="*/ 620077 h 800100"/>
                  <a:gd name="connsiteX1248" fmla="*/ 186500 w 828675"/>
                  <a:gd name="connsiteY1248" fmla="*/ 619220 h 800100"/>
                  <a:gd name="connsiteX1249" fmla="*/ 183928 w 828675"/>
                  <a:gd name="connsiteY1249" fmla="*/ 617601 h 800100"/>
                  <a:gd name="connsiteX1250" fmla="*/ 183928 w 828675"/>
                  <a:gd name="connsiteY1250" fmla="*/ 616744 h 800100"/>
                  <a:gd name="connsiteX1251" fmla="*/ 183928 w 828675"/>
                  <a:gd name="connsiteY1251" fmla="*/ 614172 h 800100"/>
                  <a:gd name="connsiteX1252" fmla="*/ 184785 w 828675"/>
                  <a:gd name="connsiteY1252" fmla="*/ 612458 h 800100"/>
                  <a:gd name="connsiteX1253" fmla="*/ 184785 w 828675"/>
                  <a:gd name="connsiteY1253" fmla="*/ 611600 h 800100"/>
                  <a:gd name="connsiteX1254" fmla="*/ 186500 w 828675"/>
                  <a:gd name="connsiteY1254" fmla="*/ 611600 h 800100"/>
                  <a:gd name="connsiteX1255" fmla="*/ 187357 w 828675"/>
                  <a:gd name="connsiteY1255" fmla="*/ 610743 h 800100"/>
                  <a:gd name="connsiteX1256" fmla="*/ 188214 w 828675"/>
                  <a:gd name="connsiteY1256" fmla="*/ 610743 h 800100"/>
                  <a:gd name="connsiteX1257" fmla="*/ 190786 w 828675"/>
                  <a:gd name="connsiteY1257" fmla="*/ 609029 h 800100"/>
                  <a:gd name="connsiteX1258" fmla="*/ 191548 w 828675"/>
                  <a:gd name="connsiteY1258" fmla="*/ 610743 h 800100"/>
                  <a:gd name="connsiteX1259" fmla="*/ 192405 w 828675"/>
                  <a:gd name="connsiteY1259" fmla="*/ 611600 h 800100"/>
                  <a:gd name="connsiteX1260" fmla="*/ 192405 w 828675"/>
                  <a:gd name="connsiteY1260" fmla="*/ 612458 h 800100"/>
                  <a:gd name="connsiteX1261" fmla="*/ 192405 w 828675"/>
                  <a:gd name="connsiteY1261" fmla="*/ 615029 h 800100"/>
                  <a:gd name="connsiteX1262" fmla="*/ 192405 w 828675"/>
                  <a:gd name="connsiteY1262" fmla="*/ 619220 h 800100"/>
                  <a:gd name="connsiteX1263" fmla="*/ 192405 w 828675"/>
                  <a:gd name="connsiteY1263" fmla="*/ 620935 h 800100"/>
                  <a:gd name="connsiteX1264" fmla="*/ 193262 w 828675"/>
                  <a:gd name="connsiteY1264" fmla="*/ 621792 h 800100"/>
                  <a:gd name="connsiteX1265" fmla="*/ 194120 w 828675"/>
                  <a:gd name="connsiteY1265" fmla="*/ 621792 h 800100"/>
                  <a:gd name="connsiteX1266" fmla="*/ 196691 w 828675"/>
                  <a:gd name="connsiteY1266" fmla="*/ 621792 h 800100"/>
                  <a:gd name="connsiteX1267" fmla="*/ 197549 w 828675"/>
                  <a:gd name="connsiteY1267" fmla="*/ 620935 h 800100"/>
                  <a:gd name="connsiteX1268" fmla="*/ 198406 w 828675"/>
                  <a:gd name="connsiteY1268" fmla="*/ 620077 h 800100"/>
                  <a:gd name="connsiteX1269" fmla="*/ 198406 w 828675"/>
                  <a:gd name="connsiteY1269" fmla="*/ 618363 h 800100"/>
                  <a:gd name="connsiteX1270" fmla="*/ 198406 w 828675"/>
                  <a:gd name="connsiteY1270" fmla="*/ 614172 h 800100"/>
                  <a:gd name="connsiteX1271" fmla="*/ 198406 w 828675"/>
                  <a:gd name="connsiteY1271" fmla="*/ 613315 h 800100"/>
                  <a:gd name="connsiteX1272" fmla="*/ 198406 w 828675"/>
                  <a:gd name="connsiteY1272" fmla="*/ 612458 h 800100"/>
                  <a:gd name="connsiteX1273" fmla="*/ 198406 w 828675"/>
                  <a:gd name="connsiteY1273" fmla="*/ 611600 h 800100"/>
                  <a:gd name="connsiteX1274" fmla="*/ 199263 w 828675"/>
                  <a:gd name="connsiteY1274" fmla="*/ 609886 h 800100"/>
                  <a:gd name="connsiteX1275" fmla="*/ 200120 w 828675"/>
                  <a:gd name="connsiteY1275" fmla="*/ 609029 h 800100"/>
                  <a:gd name="connsiteX1276" fmla="*/ 200882 w 828675"/>
                  <a:gd name="connsiteY1276" fmla="*/ 608171 h 800100"/>
                  <a:gd name="connsiteX1277" fmla="*/ 202597 w 828675"/>
                  <a:gd name="connsiteY1277" fmla="*/ 607314 h 800100"/>
                  <a:gd name="connsiteX1278" fmla="*/ 203454 w 828675"/>
                  <a:gd name="connsiteY1278" fmla="*/ 607314 h 800100"/>
                  <a:gd name="connsiteX1279" fmla="*/ 205169 w 828675"/>
                  <a:gd name="connsiteY1279" fmla="*/ 609029 h 800100"/>
                  <a:gd name="connsiteX1280" fmla="*/ 205169 w 828675"/>
                  <a:gd name="connsiteY1280" fmla="*/ 610743 h 800100"/>
                  <a:gd name="connsiteX1281" fmla="*/ 206026 w 828675"/>
                  <a:gd name="connsiteY1281" fmla="*/ 611600 h 800100"/>
                  <a:gd name="connsiteX1282" fmla="*/ 206026 w 828675"/>
                  <a:gd name="connsiteY1282" fmla="*/ 614172 h 800100"/>
                  <a:gd name="connsiteX1283" fmla="*/ 205169 w 828675"/>
                  <a:gd name="connsiteY1283" fmla="*/ 615029 h 800100"/>
                  <a:gd name="connsiteX1284" fmla="*/ 205169 w 828675"/>
                  <a:gd name="connsiteY1284" fmla="*/ 616744 h 800100"/>
                  <a:gd name="connsiteX1285" fmla="*/ 204311 w 828675"/>
                  <a:gd name="connsiteY1285" fmla="*/ 617601 h 800100"/>
                  <a:gd name="connsiteX1286" fmla="*/ 204311 w 828675"/>
                  <a:gd name="connsiteY1286" fmla="*/ 618363 h 800100"/>
                  <a:gd name="connsiteX1287" fmla="*/ 204311 w 828675"/>
                  <a:gd name="connsiteY1287" fmla="*/ 619220 h 800100"/>
                  <a:gd name="connsiteX1288" fmla="*/ 205169 w 828675"/>
                  <a:gd name="connsiteY1288" fmla="*/ 619220 h 800100"/>
                  <a:gd name="connsiteX1289" fmla="*/ 206883 w 828675"/>
                  <a:gd name="connsiteY1289" fmla="*/ 619220 h 800100"/>
                  <a:gd name="connsiteX1290" fmla="*/ 207740 w 828675"/>
                  <a:gd name="connsiteY1290" fmla="*/ 619220 h 800100"/>
                  <a:gd name="connsiteX1291" fmla="*/ 208598 w 828675"/>
                  <a:gd name="connsiteY1291" fmla="*/ 619220 h 800100"/>
                  <a:gd name="connsiteX1292" fmla="*/ 209360 w 828675"/>
                  <a:gd name="connsiteY1292" fmla="*/ 619220 h 800100"/>
                  <a:gd name="connsiteX1293" fmla="*/ 210217 w 828675"/>
                  <a:gd name="connsiteY1293" fmla="*/ 619220 h 800100"/>
                  <a:gd name="connsiteX1294" fmla="*/ 210217 w 828675"/>
                  <a:gd name="connsiteY1294" fmla="*/ 620077 h 800100"/>
                  <a:gd name="connsiteX1295" fmla="*/ 210217 w 828675"/>
                  <a:gd name="connsiteY1295" fmla="*/ 620935 h 800100"/>
                  <a:gd name="connsiteX1296" fmla="*/ 209360 w 828675"/>
                  <a:gd name="connsiteY1296" fmla="*/ 624364 h 800100"/>
                  <a:gd name="connsiteX1297" fmla="*/ 209360 w 828675"/>
                  <a:gd name="connsiteY1297" fmla="*/ 626078 h 800100"/>
                  <a:gd name="connsiteX1298" fmla="*/ 207740 w 828675"/>
                  <a:gd name="connsiteY1298" fmla="*/ 629507 h 800100"/>
                  <a:gd name="connsiteX1299" fmla="*/ 206883 w 828675"/>
                  <a:gd name="connsiteY1299" fmla="*/ 631126 h 800100"/>
                  <a:gd name="connsiteX1300" fmla="*/ 207740 w 828675"/>
                  <a:gd name="connsiteY1300" fmla="*/ 631984 h 800100"/>
                  <a:gd name="connsiteX1301" fmla="*/ 207740 w 828675"/>
                  <a:gd name="connsiteY1301" fmla="*/ 633698 h 800100"/>
                  <a:gd name="connsiteX1302" fmla="*/ 207740 w 828675"/>
                  <a:gd name="connsiteY1302" fmla="*/ 634555 h 800100"/>
                  <a:gd name="connsiteX1303" fmla="*/ 207740 w 828675"/>
                  <a:gd name="connsiteY1303" fmla="*/ 636270 h 800100"/>
                  <a:gd name="connsiteX1304" fmla="*/ 206883 w 828675"/>
                  <a:gd name="connsiteY1304" fmla="*/ 637127 h 800100"/>
                  <a:gd name="connsiteX1305" fmla="*/ 206026 w 828675"/>
                  <a:gd name="connsiteY1305" fmla="*/ 637984 h 800100"/>
                  <a:gd name="connsiteX1306" fmla="*/ 203454 w 828675"/>
                  <a:gd name="connsiteY1306" fmla="*/ 639699 h 800100"/>
                  <a:gd name="connsiteX1307" fmla="*/ 201740 w 828675"/>
                  <a:gd name="connsiteY1307" fmla="*/ 640556 h 800100"/>
                  <a:gd name="connsiteX1308" fmla="*/ 200882 w 828675"/>
                  <a:gd name="connsiteY1308" fmla="*/ 642271 h 800100"/>
                  <a:gd name="connsiteX1309" fmla="*/ 200120 w 828675"/>
                  <a:gd name="connsiteY1309" fmla="*/ 643890 h 800100"/>
                  <a:gd name="connsiteX1310" fmla="*/ 199263 w 828675"/>
                  <a:gd name="connsiteY1310" fmla="*/ 646462 h 800100"/>
                  <a:gd name="connsiteX1311" fmla="*/ 199263 w 828675"/>
                  <a:gd name="connsiteY1311" fmla="*/ 648176 h 800100"/>
                  <a:gd name="connsiteX1312" fmla="*/ 199263 w 828675"/>
                  <a:gd name="connsiteY1312" fmla="*/ 649891 h 800100"/>
                  <a:gd name="connsiteX1313" fmla="*/ 200120 w 828675"/>
                  <a:gd name="connsiteY1313" fmla="*/ 650748 h 800100"/>
                  <a:gd name="connsiteX1314" fmla="*/ 201740 w 828675"/>
                  <a:gd name="connsiteY1314" fmla="*/ 651605 h 800100"/>
                  <a:gd name="connsiteX1315" fmla="*/ 202597 w 828675"/>
                  <a:gd name="connsiteY1315" fmla="*/ 651605 h 800100"/>
                  <a:gd name="connsiteX1316" fmla="*/ 204311 w 828675"/>
                  <a:gd name="connsiteY1316" fmla="*/ 650748 h 800100"/>
                  <a:gd name="connsiteX1317" fmla="*/ 205169 w 828675"/>
                  <a:gd name="connsiteY1317" fmla="*/ 649034 h 800100"/>
                  <a:gd name="connsiteX1318" fmla="*/ 206883 w 828675"/>
                  <a:gd name="connsiteY1318" fmla="*/ 647319 h 800100"/>
                  <a:gd name="connsiteX1319" fmla="*/ 207740 w 828675"/>
                  <a:gd name="connsiteY1319" fmla="*/ 646462 h 800100"/>
                  <a:gd name="connsiteX1320" fmla="*/ 208598 w 828675"/>
                  <a:gd name="connsiteY1320" fmla="*/ 645605 h 800100"/>
                  <a:gd name="connsiteX1321" fmla="*/ 210217 w 828675"/>
                  <a:gd name="connsiteY1321" fmla="*/ 645605 h 800100"/>
                  <a:gd name="connsiteX1322" fmla="*/ 211931 w 828675"/>
                  <a:gd name="connsiteY1322" fmla="*/ 645605 h 800100"/>
                  <a:gd name="connsiteX1323" fmla="*/ 212789 w 828675"/>
                  <a:gd name="connsiteY1323" fmla="*/ 643890 h 800100"/>
                  <a:gd name="connsiteX1324" fmla="*/ 212789 w 828675"/>
                  <a:gd name="connsiteY1324" fmla="*/ 643033 h 800100"/>
                  <a:gd name="connsiteX1325" fmla="*/ 212789 w 828675"/>
                  <a:gd name="connsiteY1325" fmla="*/ 641413 h 800100"/>
                  <a:gd name="connsiteX1326" fmla="*/ 212789 w 828675"/>
                  <a:gd name="connsiteY1326" fmla="*/ 640556 h 800100"/>
                  <a:gd name="connsiteX1327" fmla="*/ 212789 w 828675"/>
                  <a:gd name="connsiteY1327" fmla="*/ 639699 h 800100"/>
                  <a:gd name="connsiteX1328" fmla="*/ 213646 w 828675"/>
                  <a:gd name="connsiteY1328" fmla="*/ 638842 h 800100"/>
                  <a:gd name="connsiteX1329" fmla="*/ 214503 w 828675"/>
                  <a:gd name="connsiteY1329" fmla="*/ 638842 h 800100"/>
                  <a:gd name="connsiteX1330" fmla="*/ 216218 w 828675"/>
                  <a:gd name="connsiteY1330" fmla="*/ 638842 h 800100"/>
                  <a:gd name="connsiteX1331" fmla="*/ 217075 w 828675"/>
                  <a:gd name="connsiteY1331" fmla="*/ 639699 h 800100"/>
                  <a:gd name="connsiteX1332" fmla="*/ 217075 w 828675"/>
                  <a:gd name="connsiteY1332" fmla="*/ 639699 h 800100"/>
                  <a:gd name="connsiteX1333" fmla="*/ 217837 w 828675"/>
                  <a:gd name="connsiteY1333" fmla="*/ 639699 h 800100"/>
                  <a:gd name="connsiteX1334" fmla="*/ 217837 w 828675"/>
                  <a:gd name="connsiteY1334" fmla="*/ 640556 h 800100"/>
                  <a:gd name="connsiteX1335" fmla="*/ 219551 w 828675"/>
                  <a:gd name="connsiteY1335" fmla="*/ 641413 h 800100"/>
                  <a:gd name="connsiteX1336" fmla="*/ 219551 w 828675"/>
                  <a:gd name="connsiteY1336" fmla="*/ 641413 h 800100"/>
                  <a:gd name="connsiteX1337" fmla="*/ 219551 w 828675"/>
                  <a:gd name="connsiteY1337" fmla="*/ 641413 h 800100"/>
                  <a:gd name="connsiteX1338" fmla="*/ 219551 w 828675"/>
                  <a:gd name="connsiteY1338" fmla="*/ 642271 h 800100"/>
                  <a:gd name="connsiteX1339" fmla="*/ 216218 w 828675"/>
                  <a:gd name="connsiteY1339" fmla="*/ 645605 h 800100"/>
                  <a:gd name="connsiteX1340" fmla="*/ 216218 w 828675"/>
                  <a:gd name="connsiteY1340" fmla="*/ 647319 h 800100"/>
                  <a:gd name="connsiteX1341" fmla="*/ 215360 w 828675"/>
                  <a:gd name="connsiteY1341" fmla="*/ 648176 h 800100"/>
                  <a:gd name="connsiteX1342" fmla="*/ 215360 w 828675"/>
                  <a:gd name="connsiteY1342" fmla="*/ 649891 h 800100"/>
                  <a:gd name="connsiteX1343" fmla="*/ 216218 w 828675"/>
                  <a:gd name="connsiteY1343" fmla="*/ 650748 h 800100"/>
                  <a:gd name="connsiteX1344" fmla="*/ 216218 w 828675"/>
                  <a:gd name="connsiteY1344" fmla="*/ 651605 h 800100"/>
                  <a:gd name="connsiteX1345" fmla="*/ 217075 w 828675"/>
                  <a:gd name="connsiteY1345" fmla="*/ 651605 h 800100"/>
                  <a:gd name="connsiteX1346" fmla="*/ 218694 w 828675"/>
                  <a:gd name="connsiteY1346" fmla="*/ 651605 h 800100"/>
                  <a:gd name="connsiteX1347" fmla="*/ 220409 w 828675"/>
                  <a:gd name="connsiteY1347" fmla="*/ 650748 h 800100"/>
                  <a:gd name="connsiteX1348" fmla="*/ 223838 w 828675"/>
                  <a:gd name="connsiteY1348" fmla="*/ 649034 h 800100"/>
                  <a:gd name="connsiteX1349" fmla="*/ 225552 w 828675"/>
                  <a:gd name="connsiteY1349" fmla="*/ 649034 h 800100"/>
                  <a:gd name="connsiteX1350" fmla="*/ 226314 w 828675"/>
                  <a:gd name="connsiteY1350" fmla="*/ 649034 h 800100"/>
                  <a:gd name="connsiteX1351" fmla="*/ 227171 w 828675"/>
                  <a:gd name="connsiteY1351" fmla="*/ 650748 h 800100"/>
                  <a:gd name="connsiteX1352" fmla="*/ 227171 w 828675"/>
                  <a:gd name="connsiteY1352" fmla="*/ 654177 h 800100"/>
                  <a:gd name="connsiteX1353" fmla="*/ 228029 w 828675"/>
                  <a:gd name="connsiteY1353" fmla="*/ 654939 h 800100"/>
                  <a:gd name="connsiteX1354" fmla="*/ 228029 w 828675"/>
                  <a:gd name="connsiteY1354" fmla="*/ 655796 h 800100"/>
                  <a:gd name="connsiteX1355" fmla="*/ 228886 w 828675"/>
                  <a:gd name="connsiteY1355" fmla="*/ 654939 h 800100"/>
                  <a:gd name="connsiteX1356" fmla="*/ 230600 w 828675"/>
                  <a:gd name="connsiteY1356" fmla="*/ 654939 h 800100"/>
                  <a:gd name="connsiteX1357" fmla="*/ 231458 w 828675"/>
                  <a:gd name="connsiteY1357" fmla="*/ 653320 h 800100"/>
                  <a:gd name="connsiteX1358" fmla="*/ 232315 w 828675"/>
                  <a:gd name="connsiteY1358" fmla="*/ 651605 h 800100"/>
                  <a:gd name="connsiteX1359" fmla="*/ 234029 w 828675"/>
                  <a:gd name="connsiteY1359" fmla="*/ 650748 h 800100"/>
                  <a:gd name="connsiteX1360" fmla="*/ 234791 w 828675"/>
                  <a:gd name="connsiteY1360" fmla="*/ 650748 h 800100"/>
                  <a:gd name="connsiteX1361" fmla="*/ 235649 w 828675"/>
                  <a:gd name="connsiteY1361" fmla="*/ 651605 h 800100"/>
                  <a:gd name="connsiteX1362" fmla="*/ 237363 w 828675"/>
                  <a:gd name="connsiteY1362" fmla="*/ 652463 h 800100"/>
                  <a:gd name="connsiteX1363" fmla="*/ 239078 w 828675"/>
                  <a:gd name="connsiteY1363" fmla="*/ 651605 h 800100"/>
                  <a:gd name="connsiteX1364" fmla="*/ 239935 w 828675"/>
                  <a:gd name="connsiteY1364" fmla="*/ 651605 h 800100"/>
                  <a:gd name="connsiteX1365" fmla="*/ 240792 w 828675"/>
                  <a:gd name="connsiteY1365" fmla="*/ 651605 h 800100"/>
                  <a:gd name="connsiteX1366" fmla="*/ 241649 w 828675"/>
                  <a:gd name="connsiteY1366" fmla="*/ 652463 h 800100"/>
                  <a:gd name="connsiteX1367" fmla="*/ 244126 w 828675"/>
                  <a:gd name="connsiteY1367" fmla="*/ 653320 h 800100"/>
                  <a:gd name="connsiteX1368" fmla="*/ 245840 w 828675"/>
                  <a:gd name="connsiteY1368" fmla="*/ 653320 h 800100"/>
                  <a:gd name="connsiteX1369" fmla="*/ 245840 w 828675"/>
                  <a:gd name="connsiteY1369" fmla="*/ 652463 h 800100"/>
                  <a:gd name="connsiteX1370" fmla="*/ 246698 w 828675"/>
                  <a:gd name="connsiteY1370" fmla="*/ 651605 h 800100"/>
                  <a:gd name="connsiteX1371" fmla="*/ 246698 w 828675"/>
                  <a:gd name="connsiteY1371" fmla="*/ 649891 h 800100"/>
                  <a:gd name="connsiteX1372" fmla="*/ 246698 w 828675"/>
                  <a:gd name="connsiteY1372" fmla="*/ 648176 h 800100"/>
                  <a:gd name="connsiteX1373" fmla="*/ 243269 w 828675"/>
                  <a:gd name="connsiteY1373" fmla="*/ 639699 h 800100"/>
                  <a:gd name="connsiteX1374" fmla="*/ 243269 w 828675"/>
                  <a:gd name="connsiteY1374" fmla="*/ 637984 h 800100"/>
                  <a:gd name="connsiteX1375" fmla="*/ 243269 w 828675"/>
                  <a:gd name="connsiteY1375" fmla="*/ 637127 h 800100"/>
                  <a:gd name="connsiteX1376" fmla="*/ 244126 w 828675"/>
                  <a:gd name="connsiteY1376" fmla="*/ 635413 h 800100"/>
                  <a:gd name="connsiteX1377" fmla="*/ 244983 w 828675"/>
                  <a:gd name="connsiteY1377" fmla="*/ 631984 h 800100"/>
                  <a:gd name="connsiteX1378" fmla="*/ 247555 w 828675"/>
                  <a:gd name="connsiteY1378" fmla="*/ 628650 h 800100"/>
                  <a:gd name="connsiteX1379" fmla="*/ 249269 w 828675"/>
                  <a:gd name="connsiteY1379" fmla="*/ 628650 h 800100"/>
                  <a:gd name="connsiteX1380" fmla="*/ 249269 w 828675"/>
                  <a:gd name="connsiteY1380" fmla="*/ 628650 h 800100"/>
                  <a:gd name="connsiteX1381" fmla="*/ 250127 w 828675"/>
                  <a:gd name="connsiteY1381" fmla="*/ 629507 h 800100"/>
                  <a:gd name="connsiteX1382" fmla="*/ 250127 w 828675"/>
                  <a:gd name="connsiteY1382" fmla="*/ 630269 h 800100"/>
                  <a:gd name="connsiteX1383" fmla="*/ 250127 w 828675"/>
                  <a:gd name="connsiteY1383" fmla="*/ 631984 h 800100"/>
                  <a:gd name="connsiteX1384" fmla="*/ 247555 w 828675"/>
                  <a:gd name="connsiteY1384" fmla="*/ 636270 h 800100"/>
                  <a:gd name="connsiteX1385" fmla="*/ 246698 w 828675"/>
                  <a:gd name="connsiteY1385" fmla="*/ 637127 h 800100"/>
                  <a:gd name="connsiteX1386" fmla="*/ 246698 w 828675"/>
                  <a:gd name="connsiteY1386" fmla="*/ 637984 h 800100"/>
                  <a:gd name="connsiteX1387" fmla="*/ 246698 w 828675"/>
                  <a:gd name="connsiteY1387" fmla="*/ 638842 h 800100"/>
                  <a:gd name="connsiteX1388" fmla="*/ 246698 w 828675"/>
                  <a:gd name="connsiteY1388" fmla="*/ 640556 h 800100"/>
                  <a:gd name="connsiteX1389" fmla="*/ 246698 w 828675"/>
                  <a:gd name="connsiteY1389" fmla="*/ 641413 h 800100"/>
                  <a:gd name="connsiteX1390" fmla="*/ 248412 w 828675"/>
                  <a:gd name="connsiteY1390" fmla="*/ 643033 h 800100"/>
                  <a:gd name="connsiteX1391" fmla="*/ 248412 w 828675"/>
                  <a:gd name="connsiteY1391" fmla="*/ 643033 h 800100"/>
                  <a:gd name="connsiteX1392" fmla="*/ 249269 w 828675"/>
                  <a:gd name="connsiteY1392" fmla="*/ 643033 h 800100"/>
                  <a:gd name="connsiteX1393" fmla="*/ 250127 w 828675"/>
                  <a:gd name="connsiteY1393" fmla="*/ 643033 h 800100"/>
                  <a:gd name="connsiteX1394" fmla="*/ 250984 w 828675"/>
                  <a:gd name="connsiteY1394" fmla="*/ 643033 h 800100"/>
                  <a:gd name="connsiteX1395" fmla="*/ 250984 w 828675"/>
                  <a:gd name="connsiteY1395" fmla="*/ 642271 h 800100"/>
                  <a:gd name="connsiteX1396" fmla="*/ 251746 w 828675"/>
                  <a:gd name="connsiteY1396" fmla="*/ 641413 h 800100"/>
                  <a:gd name="connsiteX1397" fmla="*/ 251746 w 828675"/>
                  <a:gd name="connsiteY1397" fmla="*/ 640556 h 800100"/>
                  <a:gd name="connsiteX1398" fmla="*/ 253460 w 828675"/>
                  <a:gd name="connsiteY1398" fmla="*/ 639699 h 800100"/>
                  <a:gd name="connsiteX1399" fmla="*/ 254317 w 828675"/>
                  <a:gd name="connsiteY1399" fmla="*/ 638842 h 800100"/>
                  <a:gd name="connsiteX1400" fmla="*/ 255175 w 828675"/>
                  <a:gd name="connsiteY1400" fmla="*/ 638842 h 800100"/>
                  <a:gd name="connsiteX1401" fmla="*/ 256889 w 828675"/>
                  <a:gd name="connsiteY1401" fmla="*/ 638842 h 800100"/>
                  <a:gd name="connsiteX1402" fmla="*/ 257746 w 828675"/>
                  <a:gd name="connsiteY1402" fmla="*/ 639699 h 800100"/>
                  <a:gd name="connsiteX1403" fmla="*/ 258604 w 828675"/>
                  <a:gd name="connsiteY1403" fmla="*/ 639699 h 800100"/>
                  <a:gd name="connsiteX1404" fmla="*/ 259461 w 828675"/>
                  <a:gd name="connsiteY1404" fmla="*/ 638842 h 800100"/>
                  <a:gd name="connsiteX1405" fmla="*/ 261080 w 828675"/>
                  <a:gd name="connsiteY1405" fmla="*/ 637127 h 800100"/>
                  <a:gd name="connsiteX1406" fmla="*/ 261938 w 828675"/>
                  <a:gd name="connsiteY1406" fmla="*/ 636270 h 800100"/>
                  <a:gd name="connsiteX1407" fmla="*/ 262795 w 828675"/>
                  <a:gd name="connsiteY1407" fmla="*/ 636270 h 800100"/>
                  <a:gd name="connsiteX1408" fmla="*/ 263652 w 828675"/>
                  <a:gd name="connsiteY1408" fmla="*/ 637127 h 800100"/>
                  <a:gd name="connsiteX1409" fmla="*/ 262795 w 828675"/>
                  <a:gd name="connsiteY1409" fmla="*/ 637984 h 800100"/>
                  <a:gd name="connsiteX1410" fmla="*/ 261080 w 828675"/>
                  <a:gd name="connsiteY1410" fmla="*/ 641413 h 800100"/>
                  <a:gd name="connsiteX1411" fmla="*/ 257746 w 828675"/>
                  <a:gd name="connsiteY1411" fmla="*/ 646462 h 800100"/>
                  <a:gd name="connsiteX1412" fmla="*/ 256032 w 828675"/>
                  <a:gd name="connsiteY1412" fmla="*/ 649891 h 800100"/>
                  <a:gd name="connsiteX1413" fmla="*/ 255175 w 828675"/>
                  <a:gd name="connsiteY1413" fmla="*/ 651605 h 800100"/>
                  <a:gd name="connsiteX1414" fmla="*/ 252603 w 828675"/>
                  <a:gd name="connsiteY1414" fmla="*/ 654177 h 800100"/>
                  <a:gd name="connsiteX1415" fmla="*/ 251746 w 828675"/>
                  <a:gd name="connsiteY1415" fmla="*/ 654939 h 800100"/>
                  <a:gd name="connsiteX1416" fmla="*/ 251746 w 828675"/>
                  <a:gd name="connsiteY1416" fmla="*/ 655796 h 800100"/>
                  <a:gd name="connsiteX1417" fmla="*/ 250984 w 828675"/>
                  <a:gd name="connsiteY1417" fmla="*/ 657511 h 800100"/>
                  <a:gd name="connsiteX1418" fmla="*/ 250984 w 828675"/>
                  <a:gd name="connsiteY1418" fmla="*/ 659225 h 800100"/>
                  <a:gd name="connsiteX1419" fmla="*/ 250984 w 828675"/>
                  <a:gd name="connsiteY1419" fmla="*/ 660940 h 800100"/>
                  <a:gd name="connsiteX1420" fmla="*/ 250984 w 828675"/>
                  <a:gd name="connsiteY1420" fmla="*/ 661797 h 800100"/>
                  <a:gd name="connsiteX1421" fmla="*/ 251746 w 828675"/>
                  <a:gd name="connsiteY1421" fmla="*/ 663512 h 800100"/>
                  <a:gd name="connsiteX1422" fmla="*/ 252603 w 828675"/>
                  <a:gd name="connsiteY1422" fmla="*/ 664369 h 800100"/>
                  <a:gd name="connsiteX1423" fmla="*/ 254317 w 828675"/>
                  <a:gd name="connsiteY1423" fmla="*/ 664369 h 800100"/>
                  <a:gd name="connsiteX1424" fmla="*/ 257746 w 828675"/>
                  <a:gd name="connsiteY1424" fmla="*/ 664369 h 800100"/>
                  <a:gd name="connsiteX1425" fmla="*/ 258604 w 828675"/>
                  <a:gd name="connsiteY1425" fmla="*/ 662654 h 800100"/>
                  <a:gd name="connsiteX1426" fmla="*/ 258604 w 828675"/>
                  <a:gd name="connsiteY1426" fmla="*/ 660940 h 800100"/>
                  <a:gd name="connsiteX1427" fmla="*/ 257746 w 828675"/>
                  <a:gd name="connsiteY1427" fmla="*/ 659225 h 800100"/>
                  <a:gd name="connsiteX1428" fmla="*/ 257746 w 828675"/>
                  <a:gd name="connsiteY1428" fmla="*/ 656654 h 800100"/>
                  <a:gd name="connsiteX1429" fmla="*/ 257746 w 828675"/>
                  <a:gd name="connsiteY1429" fmla="*/ 656654 h 800100"/>
                  <a:gd name="connsiteX1430" fmla="*/ 258604 w 828675"/>
                  <a:gd name="connsiteY1430" fmla="*/ 655796 h 800100"/>
                  <a:gd name="connsiteX1431" fmla="*/ 259461 w 828675"/>
                  <a:gd name="connsiteY1431" fmla="*/ 655796 h 800100"/>
                  <a:gd name="connsiteX1432" fmla="*/ 261938 w 828675"/>
                  <a:gd name="connsiteY1432" fmla="*/ 654939 h 800100"/>
                  <a:gd name="connsiteX1433" fmla="*/ 262795 w 828675"/>
                  <a:gd name="connsiteY1433" fmla="*/ 655796 h 800100"/>
                  <a:gd name="connsiteX1434" fmla="*/ 263652 w 828675"/>
                  <a:gd name="connsiteY1434" fmla="*/ 656654 h 800100"/>
                  <a:gd name="connsiteX1435" fmla="*/ 264509 w 828675"/>
                  <a:gd name="connsiteY1435" fmla="*/ 657511 h 800100"/>
                  <a:gd name="connsiteX1436" fmla="*/ 264509 w 828675"/>
                  <a:gd name="connsiteY1436" fmla="*/ 657511 h 800100"/>
                  <a:gd name="connsiteX1437" fmla="*/ 264509 w 828675"/>
                  <a:gd name="connsiteY1437" fmla="*/ 658368 h 800100"/>
                  <a:gd name="connsiteX1438" fmla="*/ 264509 w 828675"/>
                  <a:gd name="connsiteY1438" fmla="*/ 659225 h 800100"/>
                  <a:gd name="connsiteX1439" fmla="*/ 265367 w 828675"/>
                  <a:gd name="connsiteY1439" fmla="*/ 660083 h 800100"/>
                  <a:gd name="connsiteX1440" fmla="*/ 266224 w 828675"/>
                  <a:gd name="connsiteY1440" fmla="*/ 660083 h 800100"/>
                  <a:gd name="connsiteX1441" fmla="*/ 267938 w 828675"/>
                  <a:gd name="connsiteY1441" fmla="*/ 660083 h 800100"/>
                  <a:gd name="connsiteX1442" fmla="*/ 268796 w 828675"/>
                  <a:gd name="connsiteY1442" fmla="*/ 659225 h 800100"/>
                  <a:gd name="connsiteX1443" fmla="*/ 269558 w 828675"/>
                  <a:gd name="connsiteY1443" fmla="*/ 658368 h 800100"/>
                  <a:gd name="connsiteX1444" fmla="*/ 270415 w 828675"/>
                  <a:gd name="connsiteY1444" fmla="*/ 657511 h 800100"/>
                  <a:gd name="connsiteX1445" fmla="*/ 272129 w 828675"/>
                  <a:gd name="connsiteY1445" fmla="*/ 654177 h 800100"/>
                  <a:gd name="connsiteX1446" fmla="*/ 272987 w 828675"/>
                  <a:gd name="connsiteY1446" fmla="*/ 652463 h 800100"/>
                  <a:gd name="connsiteX1447" fmla="*/ 274701 w 828675"/>
                  <a:gd name="connsiteY1447" fmla="*/ 651605 h 800100"/>
                  <a:gd name="connsiteX1448" fmla="*/ 275558 w 828675"/>
                  <a:gd name="connsiteY1448" fmla="*/ 651605 h 800100"/>
                  <a:gd name="connsiteX1449" fmla="*/ 276416 w 828675"/>
                  <a:gd name="connsiteY1449" fmla="*/ 651605 h 800100"/>
                  <a:gd name="connsiteX1450" fmla="*/ 277273 w 828675"/>
                  <a:gd name="connsiteY1450" fmla="*/ 651605 h 800100"/>
                  <a:gd name="connsiteX1451" fmla="*/ 278035 w 828675"/>
                  <a:gd name="connsiteY1451" fmla="*/ 651605 h 800100"/>
                  <a:gd name="connsiteX1452" fmla="*/ 282321 w 828675"/>
                  <a:gd name="connsiteY1452" fmla="*/ 654177 h 800100"/>
                  <a:gd name="connsiteX1453" fmla="*/ 286512 w 828675"/>
                  <a:gd name="connsiteY1453" fmla="*/ 654939 h 800100"/>
                  <a:gd name="connsiteX1454" fmla="*/ 287369 w 828675"/>
                  <a:gd name="connsiteY1454" fmla="*/ 654939 h 800100"/>
                  <a:gd name="connsiteX1455" fmla="*/ 295846 w 828675"/>
                  <a:gd name="connsiteY1455" fmla="*/ 654177 h 800100"/>
                  <a:gd name="connsiteX1456" fmla="*/ 298418 w 828675"/>
                  <a:gd name="connsiteY1456" fmla="*/ 654177 h 800100"/>
                  <a:gd name="connsiteX1457" fmla="*/ 299275 w 828675"/>
                  <a:gd name="connsiteY1457" fmla="*/ 654177 h 800100"/>
                  <a:gd name="connsiteX1458" fmla="*/ 300133 w 828675"/>
                  <a:gd name="connsiteY1458" fmla="*/ 654177 h 800100"/>
                  <a:gd name="connsiteX1459" fmla="*/ 300990 w 828675"/>
                  <a:gd name="connsiteY1459" fmla="*/ 654939 h 800100"/>
                  <a:gd name="connsiteX1460" fmla="*/ 301847 w 828675"/>
                  <a:gd name="connsiteY1460" fmla="*/ 656654 h 800100"/>
                  <a:gd name="connsiteX1461" fmla="*/ 302705 w 828675"/>
                  <a:gd name="connsiteY1461" fmla="*/ 656654 h 800100"/>
                  <a:gd name="connsiteX1462" fmla="*/ 304324 w 828675"/>
                  <a:gd name="connsiteY1462" fmla="*/ 656654 h 800100"/>
                  <a:gd name="connsiteX1463" fmla="*/ 306896 w 828675"/>
                  <a:gd name="connsiteY1463" fmla="*/ 654939 h 800100"/>
                  <a:gd name="connsiteX1464" fmla="*/ 308610 w 828675"/>
                  <a:gd name="connsiteY1464" fmla="*/ 654939 h 800100"/>
                  <a:gd name="connsiteX1465" fmla="*/ 310325 w 828675"/>
                  <a:gd name="connsiteY1465" fmla="*/ 654177 h 800100"/>
                  <a:gd name="connsiteX1466" fmla="*/ 310325 w 828675"/>
                  <a:gd name="connsiteY1466" fmla="*/ 654177 h 800100"/>
                  <a:gd name="connsiteX1467" fmla="*/ 310325 w 828675"/>
                  <a:gd name="connsiteY1467" fmla="*/ 653320 h 800100"/>
                  <a:gd name="connsiteX1468" fmla="*/ 310325 w 828675"/>
                  <a:gd name="connsiteY1468" fmla="*/ 652463 h 800100"/>
                  <a:gd name="connsiteX1469" fmla="*/ 310325 w 828675"/>
                  <a:gd name="connsiteY1469" fmla="*/ 651605 h 800100"/>
                  <a:gd name="connsiteX1470" fmla="*/ 308610 w 828675"/>
                  <a:gd name="connsiteY1470" fmla="*/ 649034 h 800100"/>
                  <a:gd name="connsiteX1471" fmla="*/ 307753 w 828675"/>
                  <a:gd name="connsiteY1471" fmla="*/ 648176 h 800100"/>
                  <a:gd name="connsiteX1472" fmla="*/ 306896 w 828675"/>
                  <a:gd name="connsiteY1472" fmla="*/ 647319 h 800100"/>
                  <a:gd name="connsiteX1473" fmla="*/ 306896 w 828675"/>
                  <a:gd name="connsiteY1473" fmla="*/ 646462 h 800100"/>
                  <a:gd name="connsiteX1474" fmla="*/ 306896 w 828675"/>
                  <a:gd name="connsiteY1474" fmla="*/ 645605 h 800100"/>
                  <a:gd name="connsiteX1475" fmla="*/ 306896 w 828675"/>
                  <a:gd name="connsiteY1475" fmla="*/ 644747 h 800100"/>
                  <a:gd name="connsiteX1476" fmla="*/ 306896 w 828675"/>
                  <a:gd name="connsiteY1476" fmla="*/ 644747 h 800100"/>
                  <a:gd name="connsiteX1477" fmla="*/ 307753 w 828675"/>
                  <a:gd name="connsiteY1477" fmla="*/ 643890 h 800100"/>
                  <a:gd name="connsiteX1478" fmla="*/ 308610 w 828675"/>
                  <a:gd name="connsiteY1478" fmla="*/ 643033 h 800100"/>
                  <a:gd name="connsiteX1479" fmla="*/ 311182 w 828675"/>
                  <a:gd name="connsiteY1479" fmla="*/ 642271 h 800100"/>
                  <a:gd name="connsiteX1480" fmla="*/ 314516 w 828675"/>
                  <a:gd name="connsiteY1480" fmla="*/ 642271 h 800100"/>
                  <a:gd name="connsiteX1481" fmla="*/ 315373 w 828675"/>
                  <a:gd name="connsiteY1481" fmla="*/ 641413 h 800100"/>
                  <a:gd name="connsiteX1482" fmla="*/ 317945 w 828675"/>
                  <a:gd name="connsiteY1482" fmla="*/ 640556 h 800100"/>
                  <a:gd name="connsiteX1483" fmla="*/ 322136 w 828675"/>
                  <a:gd name="connsiteY1483" fmla="*/ 637127 h 800100"/>
                  <a:gd name="connsiteX1484" fmla="*/ 324707 w 828675"/>
                  <a:gd name="connsiteY1484" fmla="*/ 633698 h 800100"/>
                  <a:gd name="connsiteX1485" fmla="*/ 326422 w 828675"/>
                  <a:gd name="connsiteY1485" fmla="*/ 632841 h 800100"/>
                  <a:gd name="connsiteX1486" fmla="*/ 334899 w 828675"/>
                  <a:gd name="connsiteY1486" fmla="*/ 628650 h 800100"/>
                  <a:gd name="connsiteX1487" fmla="*/ 337471 w 828675"/>
                  <a:gd name="connsiteY1487" fmla="*/ 630269 h 800100"/>
                  <a:gd name="connsiteX1488" fmla="*/ 338233 w 828675"/>
                  <a:gd name="connsiteY1488" fmla="*/ 630269 h 800100"/>
                  <a:gd name="connsiteX1489" fmla="*/ 338233 w 828675"/>
                  <a:gd name="connsiteY1489" fmla="*/ 630269 h 800100"/>
                  <a:gd name="connsiteX1490" fmla="*/ 339090 w 828675"/>
                  <a:gd name="connsiteY1490" fmla="*/ 630269 h 800100"/>
                  <a:gd name="connsiteX1491" fmla="*/ 343376 w 828675"/>
                  <a:gd name="connsiteY1491" fmla="*/ 626935 h 800100"/>
                  <a:gd name="connsiteX1492" fmla="*/ 344234 w 828675"/>
                  <a:gd name="connsiteY1492" fmla="*/ 626078 h 800100"/>
                  <a:gd name="connsiteX1493" fmla="*/ 345091 w 828675"/>
                  <a:gd name="connsiteY1493" fmla="*/ 625221 h 800100"/>
                  <a:gd name="connsiteX1494" fmla="*/ 345948 w 828675"/>
                  <a:gd name="connsiteY1494" fmla="*/ 623506 h 800100"/>
                  <a:gd name="connsiteX1495" fmla="*/ 345948 w 828675"/>
                  <a:gd name="connsiteY1495" fmla="*/ 622649 h 800100"/>
                  <a:gd name="connsiteX1496" fmla="*/ 346710 w 828675"/>
                  <a:gd name="connsiteY1496" fmla="*/ 621792 h 800100"/>
                  <a:gd name="connsiteX1497" fmla="*/ 347567 w 828675"/>
                  <a:gd name="connsiteY1497" fmla="*/ 622649 h 800100"/>
                  <a:gd name="connsiteX1498" fmla="*/ 349282 w 828675"/>
                  <a:gd name="connsiteY1498" fmla="*/ 623506 h 800100"/>
                  <a:gd name="connsiteX1499" fmla="*/ 350139 w 828675"/>
                  <a:gd name="connsiteY1499" fmla="*/ 623506 h 800100"/>
                  <a:gd name="connsiteX1500" fmla="*/ 350996 w 828675"/>
                  <a:gd name="connsiteY1500" fmla="*/ 623506 h 800100"/>
                  <a:gd name="connsiteX1501" fmla="*/ 352711 w 828675"/>
                  <a:gd name="connsiteY1501" fmla="*/ 622649 h 800100"/>
                  <a:gd name="connsiteX1502" fmla="*/ 354425 w 828675"/>
                  <a:gd name="connsiteY1502" fmla="*/ 621792 h 800100"/>
                  <a:gd name="connsiteX1503" fmla="*/ 355187 w 828675"/>
                  <a:gd name="connsiteY1503" fmla="*/ 621792 h 800100"/>
                  <a:gd name="connsiteX1504" fmla="*/ 356045 w 828675"/>
                  <a:gd name="connsiteY1504" fmla="*/ 622649 h 800100"/>
                  <a:gd name="connsiteX1505" fmla="*/ 356902 w 828675"/>
                  <a:gd name="connsiteY1505" fmla="*/ 623506 h 800100"/>
                  <a:gd name="connsiteX1506" fmla="*/ 358616 w 828675"/>
                  <a:gd name="connsiteY1506" fmla="*/ 626078 h 800100"/>
                  <a:gd name="connsiteX1507" fmla="*/ 359474 w 828675"/>
                  <a:gd name="connsiteY1507" fmla="*/ 626935 h 800100"/>
                  <a:gd name="connsiteX1508" fmla="*/ 359474 w 828675"/>
                  <a:gd name="connsiteY1508" fmla="*/ 627793 h 800100"/>
                  <a:gd name="connsiteX1509" fmla="*/ 360331 w 828675"/>
                  <a:gd name="connsiteY1509" fmla="*/ 631984 h 800100"/>
                  <a:gd name="connsiteX1510" fmla="*/ 360331 w 828675"/>
                  <a:gd name="connsiteY1510" fmla="*/ 637127 h 800100"/>
                  <a:gd name="connsiteX1511" fmla="*/ 360331 w 828675"/>
                  <a:gd name="connsiteY1511" fmla="*/ 637984 h 800100"/>
                  <a:gd name="connsiteX1512" fmla="*/ 361188 w 828675"/>
                  <a:gd name="connsiteY1512" fmla="*/ 638842 h 800100"/>
                  <a:gd name="connsiteX1513" fmla="*/ 362903 w 828675"/>
                  <a:gd name="connsiteY1513" fmla="*/ 639699 h 800100"/>
                  <a:gd name="connsiteX1514" fmla="*/ 364522 w 828675"/>
                  <a:gd name="connsiteY1514" fmla="*/ 640556 h 800100"/>
                  <a:gd name="connsiteX1515" fmla="*/ 364522 w 828675"/>
                  <a:gd name="connsiteY1515" fmla="*/ 640556 h 800100"/>
                  <a:gd name="connsiteX1516" fmla="*/ 365379 w 828675"/>
                  <a:gd name="connsiteY1516" fmla="*/ 641413 h 800100"/>
                  <a:gd name="connsiteX1517" fmla="*/ 366236 w 828675"/>
                  <a:gd name="connsiteY1517" fmla="*/ 643033 h 800100"/>
                  <a:gd name="connsiteX1518" fmla="*/ 366236 w 828675"/>
                  <a:gd name="connsiteY1518" fmla="*/ 643033 h 800100"/>
                  <a:gd name="connsiteX1519" fmla="*/ 367094 w 828675"/>
                  <a:gd name="connsiteY1519" fmla="*/ 643033 h 800100"/>
                  <a:gd name="connsiteX1520" fmla="*/ 367951 w 828675"/>
                  <a:gd name="connsiteY1520" fmla="*/ 643033 h 800100"/>
                  <a:gd name="connsiteX1521" fmla="*/ 367951 w 828675"/>
                  <a:gd name="connsiteY1521" fmla="*/ 643033 h 800100"/>
                  <a:gd name="connsiteX1522" fmla="*/ 368808 w 828675"/>
                  <a:gd name="connsiteY1522" fmla="*/ 643033 h 800100"/>
                  <a:gd name="connsiteX1523" fmla="*/ 368808 w 828675"/>
                  <a:gd name="connsiteY1523" fmla="*/ 643033 h 800100"/>
                  <a:gd name="connsiteX1524" fmla="*/ 369665 w 828675"/>
                  <a:gd name="connsiteY1524" fmla="*/ 643890 h 800100"/>
                  <a:gd name="connsiteX1525" fmla="*/ 369665 w 828675"/>
                  <a:gd name="connsiteY1525" fmla="*/ 644747 h 800100"/>
                  <a:gd name="connsiteX1526" fmla="*/ 369665 w 828675"/>
                  <a:gd name="connsiteY1526" fmla="*/ 644747 h 800100"/>
                  <a:gd name="connsiteX1527" fmla="*/ 370523 w 828675"/>
                  <a:gd name="connsiteY1527" fmla="*/ 647319 h 800100"/>
                  <a:gd name="connsiteX1528" fmla="*/ 370523 w 828675"/>
                  <a:gd name="connsiteY1528" fmla="*/ 648176 h 800100"/>
                  <a:gd name="connsiteX1529" fmla="*/ 371380 w 828675"/>
                  <a:gd name="connsiteY1529" fmla="*/ 649891 h 800100"/>
                  <a:gd name="connsiteX1530" fmla="*/ 371380 w 828675"/>
                  <a:gd name="connsiteY1530" fmla="*/ 650748 h 800100"/>
                  <a:gd name="connsiteX1531" fmla="*/ 371380 w 828675"/>
                  <a:gd name="connsiteY1531" fmla="*/ 650748 h 800100"/>
                  <a:gd name="connsiteX1532" fmla="*/ 371380 w 828675"/>
                  <a:gd name="connsiteY1532" fmla="*/ 651605 h 800100"/>
                  <a:gd name="connsiteX1533" fmla="*/ 370523 w 828675"/>
                  <a:gd name="connsiteY1533" fmla="*/ 652463 h 800100"/>
                  <a:gd name="connsiteX1534" fmla="*/ 369665 w 828675"/>
                  <a:gd name="connsiteY1534" fmla="*/ 653320 h 800100"/>
                  <a:gd name="connsiteX1535" fmla="*/ 367951 w 828675"/>
                  <a:gd name="connsiteY1535" fmla="*/ 653320 h 800100"/>
                  <a:gd name="connsiteX1536" fmla="*/ 366236 w 828675"/>
                  <a:gd name="connsiteY1536" fmla="*/ 654939 h 800100"/>
                  <a:gd name="connsiteX1537" fmla="*/ 365379 w 828675"/>
                  <a:gd name="connsiteY1537" fmla="*/ 654939 h 800100"/>
                  <a:gd name="connsiteX1538" fmla="*/ 364522 w 828675"/>
                  <a:gd name="connsiteY1538" fmla="*/ 654939 h 800100"/>
                  <a:gd name="connsiteX1539" fmla="*/ 363665 w 828675"/>
                  <a:gd name="connsiteY1539" fmla="*/ 655796 h 800100"/>
                  <a:gd name="connsiteX1540" fmla="*/ 363665 w 828675"/>
                  <a:gd name="connsiteY1540" fmla="*/ 655796 h 800100"/>
                  <a:gd name="connsiteX1541" fmla="*/ 362903 w 828675"/>
                  <a:gd name="connsiteY1541" fmla="*/ 656654 h 800100"/>
                  <a:gd name="connsiteX1542" fmla="*/ 362903 w 828675"/>
                  <a:gd name="connsiteY1542" fmla="*/ 657511 h 800100"/>
                  <a:gd name="connsiteX1543" fmla="*/ 360331 w 828675"/>
                  <a:gd name="connsiteY1543" fmla="*/ 660083 h 800100"/>
                  <a:gd name="connsiteX1544" fmla="*/ 359474 w 828675"/>
                  <a:gd name="connsiteY1544" fmla="*/ 661797 h 800100"/>
                  <a:gd name="connsiteX1545" fmla="*/ 358616 w 828675"/>
                  <a:gd name="connsiteY1545" fmla="*/ 661797 h 800100"/>
                  <a:gd name="connsiteX1546" fmla="*/ 356902 w 828675"/>
                  <a:gd name="connsiteY1546" fmla="*/ 662654 h 800100"/>
                  <a:gd name="connsiteX1547" fmla="*/ 356045 w 828675"/>
                  <a:gd name="connsiteY1547" fmla="*/ 662654 h 800100"/>
                  <a:gd name="connsiteX1548" fmla="*/ 356045 w 828675"/>
                  <a:gd name="connsiteY1548" fmla="*/ 662654 h 800100"/>
                  <a:gd name="connsiteX1549" fmla="*/ 355187 w 828675"/>
                  <a:gd name="connsiteY1549" fmla="*/ 661797 h 800100"/>
                  <a:gd name="connsiteX1550" fmla="*/ 355187 w 828675"/>
                  <a:gd name="connsiteY1550" fmla="*/ 661797 h 800100"/>
                  <a:gd name="connsiteX1551" fmla="*/ 354425 w 828675"/>
                  <a:gd name="connsiteY1551" fmla="*/ 662654 h 800100"/>
                  <a:gd name="connsiteX1552" fmla="*/ 354425 w 828675"/>
                  <a:gd name="connsiteY1552" fmla="*/ 664369 h 800100"/>
                  <a:gd name="connsiteX1553" fmla="*/ 354425 w 828675"/>
                  <a:gd name="connsiteY1553" fmla="*/ 665226 h 800100"/>
                  <a:gd name="connsiteX1554" fmla="*/ 355187 w 828675"/>
                  <a:gd name="connsiteY1554" fmla="*/ 667702 h 800100"/>
                  <a:gd name="connsiteX1555" fmla="*/ 356045 w 828675"/>
                  <a:gd name="connsiteY1555" fmla="*/ 669417 h 800100"/>
                  <a:gd name="connsiteX1556" fmla="*/ 356902 w 828675"/>
                  <a:gd name="connsiteY1556" fmla="*/ 671131 h 800100"/>
                  <a:gd name="connsiteX1557" fmla="*/ 357759 w 828675"/>
                  <a:gd name="connsiteY1557" fmla="*/ 671131 h 800100"/>
                  <a:gd name="connsiteX1558" fmla="*/ 359474 w 828675"/>
                  <a:gd name="connsiteY1558" fmla="*/ 671989 h 800100"/>
                  <a:gd name="connsiteX1559" fmla="*/ 362045 w 828675"/>
                  <a:gd name="connsiteY1559" fmla="*/ 670274 h 800100"/>
                  <a:gd name="connsiteX1560" fmla="*/ 363665 w 828675"/>
                  <a:gd name="connsiteY1560" fmla="*/ 670274 h 800100"/>
                  <a:gd name="connsiteX1561" fmla="*/ 365379 w 828675"/>
                  <a:gd name="connsiteY1561" fmla="*/ 670274 h 800100"/>
                  <a:gd name="connsiteX1562" fmla="*/ 366236 w 828675"/>
                  <a:gd name="connsiteY1562" fmla="*/ 671131 h 800100"/>
                  <a:gd name="connsiteX1563" fmla="*/ 367951 w 828675"/>
                  <a:gd name="connsiteY1563" fmla="*/ 671131 h 800100"/>
                  <a:gd name="connsiteX1564" fmla="*/ 367951 w 828675"/>
                  <a:gd name="connsiteY1564" fmla="*/ 671131 h 800100"/>
                  <a:gd name="connsiteX1565" fmla="*/ 369665 w 828675"/>
                  <a:gd name="connsiteY1565" fmla="*/ 671989 h 800100"/>
                  <a:gd name="connsiteX1566" fmla="*/ 369665 w 828675"/>
                  <a:gd name="connsiteY1566" fmla="*/ 671131 h 800100"/>
                  <a:gd name="connsiteX1567" fmla="*/ 370523 w 828675"/>
                  <a:gd name="connsiteY1567" fmla="*/ 670274 h 800100"/>
                  <a:gd name="connsiteX1568" fmla="*/ 370523 w 828675"/>
                  <a:gd name="connsiteY1568" fmla="*/ 669417 h 800100"/>
                  <a:gd name="connsiteX1569" fmla="*/ 369665 w 828675"/>
                  <a:gd name="connsiteY1569" fmla="*/ 666941 h 800100"/>
                  <a:gd name="connsiteX1570" fmla="*/ 369665 w 828675"/>
                  <a:gd name="connsiteY1570" fmla="*/ 666083 h 800100"/>
                  <a:gd name="connsiteX1571" fmla="*/ 369665 w 828675"/>
                  <a:gd name="connsiteY1571" fmla="*/ 665226 h 800100"/>
                  <a:gd name="connsiteX1572" fmla="*/ 369665 w 828675"/>
                  <a:gd name="connsiteY1572" fmla="*/ 665226 h 800100"/>
                  <a:gd name="connsiteX1573" fmla="*/ 370523 w 828675"/>
                  <a:gd name="connsiteY1573" fmla="*/ 665226 h 800100"/>
                  <a:gd name="connsiteX1574" fmla="*/ 372237 w 828675"/>
                  <a:gd name="connsiteY1574" fmla="*/ 667702 h 800100"/>
                  <a:gd name="connsiteX1575" fmla="*/ 374713 w 828675"/>
                  <a:gd name="connsiteY1575" fmla="*/ 670274 h 800100"/>
                  <a:gd name="connsiteX1576" fmla="*/ 374713 w 828675"/>
                  <a:gd name="connsiteY1576" fmla="*/ 671131 h 800100"/>
                  <a:gd name="connsiteX1577" fmla="*/ 375571 w 828675"/>
                  <a:gd name="connsiteY1577" fmla="*/ 671131 h 800100"/>
                  <a:gd name="connsiteX1578" fmla="*/ 377285 w 828675"/>
                  <a:gd name="connsiteY1578" fmla="*/ 671131 h 800100"/>
                  <a:gd name="connsiteX1579" fmla="*/ 378142 w 828675"/>
                  <a:gd name="connsiteY1579" fmla="*/ 671131 h 800100"/>
                  <a:gd name="connsiteX1580" fmla="*/ 381476 w 828675"/>
                  <a:gd name="connsiteY1580" fmla="*/ 667702 h 800100"/>
                  <a:gd name="connsiteX1581" fmla="*/ 381476 w 828675"/>
                  <a:gd name="connsiteY1581" fmla="*/ 666941 h 800100"/>
                  <a:gd name="connsiteX1582" fmla="*/ 381476 w 828675"/>
                  <a:gd name="connsiteY1582" fmla="*/ 666941 h 800100"/>
                  <a:gd name="connsiteX1583" fmla="*/ 380714 w 828675"/>
                  <a:gd name="connsiteY1583" fmla="*/ 666083 h 800100"/>
                  <a:gd name="connsiteX1584" fmla="*/ 378142 w 828675"/>
                  <a:gd name="connsiteY1584" fmla="*/ 665226 h 800100"/>
                  <a:gd name="connsiteX1585" fmla="*/ 377285 w 828675"/>
                  <a:gd name="connsiteY1585" fmla="*/ 664369 h 800100"/>
                  <a:gd name="connsiteX1586" fmla="*/ 376428 w 828675"/>
                  <a:gd name="connsiteY1586" fmla="*/ 663512 h 800100"/>
                  <a:gd name="connsiteX1587" fmla="*/ 376428 w 828675"/>
                  <a:gd name="connsiteY1587" fmla="*/ 661797 h 800100"/>
                  <a:gd name="connsiteX1588" fmla="*/ 375571 w 828675"/>
                  <a:gd name="connsiteY1588" fmla="*/ 660940 h 800100"/>
                  <a:gd name="connsiteX1589" fmla="*/ 375571 w 828675"/>
                  <a:gd name="connsiteY1589" fmla="*/ 659225 h 800100"/>
                  <a:gd name="connsiteX1590" fmla="*/ 375571 w 828675"/>
                  <a:gd name="connsiteY1590" fmla="*/ 659225 h 800100"/>
                  <a:gd name="connsiteX1591" fmla="*/ 375571 w 828675"/>
                  <a:gd name="connsiteY1591" fmla="*/ 658368 h 800100"/>
                  <a:gd name="connsiteX1592" fmla="*/ 376428 w 828675"/>
                  <a:gd name="connsiteY1592" fmla="*/ 658368 h 800100"/>
                  <a:gd name="connsiteX1593" fmla="*/ 377285 w 828675"/>
                  <a:gd name="connsiteY1593" fmla="*/ 659225 h 800100"/>
                  <a:gd name="connsiteX1594" fmla="*/ 379000 w 828675"/>
                  <a:gd name="connsiteY1594" fmla="*/ 660083 h 800100"/>
                  <a:gd name="connsiteX1595" fmla="*/ 382334 w 828675"/>
                  <a:gd name="connsiteY1595" fmla="*/ 660083 h 800100"/>
                  <a:gd name="connsiteX1596" fmla="*/ 383191 w 828675"/>
                  <a:gd name="connsiteY1596" fmla="*/ 660083 h 800100"/>
                  <a:gd name="connsiteX1597" fmla="*/ 384048 w 828675"/>
                  <a:gd name="connsiteY1597" fmla="*/ 660083 h 800100"/>
                  <a:gd name="connsiteX1598" fmla="*/ 385763 w 828675"/>
                  <a:gd name="connsiteY1598" fmla="*/ 660083 h 800100"/>
                  <a:gd name="connsiteX1599" fmla="*/ 385763 w 828675"/>
                  <a:gd name="connsiteY1599" fmla="*/ 659225 h 800100"/>
                  <a:gd name="connsiteX1600" fmla="*/ 386620 w 828675"/>
                  <a:gd name="connsiteY1600" fmla="*/ 658368 h 800100"/>
                  <a:gd name="connsiteX1601" fmla="*/ 386620 w 828675"/>
                  <a:gd name="connsiteY1601" fmla="*/ 657511 h 800100"/>
                  <a:gd name="connsiteX1602" fmla="*/ 385763 w 828675"/>
                  <a:gd name="connsiteY1602" fmla="*/ 656654 h 800100"/>
                  <a:gd name="connsiteX1603" fmla="*/ 385763 w 828675"/>
                  <a:gd name="connsiteY1603" fmla="*/ 655796 h 800100"/>
                  <a:gd name="connsiteX1604" fmla="*/ 385763 w 828675"/>
                  <a:gd name="connsiteY1604" fmla="*/ 654939 h 800100"/>
                  <a:gd name="connsiteX1605" fmla="*/ 386620 w 828675"/>
                  <a:gd name="connsiteY1605" fmla="*/ 654939 h 800100"/>
                  <a:gd name="connsiteX1606" fmla="*/ 387477 w 828675"/>
                  <a:gd name="connsiteY1606" fmla="*/ 654177 h 800100"/>
                  <a:gd name="connsiteX1607" fmla="*/ 388334 w 828675"/>
                  <a:gd name="connsiteY1607" fmla="*/ 654939 h 800100"/>
                  <a:gd name="connsiteX1608" fmla="*/ 389192 w 828675"/>
                  <a:gd name="connsiteY1608" fmla="*/ 654939 h 800100"/>
                  <a:gd name="connsiteX1609" fmla="*/ 389954 w 828675"/>
                  <a:gd name="connsiteY1609" fmla="*/ 655796 h 800100"/>
                  <a:gd name="connsiteX1610" fmla="*/ 390811 w 828675"/>
                  <a:gd name="connsiteY1610" fmla="*/ 658368 h 800100"/>
                  <a:gd name="connsiteX1611" fmla="*/ 390811 w 828675"/>
                  <a:gd name="connsiteY1611" fmla="*/ 659225 h 800100"/>
                  <a:gd name="connsiteX1612" fmla="*/ 391668 w 828675"/>
                  <a:gd name="connsiteY1612" fmla="*/ 660940 h 800100"/>
                  <a:gd name="connsiteX1613" fmla="*/ 394240 w 828675"/>
                  <a:gd name="connsiteY1613" fmla="*/ 663512 h 800100"/>
                  <a:gd name="connsiteX1614" fmla="*/ 395954 w 828675"/>
                  <a:gd name="connsiteY1614" fmla="*/ 664369 h 800100"/>
                  <a:gd name="connsiteX1615" fmla="*/ 396812 w 828675"/>
                  <a:gd name="connsiteY1615" fmla="*/ 664369 h 800100"/>
                  <a:gd name="connsiteX1616" fmla="*/ 397669 w 828675"/>
                  <a:gd name="connsiteY1616" fmla="*/ 664369 h 800100"/>
                  <a:gd name="connsiteX1617" fmla="*/ 399288 w 828675"/>
                  <a:gd name="connsiteY1617" fmla="*/ 663512 h 800100"/>
                  <a:gd name="connsiteX1618" fmla="*/ 401003 w 828675"/>
                  <a:gd name="connsiteY1618" fmla="*/ 663512 h 800100"/>
                  <a:gd name="connsiteX1619" fmla="*/ 403574 w 828675"/>
                  <a:gd name="connsiteY1619" fmla="*/ 663512 h 800100"/>
                  <a:gd name="connsiteX1620" fmla="*/ 404432 w 828675"/>
                  <a:gd name="connsiteY1620" fmla="*/ 663512 h 800100"/>
                  <a:gd name="connsiteX1621" fmla="*/ 405289 w 828675"/>
                  <a:gd name="connsiteY1621" fmla="*/ 662654 h 800100"/>
                  <a:gd name="connsiteX1622" fmla="*/ 406146 w 828675"/>
                  <a:gd name="connsiteY1622" fmla="*/ 660940 h 800100"/>
                  <a:gd name="connsiteX1623" fmla="*/ 405289 w 828675"/>
                  <a:gd name="connsiteY1623" fmla="*/ 660083 h 800100"/>
                  <a:gd name="connsiteX1624" fmla="*/ 404432 w 828675"/>
                  <a:gd name="connsiteY1624" fmla="*/ 659225 h 800100"/>
                  <a:gd name="connsiteX1625" fmla="*/ 399288 w 828675"/>
                  <a:gd name="connsiteY1625" fmla="*/ 655796 h 800100"/>
                  <a:gd name="connsiteX1626" fmla="*/ 399288 w 828675"/>
                  <a:gd name="connsiteY1626" fmla="*/ 655796 h 800100"/>
                  <a:gd name="connsiteX1627" fmla="*/ 398431 w 828675"/>
                  <a:gd name="connsiteY1627" fmla="*/ 654939 h 800100"/>
                  <a:gd name="connsiteX1628" fmla="*/ 398431 w 828675"/>
                  <a:gd name="connsiteY1628" fmla="*/ 654939 h 800100"/>
                  <a:gd name="connsiteX1629" fmla="*/ 399288 w 828675"/>
                  <a:gd name="connsiteY1629" fmla="*/ 654177 h 800100"/>
                  <a:gd name="connsiteX1630" fmla="*/ 400145 w 828675"/>
                  <a:gd name="connsiteY1630" fmla="*/ 654177 h 800100"/>
                  <a:gd name="connsiteX1631" fmla="*/ 401003 w 828675"/>
                  <a:gd name="connsiteY1631" fmla="*/ 654177 h 800100"/>
                  <a:gd name="connsiteX1632" fmla="*/ 409480 w 828675"/>
                  <a:gd name="connsiteY1632" fmla="*/ 654177 h 800100"/>
                  <a:gd name="connsiteX1633" fmla="*/ 410337 w 828675"/>
                  <a:gd name="connsiteY1633" fmla="*/ 653320 h 800100"/>
                  <a:gd name="connsiteX1634" fmla="*/ 411194 w 828675"/>
                  <a:gd name="connsiteY1634" fmla="*/ 653320 h 800100"/>
                  <a:gd name="connsiteX1635" fmla="*/ 411194 w 828675"/>
                  <a:gd name="connsiteY1635" fmla="*/ 652463 h 800100"/>
                  <a:gd name="connsiteX1636" fmla="*/ 412052 w 828675"/>
                  <a:gd name="connsiteY1636" fmla="*/ 651605 h 800100"/>
                  <a:gd name="connsiteX1637" fmla="*/ 412909 w 828675"/>
                  <a:gd name="connsiteY1637" fmla="*/ 649034 h 800100"/>
                  <a:gd name="connsiteX1638" fmla="*/ 412909 w 828675"/>
                  <a:gd name="connsiteY1638" fmla="*/ 648176 h 800100"/>
                  <a:gd name="connsiteX1639" fmla="*/ 412909 w 828675"/>
                  <a:gd name="connsiteY1639" fmla="*/ 648176 h 800100"/>
                  <a:gd name="connsiteX1640" fmla="*/ 413766 w 828675"/>
                  <a:gd name="connsiteY1640" fmla="*/ 647319 h 800100"/>
                  <a:gd name="connsiteX1641" fmla="*/ 413766 w 828675"/>
                  <a:gd name="connsiteY1641" fmla="*/ 647319 h 800100"/>
                  <a:gd name="connsiteX1642" fmla="*/ 414623 w 828675"/>
                  <a:gd name="connsiteY1642" fmla="*/ 646462 h 800100"/>
                  <a:gd name="connsiteX1643" fmla="*/ 415385 w 828675"/>
                  <a:gd name="connsiteY1643" fmla="*/ 646462 h 800100"/>
                  <a:gd name="connsiteX1644" fmla="*/ 416242 w 828675"/>
                  <a:gd name="connsiteY1644" fmla="*/ 646462 h 800100"/>
                  <a:gd name="connsiteX1645" fmla="*/ 417100 w 828675"/>
                  <a:gd name="connsiteY1645" fmla="*/ 646462 h 800100"/>
                  <a:gd name="connsiteX1646" fmla="*/ 417957 w 828675"/>
                  <a:gd name="connsiteY1646" fmla="*/ 646462 h 800100"/>
                  <a:gd name="connsiteX1647" fmla="*/ 418814 w 828675"/>
                  <a:gd name="connsiteY1647" fmla="*/ 646462 h 800100"/>
                  <a:gd name="connsiteX1648" fmla="*/ 419671 w 828675"/>
                  <a:gd name="connsiteY1648" fmla="*/ 647319 h 800100"/>
                  <a:gd name="connsiteX1649" fmla="*/ 419671 w 828675"/>
                  <a:gd name="connsiteY1649" fmla="*/ 648176 h 800100"/>
                  <a:gd name="connsiteX1650" fmla="*/ 419671 w 828675"/>
                  <a:gd name="connsiteY1650" fmla="*/ 649891 h 800100"/>
                  <a:gd name="connsiteX1651" fmla="*/ 417100 w 828675"/>
                  <a:gd name="connsiteY1651" fmla="*/ 657511 h 800100"/>
                  <a:gd name="connsiteX1652" fmla="*/ 416242 w 828675"/>
                  <a:gd name="connsiteY1652" fmla="*/ 659225 h 800100"/>
                  <a:gd name="connsiteX1653" fmla="*/ 416242 w 828675"/>
                  <a:gd name="connsiteY1653" fmla="*/ 662654 h 800100"/>
                  <a:gd name="connsiteX1654" fmla="*/ 416242 w 828675"/>
                  <a:gd name="connsiteY1654" fmla="*/ 662654 h 800100"/>
                  <a:gd name="connsiteX1655" fmla="*/ 413766 w 828675"/>
                  <a:gd name="connsiteY1655" fmla="*/ 664369 h 800100"/>
                  <a:gd name="connsiteX1656" fmla="*/ 413766 w 828675"/>
                  <a:gd name="connsiteY1656" fmla="*/ 665226 h 800100"/>
                  <a:gd name="connsiteX1657" fmla="*/ 412909 w 828675"/>
                  <a:gd name="connsiteY1657" fmla="*/ 666083 h 800100"/>
                  <a:gd name="connsiteX1658" fmla="*/ 412909 w 828675"/>
                  <a:gd name="connsiteY1658" fmla="*/ 666083 h 800100"/>
                  <a:gd name="connsiteX1659" fmla="*/ 412909 w 828675"/>
                  <a:gd name="connsiteY1659" fmla="*/ 666941 h 800100"/>
                  <a:gd name="connsiteX1660" fmla="*/ 412909 w 828675"/>
                  <a:gd name="connsiteY1660" fmla="*/ 668560 h 800100"/>
                  <a:gd name="connsiteX1661" fmla="*/ 412052 w 828675"/>
                  <a:gd name="connsiteY1661" fmla="*/ 669417 h 800100"/>
                  <a:gd name="connsiteX1662" fmla="*/ 412052 w 828675"/>
                  <a:gd name="connsiteY1662" fmla="*/ 670274 h 800100"/>
                  <a:gd name="connsiteX1663" fmla="*/ 411194 w 828675"/>
                  <a:gd name="connsiteY1663" fmla="*/ 671131 h 800100"/>
                  <a:gd name="connsiteX1664" fmla="*/ 411194 w 828675"/>
                  <a:gd name="connsiteY1664" fmla="*/ 671989 h 800100"/>
                  <a:gd name="connsiteX1665" fmla="*/ 409480 w 828675"/>
                  <a:gd name="connsiteY1665" fmla="*/ 672846 h 800100"/>
                  <a:gd name="connsiteX1666" fmla="*/ 409480 w 828675"/>
                  <a:gd name="connsiteY1666" fmla="*/ 672846 h 800100"/>
                  <a:gd name="connsiteX1667" fmla="*/ 409480 w 828675"/>
                  <a:gd name="connsiteY1667" fmla="*/ 673703 h 800100"/>
                  <a:gd name="connsiteX1668" fmla="*/ 409480 w 828675"/>
                  <a:gd name="connsiteY1668" fmla="*/ 675418 h 800100"/>
                  <a:gd name="connsiteX1669" fmla="*/ 409480 w 828675"/>
                  <a:gd name="connsiteY1669" fmla="*/ 676275 h 800100"/>
                  <a:gd name="connsiteX1670" fmla="*/ 411194 w 828675"/>
                  <a:gd name="connsiteY1670" fmla="*/ 676275 h 800100"/>
                  <a:gd name="connsiteX1671" fmla="*/ 413766 w 828675"/>
                  <a:gd name="connsiteY1671" fmla="*/ 677132 h 800100"/>
                  <a:gd name="connsiteX1672" fmla="*/ 417100 w 828675"/>
                  <a:gd name="connsiteY1672" fmla="*/ 677132 h 800100"/>
                  <a:gd name="connsiteX1673" fmla="*/ 417957 w 828675"/>
                  <a:gd name="connsiteY1673" fmla="*/ 677132 h 800100"/>
                  <a:gd name="connsiteX1674" fmla="*/ 423863 w 828675"/>
                  <a:gd name="connsiteY1674" fmla="*/ 674560 h 800100"/>
                  <a:gd name="connsiteX1675" fmla="*/ 424720 w 828675"/>
                  <a:gd name="connsiteY1675" fmla="*/ 674560 h 800100"/>
                  <a:gd name="connsiteX1676" fmla="*/ 425577 w 828675"/>
                  <a:gd name="connsiteY1676" fmla="*/ 675418 h 800100"/>
                  <a:gd name="connsiteX1677" fmla="*/ 426434 w 828675"/>
                  <a:gd name="connsiteY1677" fmla="*/ 676275 h 800100"/>
                  <a:gd name="connsiteX1678" fmla="*/ 427292 w 828675"/>
                  <a:gd name="connsiteY1678" fmla="*/ 677989 h 800100"/>
                  <a:gd name="connsiteX1679" fmla="*/ 428149 w 828675"/>
                  <a:gd name="connsiteY1679" fmla="*/ 677989 h 800100"/>
                  <a:gd name="connsiteX1680" fmla="*/ 429006 w 828675"/>
                  <a:gd name="connsiteY1680" fmla="*/ 678847 h 800100"/>
                  <a:gd name="connsiteX1681" fmla="*/ 431578 w 828675"/>
                  <a:gd name="connsiteY1681" fmla="*/ 678847 h 800100"/>
                  <a:gd name="connsiteX1682" fmla="*/ 432435 w 828675"/>
                  <a:gd name="connsiteY1682" fmla="*/ 678847 h 800100"/>
                  <a:gd name="connsiteX1683" fmla="*/ 434912 w 828675"/>
                  <a:gd name="connsiteY1683" fmla="*/ 677132 h 800100"/>
                  <a:gd name="connsiteX1684" fmla="*/ 435769 w 828675"/>
                  <a:gd name="connsiteY1684" fmla="*/ 677132 h 800100"/>
                  <a:gd name="connsiteX1685" fmla="*/ 437483 w 828675"/>
                  <a:gd name="connsiteY1685" fmla="*/ 677989 h 800100"/>
                  <a:gd name="connsiteX1686" fmla="*/ 439198 w 828675"/>
                  <a:gd name="connsiteY1686" fmla="*/ 678847 h 800100"/>
                  <a:gd name="connsiteX1687" fmla="*/ 443389 w 828675"/>
                  <a:gd name="connsiteY1687" fmla="*/ 682180 h 800100"/>
                  <a:gd name="connsiteX1688" fmla="*/ 445961 w 828675"/>
                  <a:gd name="connsiteY1688" fmla="*/ 683895 h 800100"/>
                  <a:gd name="connsiteX1689" fmla="*/ 449390 w 828675"/>
                  <a:gd name="connsiteY1689" fmla="*/ 680466 h 800100"/>
                  <a:gd name="connsiteX1690" fmla="*/ 450152 w 828675"/>
                  <a:gd name="connsiteY1690" fmla="*/ 679609 h 800100"/>
                  <a:gd name="connsiteX1691" fmla="*/ 451009 w 828675"/>
                  <a:gd name="connsiteY1691" fmla="*/ 679609 h 800100"/>
                  <a:gd name="connsiteX1692" fmla="*/ 451866 w 828675"/>
                  <a:gd name="connsiteY1692" fmla="*/ 678847 h 800100"/>
                  <a:gd name="connsiteX1693" fmla="*/ 454438 w 828675"/>
                  <a:gd name="connsiteY1693" fmla="*/ 678847 h 800100"/>
                  <a:gd name="connsiteX1694" fmla="*/ 454438 w 828675"/>
                  <a:gd name="connsiteY1694" fmla="*/ 678847 h 800100"/>
                  <a:gd name="connsiteX1695" fmla="*/ 455295 w 828675"/>
                  <a:gd name="connsiteY1695" fmla="*/ 677989 h 800100"/>
                  <a:gd name="connsiteX1696" fmla="*/ 456152 w 828675"/>
                  <a:gd name="connsiteY1696" fmla="*/ 677132 h 800100"/>
                  <a:gd name="connsiteX1697" fmla="*/ 456152 w 828675"/>
                  <a:gd name="connsiteY1697" fmla="*/ 676275 h 800100"/>
                  <a:gd name="connsiteX1698" fmla="*/ 455295 w 828675"/>
                  <a:gd name="connsiteY1698" fmla="*/ 675418 h 800100"/>
                  <a:gd name="connsiteX1699" fmla="*/ 455295 w 828675"/>
                  <a:gd name="connsiteY1699" fmla="*/ 674560 h 800100"/>
                  <a:gd name="connsiteX1700" fmla="*/ 455295 w 828675"/>
                  <a:gd name="connsiteY1700" fmla="*/ 673703 h 800100"/>
                  <a:gd name="connsiteX1701" fmla="*/ 454438 w 828675"/>
                  <a:gd name="connsiteY1701" fmla="*/ 672846 h 800100"/>
                  <a:gd name="connsiteX1702" fmla="*/ 454438 w 828675"/>
                  <a:gd name="connsiteY1702" fmla="*/ 672846 h 800100"/>
                  <a:gd name="connsiteX1703" fmla="*/ 454438 w 828675"/>
                  <a:gd name="connsiteY1703" fmla="*/ 672846 h 800100"/>
                  <a:gd name="connsiteX1704" fmla="*/ 454438 w 828675"/>
                  <a:gd name="connsiteY1704" fmla="*/ 671989 h 800100"/>
                  <a:gd name="connsiteX1705" fmla="*/ 455295 w 828675"/>
                  <a:gd name="connsiteY1705" fmla="*/ 671131 h 800100"/>
                  <a:gd name="connsiteX1706" fmla="*/ 455295 w 828675"/>
                  <a:gd name="connsiteY1706" fmla="*/ 670274 h 800100"/>
                  <a:gd name="connsiteX1707" fmla="*/ 458629 w 828675"/>
                  <a:gd name="connsiteY1707" fmla="*/ 666941 h 800100"/>
                  <a:gd name="connsiteX1708" fmla="*/ 460343 w 828675"/>
                  <a:gd name="connsiteY1708" fmla="*/ 665226 h 800100"/>
                  <a:gd name="connsiteX1709" fmla="*/ 461200 w 828675"/>
                  <a:gd name="connsiteY1709" fmla="*/ 661797 h 800100"/>
                  <a:gd name="connsiteX1710" fmla="*/ 462058 w 828675"/>
                  <a:gd name="connsiteY1710" fmla="*/ 660940 h 800100"/>
                  <a:gd name="connsiteX1711" fmla="*/ 462058 w 828675"/>
                  <a:gd name="connsiteY1711" fmla="*/ 660083 h 800100"/>
                  <a:gd name="connsiteX1712" fmla="*/ 462058 w 828675"/>
                  <a:gd name="connsiteY1712" fmla="*/ 659225 h 800100"/>
                  <a:gd name="connsiteX1713" fmla="*/ 462058 w 828675"/>
                  <a:gd name="connsiteY1713" fmla="*/ 657511 h 800100"/>
                  <a:gd name="connsiteX1714" fmla="*/ 461200 w 828675"/>
                  <a:gd name="connsiteY1714" fmla="*/ 654177 h 800100"/>
                  <a:gd name="connsiteX1715" fmla="*/ 462058 w 828675"/>
                  <a:gd name="connsiteY1715" fmla="*/ 653320 h 800100"/>
                  <a:gd name="connsiteX1716" fmla="*/ 462058 w 828675"/>
                  <a:gd name="connsiteY1716" fmla="*/ 652463 h 800100"/>
                  <a:gd name="connsiteX1717" fmla="*/ 463772 w 828675"/>
                  <a:gd name="connsiteY1717" fmla="*/ 652463 h 800100"/>
                  <a:gd name="connsiteX1718" fmla="*/ 465487 w 828675"/>
                  <a:gd name="connsiteY1718" fmla="*/ 653320 h 800100"/>
                  <a:gd name="connsiteX1719" fmla="*/ 466344 w 828675"/>
                  <a:gd name="connsiteY1719" fmla="*/ 653320 h 800100"/>
                  <a:gd name="connsiteX1720" fmla="*/ 467963 w 828675"/>
                  <a:gd name="connsiteY1720" fmla="*/ 652463 h 800100"/>
                  <a:gd name="connsiteX1721" fmla="*/ 469678 w 828675"/>
                  <a:gd name="connsiteY1721" fmla="*/ 652463 h 800100"/>
                  <a:gd name="connsiteX1722" fmla="*/ 471392 w 828675"/>
                  <a:gd name="connsiteY1722" fmla="*/ 652463 h 800100"/>
                  <a:gd name="connsiteX1723" fmla="*/ 473107 w 828675"/>
                  <a:gd name="connsiteY1723" fmla="*/ 653320 h 800100"/>
                  <a:gd name="connsiteX1724" fmla="*/ 475583 w 828675"/>
                  <a:gd name="connsiteY1724" fmla="*/ 654177 h 800100"/>
                  <a:gd name="connsiteX1725" fmla="*/ 475583 w 828675"/>
                  <a:gd name="connsiteY1725" fmla="*/ 654177 h 800100"/>
                  <a:gd name="connsiteX1726" fmla="*/ 476441 w 828675"/>
                  <a:gd name="connsiteY1726" fmla="*/ 654939 h 800100"/>
                  <a:gd name="connsiteX1727" fmla="*/ 476441 w 828675"/>
                  <a:gd name="connsiteY1727" fmla="*/ 655796 h 800100"/>
                  <a:gd name="connsiteX1728" fmla="*/ 476441 w 828675"/>
                  <a:gd name="connsiteY1728" fmla="*/ 655796 h 800100"/>
                  <a:gd name="connsiteX1729" fmla="*/ 475583 w 828675"/>
                  <a:gd name="connsiteY1729" fmla="*/ 657511 h 800100"/>
                  <a:gd name="connsiteX1730" fmla="*/ 475583 w 828675"/>
                  <a:gd name="connsiteY1730" fmla="*/ 658368 h 800100"/>
                  <a:gd name="connsiteX1731" fmla="*/ 475583 w 828675"/>
                  <a:gd name="connsiteY1731" fmla="*/ 659225 h 800100"/>
                  <a:gd name="connsiteX1732" fmla="*/ 476441 w 828675"/>
                  <a:gd name="connsiteY1732" fmla="*/ 659225 h 800100"/>
                  <a:gd name="connsiteX1733" fmla="*/ 477298 w 828675"/>
                  <a:gd name="connsiteY1733" fmla="*/ 660083 h 800100"/>
                  <a:gd name="connsiteX1734" fmla="*/ 479012 w 828675"/>
                  <a:gd name="connsiteY1734" fmla="*/ 660083 h 800100"/>
                  <a:gd name="connsiteX1735" fmla="*/ 481584 w 828675"/>
                  <a:gd name="connsiteY1735" fmla="*/ 660083 h 800100"/>
                  <a:gd name="connsiteX1736" fmla="*/ 484918 w 828675"/>
                  <a:gd name="connsiteY1736" fmla="*/ 660083 h 800100"/>
                  <a:gd name="connsiteX1737" fmla="*/ 485775 w 828675"/>
                  <a:gd name="connsiteY1737" fmla="*/ 659225 h 800100"/>
                  <a:gd name="connsiteX1738" fmla="*/ 486632 w 828675"/>
                  <a:gd name="connsiteY1738" fmla="*/ 658368 h 800100"/>
                  <a:gd name="connsiteX1739" fmla="*/ 487490 w 828675"/>
                  <a:gd name="connsiteY1739" fmla="*/ 657511 h 800100"/>
                  <a:gd name="connsiteX1740" fmla="*/ 487490 w 828675"/>
                  <a:gd name="connsiteY1740" fmla="*/ 656654 h 800100"/>
                  <a:gd name="connsiteX1741" fmla="*/ 486632 w 828675"/>
                  <a:gd name="connsiteY1741" fmla="*/ 655796 h 800100"/>
                  <a:gd name="connsiteX1742" fmla="*/ 483299 w 828675"/>
                  <a:gd name="connsiteY1742" fmla="*/ 654177 h 800100"/>
                  <a:gd name="connsiteX1743" fmla="*/ 482441 w 828675"/>
                  <a:gd name="connsiteY1743" fmla="*/ 653320 h 800100"/>
                  <a:gd name="connsiteX1744" fmla="*/ 482441 w 828675"/>
                  <a:gd name="connsiteY1744" fmla="*/ 653320 h 800100"/>
                  <a:gd name="connsiteX1745" fmla="*/ 484918 w 828675"/>
                  <a:gd name="connsiteY1745" fmla="*/ 651605 h 800100"/>
                  <a:gd name="connsiteX1746" fmla="*/ 495109 w 828675"/>
                  <a:gd name="connsiteY1746" fmla="*/ 649034 h 800100"/>
                  <a:gd name="connsiteX1747" fmla="*/ 496824 w 828675"/>
                  <a:gd name="connsiteY1747" fmla="*/ 652463 h 800100"/>
                  <a:gd name="connsiteX1748" fmla="*/ 497681 w 828675"/>
                  <a:gd name="connsiteY1748" fmla="*/ 655796 h 800100"/>
                  <a:gd name="connsiteX1749" fmla="*/ 498538 w 828675"/>
                  <a:gd name="connsiteY1749" fmla="*/ 656654 h 800100"/>
                  <a:gd name="connsiteX1750" fmla="*/ 499396 w 828675"/>
                  <a:gd name="connsiteY1750" fmla="*/ 657511 h 800100"/>
                  <a:gd name="connsiteX1751" fmla="*/ 499396 w 828675"/>
                  <a:gd name="connsiteY1751" fmla="*/ 658368 h 800100"/>
                  <a:gd name="connsiteX1752" fmla="*/ 499396 w 828675"/>
                  <a:gd name="connsiteY1752" fmla="*/ 659225 h 800100"/>
                  <a:gd name="connsiteX1753" fmla="*/ 499396 w 828675"/>
                  <a:gd name="connsiteY1753" fmla="*/ 660083 h 800100"/>
                  <a:gd name="connsiteX1754" fmla="*/ 499396 w 828675"/>
                  <a:gd name="connsiteY1754" fmla="*/ 660083 h 800100"/>
                  <a:gd name="connsiteX1755" fmla="*/ 498538 w 828675"/>
                  <a:gd name="connsiteY1755" fmla="*/ 660940 h 800100"/>
                  <a:gd name="connsiteX1756" fmla="*/ 498538 w 828675"/>
                  <a:gd name="connsiteY1756" fmla="*/ 661797 h 800100"/>
                  <a:gd name="connsiteX1757" fmla="*/ 499396 w 828675"/>
                  <a:gd name="connsiteY1757" fmla="*/ 662654 h 800100"/>
                  <a:gd name="connsiteX1758" fmla="*/ 500253 w 828675"/>
                  <a:gd name="connsiteY1758" fmla="*/ 663512 h 800100"/>
                  <a:gd name="connsiteX1759" fmla="*/ 501872 w 828675"/>
                  <a:gd name="connsiteY1759" fmla="*/ 663512 h 800100"/>
                  <a:gd name="connsiteX1760" fmla="*/ 504444 w 828675"/>
                  <a:gd name="connsiteY1760" fmla="*/ 664369 h 800100"/>
                  <a:gd name="connsiteX1761" fmla="*/ 508730 w 828675"/>
                  <a:gd name="connsiteY1761" fmla="*/ 665226 h 800100"/>
                  <a:gd name="connsiteX1762" fmla="*/ 513779 w 828675"/>
                  <a:gd name="connsiteY1762" fmla="*/ 665226 h 800100"/>
                  <a:gd name="connsiteX1763" fmla="*/ 514636 w 828675"/>
                  <a:gd name="connsiteY1763" fmla="*/ 666083 h 800100"/>
                  <a:gd name="connsiteX1764" fmla="*/ 514636 w 828675"/>
                  <a:gd name="connsiteY1764" fmla="*/ 666941 h 800100"/>
                  <a:gd name="connsiteX1765" fmla="*/ 515493 w 828675"/>
                  <a:gd name="connsiteY1765" fmla="*/ 668560 h 800100"/>
                  <a:gd name="connsiteX1766" fmla="*/ 515493 w 828675"/>
                  <a:gd name="connsiteY1766" fmla="*/ 669417 h 800100"/>
                  <a:gd name="connsiteX1767" fmla="*/ 516350 w 828675"/>
                  <a:gd name="connsiteY1767" fmla="*/ 670274 h 800100"/>
                  <a:gd name="connsiteX1768" fmla="*/ 518827 w 828675"/>
                  <a:gd name="connsiteY1768" fmla="*/ 670274 h 800100"/>
                  <a:gd name="connsiteX1769" fmla="*/ 520541 w 828675"/>
                  <a:gd name="connsiteY1769" fmla="*/ 670274 h 800100"/>
                  <a:gd name="connsiteX1770" fmla="*/ 521399 w 828675"/>
                  <a:gd name="connsiteY1770" fmla="*/ 670274 h 800100"/>
                  <a:gd name="connsiteX1771" fmla="*/ 523113 w 828675"/>
                  <a:gd name="connsiteY1771" fmla="*/ 669417 h 800100"/>
                  <a:gd name="connsiteX1772" fmla="*/ 523970 w 828675"/>
                  <a:gd name="connsiteY1772" fmla="*/ 668560 h 800100"/>
                  <a:gd name="connsiteX1773" fmla="*/ 524828 w 828675"/>
                  <a:gd name="connsiteY1773" fmla="*/ 668560 h 800100"/>
                  <a:gd name="connsiteX1774" fmla="*/ 525685 w 828675"/>
                  <a:gd name="connsiteY1774" fmla="*/ 668560 h 800100"/>
                  <a:gd name="connsiteX1775" fmla="*/ 527304 w 828675"/>
                  <a:gd name="connsiteY1775" fmla="*/ 669417 h 800100"/>
                  <a:gd name="connsiteX1776" fmla="*/ 529019 w 828675"/>
                  <a:gd name="connsiteY1776" fmla="*/ 669417 h 800100"/>
                  <a:gd name="connsiteX1777" fmla="*/ 529876 w 828675"/>
                  <a:gd name="connsiteY1777" fmla="*/ 671131 h 800100"/>
                  <a:gd name="connsiteX1778" fmla="*/ 530733 w 828675"/>
                  <a:gd name="connsiteY1778" fmla="*/ 672846 h 800100"/>
                  <a:gd name="connsiteX1779" fmla="*/ 530733 w 828675"/>
                  <a:gd name="connsiteY1779" fmla="*/ 672846 h 800100"/>
                  <a:gd name="connsiteX1780" fmla="*/ 530733 w 828675"/>
                  <a:gd name="connsiteY1780" fmla="*/ 672846 h 800100"/>
                  <a:gd name="connsiteX1781" fmla="*/ 532448 w 828675"/>
                  <a:gd name="connsiteY1781" fmla="*/ 675418 h 800100"/>
                  <a:gd name="connsiteX1782" fmla="*/ 532448 w 828675"/>
                  <a:gd name="connsiteY1782" fmla="*/ 677132 h 800100"/>
                  <a:gd name="connsiteX1783" fmla="*/ 532448 w 828675"/>
                  <a:gd name="connsiteY1783" fmla="*/ 677989 h 800100"/>
                  <a:gd name="connsiteX1784" fmla="*/ 531590 w 828675"/>
                  <a:gd name="connsiteY1784" fmla="*/ 678847 h 800100"/>
                  <a:gd name="connsiteX1785" fmla="*/ 531590 w 828675"/>
                  <a:gd name="connsiteY1785" fmla="*/ 679609 h 800100"/>
                  <a:gd name="connsiteX1786" fmla="*/ 531590 w 828675"/>
                  <a:gd name="connsiteY1786" fmla="*/ 679609 h 800100"/>
                  <a:gd name="connsiteX1787" fmla="*/ 531590 w 828675"/>
                  <a:gd name="connsiteY1787" fmla="*/ 680466 h 800100"/>
                  <a:gd name="connsiteX1788" fmla="*/ 531590 w 828675"/>
                  <a:gd name="connsiteY1788" fmla="*/ 681323 h 800100"/>
                  <a:gd name="connsiteX1789" fmla="*/ 533305 w 828675"/>
                  <a:gd name="connsiteY1789" fmla="*/ 682180 h 800100"/>
                  <a:gd name="connsiteX1790" fmla="*/ 540925 w 828675"/>
                  <a:gd name="connsiteY1790" fmla="*/ 689038 h 800100"/>
                  <a:gd name="connsiteX1791" fmla="*/ 542639 w 828675"/>
                  <a:gd name="connsiteY1791" fmla="*/ 689896 h 800100"/>
                  <a:gd name="connsiteX1792" fmla="*/ 543497 w 828675"/>
                  <a:gd name="connsiteY1792" fmla="*/ 689896 h 800100"/>
                  <a:gd name="connsiteX1793" fmla="*/ 545973 w 828675"/>
                  <a:gd name="connsiteY1793" fmla="*/ 689896 h 800100"/>
                  <a:gd name="connsiteX1794" fmla="*/ 548545 w 828675"/>
                  <a:gd name="connsiteY1794" fmla="*/ 689896 h 800100"/>
                  <a:gd name="connsiteX1795" fmla="*/ 549402 w 828675"/>
                  <a:gd name="connsiteY1795" fmla="*/ 689896 h 800100"/>
                  <a:gd name="connsiteX1796" fmla="*/ 551974 w 828675"/>
                  <a:gd name="connsiteY1796" fmla="*/ 691610 h 800100"/>
                  <a:gd name="connsiteX1797" fmla="*/ 557879 w 828675"/>
                  <a:gd name="connsiteY1797" fmla="*/ 695801 h 800100"/>
                  <a:gd name="connsiteX1798" fmla="*/ 559594 w 828675"/>
                  <a:gd name="connsiteY1798" fmla="*/ 696659 h 800100"/>
                  <a:gd name="connsiteX1799" fmla="*/ 559594 w 828675"/>
                  <a:gd name="connsiteY1799" fmla="*/ 696659 h 800100"/>
                  <a:gd name="connsiteX1800" fmla="*/ 560451 w 828675"/>
                  <a:gd name="connsiteY1800" fmla="*/ 696659 h 800100"/>
                  <a:gd name="connsiteX1801" fmla="*/ 561308 w 828675"/>
                  <a:gd name="connsiteY1801" fmla="*/ 695801 h 800100"/>
                  <a:gd name="connsiteX1802" fmla="*/ 562070 w 828675"/>
                  <a:gd name="connsiteY1802" fmla="*/ 695801 h 800100"/>
                  <a:gd name="connsiteX1803" fmla="*/ 562928 w 828675"/>
                  <a:gd name="connsiteY1803" fmla="*/ 694944 h 800100"/>
                  <a:gd name="connsiteX1804" fmla="*/ 567214 w 828675"/>
                  <a:gd name="connsiteY1804" fmla="*/ 692372 h 800100"/>
                  <a:gd name="connsiteX1805" fmla="*/ 568071 w 828675"/>
                  <a:gd name="connsiteY1805" fmla="*/ 691610 h 800100"/>
                  <a:gd name="connsiteX1806" fmla="*/ 568928 w 828675"/>
                  <a:gd name="connsiteY1806" fmla="*/ 691610 h 800100"/>
                  <a:gd name="connsiteX1807" fmla="*/ 568928 w 828675"/>
                  <a:gd name="connsiteY1807" fmla="*/ 692372 h 800100"/>
                  <a:gd name="connsiteX1808" fmla="*/ 569786 w 828675"/>
                  <a:gd name="connsiteY1808" fmla="*/ 693230 h 800100"/>
                  <a:gd name="connsiteX1809" fmla="*/ 569786 w 828675"/>
                  <a:gd name="connsiteY1809" fmla="*/ 694087 h 800100"/>
                  <a:gd name="connsiteX1810" fmla="*/ 569786 w 828675"/>
                  <a:gd name="connsiteY1810" fmla="*/ 696659 h 800100"/>
                  <a:gd name="connsiteX1811" fmla="*/ 569786 w 828675"/>
                  <a:gd name="connsiteY1811" fmla="*/ 698373 h 800100"/>
                  <a:gd name="connsiteX1812" fmla="*/ 568928 w 828675"/>
                  <a:gd name="connsiteY1812" fmla="*/ 699230 h 800100"/>
                  <a:gd name="connsiteX1813" fmla="*/ 568928 w 828675"/>
                  <a:gd name="connsiteY1813" fmla="*/ 700088 h 800100"/>
                  <a:gd name="connsiteX1814" fmla="*/ 568928 w 828675"/>
                  <a:gd name="connsiteY1814" fmla="*/ 700945 h 800100"/>
                  <a:gd name="connsiteX1815" fmla="*/ 568928 w 828675"/>
                  <a:gd name="connsiteY1815" fmla="*/ 701802 h 800100"/>
                  <a:gd name="connsiteX1816" fmla="*/ 570548 w 828675"/>
                  <a:gd name="connsiteY1816" fmla="*/ 702659 h 800100"/>
                  <a:gd name="connsiteX1817" fmla="*/ 571405 w 828675"/>
                  <a:gd name="connsiteY1817" fmla="*/ 702659 h 800100"/>
                  <a:gd name="connsiteX1818" fmla="*/ 571405 w 828675"/>
                  <a:gd name="connsiteY1818" fmla="*/ 702659 h 800100"/>
                  <a:gd name="connsiteX1819" fmla="*/ 572262 w 828675"/>
                  <a:gd name="connsiteY1819" fmla="*/ 701802 h 800100"/>
                  <a:gd name="connsiteX1820" fmla="*/ 573119 w 828675"/>
                  <a:gd name="connsiteY1820" fmla="*/ 700945 h 800100"/>
                  <a:gd name="connsiteX1821" fmla="*/ 573977 w 828675"/>
                  <a:gd name="connsiteY1821" fmla="*/ 699230 h 800100"/>
                  <a:gd name="connsiteX1822" fmla="*/ 573977 w 828675"/>
                  <a:gd name="connsiteY1822" fmla="*/ 699230 h 800100"/>
                  <a:gd name="connsiteX1823" fmla="*/ 574834 w 828675"/>
                  <a:gd name="connsiteY1823" fmla="*/ 698373 h 800100"/>
                  <a:gd name="connsiteX1824" fmla="*/ 574834 w 828675"/>
                  <a:gd name="connsiteY1824" fmla="*/ 698373 h 800100"/>
                  <a:gd name="connsiteX1825" fmla="*/ 575691 w 828675"/>
                  <a:gd name="connsiteY1825" fmla="*/ 699230 h 800100"/>
                  <a:gd name="connsiteX1826" fmla="*/ 575691 w 828675"/>
                  <a:gd name="connsiteY1826" fmla="*/ 701802 h 800100"/>
                  <a:gd name="connsiteX1827" fmla="*/ 574834 w 828675"/>
                  <a:gd name="connsiteY1827" fmla="*/ 706850 h 800100"/>
                  <a:gd name="connsiteX1828" fmla="*/ 575691 w 828675"/>
                  <a:gd name="connsiteY1828" fmla="*/ 707708 h 800100"/>
                  <a:gd name="connsiteX1829" fmla="*/ 575691 w 828675"/>
                  <a:gd name="connsiteY1829" fmla="*/ 708565 h 800100"/>
                  <a:gd name="connsiteX1830" fmla="*/ 576548 w 828675"/>
                  <a:gd name="connsiteY1830" fmla="*/ 708565 h 800100"/>
                  <a:gd name="connsiteX1831" fmla="*/ 576548 w 828675"/>
                  <a:gd name="connsiteY1831" fmla="*/ 708565 h 800100"/>
                  <a:gd name="connsiteX1832" fmla="*/ 577405 w 828675"/>
                  <a:gd name="connsiteY1832" fmla="*/ 708565 h 800100"/>
                  <a:gd name="connsiteX1833" fmla="*/ 578263 w 828675"/>
                  <a:gd name="connsiteY1833" fmla="*/ 708565 h 800100"/>
                  <a:gd name="connsiteX1834" fmla="*/ 578263 w 828675"/>
                  <a:gd name="connsiteY1834" fmla="*/ 708565 h 800100"/>
                  <a:gd name="connsiteX1835" fmla="*/ 579025 w 828675"/>
                  <a:gd name="connsiteY1835" fmla="*/ 708565 h 800100"/>
                  <a:gd name="connsiteX1836" fmla="*/ 579882 w 828675"/>
                  <a:gd name="connsiteY1836" fmla="*/ 708565 h 800100"/>
                  <a:gd name="connsiteX1837" fmla="*/ 581597 w 828675"/>
                  <a:gd name="connsiteY1837" fmla="*/ 709422 h 800100"/>
                  <a:gd name="connsiteX1838" fmla="*/ 581597 w 828675"/>
                  <a:gd name="connsiteY1838" fmla="*/ 710279 h 800100"/>
                  <a:gd name="connsiteX1839" fmla="*/ 582454 w 828675"/>
                  <a:gd name="connsiteY1839" fmla="*/ 711994 h 800100"/>
                  <a:gd name="connsiteX1840" fmla="*/ 579882 w 828675"/>
                  <a:gd name="connsiteY1840" fmla="*/ 716280 h 800100"/>
                  <a:gd name="connsiteX1841" fmla="*/ 579882 w 828675"/>
                  <a:gd name="connsiteY1841" fmla="*/ 717042 h 800100"/>
                  <a:gd name="connsiteX1842" fmla="*/ 579882 w 828675"/>
                  <a:gd name="connsiteY1842" fmla="*/ 717899 h 800100"/>
                  <a:gd name="connsiteX1843" fmla="*/ 585026 w 828675"/>
                  <a:gd name="connsiteY1843" fmla="*/ 717042 h 800100"/>
                  <a:gd name="connsiteX1844" fmla="*/ 590074 w 828675"/>
                  <a:gd name="connsiteY1844" fmla="*/ 717899 h 800100"/>
                  <a:gd name="connsiteX1845" fmla="*/ 590931 w 828675"/>
                  <a:gd name="connsiteY1845" fmla="*/ 717042 h 800100"/>
                  <a:gd name="connsiteX1846" fmla="*/ 592646 w 828675"/>
                  <a:gd name="connsiteY1846" fmla="*/ 716280 h 800100"/>
                  <a:gd name="connsiteX1847" fmla="*/ 593503 w 828675"/>
                  <a:gd name="connsiteY1847" fmla="*/ 714566 h 800100"/>
                  <a:gd name="connsiteX1848" fmla="*/ 593503 w 828675"/>
                  <a:gd name="connsiteY1848" fmla="*/ 713708 h 800100"/>
                  <a:gd name="connsiteX1849" fmla="*/ 592646 w 828675"/>
                  <a:gd name="connsiteY1849" fmla="*/ 711137 h 800100"/>
                  <a:gd name="connsiteX1850" fmla="*/ 592646 w 828675"/>
                  <a:gd name="connsiteY1850" fmla="*/ 710279 h 800100"/>
                  <a:gd name="connsiteX1851" fmla="*/ 592646 w 828675"/>
                  <a:gd name="connsiteY1851" fmla="*/ 709422 h 800100"/>
                  <a:gd name="connsiteX1852" fmla="*/ 592646 w 828675"/>
                  <a:gd name="connsiteY1852" fmla="*/ 708565 h 800100"/>
                  <a:gd name="connsiteX1853" fmla="*/ 593503 w 828675"/>
                  <a:gd name="connsiteY1853" fmla="*/ 706850 h 800100"/>
                  <a:gd name="connsiteX1854" fmla="*/ 594360 w 828675"/>
                  <a:gd name="connsiteY1854" fmla="*/ 706850 h 800100"/>
                  <a:gd name="connsiteX1855" fmla="*/ 595979 w 828675"/>
                  <a:gd name="connsiteY1855" fmla="*/ 706850 h 800100"/>
                  <a:gd name="connsiteX1856" fmla="*/ 606171 w 828675"/>
                  <a:gd name="connsiteY1856" fmla="*/ 710279 h 800100"/>
                  <a:gd name="connsiteX1857" fmla="*/ 612172 w 828675"/>
                  <a:gd name="connsiteY1857" fmla="*/ 711137 h 800100"/>
                  <a:gd name="connsiteX1858" fmla="*/ 613791 w 828675"/>
                  <a:gd name="connsiteY1858" fmla="*/ 711137 h 800100"/>
                  <a:gd name="connsiteX1859" fmla="*/ 614648 w 828675"/>
                  <a:gd name="connsiteY1859" fmla="*/ 710279 h 800100"/>
                  <a:gd name="connsiteX1860" fmla="*/ 622268 w 828675"/>
                  <a:gd name="connsiteY1860" fmla="*/ 706850 h 800100"/>
                  <a:gd name="connsiteX1861" fmla="*/ 623126 w 828675"/>
                  <a:gd name="connsiteY1861" fmla="*/ 706850 h 800100"/>
                  <a:gd name="connsiteX1862" fmla="*/ 623983 w 828675"/>
                  <a:gd name="connsiteY1862" fmla="*/ 706850 h 800100"/>
                  <a:gd name="connsiteX1863" fmla="*/ 624840 w 828675"/>
                  <a:gd name="connsiteY1863" fmla="*/ 707708 h 800100"/>
                  <a:gd name="connsiteX1864" fmla="*/ 624840 w 828675"/>
                  <a:gd name="connsiteY1864" fmla="*/ 708565 h 800100"/>
                  <a:gd name="connsiteX1865" fmla="*/ 624840 w 828675"/>
                  <a:gd name="connsiteY1865" fmla="*/ 711137 h 800100"/>
                  <a:gd name="connsiteX1866" fmla="*/ 624840 w 828675"/>
                  <a:gd name="connsiteY1866" fmla="*/ 711994 h 800100"/>
                  <a:gd name="connsiteX1867" fmla="*/ 625697 w 828675"/>
                  <a:gd name="connsiteY1867" fmla="*/ 712851 h 800100"/>
                  <a:gd name="connsiteX1868" fmla="*/ 626555 w 828675"/>
                  <a:gd name="connsiteY1868" fmla="*/ 712851 h 800100"/>
                  <a:gd name="connsiteX1869" fmla="*/ 630746 w 828675"/>
                  <a:gd name="connsiteY1869" fmla="*/ 712851 h 800100"/>
                  <a:gd name="connsiteX1870" fmla="*/ 631603 w 828675"/>
                  <a:gd name="connsiteY1870" fmla="*/ 713708 h 800100"/>
                  <a:gd name="connsiteX1871" fmla="*/ 632460 w 828675"/>
                  <a:gd name="connsiteY1871" fmla="*/ 713708 h 800100"/>
                  <a:gd name="connsiteX1872" fmla="*/ 632460 w 828675"/>
                  <a:gd name="connsiteY1872" fmla="*/ 715423 h 800100"/>
                  <a:gd name="connsiteX1873" fmla="*/ 633317 w 828675"/>
                  <a:gd name="connsiteY1873" fmla="*/ 717899 h 800100"/>
                  <a:gd name="connsiteX1874" fmla="*/ 634175 w 828675"/>
                  <a:gd name="connsiteY1874" fmla="*/ 719614 h 800100"/>
                  <a:gd name="connsiteX1875" fmla="*/ 634175 w 828675"/>
                  <a:gd name="connsiteY1875" fmla="*/ 720471 h 800100"/>
                  <a:gd name="connsiteX1876" fmla="*/ 635889 w 828675"/>
                  <a:gd name="connsiteY1876" fmla="*/ 722185 h 800100"/>
                  <a:gd name="connsiteX1877" fmla="*/ 636746 w 828675"/>
                  <a:gd name="connsiteY1877" fmla="*/ 723043 h 800100"/>
                  <a:gd name="connsiteX1878" fmla="*/ 635889 w 828675"/>
                  <a:gd name="connsiteY1878" fmla="*/ 723900 h 800100"/>
                  <a:gd name="connsiteX1879" fmla="*/ 635032 w 828675"/>
                  <a:gd name="connsiteY1879" fmla="*/ 725614 h 800100"/>
                  <a:gd name="connsiteX1880" fmla="*/ 634175 w 828675"/>
                  <a:gd name="connsiteY1880" fmla="*/ 726472 h 800100"/>
                  <a:gd name="connsiteX1881" fmla="*/ 632460 w 828675"/>
                  <a:gd name="connsiteY1881" fmla="*/ 726472 h 800100"/>
                  <a:gd name="connsiteX1882" fmla="*/ 629126 w 828675"/>
                  <a:gd name="connsiteY1882" fmla="*/ 725614 h 800100"/>
                  <a:gd name="connsiteX1883" fmla="*/ 629126 w 828675"/>
                  <a:gd name="connsiteY1883" fmla="*/ 725614 h 800100"/>
                  <a:gd name="connsiteX1884" fmla="*/ 628269 w 828675"/>
                  <a:gd name="connsiteY1884" fmla="*/ 725614 h 800100"/>
                  <a:gd name="connsiteX1885" fmla="*/ 627412 w 828675"/>
                  <a:gd name="connsiteY1885" fmla="*/ 726472 h 800100"/>
                  <a:gd name="connsiteX1886" fmla="*/ 627412 w 828675"/>
                  <a:gd name="connsiteY1886" fmla="*/ 727329 h 800100"/>
                  <a:gd name="connsiteX1887" fmla="*/ 627412 w 828675"/>
                  <a:gd name="connsiteY1887" fmla="*/ 728186 h 800100"/>
                  <a:gd name="connsiteX1888" fmla="*/ 627412 w 828675"/>
                  <a:gd name="connsiteY1888" fmla="*/ 730663 h 800100"/>
                  <a:gd name="connsiteX1889" fmla="*/ 628269 w 828675"/>
                  <a:gd name="connsiteY1889" fmla="*/ 733234 h 800100"/>
                  <a:gd name="connsiteX1890" fmla="*/ 628269 w 828675"/>
                  <a:gd name="connsiteY1890" fmla="*/ 735806 h 800100"/>
                  <a:gd name="connsiteX1891" fmla="*/ 626555 w 828675"/>
                  <a:gd name="connsiteY1891" fmla="*/ 740950 h 800100"/>
                  <a:gd name="connsiteX1892" fmla="*/ 626555 w 828675"/>
                  <a:gd name="connsiteY1892" fmla="*/ 742569 h 800100"/>
                  <a:gd name="connsiteX1893" fmla="*/ 627412 w 828675"/>
                  <a:gd name="connsiteY1893" fmla="*/ 743426 h 800100"/>
                  <a:gd name="connsiteX1894" fmla="*/ 627412 w 828675"/>
                  <a:gd name="connsiteY1894" fmla="*/ 744284 h 800100"/>
                  <a:gd name="connsiteX1895" fmla="*/ 629126 w 828675"/>
                  <a:gd name="connsiteY1895" fmla="*/ 745141 h 800100"/>
                  <a:gd name="connsiteX1896" fmla="*/ 630746 w 828675"/>
                  <a:gd name="connsiteY1896" fmla="*/ 745998 h 800100"/>
                  <a:gd name="connsiteX1897" fmla="*/ 630746 w 828675"/>
                  <a:gd name="connsiteY1897" fmla="*/ 747713 h 800100"/>
                  <a:gd name="connsiteX1898" fmla="*/ 630746 w 828675"/>
                  <a:gd name="connsiteY1898" fmla="*/ 754475 h 800100"/>
                  <a:gd name="connsiteX1899" fmla="*/ 629984 w 828675"/>
                  <a:gd name="connsiteY1899" fmla="*/ 756190 h 800100"/>
                  <a:gd name="connsiteX1900" fmla="*/ 629984 w 828675"/>
                  <a:gd name="connsiteY1900" fmla="*/ 757904 h 800100"/>
                  <a:gd name="connsiteX1901" fmla="*/ 627412 w 828675"/>
                  <a:gd name="connsiteY1901" fmla="*/ 760476 h 800100"/>
                  <a:gd name="connsiteX1902" fmla="*/ 626555 w 828675"/>
                  <a:gd name="connsiteY1902" fmla="*/ 768096 h 800100"/>
                  <a:gd name="connsiteX1903" fmla="*/ 625697 w 828675"/>
                  <a:gd name="connsiteY1903" fmla="*/ 769810 h 800100"/>
                  <a:gd name="connsiteX1904" fmla="*/ 623983 w 828675"/>
                  <a:gd name="connsiteY1904" fmla="*/ 770668 h 800100"/>
                  <a:gd name="connsiteX1905" fmla="*/ 622268 w 828675"/>
                  <a:gd name="connsiteY1905" fmla="*/ 770668 h 800100"/>
                  <a:gd name="connsiteX1906" fmla="*/ 621506 w 828675"/>
                  <a:gd name="connsiteY1906" fmla="*/ 771525 h 800100"/>
                  <a:gd name="connsiteX1907" fmla="*/ 620649 w 828675"/>
                  <a:gd name="connsiteY1907" fmla="*/ 771525 h 800100"/>
                  <a:gd name="connsiteX1908" fmla="*/ 620649 w 828675"/>
                  <a:gd name="connsiteY1908" fmla="*/ 772382 h 800100"/>
                  <a:gd name="connsiteX1909" fmla="*/ 621506 w 828675"/>
                  <a:gd name="connsiteY1909" fmla="*/ 774097 h 800100"/>
                  <a:gd name="connsiteX1910" fmla="*/ 622268 w 828675"/>
                  <a:gd name="connsiteY1910" fmla="*/ 775811 h 800100"/>
                  <a:gd name="connsiteX1911" fmla="*/ 623126 w 828675"/>
                  <a:gd name="connsiteY1911" fmla="*/ 777526 h 800100"/>
                  <a:gd name="connsiteX1912" fmla="*/ 625697 w 828675"/>
                  <a:gd name="connsiteY1912" fmla="*/ 778288 h 800100"/>
                  <a:gd name="connsiteX1913" fmla="*/ 626555 w 828675"/>
                  <a:gd name="connsiteY1913" fmla="*/ 779145 h 800100"/>
                  <a:gd name="connsiteX1914" fmla="*/ 627412 w 828675"/>
                  <a:gd name="connsiteY1914" fmla="*/ 780002 h 800100"/>
                  <a:gd name="connsiteX1915" fmla="*/ 627412 w 828675"/>
                  <a:gd name="connsiteY1915" fmla="*/ 780859 h 800100"/>
                  <a:gd name="connsiteX1916" fmla="*/ 627412 w 828675"/>
                  <a:gd name="connsiteY1916" fmla="*/ 783431 h 800100"/>
                  <a:gd name="connsiteX1917" fmla="*/ 627412 w 828675"/>
                  <a:gd name="connsiteY1917" fmla="*/ 784288 h 800100"/>
                  <a:gd name="connsiteX1918" fmla="*/ 626555 w 828675"/>
                  <a:gd name="connsiteY1918" fmla="*/ 785146 h 800100"/>
                  <a:gd name="connsiteX1919" fmla="*/ 627412 w 828675"/>
                  <a:gd name="connsiteY1919" fmla="*/ 786003 h 800100"/>
                  <a:gd name="connsiteX1920" fmla="*/ 627412 w 828675"/>
                  <a:gd name="connsiteY1920" fmla="*/ 786860 h 800100"/>
                  <a:gd name="connsiteX1921" fmla="*/ 629126 w 828675"/>
                  <a:gd name="connsiteY1921" fmla="*/ 786860 h 800100"/>
                  <a:gd name="connsiteX1922" fmla="*/ 630746 w 828675"/>
                  <a:gd name="connsiteY1922" fmla="*/ 789432 h 800100"/>
                  <a:gd name="connsiteX1923" fmla="*/ 634175 w 828675"/>
                  <a:gd name="connsiteY1923" fmla="*/ 794480 h 800100"/>
                  <a:gd name="connsiteX1924" fmla="*/ 638461 w 828675"/>
                  <a:gd name="connsiteY1924" fmla="*/ 795338 h 800100"/>
                  <a:gd name="connsiteX1925" fmla="*/ 644366 w 828675"/>
                  <a:gd name="connsiteY1925" fmla="*/ 801338 h 800100"/>
                  <a:gd name="connsiteX1926" fmla="*/ 646938 w 828675"/>
                  <a:gd name="connsiteY1926" fmla="*/ 802958 h 800100"/>
                  <a:gd name="connsiteX1927" fmla="*/ 649415 w 828675"/>
                  <a:gd name="connsiteY1927" fmla="*/ 803815 h 800100"/>
                  <a:gd name="connsiteX1928" fmla="*/ 652844 w 828675"/>
                  <a:gd name="connsiteY1928" fmla="*/ 804672 h 800100"/>
                  <a:gd name="connsiteX1929" fmla="*/ 653701 w 828675"/>
                  <a:gd name="connsiteY1929" fmla="*/ 804672 h 800100"/>
                  <a:gd name="connsiteX1930" fmla="*/ 657034 w 828675"/>
                  <a:gd name="connsiteY1930" fmla="*/ 803815 h 800100"/>
                  <a:gd name="connsiteX1931" fmla="*/ 661321 w 828675"/>
                  <a:gd name="connsiteY1931" fmla="*/ 803815 h 800100"/>
                  <a:gd name="connsiteX1932" fmla="*/ 666369 w 828675"/>
                  <a:gd name="connsiteY1932" fmla="*/ 804672 h 800100"/>
                  <a:gd name="connsiteX1933" fmla="*/ 668084 w 828675"/>
                  <a:gd name="connsiteY1933" fmla="*/ 804672 h 800100"/>
                  <a:gd name="connsiteX1934" fmla="*/ 668941 w 828675"/>
                  <a:gd name="connsiteY1934" fmla="*/ 804672 h 800100"/>
                  <a:gd name="connsiteX1935" fmla="*/ 672370 w 828675"/>
                  <a:gd name="connsiteY1935" fmla="*/ 802958 h 800100"/>
                  <a:gd name="connsiteX1936" fmla="*/ 673989 w 828675"/>
                  <a:gd name="connsiteY1936" fmla="*/ 802958 h 800100"/>
                  <a:gd name="connsiteX1937" fmla="*/ 676561 w 828675"/>
                  <a:gd name="connsiteY1937" fmla="*/ 802196 h 800100"/>
                  <a:gd name="connsiteX1938" fmla="*/ 679133 w 828675"/>
                  <a:gd name="connsiteY1938" fmla="*/ 801338 h 800100"/>
                  <a:gd name="connsiteX1939" fmla="*/ 679990 w 828675"/>
                  <a:gd name="connsiteY1939" fmla="*/ 800481 h 800100"/>
                  <a:gd name="connsiteX1940" fmla="*/ 680847 w 828675"/>
                  <a:gd name="connsiteY1940" fmla="*/ 799624 h 800100"/>
                  <a:gd name="connsiteX1941" fmla="*/ 681704 w 828675"/>
                  <a:gd name="connsiteY1941" fmla="*/ 798767 h 800100"/>
                  <a:gd name="connsiteX1942" fmla="*/ 684181 w 828675"/>
                  <a:gd name="connsiteY1942" fmla="*/ 794480 h 800100"/>
                  <a:gd name="connsiteX1943" fmla="*/ 684181 w 828675"/>
                  <a:gd name="connsiteY1943" fmla="*/ 794480 h 800100"/>
                  <a:gd name="connsiteX1944" fmla="*/ 684181 w 828675"/>
                  <a:gd name="connsiteY1944" fmla="*/ 793623 h 800100"/>
                  <a:gd name="connsiteX1945" fmla="*/ 685038 w 828675"/>
                  <a:gd name="connsiteY1945" fmla="*/ 790289 h 800100"/>
                  <a:gd name="connsiteX1946" fmla="*/ 685038 w 828675"/>
                  <a:gd name="connsiteY1946" fmla="*/ 788575 h 800100"/>
                  <a:gd name="connsiteX1947" fmla="*/ 685895 w 828675"/>
                  <a:gd name="connsiteY1947" fmla="*/ 786860 h 800100"/>
                  <a:gd name="connsiteX1948" fmla="*/ 690182 w 828675"/>
                  <a:gd name="connsiteY1948" fmla="*/ 785146 h 800100"/>
                  <a:gd name="connsiteX1949" fmla="*/ 690944 w 828675"/>
                  <a:gd name="connsiteY1949" fmla="*/ 784288 h 800100"/>
                  <a:gd name="connsiteX1950" fmla="*/ 690944 w 828675"/>
                  <a:gd name="connsiteY1950" fmla="*/ 783431 h 800100"/>
                  <a:gd name="connsiteX1951" fmla="*/ 692658 w 828675"/>
                  <a:gd name="connsiteY1951" fmla="*/ 779145 h 800100"/>
                  <a:gd name="connsiteX1952" fmla="*/ 693515 w 828675"/>
                  <a:gd name="connsiteY1952" fmla="*/ 777526 h 800100"/>
                  <a:gd name="connsiteX1953" fmla="*/ 696087 w 828675"/>
                  <a:gd name="connsiteY1953" fmla="*/ 770668 h 800100"/>
                  <a:gd name="connsiteX1954" fmla="*/ 696944 w 828675"/>
                  <a:gd name="connsiteY1954" fmla="*/ 768953 h 800100"/>
                  <a:gd name="connsiteX1955" fmla="*/ 698659 w 828675"/>
                  <a:gd name="connsiteY1955" fmla="*/ 766381 h 800100"/>
                  <a:gd name="connsiteX1956" fmla="*/ 701135 w 828675"/>
                  <a:gd name="connsiteY1956" fmla="*/ 763048 h 800100"/>
                  <a:gd name="connsiteX1957" fmla="*/ 701993 w 828675"/>
                  <a:gd name="connsiteY1957" fmla="*/ 762191 h 800100"/>
                  <a:gd name="connsiteX1958" fmla="*/ 702850 w 828675"/>
                  <a:gd name="connsiteY1958" fmla="*/ 760476 h 800100"/>
                  <a:gd name="connsiteX1959" fmla="*/ 702850 w 828675"/>
                  <a:gd name="connsiteY1959" fmla="*/ 759619 h 800100"/>
                  <a:gd name="connsiteX1960" fmla="*/ 702850 w 828675"/>
                  <a:gd name="connsiteY1960" fmla="*/ 758762 h 800100"/>
                  <a:gd name="connsiteX1961" fmla="*/ 702850 w 828675"/>
                  <a:gd name="connsiteY1961" fmla="*/ 757047 h 800100"/>
                  <a:gd name="connsiteX1962" fmla="*/ 702850 w 828675"/>
                  <a:gd name="connsiteY1962" fmla="*/ 756190 h 800100"/>
                  <a:gd name="connsiteX1963" fmla="*/ 706279 w 828675"/>
                  <a:gd name="connsiteY1963" fmla="*/ 751999 h 800100"/>
                  <a:gd name="connsiteX1964" fmla="*/ 706279 w 828675"/>
                  <a:gd name="connsiteY1964" fmla="*/ 751142 h 800100"/>
                  <a:gd name="connsiteX1965" fmla="*/ 706279 w 828675"/>
                  <a:gd name="connsiteY1965" fmla="*/ 750284 h 800100"/>
                  <a:gd name="connsiteX1966" fmla="*/ 706279 w 828675"/>
                  <a:gd name="connsiteY1966" fmla="*/ 749427 h 800100"/>
                  <a:gd name="connsiteX1967" fmla="*/ 706279 w 828675"/>
                  <a:gd name="connsiteY1967" fmla="*/ 748570 h 800100"/>
                  <a:gd name="connsiteX1968" fmla="*/ 704564 w 828675"/>
                  <a:gd name="connsiteY1968" fmla="*/ 745998 h 800100"/>
                  <a:gd name="connsiteX1969" fmla="*/ 702850 w 828675"/>
                  <a:gd name="connsiteY1969" fmla="*/ 744284 h 800100"/>
                  <a:gd name="connsiteX1970" fmla="*/ 701993 w 828675"/>
                  <a:gd name="connsiteY1970" fmla="*/ 743426 h 800100"/>
                  <a:gd name="connsiteX1971" fmla="*/ 701135 w 828675"/>
                  <a:gd name="connsiteY1971" fmla="*/ 741712 h 800100"/>
                  <a:gd name="connsiteX1972" fmla="*/ 700278 w 828675"/>
                  <a:gd name="connsiteY1972" fmla="*/ 739235 h 800100"/>
                  <a:gd name="connsiteX1973" fmla="*/ 700278 w 828675"/>
                  <a:gd name="connsiteY1973" fmla="*/ 737521 h 800100"/>
                  <a:gd name="connsiteX1974" fmla="*/ 700278 w 828675"/>
                  <a:gd name="connsiteY1974" fmla="*/ 736663 h 800100"/>
                  <a:gd name="connsiteX1975" fmla="*/ 700278 w 828675"/>
                  <a:gd name="connsiteY1975" fmla="*/ 735806 h 800100"/>
                  <a:gd name="connsiteX1976" fmla="*/ 700278 w 828675"/>
                  <a:gd name="connsiteY1976" fmla="*/ 734949 h 800100"/>
                  <a:gd name="connsiteX1977" fmla="*/ 700278 w 828675"/>
                  <a:gd name="connsiteY1977" fmla="*/ 734949 h 800100"/>
                  <a:gd name="connsiteX1978" fmla="*/ 701135 w 828675"/>
                  <a:gd name="connsiteY1978" fmla="*/ 734092 h 800100"/>
                  <a:gd name="connsiteX1979" fmla="*/ 701135 w 828675"/>
                  <a:gd name="connsiteY1979" fmla="*/ 733234 h 800100"/>
                  <a:gd name="connsiteX1980" fmla="*/ 702850 w 828675"/>
                  <a:gd name="connsiteY1980" fmla="*/ 732377 h 800100"/>
                  <a:gd name="connsiteX1981" fmla="*/ 704564 w 828675"/>
                  <a:gd name="connsiteY1981" fmla="*/ 731520 h 800100"/>
                  <a:gd name="connsiteX1982" fmla="*/ 714756 w 828675"/>
                  <a:gd name="connsiteY1982" fmla="*/ 729805 h 800100"/>
                  <a:gd name="connsiteX1983" fmla="*/ 714756 w 828675"/>
                  <a:gd name="connsiteY1983" fmla="*/ 726472 h 800100"/>
                  <a:gd name="connsiteX1984" fmla="*/ 713899 w 828675"/>
                  <a:gd name="connsiteY1984" fmla="*/ 722185 h 800100"/>
                  <a:gd name="connsiteX1985" fmla="*/ 713899 w 828675"/>
                  <a:gd name="connsiteY1985" fmla="*/ 719614 h 800100"/>
                  <a:gd name="connsiteX1986" fmla="*/ 714756 w 828675"/>
                  <a:gd name="connsiteY1986" fmla="*/ 717899 h 800100"/>
                  <a:gd name="connsiteX1987" fmla="*/ 714756 w 828675"/>
                  <a:gd name="connsiteY1987" fmla="*/ 717042 h 800100"/>
                  <a:gd name="connsiteX1988" fmla="*/ 713042 w 828675"/>
                  <a:gd name="connsiteY1988" fmla="*/ 714566 h 800100"/>
                  <a:gd name="connsiteX1989" fmla="*/ 713042 w 828675"/>
                  <a:gd name="connsiteY1989" fmla="*/ 713708 h 800100"/>
                  <a:gd name="connsiteX1990" fmla="*/ 713042 w 828675"/>
                  <a:gd name="connsiteY1990" fmla="*/ 712851 h 800100"/>
                  <a:gd name="connsiteX1991" fmla="*/ 715613 w 828675"/>
                  <a:gd name="connsiteY1991" fmla="*/ 709422 h 800100"/>
                  <a:gd name="connsiteX1992" fmla="*/ 715613 w 828675"/>
                  <a:gd name="connsiteY1992" fmla="*/ 707708 h 800100"/>
                  <a:gd name="connsiteX1993" fmla="*/ 714756 w 828675"/>
                  <a:gd name="connsiteY1993" fmla="*/ 705993 h 800100"/>
                  <a:gd name="connsiteX1994" fmla="*/ 714756 w 828675"/>
                  <a:gd name="connsiteY1994" fmla="*/ 704279 h 800100"/>
                  <a:gd name="connsiteX1995" fmla="*/ 713899 w 828675"/>
                  <a:gd name="connsiteY1995" fmla="*/ 702659 h 800100"/>
                  <a:gd name="connsiteX1996" fmla="*/ 713042 w 828675"/>
                  <a:gd name="connsiteY1996" fmla="*/ 701802 h 800100"/>
                  <a:gd name="connsiteX1997" fmla="*/ 708755 w 828675"/>
                  <a:gd name="connsiteY1997" fmla="*/ 700945 h 800100"/>
                  <a:gd name="connsiteX1998" fmla="*/ 707136 w 828675"/>
                  <a:gd name="connsiteY1998" fmla="*/ 700088 h 800100"/>
                  <a:gd name="connsiteX1999" fmla="*/ 705422 w 828675"/>
                  <a:gd name="connsiteY1999" fmla="*/ 699230 h 800100"/>
                  <a:gd name="connsiteX2000" fmla="*/ 704564 w 828675"/>
                  <a:gd name="connsiteY2000" fmla="*/ 698373 h 800100"/>
                  <a:gd name="connsiteX2001" fmla="*/ 703707 w 828675"/>
                  <a:gd name="connsiteY2001" fmla="*/ 696659 h 800100"/>
                  <a:gd name="connsiteX2002" fmla="*/ 701135 w 828675"/>
                  <a:gd name="connsiteY2002" fmla="*/ 693230 h 800100"/>
                  <a:gd name="connsiteX2003" fmla="*/ 700278 w 828675"/>
                  <a:gd name="connsiteY2003" fmla="*/ 693230 h 800100"/>
                  <a:gd name="connsiteX2004" fmla="*/ 699421 w 828675"/>
                  <a:gd name="connsiteY2004" fmla="*/ 692372 h 800100"/>
                  <a:gd name="connsiteX2005" fmla="*/ 698659 w 828675"/>
                  <a:gd name="connsiteY2005" fmla="*/ 692372 h 800100"/>
                  <a:gd name="connsiteX2006" fmla="*/ 696087 w 828675"/>
                  <a:gd name="connsiteY2006" fmla="*/ 689896 h 800100"/>
                  <a:gd name="connsiteX2007" fmla="*/ 696087 w 828675"/>
                  <a:gd name="connsiteY2007" fmla="*/ 688181 h 800100"/>
                  <a:gd name="connsiteX2008" fmla="*/ 695230 w 828675"/>
                  <a:gd name="connsiteY2008" fmla="*/ 686467 h 800100"/>
                  <a:gd name="connsiteX2009" fmla="*/ 696087 w 828675"/>
                  <a:gd name="connsiteY2009" fmla="*/ 685609 h 800100"/>
                  <a:gd name="connsiteX2010" fmla="*/ 696087 w 828675"/>
                  <a:gd name="connsiteY2010" fmla="*/ 684752 h 800100"/>
                  <a:gd name="connsiteX2011" fmla="*/ 696944 w 828675"/>
                  <a:gd name="connsiteY2011" fmla="*/ 683038 h 800100"/>
                  <a:gd name="connsiteX2012" fmla="*/ 696944 w 828675"/>
                  <a:gd name="connsiteY2012" fmla="*/ 681323 h 800100"/>
                  <a:gd name="connsiteX2013" fmla="*/ 696944 w 828675"/>
                  <a:gd name="connsiteY2013" fmla="*/ 677132 h 800100"/>
                  <a:gd name="connsiteX2014" fmla="*/ 696944 w 828675"/>
                  <a:gd name="connsiteY2014" fmla="*/ 672846 h 800100"/>
                  <a:gd name="connsiteX2015" fmla="*/ 696944 w 828675"/>
                  <a:gd name="connsiteY2015" fmla="*/ 672846 h 800100"/>
                  <a:gd name="connsiteX2016" fmla="*/ 696087 w 828675"/>
                  <a:gd name="connsiteY2016" fmla="*/ 671989 h 800100"/>
                  <a:gd name="connsiteX2017" fmla="*/ 693515 w 828675"/>
                  <a:gd name="connsiteY2017" fmla="*/ 668560 h 800100"/>
                  <a:gd name="connsiteX2018" fmla="*/ 692658 w 828675"/>
                  <a:gd name="connsiteY2018" fmla="*/ 666083 h 800100"/>
                  <a:gd name="connsiteX2019" fmla="*/ 692658 w 828675"/>
                  <a:gd name="connsiteY2019" fmla="*/ 665226 h 800100"/>
                  <a:gd name="connsiteX2020" fmla="*/ 691801 w 828675"/>
                  <a:gd name="connsiteY2020" fmla="*/ 663512 h 800100"/>
                  <a:gd name="connsiteX2021" fmla="*/ 692658 w 828675"/>
                  <a:gd name="connsiteY2021" fmla="*/ 661797 h 800100"/>
                  <a:gd name="connsiteX2022" fmla="*/ 692658 w 828675"/>
                  <a:gd name="connsiteY2022" fmla="*/ 654939 h 800100"/>
                  <a:gd name="connsiteX2023" fmla="*/ 693515 w 828675"/>
                  <a:gd name="connsiteY2023" fmla="*/ 652463 h 800100"/>
                  <a:gd name="connsiteX2024" fmla="*/ 693515 w 828675"/>
                  <a:gd name="connsiteY2024" fmla="*/ 650748 h 800100"/>
                  <a:gd name="connsiteX2025" fmla="*/ 694373 w 828675"/>
                  <a:gd name="connsiteY2025" fmla="*/ 649891 h 800100"/>
                  <a:gd name="connsiteX2026" fmla="*/ 694373 w 828675"/>
                  <a:gd name="connsiteY2026" fmla="*/ 649034 h 800100"/>
                  <a:gd name="connsiteX2027" fmla="*/ 696087 w 828675"/>
                  <a:gd name="connsiteY2027" fmla="*/ 647319 h 800100"/>
                  <a:gd name="connsiteX2028" fmla="*/ 697802 w 828675"/>
                  <a:gd name="connsiteY2028" fmla="*/ 645605 h 800100"/>
                  <a:gd name="connsiteX2029" fmla="*/ 698659 w 828675"/>
                  <a:gd name="connsiteY2029" fmla="*/ 643890 h 800100"/>
                  <a:gd name="connsiteX2030" fmla="*/ 702850 w 828675"/>
                  <a:gd name="connsiteY2030" fmla="*/ 642271 h 800100"/>
                  <a:gd name="connsiteX2031" fmla="*/ 707898 w 828675"/>
                  <a:gd name="connsiteY2031" fmla="*/ 639699 h 800100"/>
                  <a:gd name="connsiteX2032" fmla="*/ 709613 w 828675"/>
                  <a:gd name="connsiteY2032" fmla="*/ 638842 h 800100"/>
                  <a:gd name="connsiteX2033" fmla="*/ 713899 w 828675"/>
                  <a:gd name="connsiteY2033" fmla="*/ 635413 h 800100"/>
                  <a:gd name="connsiteX2034" fmla="*/ 715613 w 828675"/>
                  <a:gd name="connsiteY2034" fmla="*/ 634555 h 800100"/>
                  <a:gd name="connsiteX2035" fmla="*/ 730853 w 828675"/>
                  <a:gd name="connsiteY2035" fmla="*/ 626078 h 800100"/>
                  <a:gd name="connsiteX2036" fmla="*/ 741902 w 828675"/>
                  <a:gd name="connsiteY2036" fmla="*/ 618363 h 800100"/>
                  <a:gd name="connsiteX2037" fmla="*/ 745236 w 828675"/>
                  <a:gd name="connsiteY2037" fmla="*/ 616744 h 800100"/>
                  <a:gd name="connsiteX2038" fmla="*/ 745236 w 828675"/>
                  <a:gd name="connsiteY2038" fmla="*/ 615029 h 800100"/>
                  <a:gd name="connsiteX2039" fmla="*/ 746093 w 828675"/>
                  <a:gd name="connsiteY2039" fmla="*/ 614172 h 800100"/>
                  <a:gd name="connsiteX2040" fmla="*/ 746951 w 828675"/>
                  <a:gd name="connsiteY2040" fmla="*/ 613315 h 800100"/>
                  <a:gd name="connsiteX2041" fmla="*/ 751142 w 828675"/>
                  <a:gd name="connsiteY2041" fmla="*/ 611600 h 800100"/>
                  <a:gd name="connsiteX2042" fmla="*/ 754571 w 828675"/>
                  <a:gd name="connsiteY2042" fmla="*/ 609886 h 800100"/>
                  <a:gd name="connsiteX2043" fmla="*/ 756285 w 828675"/>
                  <a:gd name="connsiteY2043" fmla="*/ 608171 h 800100"/>
                  <a:gd name="connsiteX2044" fmla="*/ 757142 w 828675"/>
                  <a:gd name="connsiteY2044" fmla="*/ 607314 h 800100"/>
                  <a:gd name="connsiteX2045" fmla="*/ 758000 w 828675"/>
                  <a:gd name="connsiteY2045" fmla="*/ 605600 h 800100"/>
                  <a:gd name="connsiteX2046" fmla="*/ 764762 w 828675"/>
                  <a:gd name="connsiteY2046" fmla="*/ 601409 h 800100"/>
                  <a:gd name="connsiteX2047" fmla="*/ 767334 w 828675"/>
                  <a:gd name="connsiteY2047" fmla="*/ 598837 h 800100"/>
                  <a:gd name="connsiteX2048" fmla="*/ 773240 w 828675"/>
                  <a:gd name="connsiteY2048" fmla="*/ 591217 h 800100"/>
                  <a:gd name="connsiteX2049" fmla="*/ 782574 w 828675"/>
                  <a:gd name="connsiteY2049" fmla="*/ 583501 h 800100"/>
                  <a:gd name="connsiteX2050" fmla="*/ 786765 w 828675"/>
                  <a:gd name="connsiteY2050" fmla="*/ 581787 h 800100"/>
                  <a:gd name="connsiteX2051" fmla="*/ 790194 w 828675"/>
                  <a:gd name="connsiteY2051" fmla="*/ 584359 h 800100"/>
                  <a:gd name="connsiteX2052" fmla="*/ 791051 w 828675"/>
                  <a:gd name="connsiteY2052" fmla="*/ 585216 h 800100"/>
                  <a:gd name="connsiteX2053" fmla="*/ 791051 w 828675"/>
                  <a:gd name="connsiteY2053" fmla="*/ 586930 h 800100"/>
                  <a:gd name="connsiteX2054" fmla="*/ 790194 w 828675"/>
                  <a:gd name="connsiteY2054" fmla="*/ 587788 h 800100"/>
                  <a:gd name="connsiteX2055" fmla="*/ 790194 w 828675"/>
                  <a:gd name="connsiteY2055" fmla="*/ 588645 h 800100"/>
                  <a:gd name="connsiteX2056" fmla="*/ 790194 w 828675"/>
                  <a:gd name="connsiteY2056" fmla="*/ 588645 h 800100"/>
                  <a:gd name="connsiteX2057" fmla="*/ 790194 w 828675"/>
                  <a:gd name="connsiteY2057" fmla="*/ 589502 h 800100"/>
                  <a:gd name="connsiteX2058" fmla="*/ 791051 w 828675"/>
                  <a:gd name="connsiteY2058" fmla="*/ 590359 h 800100"/>
                  <a:gd name="connsiteX2059" fmla="*/ 791051 w 828675"/>
                  <a:gd name="connsiteY2059" fmla="*/ 591217 h 800100"/>
                  <a:gd name="connsiteX2060" fmla="*/ 791051 w 828675"/>
                  <a:gd name="connsiteY2060" fmla="*/ 592074 h 800100"/>
                  <a:gd name="connsiteX2061" fmla="*/ 791051 w 828675"/>
                  <a:gd name="connsiteY2061" fmla="*/ 592074 h 800100"/>
                  <a:gd name="connsiteX2062" fmla="*/ 791909 w 828675"/>
                  <a:gd name="connsiteY2062" fmla="*/ 592931 h 800100"/>
                  <a:gd name="connsiteX2063" fmla="*/ 791909 w 828675"/>
                  <a:gd name="connsiteY2063" fmla="*/ 592931 h 800100"/>
                  <a:gd name="connsiteX2064" fmla="*/ 793623 w 828675"/>
                  <a:gd name="connsiteY2064" fmla="*/ 593693 h 800100"/>
                  <a:gd name="connsiteX2065" fmla="*/ 793623 w 828675"/>
                  <a:gd name="connsiteY2065" fmla="*/ 594551 h 800100"/>
                  <a:gd name="connsiteX2066" fmla="*/ 794385 w 828675"/>
                  <a:gd name="connsiteY2066" fmla="*/ 594551 h 800100"/>
                  <a:gd name="connsiteX2067" fmla="*/ 795242 w 828675"/>
                  <a:gd name="connsiteY2067" fmla="*/ 594551 h 800100"/>
                  <a:gd name="connsiteX2068" fmla="*/ 797814 w 828675"/>
                  <a:gd name="connsiteY2068" fmla="*/ 594551 h 800100"/>
                  <a:gd name="connsiteX2069" fmla="*/ 798671 w 828675"/>
                  <a:gd name="connsiteY2069" fmla="*/ 594551 h 800100"/>
                  <a:gd name="connsiteX2070" fmla="*/ 801243 w 828675"/>
                  <a:gd name="connsiteY2070" fmla="*/ 593693 h 800100"/>
                  <a:gd name="connsiteX2071" fmla="*/ 802100 w 828675"/>
                  <a:gd name="connsiteY2071" fmla="*/ 592931 h 800100"/>
                  <a:gd name="connsiteX2072" fmla="*/ 802862 w 828675"/>
                  <a:gd name="connsiteY2072" fmla="*/ 592931 h 800100"/>
                  <a:gd name="connsiteX2073" fmla="*/ 802862 w 828675"/>
                  <a:gd name="connsiteY2073" fmla="*/ 592074 h 800100"/>
                  <a:gd name="connsiteX2074" fmla="*/ 802862 w 828675"/>
                  <a:gd name="connsiteY2074" fmla="*/ 591217 h 800100"/>
                  <a:gd name="connsiteX2075" fmla="*/ 802862 w 828675"/>
                  <a:gd name="connsiteY2075" fmla="*/ 590359 h 800100"/>
                  <a:gd name="connsiteX2076" fmla="*/ 802862 w 828675"/>
                  <a:gd name="connsiteY2076" fmla="*/ 590359 h 800100"/>
                  <a:gd name="connsiteX2077" fmla="*/ 802862 w 828675"/>
                  <a:gd name="connsiteY2077" fmla="*/ 589502 h 800100"/>
                  <a:gd name="connsiteX2078" fmla="*/ 802862 w 828675"/>
                  <a:gd name="connsiteY2078" fmla="*/ 588645 h 800100"/>
                  <a:gd name="connsiteX2079" fmla="*/ 801243 w 828675"/>
                  <a:gd name="connsiteY2079" fmla="*/ 585216 h 800100"/>
                  <a:gd name="connsiteX2080" fmla="*/ 802100 w 828675"/>
                  <a:gd name="connsiteY2080" fmla="*/ 582644 h 800100"/>
                  <a:gd name="connsiteX2081" fmla="*/ 802862 w 828675"/>
                  <a:gd name="connsiteY2081" fmla="*/ 581787 h 800100"/>
                  <a:gd name="connsiteX2082" fmla="*/ 804577 w 828675"/>
                  <a:gd name="connsiteY2082" fmla="*/ 580930 h 800100"/>
                  <a:gd name="connsiteX2083" fmla="*/ 806291 w 828675"/>
                  <a:gd name="connsiteY2083" fmla="*/ 580168 h 800100"/>
                  <a:gd name="connsiteX2084" fmla="*/ 808006 w 828675"/>
                  <a:gd name="connsiteY2084" fmla="*/ 579310 h 800100"/>
                  <a:gd name="connsiteX2085" fmla="*/ 809720 w 828675"/>
                  <a:gd name="connsiteY2085" fmla="*/ 580168 h 800100"/>
                  <a:gd name="connsiteX2086" fmla="*/ 813054 w 828675"/>
                  <a:gd name="connsiteY2086" fmla="*/ 583501 h 800100"/>
                  <a:gd name="connsiteX2087" fmla="*/ 815626 w 828675"/>
                  <a:gd name="connsiteY2087" fmla="*/ 585216 h 800100"/>
                  <a:gd name="connsiteX2088" fmla="*/ 818198 w 828675"/>
                  <a:gd name="connsiteY2088" fmla="*/ 586073 h 800100"/>
                  <a:gd name="connsiteX2089" fmla="*/ 819817 w 828675"/>
                  <a:gd name="connsiteY2089" fmla="*/ 586930 h 800100"/>
                  <a:gd name="connsiteX2090" fmla="*/ 820674 w 828675"/>
                  <a:gd name="connsiteY2090" fmla="*/ 587788 h 800100"/>
                  <a:gd name="connsiteX2091" fmla="*/ 821531 w 828675"/>
                  <a:gd name="connsiteY2091" fmla="*/ 587788 h 800100"/>
                  <a:gd name="connsiteX2092" fmla="*/ 824960 w 828675"/>
                  <a:gd name="connsiteY2092" fmla="*/ 587788 h 800100"/>
                  <a:gd name="connsiteX2093" fmla="*/ 825818 w 828675"/>
                  <a:gd name="connsiteY2093" fmla="*/ 586930 h 800100"/>
                  <a:gd name="connsiteX2094" fmla="*/ 826675 w 828675"/>
                  <a:gd name="connsiteY2094" fmla="*/ 586930 h 800100"/>
                  <a:gd name="connsiteX2095" fmla="*/ 831723 w 828675"/>
                  <a:gd name="connsiteY2095" fmla="*/ 583501 h 800100"/>
                  <a:gd name="connsiteX2096" fmla="*/ 832580 w 828675"/>
                  <a:gd name="connsiteY2096" fmla="*/ 582644 h 800100"/>
                  <a:gd name="connsiteX2097" fmla="*/ 833438 w 828675"/>
                  <a:gd name="connsiteY2097" fmla="*/ 581787 h 800100"/>
                  <a:gd name="connsiteX2098" fmla="*/ 833438 w 828675"/>
                  <a:gd name="connsiteY2098" fmla="*/ 580168 h 800100"/>
                  <a:gd name="connsiteX2099" fmla="*/ 834295 w 828675"/>
                  <a:gd name="connsiteY2099" fmla="*/ 578453 h 800100"/>
                  <a:gd name="connsiteX2100" fmla="*/ 834295 w 828675"/>
                  <a:gd name="connsiteY2100" fmla="*/ 576739 h 800100"/>
                  <a:gd name="connsiteX2101" fmla="*/ 834295 w 828675"/>
                  <a:gd name="connsiteY2101" fmla="*/ 576739 h 800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</a:cxnLst>
                <a:rect l="l" t="t" r="r" b="b"/>
                <a:pathLst>
                  <a:path w="828675" h="800100">
                    <a:moveTo>
                      <a:pt x="834295" y="576739"/>
                    </a:moveTo>
                    <a:lnTo>
                      <a:pt x="834295" y="576739"/>
                    </a:lnTo>
                    <a:lnTo>
                      <a:pt x="833438" y="575024"/>
                    </a:lnTo>
                    <a:lnTo>
                      <a:pt x="825818" y="567404"/>
                    </a:lnTo>
                    <a:lnTo>
                      <a:pt x="824103" y="567404"/>
                    </a:lnTo>
                    <a:lnTo>
                      <a:pt x="822388" y="567404"/>
                    </a:lnTo>
                    <a:lnTo>
                      <a:pt x="819055" y="567404"/>
                    </a:lnTo>
                    <a:lnTo>
                      <a:pt x="817340" y="566547"/>
                    </a:lnTo>
                    <a:lnTo>
                      <a:pt x="813054" y="563975"/>
                    </a:lnTo>
                    <a:lnTo>
                      <a:pt x="812197" y="563975"/>
                    </a:lnTo>
                    <a:lnTo>
                      <a:pt x="812197" y="562261"/>
                    </a:lnTo>
                    <a:lnTo>
                      <a:pt x="810578" y="560546"/>
                    </a:lnTo>
                    <a:lnTo>
                      <a:pt x="809720" y="558832"/>
                    </a:lnTo>
                    <a:lnTo>
                      <a:pt x="808006" y="557975"/>
                    </a:lnTo>
                    <a:lnTo>
                      <a:pt x="805434" y="557975"/>
                    </a:lnTo>
                    <a:lnTo>
                      <a:pt x="803720" y="558832"/>
                    </a:lnTo>
                    <a:lnTo>
                      <a:pt x="799529" y="559689"/>
                    </a:lnTo>
                    <a:lnTo>
                      <a:pt x="797814" y="559689"/>
                    </a:lnTo>
                    <a:lnTo>
                      <a:pt x="796100" y="559689"/>
                    </a:lnTo>
                    <a:lnTo>
                      <a:pt x="793623" y="557975"/>
                    </a:lnTo>
                    <a:lnTo>
                      <a:pt x="792766" y="556260"/>
                    </a:lnTo>
                    <a:lnTo>
                      <a:pt x="791909" y="555498"/>
                    </a:lnTo>
                    <a:lnTo>
                      <a:pt x="791051" y="553784"/>
                    </a:lnTo>
                    <a:lnTo>
                      <a:pt x="790194" y="550355"/>
                    </a:lnTo>
                    <a:lnTo>
                      <a:pt x="789337" y="548640"/>
                    </a:lnTo>
                    <a:lnTo>
                      <a:pt x="788480" y="548640"/>
                    </a:lnTo>
                    <a:lnTo>
                      <a:pt x="787622" y="548640"/>
                    </a:lnTo>
                    <a:lnTo>
                      <a:pt x="786765" y="547783"/>
                    </a:lnTo>
                    <a:lnTo>
                      <a:pt x="785908" y="546068"/>
                    </a:lnTo>
                    <a:lnTo>
                      <a:pt x="785146" y="544354"/>
                    </a:lnTo>
                    <a:lnTo>
                      <a:pt x="783431" y="542734"/>
                    </a:lnTo>
                    <a:lnTo>
                      <a:pt x="782574" y="541877"/>
                    </a:lnTo>
                    <a:lnTo>
                      <a:pt x="780859" y="541877"/>
                    </a:lnTo>
                    <a:lnTo>
                      <a:pt x="779145" y="540163"/>
                    </a:lnTo>
                    <a:lnTo>
                      <a:pt x="777430" y="539305"/>
                    </a:lnTo>
                    <a:lnTo>
                      <a:pt x="776669" y="539305"/>
                    </a:lnTo>
                    <a:lnTo>
                      <a:pt x="774954" y="538448"/>
                    </a:lnTo>
                    <a:lnTo>
                      <a:pt x="774097" y="538448"/>
                    </a:lnTo>
                    <a:lnTo>
                      <a:pt x="770668" y="530828"/>
                    </a:lnTo>
                    <a:lnTo>
                      <a:pt x="768953" y="528256"/>
                    </a:lnTo>
                    <a:lnTo>
                      <a:pt x="766477" y="526542"/>
                    </a:lnTo>
                    <a:lnTo>
                      <a:pt x="765620" y="524827"/>
                    </a:lnTo>
                    <a:lnTo>
                      <a:pt x="765620" y="523970"/>
                    </a:lnTo>
                    <a:lnTo>
                      <a:pt x="765620" y="523113"/>
                    </a:lnTo>
                    <a:lnTo>
                      <a:pt x="765620" y="522256"/>
                    </a:lnTo>
                    <a:lnTo>
                      <a:pt x="766477" y="521398"/>
                    </a:lnTo>
                    <a:lnTo>
                      <a:pt x="766477" y="520541"/>
                    </a:lnTo>
                    <a:lnTo>
                      <a:pt x="767334" y="520541"/>
                    </a:lnTo>
                    <a:lnTo>
                      <a:pt x="768096" y="519684"/>
                    </a:lnTo>
                    <a:lnTo>
                      <a:pt x="769811" y="519684"/>
                    </a:lnTo>
                    <a:lnTo>
                      <a:pt x="775811" y="518827"/>
                    </a:lnTo>
                    <a:lnTo>
                      <a:pt x="776669" y="518827"/>
                    </a:lnTo>
                    <a:lnTo>
                      <a:pt x="777430" y="518065"/>
                    </a:lnTo>
                    <a:lnTo>
                      <a:pt x="779145" y="517208"/>
                    </a:lnTo>
                    <a:lnTo>
                      <a:pt x="779145" y="517208"/>
                    </a:lnTo>
                    <a:lnTo>
                      <a:pt x="780002" y="516350"/>
                    </a:lnTo>
                    <a:lnTo>
                      <a:pt x="780859" y="516350"/>
                    </a:lnTo>
                    <a:lnTo>
                      <a:pt x="781717" y="516350"/>
                    </a:lnTo>
                    <a:lnTo>
                      <a:pt x="782574" y="517208"/>
                    </a:lnTo>
                    <a:lnTo>
                      <a:pt x="785146" y="517208"/>
                    </a:lnTo>
                    <a:lnTo>
                      <a:pt x="787622" y="516350"/>
                    </a:lnTo>
                    <a:lnTo>
                      <a:pt x="787622" y="515493"/>
                    </a:lnTo>
                    <a:lnTo>
                      <a:pt x="787622" y="514636"/>
                    </a:lnTo>
                    <a:lnTo>
                      <a:pt x="785908" y="512064"/>
                    </a:lnTo>
                    <a:lnTo>
                      <a:pt x="785146" y="510350"/>
                    </a:lnTo>
                    <a:lnTo>
                      <a:pt x="785146" y="509492"/>
                    </a:lnTo>
                    <a:lnTo>
                      <a:pt x="785146" y="508635"/>
                    </a:lnTo>
                    <a:lnTo>
                      <a:pt x="786765" y="505301"/>
                    </a:lnTo>
                    <a:lnTo>
                      <a:pt x="787622" y="503587"/>
                    </a:lnTo>
                    <a:lnTo>
                      <a:pt x="787622" y="501872"/>
                    </a:lnTo>
                    <a:lnTo>
                      <a:pt x="787622" y="501872"/>
                    </a:lnTo>
                    <a:lnTo>
                      <a:pt x="786765" y="501015"/>
                    </a:lnTo>
                    <a:lnTo>
                      <a:pt x="778288" y="499300"/>
                    </a:lnTo>
                    <a:lnTo>
                      <a:pt x="776669" y="498443"/>
                    </a:lnTo>
                    <a:lnTo>
                      <a:pt x="774097" y="496729"/>
                    </a:lnTo>
                    <a:lnTo>
                      <a:pt x="771525" y="494157"/>
                    </a:lnTo>
                    <a:lnTo>
                      <a:pt x="769811" y="493395"/>
                    </a:lnTo>
                    <a:lnTo>
                      <a:pt x="768953" y="492538"/>
                    </a:lnTo>
                    <a:lnTo>
                      <a:pt x="768096" y="492538"/>
                    </a:lnTo>
                    <a:lnTo>
                      <a:pt x="767334" y="493395"/>
                    </a:lnTo>
                    <a:lnTo>
                      <a:pt x="767334" y="494157"/>
                    </a:lnTo>
                    <a:lnTo>
                      <a:pt x="766477" y="494157"/>
                    </a:lnTo>
                    <a:lnTo>
                      <a:pt x="765620" y="494157"/>
                    </a:lnTo>
                    <a:lnTo>
                      <a:pt x="764762" y="495014"/>
                    </a:lnTo>
                    <a:lnTo>
                      <a:pt x="763905" y="495014"/>
                    </a:lnTo>
                    <a:lnTo>
                      <a:pt x="762191" y="495014"/>
                    </a:lnTo>
                    <a:lnTo>
                      <a:pt x="760476" y="495014"/>
                    </a:lnTo>
                    <a:lnTo>
                      <a:pt x="758857" y="493395"/>
                    </a:lnTo>
                    <a:lnTo>
                      <a:pt x="758000" y="492538"/>
                    </a:lnTo>
                    <a:lnTo>
                      <a:pt x="758000" y="491680"/>
                    </a:lnTo>
                    <a:lnTo>
                      <a:pt x="758000" y="489109"/>
                    </a:lnTo>
                    <a:lnTo>
                      <a:pt x="758000" y="489109"/>
                    </a:lnTo>
                    <a:lnTo>
                      <a:pt x="758000" y="484822"/>
                    </a:lnTo>
                    <a:lnTo>
                      <a:pt x="758000" y="483965"/>
                    </a:lnTo>
                    <a:lnTo>
                      <a:pt x="758857" y="483965"/>
                    </a:lnTo>
                    <a:lnTo>
                      <a:pt x="759619" y="483108"/>
                    </a:lnTo>
                    <a:lnTo>
                      <a:pt x="760476" y="483108"/>
                    </a:lnTo>
                    <a:lnTo>
                      <a:pt x="760476" y="483108"/>
                    </a:lnTo>
                    <a:lnTo>
                      <a:pt x="761333" y="483965"/>
                    </a:lnTo>
                    <a:lnTo>
                      <a:pt x="761333" y="483965"/>
                    </a:lnTo>
                    <a:lnTo>
                      <a:pt x="761333" y="484822"/>
                    </a:lnTo>
                    <a:lnTo>
                      <a:pt x="761333" y="485680"/>
                    </a:lnTo>
                    <a:lnTo>
                      <a:pt x="762191" y="486537"/>
                    </a:lnTo>
                    <a:lnTo>
                      <a:pt x="762191" y="487394"/>
                    </a:lnTo>
                    <a:lnTo>
                      <a:pt x="763048" y="487394"/>
                    </a:lnTo>
                    <a:lnTo>
                      <a:pt x="763048" y="487394"/>
                    </a:lnTo>
                    <a:lnTo>
                      <a:pt x="763905" y="486537"/>
                    </a:lnTo>
                    <a:lnTo>
                      <a:pt x="765620" y="484822"/>
                    </a:lnTo>
                    <a:lnTo>
                      <a:pt x="765620" y="483965"/>
                    </a:lnTo>
                    <a:lnTo>
                      <a:pt x="765620" y="483965"/>
                    </a:lnTo>
                    <a:lnTo>
                      <a:pt x="766477" y="483108"/>
                    </a:lnTo>
                    <a:lnTo>
                      <a:pt x="770668" y="482251"/>
                    </a:lnTo>
                    <a:lnTo>
                      <a:pt x="771525" y="482251"/>
                    </a:lnTo>
                    <a:lnTo>
                      <a:pt x="772382" y="481489"/>
                    </a:lnTo>
                    <a:lnTo>
                      <a:pt x="774097" y="480631"/>
                    </a:lnTo>
                    <a:lnTo>
                      <a:pt x="774097" y="478917"/>
                    </a:lnTo>
                    <a:lnTo>
                      <a:pt x="774954" y="478060"/>
                    </a:lnTo>
                    <a:lnTo>
                      <a:pt x="775811" y="473773"/>
                    </a:lnTo>
                    <a:lnTo>
                      <a:pt x="776669" y="472059"/>
                    </a:lnTo>
                    <a:lnTo>
                      <a:pt x="777430" y="471202"/>
                    </a:lnTo>
                    <a:lnTo>
                      <a:pt x="778288" y="471202"/>
                    </a:lnTo>
                    <a:lnTo>
                      <a:pt x="778288" y="470344"/>
                    </a:lnTo>
                    <a:lnTo>
                      <a:pt x="781717" y="470344"/>
                    </a:lnTo>
                    <a:lnTo>
                      <a:pt x="784288" y="470344"/>
                    </a:lnTo>
                    <a:lnTo>
                      <a:pt x="785146" y="470344"/>
                    </a:lnTo>
                    <a:lnTo>
                      <a:pt x="788480" y="471202"/>
                    </a:lnTo>
                    <a:lnTo>
                      <a:pt x="791909" y="472059"/>
                    </a:lnTo>
                    <a:lnTo>
                      <a:pt x="808863" y="472059"/>
                    </a:lnTo>
                    <a:lnTo>
                      <a:pt x="810578" y="471202"/>
                    </a:lnTo>
                    <a:lnTo>
                      <a:pt x="810578" y="470344"/>
                    </a:lnTo>
                    <a:lnTo>
                      <a:pt x="810578" y="469487"/>
                    </a:lnTo>
                    <a:lnTo>
                      <a:pt x="809720" y="468725"/>
                    </a:lnTo>
                    <a:lnTo>
                      <a:pt x="808863" y="467868"/>
                    </a:lnTo>
                    <a:lnTo>
                      <a:pt x="800386" y="459296"/>
                    </a:lnTo>
                    <a:lnTo>
                      <a:pt x="799529" y="458438"/>
                    </a:lnTo>
                    <a:lnTo>
                      <a:pt x="798671" y="457581"/>
                    </a:lnTo>
                    <a:lnTo>
                      <a:pt x="796957" y="457581"/>
                    </a:lnTo>
                    <a:lnTo>
                      <a:pt x="795242" y="457581"/>
                    </a:lnTo>
                    <a:lnTo>
                      <a:pt x="794385" y="457581"/>
                    </a:lnTo>
                    <a:lnTo>
                      <a:pt x="793623" y="456819"/>
                    </a:lnTo>
                    <a:lnTo>
                      <a:pt x="793623" y="455962"/>
                    </a:lnTo>
                    <a:lnTo>
                      <a:pt x="794385" y="449961"/>
                    </a:lnTo>
                    <a:lnTo>
                      <a:pt x="794385" y="447389"/>
                    </a:lnTo>
                    <a:lnTo>
                      <a:pt x="794385" y="445675"/>
                    </a:lnTo>
                    <a:lnTo>
                      <a:pt x="793623" y="443198"/>
                    </a:lnTo>
                    <a:lnTo>
                      <a:pt x="792766" y="441484"/>
                    </a:lnTo>
                    <a:lnTo>
                      <a:pt x="791909" y="440626"/>
                    </a:lnTo>
                    <a:lnTo>
                      <a:pt x="791051" y="440626"/>
                    </a:lnTo>
                    <a:lnTo>
                      <a:pt x="790194" y="440626"/>
                    </a:lnTo>
                    <a:lnTo>
                      <a:pt x="788480" y="440626"/>
                    </a:lnTo>
                    <a:lnTo>
                      <a:pt x="787622" y="440626"/>
                    </a:lnTo>
                    <a:lnTo>
                      <a:pt x="786765" y="441484"/>
                    </a:lnTo>
                    <a:lnTo>
                      <a:pt x="785908" y="441484"/>
                    </a:lnTo>
                    <a:lnTo>
                      <a:pt x="785146" y="442341"/>
                    </a:lnTo>
                    <a:lnTo>
                      <a:pt x="784288" y="443198"/>
                    </a:lnTo>
                    <a:lnTo>
                      <a:pt x="783431" y="443198"/>
                    </a:lnTo>
                    <a:lnTo>
                      <a:pt x="780002" y="440626"/>
                    </a:lnTo>
                    <a:lnTo>
                      <a:pt x="779145" y="439769"/>
                    </a:lnTo>
                    <a:lnTo>
                      <a:pt x="777430" y="438912"/>
                    </a:lnTo>
                    <a:lnTo>
                      <a:pt x="776669" y="438055"/>
                    </a:lnTo>
                    <a:lnTo>
                      <a:pt x="774954" y="437197"/>
                    </a:lnTo>
                    <a:lnTo>
                      <a:pt x="773240" y="434626"/>
                    </a:lnTo>
                    <a:lnTo>
                      <a:pt x="769811" y="427863"/>
                    </a:lnTo>
                    <a:lnTo>
                      <a:pt x="769811" y="427006"/>
                    </a:lnTo>
                    <a:lnTo>
                      <a:pt x="769811" y="423577"/>
                    </a:lnTo>
                    <a:lnTo>
                      <a:pt x="769811" y="421862"/>
                    </a:lnTo>
                    <a:lnTo>
                      <a:pt x="769811" y="420148"/>
                    </a:lnTo>
                    <a:lnTo>
                      <a:pt x="768953" y="419386"/>
                    </a:lnTo>
                    <a:lnTo>
                      <a:pt x="766477" y="417671"/>
                    </a:lnTo>
                    <a:lnTo>
                      <a:pt x="766477" y="415957"/>
                    </a:lnTo>
                    <a:lnTo>
                      <a:pt x="764762" y="412528"/>
                    </a:lnTo>
                    <a:lnTo>
                      <a:pt x="763905" y="411671"/>
                    </a:lnTo>
                    <a:lnTo>
                      <a:pt x="761333" y="409956"/>
                    </a:lnTo>
                    <a:lnTo>
                      <a:pt x="760476" y="408242"/>
                    </a:lnTo>
                    <a:lnTo>
                      <a:pt x="759619" y="407480"/>
                    </a:lnTo>
                    <a:lnTo>
                      <a:pt x="760476" y="404050"/>
                    </a:lnTo>
                    <a:lnTo>
                      <a:pt x="760476" y="402336"/>
                    </a:lnTo>
                    <a:lnTo>
                      <a:pt x="760476" y="399764"/>
                    </a:lnTo>
                    <a:lnTo>
                      <a:pt x="758857" y="397192"/>
                    </a:lnTo>
                    <a:lnTo>
                      <a:pt x="758857" y="397192"/>
                    </a:lnTo>
                    <a:lnTo>
                      <a:pt x="757142" y="395478"/>
                    </a:lnTo>
                    <a:lnTo>
                      <a:pt x="756285" y="394716"/>
                    </a:lnTo>
                    <a:lnTo>
                      <a:pt x="754571" y="393859"/>
                    </a:lnTo>
                    <a:lnTo>
                      <a:pt x="754571" y="393001"/>
                    </a:lnTo>
                    <a:lnTo>
                      <a:pt x="754571" y="392144"/>
                    </a:lnTo>
                    <a:lnTo>
                      <a:pt x="755428" y="388715"/>
                    </a:lnTo>
                    <a:lnTo>
                      <a:pt x="755428" y="387858"/>
                    </a:lnTo>
                    <a:lnTo>
                      <a:pt x="754571" y="387001"/>
                    </a:lnTo>
                    <a:lnTo>
                      <a:pt x="753713" y="387001"/>
                    </a:lnTo>
                    <a:lnTo>
                      <a:pt x="750380" y="387001"/>
                    </a:lnTo>
                    <a:lnTo>
                      <a:pt x="750380" y="387001"/>
                    </a:lnTo>
                    <a:lnTo>
                      <a:pt x="750380" y="386143"/>
                    </a:lnTo>
                    <a:lnTo>
                      <a:pt x="750380" y="386143"/>
                    </a:lnTo>
                    <a:lnTo>
                      <a:pt x="750380" y="384429"/>
                    </a:lnTo>
                    <a:lnTo>
                      <a:pt x="750380" y="384429"/>
                    </a:lnTo>
                    <a:lnTo>
                      <a:pt x="750380" y="384429"/>
                    </a:lnTo>
                    <a:lnTo>
                      <a:pt x="745236" y="381952"/>
                    </a:lnTo>
                    <a:lnTo>
                      <a:pt x="729996" y="374237"/>
                    </a:lnTo>
                    <a:lnTo>
                      <a:pt x="721519" y="370808"/>
                    </a:lnTo>
                    <a:lnTo>
                      <a:pt x="709613" y="369189"/>
                    </a:lnTo>
                    <a:lnTo>
                      <a:pt x="699421" y="369189"/>
                    </a:lnTo>
                    <a:lnTo>
                      <a:pt x="696087" y="370046"/>
                    </a:lnTo>
                    <a:lnTo>
                      <a:pt x="696087" y="371666"/>
                    </a:lnTo>
                    <a:lnTo>
                      <a:pt x="695230" y="373380"/>
                    </a:lnTo>
                    <a:lnTo>
                      <a:pt x="696087" y="374237"/>
                    </a:lnTo>
                    <a:lnTo>
                      <a:pt x="697802" y="376809"/>
                    </a:lnTo>
                    <a:lnTo>
                      <a:pt x="696944" y="378523"/>
                    </a:lnTo>
                    <a:lnTo>
                      <a:pt x="696944" y="379381"/>
                    </a:lnTo>
                    <a:lnTo>
                      <a:pt x="694373" y="383572"/>
                    </a:lnTo>
                    <a:lnTo>
                      <a:pt x="692658" y="385286"/>
                    </a:lnTo>
                    <a:lnTo>
                      <a:pt x="690182" y="386143"/>
                    </a:lnTo>
                    <a:lnTo>
                      <a:pt x="687610" y="387001"/>
                    </a:lnTo>
                    <a:lnTo>
                      <a:pt x="685038" y="385286"/>
                    </a:lnTo>
                    <a:lnTo>
                      <a:pt x="684181" y="384429"/>
                    </a:lnTo>
                    <a:lnTo>
                      <a:pt x="683324" y="382810"/>
                    </a:lnTo>
                    <a:lnTo>
                      <a:pt x="682466" y="380238"/>
                    </a:lnTo>
                    <a:lnTo>
                      <a:pt x="680847" y="378523"/>
                    </a:lnTo>
                    <a:lnTo>
                      <a:pt x="674846" y="374237"/>
                    </a:lnTo>
                    <a:lnTo>
                      <a:pt x="670655" y="372523"/>
                    </a:lnTo>
                    <a:lnTo>
                      <a:pt x="657892" y="372523"/>
                    </a:lnTo>
                    <a:lnTo>
                      <a:pt x="650272" y="370808"/>
                    </a:lnTo>
                    <a:lnTo>
                      <a:pt x="645224" y="368332"/>
                    </a:lnTo>
                    <a:lnTo>
                      <a:pt x="642652" y="366617"/>
                    </a:lnTo>
                    <a:lnTo>
                      <a:pt x="629126" y="365760"/>
                    </a:lnTo>
                    <a:lnTo>
                      <a:pt x="626555" y="363188"/>
                    </a:lnTo>
                    <a:lnTo>
                      <a:pt x="625697" y="358902"/>
                    </a:lnTo>
                    <a:lnTo>
                      <a:pt x="623983" y="349567"/>
                    </a:lnTo>
                    <a:lnTo>
                      <a:pt x="623126" y="344519"/>
                    </a:lnTo>
                    <a:lnTo>
                      <a:pt x="621506" y="341090"/>
                    </a:lnTo>
                    <a:lnTo>
                      <a:pt x="620649" y="341090"/>
                    </a:lnTo>
                    <a:lnTo>
                      <a:pt x="618077" y="340233"/>
                    </a:lnTo>
                    <a:lnTo>
                      <a:pt x="604552" y="343662"/>
                    </a:lnTo>
                    <a:lnTo>
                      <a:pt x="594360" y="344519"/>
                    </a:lnTo>
                    <a:lnTo>
                      <a:pt x="590074" y="343662"/>
                    </a:lnTo>
                    <a:lnTo>
                      <a:pt x="584168" y="337661"/>
                    </a:lnTo>
                    <a:lnTo>
                      <a:pt x="575691" y="333470"/>
                    </a:lnTo>
                    <a:lnTo>
                      <a:pt x="562928" y="322326"/>
                    </a:lnTo>
                    <a:lnTo>
                      <a:pt x="557879" y="320707"/>
                    </a:lnTo>
                    <a:lnTo>
                      <a:pt x="556165" y="318992"/>
                    </a:lnTo>
                    <a:lnTo>
                      <a:pt x="553593" y="317278"/>
                    </a:lnTo>
                    <a:lnTo>
                      <a:pt x="551974" y="314706"/>
                    </a:lnTo>
                    <a:lnTo>
                      <a:pt x="551974" y="314706"/>
                    </a:lnTo>
                    <a:lnTo>
                      <a:pt x="549402" y="313849"/>
                    </a:lnTo>
                    <a:lnTo>
                      <a:pt x="543497" y="313849"/>
                    </a:lnTo>
                    <a:lnTo>
                      <a:pt x="540068" y="314706"/>
                    </a:lnTo>
                    <a:lnTo>
                      <a:pt x="535781" y="320707"/>
                    </a:lnTo>
                    <a:lnTo>
                      <a:pt x="533305" y="322326"/>
                    </a:lnTo>
                    <a:lnTo>
                      <a:pt x="529876" y="321469"/>
                    </a:lnTo>
                    <a:lnTo>
                      <a:pt x="526542" y="319849"/>
                    </a:lnTo>
                    <a:lnTo>
                      <a:pt x="523970" y="318135"/>
                    </a:lnTo>
                    <a:lnTo>
                      <a:pt x="518827" y="314706"/>
                    </a:lnTo>
                    <a:lnTo>
                      <a:pt x="513779" y="309563"/>
                    </a:lnTo>
                    <a:lnTo>
                      <a:pt x="511207" y="307943"/>
                    </a:lnTo>
                    <a:lnTo>
                      <a:pt x="508730" y="307086"/>
                    </a:lnTo>
                    <a:lnTo>
                      <a:pt x="503587" y="305371"/>
                    </a:lnTo>
                    <a:lnTo>
                      <a:pt x="501110" y="303657"/>
                    </a:lnTo>
                    <a:lnTo>
                      <a:pt x="501110" y="303657"/>
                    </a:lnTo>
                    <a:lnTo>
                      <a:pt x="501110" y="303657"/>
                    </a:lnTo>
                    <a:lnTo>
                      <a:pt x="500253" y="301085"/>
                    </a:lnTo>
                    <a:lnTo>
                      <a:pt x="497681" y="300228"/>
                    </a:lnTo>
                    <a:lnTo>
                      <a:pt x="487490" y="295180"/>
                    </a:lnTo>
                    <a:lnTo>
                      <a:pt x="485775" y="293465"/>
                    </a:lnTo>
                    <a:lnTo>
                      <a:pt x="485775" y="292608"/>
                    </a:lnTo>
                    <a:lnTo>
                      <a:pt x="485775" y="290893"/>
                    </a:lnTo>
                    <a:lnTo>
                      <a:pt x="484918" y="289179"/>
                    </a:lnTo>
                    <a:lnTo>
                      <a:pt x="483299" y="286607"/>
                    </a:lnTo>
                    <a:lnTo>
                      <a:pt x="481584" y="284893"/>
                    </a:lnTo>
                    <a:lnTo>
                      <a:pt x="479012" y="283273"/>
                    </a:lnTo>
                    <a:lnTo>
                      <a:pt x="476441" y="282416"/>
                    </a:lnTo>
                    <a:lnTo>
                      <a:pt x="474821" y="282416"/>
                    </a:lnTo>
                    <a:lnTo>
                      <a:pt x="473964" y="283273"/>
                    </a:lnTo>
                    <a:lnTo>
                      <a:pt x="473964" y="284893"/>
                    </a:lnTo>
                    <a:lnTo>
                      <a:pt x="473107" y="286607"/>
                    </a:lnTo>
                    <a:lnTo>
                      <a:pt x="471392" y="287465"/>
                    </a:lnTo>
                    <a:lnTo>
                      <a:pt x="469678" y="287465"/>
                    </a:lnTo>
                    <a:lnTo>
                      <a:pt x="467963" y="287465"/>
                    </a:lnTo>
                    <a:lnTo>
                      <a:pt x="468821" y="285750"/>
                    </a:lnTo>
                    <a:lnTo>
                      <a:pt x="466344" y="284893"/>
                    </a:lnTo>
                    <a:lnTo>
                      <a:pt x="466344" y="284131"/>
                    </a:lnTo>
                    <a:lnTo>
                      <a:pt x="466344" y="283273"/>
                    </a:lnTo>
                    <a:lnTo>
                      <a:pt x="467963" y="282416"/>
                    </a:lnTo>
                    <a:lnTo>
                      <a:pt x="466344" y="278987"/>
                    </a:lnTo>
                    <a:lnTo>
                      <a:pt x="460343" y="272129"/>
                    </a:lnTo>
                    <a:lnTo>
                      <a:pt x="458629" y="268795"/>
                    </a:lnTo>
                    <a:lnTo>
                      <a:pt x="456152" y="261080"/>
                    </a:lnTo>
                    <a:lnTo>
                      <a:pt x="454438" y="257746"/>
                    </a:lnTo>
                    <a:lnTo>
                      <a:pt x="451866" y="256889"/>
                    </a:lnTo>
                    <a:lnTo>
                      <a:pt x="440912" y="254317"/>
                    </a:lnTo>
                    <a:lnTo>
                      <a:pt x="435769" y="253460"/>
                    </a:lnTo>
                    <a:lnTo>
                      <a:pt x="434912" y="252603"/>
                    </a:lnTo>
                    <a:lnTo>
                      <a:pt x="434054" y="250888"/>
                    </a:lnTo>
                    <a:lnTo>
                      <a:pt x="434054" y="249174"/>
                    </a:lnTo>
                    <a:lnTo>
                      <a:pt x="433197" y="248317"/>
                    </a:lnTo>
                    <a:lnTo>
                      <a:pt x="431578" y="249174"/>
                    </a:lnTo>
                    <a:lnTo>
                      <a:pt x="429006" y="249174"/>
                    </a:lnTo>
                    <a:lnTo>
                      <a:pt x="427292" y="248317"/>
                    </a:lnTo>
                    <a:lnTo>
                      <a:pt x="424720" y="248317"/>
                    </a:lnTo>
                    <a:lnTo>
                      <a:pt x="423100" y="246697"/>
                    </a:lnTo>
                    <a:lnTo>
                      <a:pt x="422243" y="244983"/>
                    </a:lnTo>
                    <a:lnTo>
                      <a:pt x="422243" y="243268"/>
                    </a:lnTo>
                    <a:lnTo>
                      <a:pt x="421386" y="240697"/>
                    </a:lnTo>
                    <a:lnTo>
                      <a:pt x="419671" y="240697"/>
                    </a:lnTo>
                    <a:lnTo>
                      <a:pt x="415385" y="240697"/>
                    </a:lnTo>
                    <a:lnTo>
                      <a:pt x="412909" y="239840"/>
                    </a:lnTo>
                    <a:lnTo>
                      <a:pt x="411194" y="238982"/>
                    </a:lnTo>
                    <a:lnTo>
                      <a:pt x="406908" y="233934"/>
                    </a:lnTo>
                    <a:lnTo>
                      <a:pt x="405289" y="233077"/>
                    </a:lnTo>
                    <a:lnTo>
                      <a:pt x="401860" y="232219"/>
                    </a:lnTo>
                    <a:lnTo>
                      <a:pt x="400145" y="231362"/>
                    </a:lnTo>
                    <a:lnTo>
                      <a:pt x="398431" y="229648"/>
                    </a:lnTo>
                    <a:lnTo>
                      <a:pt x="396812" y="225361"/>
                    </a:lnTo>
                    <a:lnTo>
                      <a:pt x="395097" y="224504"/>
                    </a:lnTo>
                    <a:lnTo>
                      <a:pt x="390811" y="223647"/>
                    </a:lnTo>
                    <a:lnTo>
                      <a:pt x="389192" y="223647"/>
                    </a:lnTo>
                    <a:lnTo>
                      <a:pt x="387477" y="222028"/>
                    </a:lnTo>
                    <a:lnTo>
                      <a:pt x="386620" y="221170"/>
                    </a:lnTo>
                    <a:lnTo>
                      <a:pt x="386620" y="220313"/>
                    </a:lnTo>
                    <a:lnTo>
                      <a:pt x="386620" y="218599"/>
                    </a:lnTo>
                    <a:lnTo>
                      <a:pt x="386620" y="217742"/>
                    </a:lnTo>
                    <a:lnTo>
                      <a:pt x="384048" y="217742"/>
                    </a:lnTo>
                    <a:lnTo>
                      <a:pt x="382334" y="217742"/>
                    </a:lnTo>
                    <a:lnTo>
                      <a:pt x="379857" y="219456"/>
                    </a:lnTo>
                    <a:lnTo>
                      <a:pt x="379000" y="221170"/>
                    </a:lnTo>
                    <a:lnTo>
                      <a:pt x="379000" y="222790"/>
                    </a:lnTo>
                    <a:lnTo>
                      <a:pt x="379857" y="231362"/>
                    </a:lnTo>
                    <a:lnTo>
                      <a:pt x="379000" y="233077"/>
                    </a:lnTo>
                    <a:lnTo>
                      <a:pt x="377285" y="231362"/>
                    </a:lnTo>
                    <a:lnTo>
                      <a:pt x="372237" y="226219"/>
                    </a:lnTo>
                    <a:lnTo>
                      <a:pt x="370523" y="224504"/>
                    </a:lnTo>
                    <a:lnTo>
                      <a:pt x="367951" y="224504"/>
                    </a:lnTo>
                    <a:lnTo>
                      <a:pt x="366236" y="225361"/>
                    </a:lnTo>
                    <a:lnTo>
                      <a:pt x="363665" y="225361"/>
                    </a:lnTo>
                    <a:lnTo>
                      <a:pt x="361188" y="224504"/>
                    </a:lnTo>
                    <a:lnTo>
                      <a:pt x="360331" y="222790"/>
                    </a:lnTo>
                    <a:lnTo>
                      <a:pt x="356902" y="216884"/>
                    </a:lnTo>
                    <a:lnTo>
                      <a:pt x="356045" y="216027"/>
                    </a:lnTo>
                    <a:lnTo>
                      <a:pt x="354425" y="215170"/>
                    </a:lnTo>
                    <a:lnTo>
                      <a:pt x="353568" y="215170"/>
                    </a:lnTo>
                    <a:lnTo>
                      <a:pt x="352711" y="214313"/>
                    </a:lnTo>
                    <a:lnTo>
                      <a:pt x="350996" y="212598"/>
                    </a:lnTo>
                    <a:lnTo>
                      <a:pt x="350996" y="211741"/>
                    </a:lnTo>
                    <a:lnTo>
                      <a:pt x="349282" y="210121"/>
                    </a:lnTo>
                    <a:lnTo>
                      <a:pt x="345091" y="209264"/>
                    </a:lnTo>
                    <a:lnTo>
                      <a:pt x="342519" y="208407"/>
                    </a:lnTo>
                    <a:lnTo>
                      <a:pt x="341662" y="207550"/>
                    </a:lnTo>
                    <a:lnTo>
                      <a:pt x="337471" y="202406"/>
                    </a:lnTo>
                    <a:lnTo>
                      <a:pt x="334042" y="200692"/>
                    </a:lnTo>
                    <a:lnTo>
                      <a:pt x="333184" y="200692"/>
                    </a:lnTo>
                    <a:lnTo>
                      <a:pt x="332327" y="202406"/>
                    </a:lnTo>
                    <a:lnTo>
                      <a:pt x="332327" y="203263"/>
                    </a:lnTo>
                    <a:lnTo>
                      <a:pt x="331470" y="205835"/>
                    </a:lnTo>
                    <a:lnTo>
                      <a:pt x="328136" y="209264"/>
                    </a:lnTo>
                    <a:lnTo>
                      <a:pt x="326422" y="210121"/>
                    </a:lnTo>
                    <a:lnTo>
                      <a:pt x="325565" y="210884"/>
                    </a:lnTo>
                    <a:lnTo>
                      <a:pt x="323850" y="210884"/>
                    </a:lnTo>
                    <a:lnTo>
                      <a:pt x="322136" y="211741"/>
                    </a:lnTo>
                    <a:lnTo>
                      <a:pt x="319659" y="210884"/>
                    </a:lnTo>
                    <a:lnTo>
                      <a:pt x="317945" y="209264"/>
                    </a:lnTo>
                    <a:lnTo>
                      <a:pt x="317087" y="208407"/>
                    </a:lnTo>
                    <a:lnTo>
                      <a:pt x="317087" y="206692"/>
                    </a:lnTo>
                    <a:lnTo>
                      <a:pt x="317945" y="205835"/>
                    </a:lnTo>
                    <a:lnTo>
                      <a:pt x="317087" y="204978"/>
                    </a:lnTo>
                    <a:lnTo>
                      <a:pt x="316230" y="204978"/>
                    </a:lnTo>
                    <a:lnTo>
                      <a:pt x="314516" y="205835"/>
                    </a:lnTo>
                    <a:lnTo>
                      <a:pt x="313658" y="205835"/>
                    </a:lnTo>
                    <a:lnTo>
                      <a:pt x="312801" y="204978"/>
                    </a:lnTo>
                    <a:lnTo>
                      <a:pt x="312801" y="204121"/>
                    </a:lnTo>
                    <a:lnTo>
                      <a:pt x="313658" y="202406"/>
                    </a:lnTo>
                    <a:lnTo>
                      <a:pt x="312801" y="201549"/>
                    </a:lnTo>
                    <a:lnTo>
                      <a:pt x="312801" y="200692"/>
                    </a:lnTo>
                    <a:lnTo>
                      <a:pt x="311182" y="200692"/>
                    </a:lnTo>
                    <a:lnTo>
                      <a:pt x="307753" y="202406"/>
                    </a:lnTo>
                    <a:lnTo>
                      <a:pt x="306896" y="202406"/>
                    </a:lnTo>
                    <a:lnTo>
                      <a:pt x="306038" y="200692"/>
                    </a:lnTo>
                    <a:lnTo>
                      <a:pt x="306038" y="199834"/>
                    </a:lnTo>
                    <a:lnTo>
                      <a:pt x="306896" y="197358"/>
                    </a:lnTo>
                    <a:lnTo>
                      <a:pt x="307753" y="195643"/>
                    </a:lnTo>
                    <a:lnTo>
                      <a:pt x="306896" y="194786"/>
                    </a:lnTo>
                    <a:lnTo>
                      <a:pt x="304324" y="193072"/>
                    </a:lnTo>
                    <a:lnTo>
                      <a:pt x="299275" y="192215"/>
                    </a:lnTo>
                    <a:lnTo>
                      <a:pt x="296704" y="192215"/>
                    </a:lnTo>
                    <a:lnTo>
                      <a:pt x="294989" y="193072"/>
                    </a:lnTo>
                    <a:lnTo>
                      <a:pt x="294989" y="193929"/>
                    </a:lnTo>
                    <a:lnTo>
                      <a:pt x="294989" y="194786"/>
                    </a:lnTo>
                    <a:lnTo>
                      <a:pt x="294989" y="195643"/>
                    </a:lnTo>
                    <a:lnTo>
                      <a:pt x="291655" y="196501"/>
                    </a:lnTo>
                    <a:lnTo>
                      <a:pt x="284893" y="194786"/>
                    </a:lnTo>
                    <a:lnTo>
                      <a:pt x="282321" y="196501"/>
                    </a:lnTo>
                    <a:lnTo>
                      <a:pt x="280607" y="196501"/>
                    </a:lnTo>
                    <a:lnTo>
                      <a:pt x="279749" y="196501"/>
                    </a:lnTo>
                    <a:lnTo>
                      <a:pt x="278892" y="195643"/>
                    </a:lnTo>
                    <a:lnTo>
                      <a:pt x="278035" y="193929"/>
                    </a:lnTo>
                    <a:lnTo>
                      <a:pt x="277273" y="193072"/>
                    </a:lnTo>
                    <a:lnTo>
                      <a:pt x="272987" y="193072"/>
                    </a:lnTo>
                    <a:lnTo>
                      <a:pt x="263652" y="196501"/>
                    </a:lnTo>
                    <a:lnTo>
                      <a:pt x="261938" y="193072"/>
                    </a:lnTo>
                    <a:lnTo>
                      <a:pt x="260318" y="187928"/>
                    </a:lnTo>
                    <a:lnTo>
                      <a:pt x="259461" y="186214"/>
                    </a:lnTo>
                    <a:lnTo>
                      <a:pt x="258604" y="185452"/>
                    </a:lnTo>
                    <a:lnTo>
                      <a:pt x="256889" y="183737"/>
                    </a:lnTo>
                    <a:lnTo>
                      <a:pt x="256032" y="182023"/>
                    </a:lnTo>
                    <a:lnTo>
                      <a:pt x="256032" y="181165"/>
                    </a:lnTo>
                    <a:lnTo>
                      <a:pt x="254317" y="181165"/>
                    </a:lnTo>
                    <a:lnTo>
                      <a:pt x="253460" y="182023"/>
                    </a:lnTo>
                    <a:lnTo>
                      <a:pt x="251746" y="182023"/>
                    </a:lnTo>
                    <a:lnTo>
                      <a:pt x="250127" y="182023"/>
                    </a:lnTo>
                    <a:lnTo>
                      <a:pt x="247555" y="181165"/>
                    </a:lnTo>
                    <a:lnTo>
                      <a:pt x="233172" y="170974"/>
                    </a:lnTo>
                    <a:lnTo>
                      <a:pt x="231458" y="169259"/>
                    </a:lnTo>
                    <a:lnTo>
                      <a:pt x="230600" y="167545"/>
                    </a:lnTo>
                    <a:lnTo>
                      <a:pt x="230600" y="166688"/>
                    </a:lnTo>
                    <a:lnTo>
                      <a:pt x="230600" y="164973"/>
                    </a:lnTo>
                    <a:lnTo>
                      <a:pt x="229743" y="164116"/>
                    </a:lnTo>
                    <a:lnTo>
                      <a:pt x="228886" y="163259"/>
                    </a:lnTo>
                    <a:lnTo>
                      <a:pt x="220409" y="159067"/>
                    </a:lnTo>
                    <a:lnTo>
                      <a:pt x="219551" y="158210"/>
                    </a:lnTo>
                    <a:lnTo>
                      <a:pt x="218694" y="158210"/>
                    </a:lnTo>
                    <a:lnTo>
                      <a:pt x="216218" y="159925"/>
                    </a:lnTo>
                    <a:lnTo>
                      <a:pt x="209360" y="161544"/>
                    </a:lnTo>
                    <a:lnTo>
                      <a:pt x="205169" y="164116"/>
                    </a:lnTo>
                    <a:lnTo>
                      <a:pt x="204311" y="157353"/>
                    </a:lnTo>
                    <a:lnTo>
                      <a:pt x="203454" y="155638"/>
                    </a:lnTo>
                    <a:lnTo>
                      <a:pt x="201740" y="153067"/>
                    </a:lnTo>
                    <a:lnTo>
                      <a:pt x="200120" y="150495"/>
                    </a:lnTo>
                    <a:lnTo>
                      <a:pt x="183928" y="142018"/>
                    </a:lnTo>
                    <a:lnTo>
                      <a:pt x="183071" y="141161"/>
                    </a:lnTo>
                    <a:lnTo>
                      <a:pt x="183071" y="140303"/>
                    </a:lnTo>
                    <a:lnTo>
                      <a:pt x="183928" y="140303"/>
                    </a:lnTo>
                    <a:lnTo>
                      <a:pt x="184785" y="139446"/>
                    </a:lnTo>
                    <a:lnTo>
                      <a:pt x="183928" y="138589"/>
                    </a:lnTo>
                    <a:lnTo>
                      <a:pt x="183928" y="137731"/>
                    </a:lnTo>
                    <a:lnTo>
                      <a:pt x="184785" y="136874"/>
                    </a:lnTo>
                    <a:lnTo>
                      <a:pt x="186500" y="136874"/>
                    </a:lnTo>
                    <a:lnTo>
                      <a:pt x="187357" y="136112"/>
                    </a:lnTo>
                    <a:lnTo>
                      <a:pt x="188214" y="136112"/>
                    </a:lnTo>
                    <a:lnTo>
                      <a:pt x="189071" y="136112"/>
                    </a:lnTo>
                    <a:lnTo>
                      <a:pt x="189929" y="136874"/>
                    </a:lnTo>
                    <a:lnTo>
                      <a:pt x="191548" y="137731"/>
                    </a:lnTo>
                    <a:lnTo>
                      <a:pt x="192405" y="136874"/>
                    </a:lnTo>
                    <a:lnTo>
                      <a:pt x="193262" y="134398"/>
                    </a:lnTo>
                    <a:lnTo>
                      <a:pt x="194120" y="133540"/>
                    </a:lnTo>
                    <a:lnTo>
                      <a:pt x="194977" y="133540"/>
                    </a:lnTo>
                    <a:lnTo>
                      <a:pt x="195834" y="133540"/>
                    </a:lnTo>
                    <a:lnTo>
                      <a:pt x="196691" y="134398"/>
                    </a:lnTo>
                    <a:lnTo>
                      <a:pt x="197549" y="134398"/>
                    </a:lnTo>
                    <a:lnTo>
                      <a:pt x="199263" y="133540"/>
                    </a:lnTo>
                    <a:lnTo>
                      <a:pt x="204311" y="128397"/>
                    </a:lnTo>
                    <a:lnTo>
                      <a:pt x="205169" y="126682"/>
                    </a:lnTo>
                    <a:lnTo>
                      <a:pt x="206026" y="125825"/>
                    </a:lnTo>
                    <a:lnTo>
                      <a:pt x="206026" y="124111"/>
                    </a:lnTo>
                    <a:lnTo>
                      <a:pt x="204311" y="123349"/>
                    </a:lnTo>
                    <a:lnTo>
                      <a:pt x="195834" y="121634"/>
                    </a:lnTo>
                    <a:lnTo>
                      <a:pt x="193262" y="120777"/>
                    </a:lnTo>
                    <a:lnTo>
                      <a:pt x="175451" y="109728"/>
                    </a:lnTo>
                    <a:lnTo>
                      <a:pt x="168688" y="104584"/>
                    </a:lnTo>
                    <a:lnTo>
                      <a:pt x="165354" y="99441"/>
                    </a:lnTo>
                    <a:lnTo>
                      <a:pt x="163640" y="96107"/>
                    </a:lnTo>
                    <a:lnTo>
                      <a:pt x="161068" y="90964"/>
                    </a:lnTo>
                    <a:lnTo>
                      <a:pt x="156877" y="85915"/>
                    </a:lnTo>
                    <a:lnTo>
                      <a:pt x="145828" y="81629"/>
                    </a:lnTo>
                    <a:lnTo>
                      <a:pt x="144113" y="79915"/>
                    </a:lnTo>
                    <a:lnTo>
                      <a:pt x="143256" y="78200"/>
                    </a:lnTo>
                    <a:lnTo>
                      <a:pt x="139922" y="70580"/>
                    </a:lnTo>
                    <a:lnTo>
                      <a:pt x="135636" y="64579"/>
                    </a:lnTo>
                    <a:lnTo>
                      <a:pt x="128873" y="57817"/>
                    </a:lnTo>
                    <a:lnTo>
                      <a:pt x="128016" y="56959"/>
                    </a:lnTo>
                    <a:lnTo>
                      <a:pt x="127159" y="56959"/>
                    </a:lnTo>
                    <a:lnTo>
                      <a:pt x="125444" y="56959"/>
                    </a:lnTo>
                    <a:lnTo>
                      <a:pt x="123730" y="56959"/>
                    </a:lnTo>
                    <a:lnTo>
                      <a:pt x="122873" y="57817"/>
                    </a:lnTo>
                    <a:lnTo>
                      <a:pt x="122111" y="58674"/>
                    </a:lnTo>
                    <a:lnTo>
                      <a:pt x="121253" y="60388"/>
                    </a:lnTo>
                    <a:lnTo>
                      <a:pt x="121253" y="63722"/>
                    </a:lnTo>
                    <a:lnTo>
                      <a:pt x="122111" y="66294"/>
                    </a:lnTo>
                    <a:lnTo>
                      <a:pt x="125444" y="77343"/>
                    </a:lnTo>
                    <a:lnTo>
                      <a:pt x="126302" y="83344"/>
                    </a:lnTo>
                    <a:lnTo>
                      <a:pt x="124587" y="88392"/>
                    </a:lnTo>
                    <a:lnTo>
                      <a:pt x="121253" y="92678"/>
                    </a:lnTo>
                    <a:lnTo>
                      <a:pt x="116110" y="95250"/>
                    </a:lnTo>
                    <a:lnTo>
                      <a:pt x="113633" y="94393"/>
                    </a:lnTo>
                    <a:lnTo>
                      <a:pt x="112776" y="93536"/>
                    </a:lnTo>
                    <a:lnTo>
                      <a:pt x="108490" y="90964"/>
                    </a:lnTo>
                    <a:lnTo>
                      <a:pt x="102584" y="86773"/>
                    </a:lnTo>
                    <a:lnTo>
                      <a:pt x="100870" y="85915"/>
                    </a:lnTo>
                    <a:lnTo>
                      <a:pt x="99155" y="85915"/>
                    </a:lnTo>
                    <a:lnTo>
                      <a:pt x="95822" y="89249"/>
                    </a:lnTo>
                    <a:lnTo>
                      <a:pt x="85630" y="94393"/>
                    </a:lnTo>
                    <a:lnTo>
                      <a:pt x="80486" y="84201"/>
                    </a:lnTo>
                    <a:lnTo>
                      <a:pt x="79629" y="80772"/>
                    </a:lnTo>
                    <a:lnTo>
                      <a:pt x="78010" y="74009"/>
                    </a:lnTo>
                    <a:lnTo>
                      <a:pt x="76295" y="68866"/>
                    </a:lnTo>
                    <a:lnTo>
                      <a:pt x="76295" y="66294"/>
                    </a:lnTo>
                    <a:lnTo>
                      <a:pt x="76295" y="61246"/>
                    </a:lnTo>
                    <a:lnTo>
                      <a:pt x="75438" y="56102"/>
                    </a:lnTo>
                    <a:lnTo>
                      <a:pt x="76295" y="53530"/>
                    </a:lnTo>
                    <a:lnTo>
                      <a:pt x="81344" y="45910"/>
                    </a:lnTo>
                    <a:lnTo>
                      <a:pt x="85630" y="34004"/>
                    </a:lnTo>
                    <a:lnTo>
                      <a:pt x="89821" y="29718"/>
                    </a:lnTo>
                    <a:lnTo>
                      <a:pt x="94964" y="25432"/>
                    </a:lnTo>
                    <a:lnTo>
                      <a:pt x="97441" y="23813"/>
                    </a:lnTo>
                    <a:lnTo>
                      <a:pt x="98298" y="22098"/>
                    </a:lnTo>
                    <a:lnTo>
                      <a:pt x="95822" y="19526"/>
                    </a:lnTo>
                    <a:lnTo>
                      <a:pt x="83058" y="13525"/>
                    </a:lnTo>
                    <a:lnTo>
                      <a:pt x="76295" y="9334"/>
                    </a:lnTo>
                    <a:lnTo>
                      <a:pt x="66961" y="762"/>
                    </a:lnTo>
                    <a:lnTo>
                      <a:pt x="63532" y="0"/>
                    </a:lnTo>
                    <a:lnTo>
                      <a:pt x="61913" y="0"/>
                    </a:lnTo>
                    <a:lnTo>
                      <a:pt x="58483" y="2476"/>
                    </a:lnTo>
                    <a:lnTo>
                      <a:pt x="58483" y="2476"/>
                    </a:lnTo>
                    <a:lnTo>
                      <a:pt x="58483" y="3334"/>
                    </a:lnTo>
                    <a:lnTo>
                      <a:pt x="58483" y="9334"/>
                    </a:lnTo>
                    <a:lnTo>
                      <a:pt x="56769" y="15240"/>
                    </a:lnTo>
                    <a:lnTo>
                      <a:pt x="54197" y="17812"/>
                    </a:lnTo>
                    <a:lnTo>
                      <a:pt x="50006" y="21241"/>
                    </a:lnTo>
                    <a:lnTo>
                      <a:pt x="42386" y="28861"/>
                    </a:lnTo>
                    <a:lnTo>
                      <a:pt x="39815" y="31432"/>
                    </a:lnTo>
                    <a:lnTo>
                      <a:pt x="38100" y="33147"/>
                    </a:lnTo>
                    <a:lnTo>
                      <a:pt x="38100" y="36576"/>
                    </a:lnTo>
                    <a:lnTo>
                      <a:pt x="34766" y="39052"/>
                    </a:lnTo>
                    <a:lnTo>
                      <a:pt x="31337" y="42481"/>
                    </a:lnTo>
                    <a:lnTo>
                      <a:pt x="29623" y="42481"/>
                    </a:lnTo>
                    <a:lnTo>
                      <a:pt x="28766" y="43339"/>
                    </a:lnTo>
                    <a:lnTo>
                      <a:pt x="28766" y="44196"/>
                    </a:lnTo>
                    <a:lnTo>
                      <a:pt x="28766" y="45910"/>
                    </a:lnTo>
                    <a:lnTo>
                      <a:pt x="28766" y="45910"/>
                    </a:lnTo>
                    <a:lnTo>
                      <a:pt x="28004" y="45910"/>
                    </a:lnTo>
                    <a:lnTo>
                      <a:pt x="27146" y="45910"/>
                    </a:lnTo>
                    <a:lnTo>
                      <a:pt x="27146" y="45910"/>
                    </a:lnTo>
                    <a:lnTo>
                      <a:pt x="25432" y="45910"/>
                    </a:lnTo>
                    <a:lnTo>
                      <a:pt x="25432" y="45910"/>
                    </a:lnTo>
                    <a:lnTo>
                      <a:pt x="24575" y="46768"/>
                    </a:lnTo>
                    <a:lnTo>
                      <a:pt x="24575" y="47625"/>
                    </a:lnTo>
                    <a:lnTo>
                      <a:pt x="24575" y="48482"/>
                    </a:lnTo>
                    <a:lnTo>
                      <a:pt x="24575" y="48482"/>
                    </a:lnTo>
                    <a:lnTo>
                      <a:pt x="20288" y="53530"/>
                    </a:lnTo>
                    <a:lnTo>
                      <a:pt x="19431" y="54388"/>
                    </a:lnTo>
                    <a:lnTo>
                      <a:pt x="17812" y="56102"/>
                    </a:lnTo>
                    <a:lnTo>
                      <a:pt x="16954" y="60388"/>
                    </a:lnTo>
                    <a:lnTo>
                      <a:pt x="13526" y="75628"/>
                    </a:lnTo>
                    <a:lnTo>
                      <a:pt x="11811" y="79915"/>
                    </a:lnTo>
                    <a:lnTo>
                      <a:pt x="10954" y="80772"/>
                    </a:lnTo>
                    <a:lnTo>
                      <a:pt x="10192" y="79915"/>
                    </a:lnTo>
                    <a:lnTo>
                      <a:pt x="9335" y="79915"/>
                    </a:lnTo>
                    <a:lnTo>
                      <a:pt x="8477" y="80772"/>
                    </a:lnTo>
                    <a:lnTo>
                      <a:pt x="8477" y="82486"/>
                    </a:lnTo>
                    <a:lnTo>
                      <a:pt x="8477" y="83344"/>
                    </a:lnTo>
                    <a:lnTo>
                      <a:pt x="9335" y="84201"/>
                    </a:lnTo>
                    <a:lnTo>
                      <a:pt x="9335" y="85058"/>
                    </a:lnTo>
                    <a:lnTo>
                      <a:pt x="9335" y="85915"/>
                    </a:lnTo>
                    <a:lnTo>
                      <a:pt x="7620" y="87535"/>
                    </a:lnTo>
                    <a:lnTo>
                      <a:pt x="5048" y="88392"/>
                    </a:lnTo>
                    <a:lnTo>
                      <a:pt x="5906" y="91821"/>
                    </a:lnTo>
                    <a:lnTo>
                      <a:pt x="3334" y="94393"/>
                    </a:lnTo>
                    <a:lnTo>
                      <a:pt x="4191" y="96965"/>
                    </a:lnTo>
                    <a:lnTo>
                      <a:pt x="3334" y="98679"/>
                    </a:lnTo>
                    <a:lnTo>
                      <a:pt x="3334" y="100298"/>
                    </a:lnTo>
                    <a:lnTo>
                      <a:pt x="4191" y="102013"/>
                    </a:lnTo>
                    <a:lnTo>
                      <a:pt x="4191" y="103727"/>
                    </a:lnTo>
                    <a:lnTo>
                      <a:pt x="4191" y="104584"/>
                    </a:lnTo>
                    <a:lnTo>
                      <a:pt x="2477" y="104584"/>
                    </a:lnTo>
                    <a:lnTo>
                      <a:pt x="857" y="105442"/>
                    </a:lnTo>
                    <a:lnTo>
                      <a:pt x="0" y="107156"/>
                    </a:lnTo>
                    <a:lnTo>
                      <a:pt x="0" y="108013"/>
                    </a:lnTo>
                    <a:lnTo>
                      <a:pt x="1715" y="109728"/>
                    </a:lnTo>
                    <a:lnTo>
                      <a:pt x="1715" y="110585"/>
                    </a:lnTo>
                    <a:lnTo>
                      <a:pt x="1715" y="113062"/>
                    </a:lnTo>
                    <a:lnTo>
                      <a:pt x="857" y="113919"/>
                    </a:lnTo>
                    <a:lnTo>
                      <a:pt x="857" y="113919"/>
                    </a:lnTo>
                    <a:lnTo>
                      <a:pt x="2477" y="115633"/>
                    </a:lnTo>
                    <a:lnTo>
                      <a:pt x="5048" y="114776"/>
                    </a:lnTo>
                    <a:lnTo>
                      <a:pt x="6763" y="116491"/>
                    </a:lnTo>
                    <a:lnTo>
                      <a:pt x="5048" y="118205"/>
                    </a:lnTo>
                    <a:lnTo>
                      <a:pt x="1715" y="122492"/>
                    </a:lnTo>
                    <a:lnTo>
                      <a:pt x="857" y="124111"/>
                    </a:lnTo>
                    <a:lnTo>
                      <a:pt x="2477" y="124111"/>
                    </a:lnTo>
                    <a:lnTo>
                      <a:pt x="5048" y="124111"/>
                    </a:lnTo>
                    <a:lnTo>
                      <a:pt x="8477" y="124111"/>
                    </a:lnTo>
                    <a:lnTo>
                      <a:pt x="10192" y="124968"/>
                    </a:lnTo>
                    <a:lnTo>
                      <a:pt x="10192" y="126682"/>
                    </a:lnTo>
                    <a:lnTo>
                      <a:pt x="10192" y="127540"/>
                    </a:lnTo>
                    <a:lnTo>
                      <a:pt x="9335" y="128397"/>
                    </a:lnTo>
                    <a:lnTo>
                      <a:pt x="8477" y="130111"/>
                    </a:lnTo>
                    <a:lnTo>
                      <a:pt x="8477" y="130969"/>
                    </a:lnTo>
                    <a:lnTo>
                      <a:pt x="8477" y="134398"/>
                    </a:lnTo>
                    <a:lnTo>
                      <a:pt x="9335" y="135255"/>
                    </a:lnTo>
                    <a:lnTo>
                      <a:pt x="10192" y="136874"/>
                    </a:lnTo>
                    <a:lnTo>
                      <a:pt x="10192" y="137731"/>
                    </a:lnTo>
                    <a:lnTo>
                      <a:pt x="9335" y="139446"/>
                    </a:lnTo>
                    <a:lnTo>
                      <a:pt x="8477" y="141161"/>
                    </a:lnTo>
                    <a:lnTo>
                      <a:pt x="8477" y="142018"/>
                    </a:lnTo>
                    <a:lnTo>
                      <a:pt x="9335" y="161544"/>
                    </a:lnTo>
                    <a:lnTo>
                      <a:pt x="9335" y="162401"/>
                    </a:lnTo>
                    <a:lnTo>
                      <a:pt x="9335" y="162401"/>
                    </a:lnTo>
                    <a:lnTo>
                      <a:pt x="8477" y="162401"/>
                    </a:lnTo>
                    <a:lnTo>
                      <a:pt x="8477" y="163259"/>
                    </a:lnTo>
                    <a:lnTo>
                      <a:pt x="8477" y="164116"/>
                    </a:lnTo>
                    <a:lnTo>
                      <a:pt x="9335" y="164116"/>
                    </a:lnTo>
                    <a:lnTo>
                      <a:pt x="9335" y="164973"/>
                    </a:lnTo>
                    <a:lnTo>
                      <a:pt x="10192" y="164973"/>
                    </a:lnTo>
                    <a:lnTo>
                      <a:pt x="12668" y="173450"/>
                    </a:lnTo>
                    <a:lnTo>
                      <a:pt x="15240" y="177736"/>
                    </a:lnTo>
                    <a:lnTo>
                      <a:pt x="14383" y="179451"/>
                    </a:lnTo>
                    <a:lnTo>
                      <a:pt x="13526" y="180308"/>
                    </a:lnTo>
                    <a:lnTo>
                      <a:pt x="12668" y="182023"/>
                    </a:lnTo>
                    <a:lnTo>
                      <a:pt x="16097" y="185452"/>
                    </a:lnTo>
                    <a:lnTo>
                      <a:pt x="16954" y="186214"/>
                    </a:lnTo>
                    <a:lnTo>
                      <a:pt x="17812" y="187071"/>
                    </a:lnTo>
                    <a:lnTo>
                      <a:pt x="17812" y="188786"/>
                    </a:lnTo>
                    <a:lnTo>
                      <a:pt x="17812" y="189643"/>
                    </a:lnTo>
                    <a:lnTo>
                      <a:pt x="16954" y="190500"/>
                    </a:lnTo>
                    <a:lnTo>
                      <a:pt x="16097" y="193072"/>
                    </a:lnTo>
                    <a:lnTo>
                      <a:pt x="17812" y="197358"/>
                    </a:lnTo>
                    <a:lnTo>
                      <a:pt x="16097" y="199834"/>
                    </a:lnTo>
                    <a:lnTo>
                      <a:pt x="17812" y="202406"/>
                    </a:lnTo>
                    <a:lnTo>
                      <a:pt x="18669" y="204978"/>
                    </a:lnTo>
                    <a:lnTo>
                      <a:pt x="28004" y="212598"/>
                    </a:lnTo>
                    <a:lnTo>
                      <a:pt x="28004" y="214313"/>
                    </a:lnTo>
                    <a:lnTo>
                      <a:pt x="28766" y="216027"/>
                    </a:lnTo>
                    <a:lnTo>
                      <a:pt x="28766" y="216884"/>
                    </a:lnTo>
                    <a:lnTo>
                      <a:pt x="28766" y="217742"/>
                    </a:lnTo>
                    <a:lnTo>
                      <a:pt x="30480" y="222028"/>
                    </a:lnTo>
                    <a:lnTo>
                      <a:pt x="30480" y="223647"/>
                    </a:lnTo>
                    <a:lnTo>
                      <a:pt x="31337" y="224504"/>
                    </a:lnTo>
                    <a:lnTo>
                      <a:pt x="30480" y="225361"/>
                    </a:lnTo>
                    <a:lnTo>
                      <a:pt x="30480" y="226219"/>
                    </a:lnTo>
                    <a:lnTo>
                      <a:pt x="29623" y="227076"/>
                    </a:lnTo>
                    <a:lnTo>
                      <a:pt x="28004" y="228790"/>
                    </a:lnTo>
                    <a:lnTo>
                      <a:pt x="27146" y="229648"/>
                    </a:lnTo>
                    <a:lnTo>
                      <a:pt x="27146" y="230505"/>
                    </a:lnTo>
                    <a:lnTo>
                      <a:pt x="26289" y="232219"/>
                    </a:lnTo>
                    <a:lnTo>
                      <a:pt x="27146" y="233077"/>
                    </a:lnTo>
                    <a:lnTo>
                      <a:pt x="29623" y="238125"/>
                    </a:lnTo>
                    <a:lnTo>
                      <a:pt x="30480" y="239840"/>
                    </a:lnTo>
                    <a:lnTo>
                      <a:pt x="31337" y="240697"/>
                    </a:lnTo>
                    <a:lnTo>
                      <a:pt x="32195" y="241554"/>
                    </a:lnTo>
                    <a:lnTo>
                      <a:pt x="33909" y="241554"/>
                    </a:lnTo>
                    <a:lnTo>
                      <a:pt x="35624" y="242411"/>
                    </a:lnTo>
                    <a:lnTo>
                      <a:pt x="35624" y="244126"/>
                    </a:lnTo>
                    <a:lnTo>
                      <a:pt x="34766" y="245840"/>
                    </a:lnTo>
                    <a:lnTo>
                      <a:pt x="35624" y="245840"/>
                    </a:lnTo>
                    <a:lnTo>
                      <a:pt x="36481" y="245840"/>
                    </a:lnTo>
                    <a:lnTo>
                      <a:pt x="38100" y="244983"/>
                    </a:lnTo>
                    <a:lnTo>
                      <a:pt x="38957" y="244126"/>
                    </a:lnTo>
                    <a:lnTo>
                      <a:pt x="39815" y="244983"/>
                    </a:lnTo>
                    <a:lnTo>
                      <a:pt x="39815" y="245840"/>
                    </a:lnTo>
                    <a:lnTo>
                      <a:pt x="39815" y="246697"/>
                    </a:lnTo>
                    <a:lnTo>
                      <a:pt x="40672" y="247459"/>
                    </a:lnTo>
                    <a:lnTo>
                      <a:pt x="40672" y="248317"/>
                    </a:lnTo>
                    <a:lnTo>
                      <a:pt x="40672" y="249174"/>
                    </a:lnTo>
                    <a:lnTo>
                      <a:pt x="42386" y="250031"/>
                    </a:lnTo>
                    <a:lnTo>
                      <a:pt x="44101" y="248317"/>
                    </a:lnTo>
                    <a:lnTo>
                      <a:pt x="44958" y="248317"/>
                    </a:lnTo>
                    <a:lnTo>
                      <a:pt x="45720" y="250031"/>
                    </a:lnTo>
                    <a:lnTo>
                      <a:pt x="44958" y="253460"/>
                    </a:lnTo>
                    <a:lnTo>
                      <a:pt x="45720" y="254317"/>
                    </a:lnTo>
                    <a:lnTo>
                      <a:pt x="48292" y="254317"/>
                    </a:lnTo>
                    <a:lnTo>
                      <a:pt x="45720" y="260223"/>
                    </a:lnTo>
                    <a:lnTo>
                      <a:pt x="44958" y="263652"/>
                    </a:lnTo>
                    <a:lnTo>
                      <a:pt x="47435" y="266224"/>
                    </a:lnTo>
                    <a:lnTo>
                      <a:pt x="47435" y="267081"/>
                    </a:lnTo>
                    <a:lnTo>
                      <a:pt x="47435" y="268795"/>
                    </a:lnTo>
                    <a:lnTo>
                      <a:pt x="47435" y="270510"/>
                    </a:lnTo>
                    <a:lnTo>
                      <a:pt x="49149" y="271367"/>
                    </a:lnTo>
                    <a:lnTo>
                      <a:pt x="51721" y="271367"/>
                    </a:lnTo>
                    <a:lnTo>
                      <a:pt x="53435" y="272986"/>
                    </a:lnTo>
                    <a:lnTo>
                      <a:pt x="52578" y="272986"/>
                    </a:lnTo>
                    <a:lnTo>
                      <a:pt x="51721" y="272986"/>
                    </a:lnTo>
                    <a:lnTo>
                      <a:pt x="51721" y="273844"/>
                    </a:lnTo>
                    <a:lnTo>
                      <a:pt x="51721" y="274701"/>
                    </a:lnTo>
                    <a:lnTo>
                      <a:pt x="50864" y="275558"/>
                    </a:lnTo>
                    <a:lnTo>
                      <a:pt x="50006" y="276415"/>
                    </a:lnTo>
                    <a:lnTo>
                      <a:pt x="49149" y="277273"/>
                    </a:lnTo>
                    <a:lnTo>
                      <a:pt x="48292" y="277273"/>
                    </a:lnTo>
                    <a:lnTo>
                      <a:pt x="49149" y="278987"/>
                    </a:lnTo>
                    <a:lnTo>
                      <a:pt x="51721" y="278987"/>
                    </a:lnTo>
                    <a:lnTo>
                      <a:pt x="53435" y="280702"/>
                    </a:lnTo>
                    <a:lnTo>
                      <a:pt x="50006" y="281559"/>
                    </a:lnTo>
                    <a:lnTo>
                      <a:pt x="48292" y="284131"/>
                    </a:lnTo>
                    <a:lnTo>
                      <a:pt x="48292" y="287465"/>
                    </a:lnTo>
                    <a:lnTo>
                      <a:pt x="49149" y="291751"/>
                    </a:lnTo>
                    <a:lnTo>
                      <a:pt x="45720" y="289179"/>
                    </a:lnTo>
                    <a:lnTo>
                      <a:pt x="45720" y="290893"/>
                    </a:lnTo>
                    <a:lnTo>
                      <a:pt x="45720" y="294322"/>
                    </a:lnTo>
                    <a:lnTo>
                      <a:pt x="44958" y="297656"/>
                    </a:lnTo>
                    <a:lnTo>
                      <a:pt x="46577" y="298513"/>
                    </a:lnTo>
                    <a:lnTo>
                      <a:pt x="48292" y="299371"/>
                    </a:lnTo>
                    <a:lnTo>
                      <a:pt x="49149" y="300228"/>
                    </a:lnTo>
                    <a:lnTo>
                      <a:pt x="50006" y="303657"/>
                    </a:lnTo>
                    <a:lnTo>
                      <a:pt x="51721" y="306229"/>
                    </a:lnTo>
                    <a:lnTo>
                      <a:pt x="51721" y="308800"/>
                    </a:lnTo>
                    <a:lnTo>
                      <a:pt x="50006" y="310420"/>
                    </a:lnTo>
                    <a:lnTo>
                      <a:pt x="48292" y="312134"/>
                    </a:lnTo>
                    <a:lnTo>
                      <a:pt x="47435" y="312992"/>
                    </a:lnTo>
                    <a:lnTo>
                      <a:pt x="46577" y="315563"/>
                    </a:lnTo>
                    <a:lnTo>
                      <a:pt x="45720" y="317278"/>
                    </a:lnTo>
                    <a:lnTo>
                      <a:pt x="44101" y="317278"/>
                    </a:lnTo>
                    <a:lnTo>
                      <a:pt x="43244" y="317278"/>
                    </a:lnTo>
                    <a:lnTo>
                      <a:pt x="41529" y="316420"/>
                    </a:lnTo>
                    <a:lnTo>
                      <a:pt x="40672" y="317278"/>
                    </a:lnTo>
                    <a:lnTo>
                      <a:pt x="37243" y="319849"/>
                    </a:lnTo>
                    <a:lnTo>
                      <a:pt x="36481" y="320707"/>
                    </a:lnTo>
                    <a:lnTo>
                      <a:pt x="33052" y="321469"/>
                    </a:lnTo>
                    <a:lnTo>
                      <a:pt x="31337" y="322326"/>
                    </a:lnTo>
                    <a:lnTo>
                      <a:pt x="30480" y="323183"/>
                    </a:lnTo>
                    <a:lnTo>
                      <a:pt x="29623" y="323183"/>
                    </a:lnTo>
                    <a:lnTo>
                      <a:pt x="28766" y="323183"/>
                    </a:lnTo>
                    <a:lnTo>
                      <a:pt x="28004" y="324040"/>
                    </a:lnTo>
                    <a:lnTo>
                      <a:pt x="28004" y="324040"/>
                    </a:lnTo>
                    <a:lnTo>
                      <a:pt x="24575" y="326612"/>
                    </a:lnTo>
                    <a:lnTo>
                      <a:pt x="26289" y="331756"/>
                    </a:lnTo>
                    <a:lnTo>
                      <a:pt x="26289" y="335090"/>
                    </a:lnTo>
                    <a:lnTo>
                      <a:pt x="26289" y="337661"/>
                    </a:lnTo>
                    <a:lnTo>
                      <a:pt x="26289" y="338518"/>
                    </a:lnTo>
                    <a:lnTo>
                      <a:pt x="27146" y="339376"/>
                    </a:lnTo>
                    <a:lnTo>
                      <a:pt x="27146" y="339376"/>
                    </a:lnTo>
                    <a:lnTo>
                      <a:pt x="28004" y="339376"/>
                    </a:lnTo>
                    <a:lnTo>
                      <a:pt x="28766" y="339376"/>
                    </a:lnTo>
                    <a:lnTo>
                      <a:pt x="28766" y="340233"/>
                    </a:lnTo>
                    <a:lnTo>
                      <a:pt x="29623" y="341947"/>
                    </a:lnTo>
                    <a:lnTo>
                      <a:pt x="30480" y="344519"/>
                    </a:lnTo>
                    <a:lnTo>
                      <a:pt x="30480" y="346138"/>
                    </a:lnTo>
                    <a:lnTo>
                      <a:pt x="30480" y="346996"/>
                    </a:lnTo>
                    <a:lnTo>
                      <a:pt x="30480" y="347853"/>
                    </a:lnTo>
                    <a:lnTo>
                      <a:pt x="29623" y="348710"/>
                    </a:lnTo>
                    <a:lnTo>
                      <a:pt x="28766" y="349567"/>
                    </a:lnTo>
                    <a:lnTo>
                      <a:pt x="28766" y="350425"/>
                    </a:lnTo>
                    <a:lnTo>
                      <a:pt x="28766" y="351282"/>
                    </a:lnTo>
                    <a:lnTo>
                      <a:pt x="29623" y="351282"/>
                    </a:lnTo>
                    <a:lnTo>
                      <a:pt x="30480" y="352139"/>
                    </a:lnTo>
                    <a:lnTo>
                      <a:pt x="31337" y="352996"/>
                    </a:lnTo>
                    <a:lnTo>
                      <a:pt x="31337" y="353854"/>
                    </a:lnTo>
                    <a:lnTo>
                      <a:pt x="31337" y="354711"/>
                    </a:lnTo>
                    <a:lnTo>
                      <a:pt x="31337" y="355568"/>
                    </a:lnTo>
                    <a:lnTo>
                      <a:pt x="30480" y="358140"/>
                    </a:lnTo>
                    <a:lnTo>
                      <a:pt x="31337" y="358902"/>
                    </a:lnTo>
                    <a:lnTo>
                      <a:pt x="32195" y="360617"/>
                    </a:lnTo>
                    <a:lnTo>
                      <a:pt x="36481" y="365760"/>
                    </a:lnTo>
                    <a:lnTo>
                      <a:pt x="38100" y="369189"/>
                    </a:lnTo>
                    <a:lnTo>
                      <a:pt x="39815" y="370808"/>
                    </a:lnTo>
                    <a:lnTo>
                      <a:pt x="40672" y="375952"/>
                    </a:lnTo>
                    <a:lnTo>
                      <a:pt x="41529" y="376809"/>
                    </a:lnTo>
                    <a:lnTo>
                      <a:pt x="42386" y="378523"/>
                    </a:lnTo>
                    <a:lnTo>
                      <a:pt x="43244" y="379381"/>
                    </a:lnTo>
                    <a:lnTo>
                      <a:pt x="44101" y="379381"/>
                    </a:lnTo>
                    <a:lnTo>
                      <a:pt x="44958" y="380238"/>
                    </a:lnTo>
                    <a:lnTo>
                      <a:pt x="47435" y="380238"/>
                    </a:lnTo>
                    <a:lnTo>
                      <a:pt x="48292" y="380238"/>
                    </a:lnTo>
                    <a:lnTo>
                      <a:pt x="49149" y="381095"/>
                    </a:lnTo>
                    <a:lnTo>
                      <a:pt x="55054" y="385286"/>
                    </a:lnTo>
                    <a:lnTo>
                      <a:pt x="55912" y="386143"/>
                    </a:lnTo>
                    <a:lnTo>
                      <a:pt x="56769" y="386143"/>
                    </a:lnTo>
                    <a:lnTo>
                      <a:pt x="59341" y="386143"/>
                    </a:lnTo>
                    <a:lnTo>
                      <a:pt x="60198" y="387001"/>
                    </a:lnTo>
                    <a:lnTo>
                      <a:pt x="61055" y="387858"/>
                    </a:lnTo>
                    <a:lnTo>
                      <a:pt x="61055" y="387858"/>
                    </a:lnTo>
                    <a:lnTo>
                      <a:pt x="61055" y="389572"/>
                    </a:lnTo>
                    <a:lnTo>
                      <a:pt x="60198" y="390430"/>
                    </a:lnTo>
                    <a:lnTo>
                      <a:pt x="61055" y="393001"/>
                    </a:lnTo>
                    <a:lnTo>
                      <a:pt x="61913" y="393859"/>
                    </a:lnTo>
                    <a:lnTo>
                      <a:pt x="62675" y="395478"/>
                    </a:lnTo>
                    <a:lnTo>
                      <a:pt x="62675" y="397192"/>
                    </a:lnTo>
                    <a:lnTo>
                      <a:pt x="63532" y="399764"/>
                    </a:lnTo>
                    <a:lnTo>
                      <a:pt x="64389" y="400621"/>
                    </a:lnTo>
                    <a:lnTo>
                      <a:pt x="65246" y="400621"/>
                    </a:lnTo>
                    <a:lnTo>
                      <a:pt x="65246" y="400621"/>
                    </a:lnTo>
                    <a:lnTo>
                      <a:pt x="66104" y="402336"/>
                    </a:lnTo>
                    <a:lnTo>
                      <a:pt x="64389" y="405765"/>
                    </a:lnTo>
                    <a:lnTo>
                      <a:pt x="61913" y="406622"/>
                    </a:lnTo>
                    <a:lnTo>
                      <a:pt x="60198" y="407480"/>
                    </a:lnTo>
                    <a:lnTo>
                      <a:pt x="60198" y="408242"/>
                    </a:lnTo>
                    <a:lnTo>
                      <a:pt x="60198" y="409956"/>
                    </a:lnTo>
                    <a:lnTo>
                      <a:pt x="59341" y="411671"/>
                    </a:lnTo>
                    <a:lnTo>
                      <a:pt x="56769" y="412528"/>
                    </a:lnTo>
                    <a:lnTo>
                      <a:pt x="50006" y="414242"/>
                    </a:lnTo>
                    <a:lnTo>
                      <a:pt x="49149" y="414242"/>
                    </a:lnTo>
                    <a:lnTo>
                      <a:pt x="49149" y="415100"/>
                    </a:lnTo>
                    <a:lnTo>
                      <a:pt x="49149" y="415957"/>
                    </a:lnTo>
                    <a:lnTo>
                      <a:pt x="49149" y="416814"/>
                    </a:lnTo>
                    <a:lnTo>
                      <a:pt x="49149" y="416814"/>
                    </a:lnTo>
                    <a:lnTo>
                      <a:pt x="49149" y="417671"/>
                    </a:lnTo>
                    <a:lnTo>
                      <a:pt x="50006" y="418529"/>
                    </a:lnTo>
                    <a:lnTo>
                      <a:pt x="50006" y="418529"/>
                    </a:lnTo>
                    <a:lnTo>
                      <a:pt x="50864" y="418529"/>
                    </a:lnTo>
                    <a:lnTo>
                      <a:pt x="51721" y="418529"/>
                    </a:lnTo>
                    <a:lnTo>
                      <a:pt x="52578" y="418529"/>
                    </a:lnTo>
                    <a:lnTo>
                      <a:pt x="52578" y="419386"/>
                    </a:lnTo>
                    <a:lnTo>
                      <a:pt x="53435" y="421005"/>
                    </a:lnTo>
                    <a:lnTo>
                      <a:pt x="53435" y="421862"/>
                    </a:lnTo>
                    <a:lnTo>
                      <a:pt x="54197" y="422719"/>
                    </a:lnTo>
                    <a:lnTo>
                      <a:pt x="55054" y="422719"/>
                    </a:lnTo>
                    <a:lnTo>
                      <a:pt x="59341" y="423577"/>
                    </a:lnTo>
                    <a:lnTo>
                      <a:pt x="61913" y="423577"/>
                    </a:lnTo>
                    <a:lnTo>
                      <a:pt x="62675" y="423577"/>
                    </a:lnTo>
                    <a:lnTo>
                      <a:pt x="62675" y="423577"/>
                    </a:lnTo>
                    <a:lnTo>
                      <a:pt x="63532" y="422719"/>
                    </a:lnTo>
                    <a:lnTo>
                      <a:pt x="63532" y="421862"/>
                    </a:lnTo>
                    <a:lnTo>
                      <a:pt x="64389" y="421862"/>
                    </a:lnTo>
                    <a:lnTo>
                      <a:pt x="64389" y="421862"/>
                    </a:lnTo>
                    <a:lnTo>
                      <a:pt x="65246" y="421862"/>
                    </a:lnTo>
                    <a:lnTo>
                      <a:pt x="65246" y="422719"/>
                    </a:lnTo>
                    <a:lnTo>
                      <a:pt x="66961" y="426148"/>
                    </a:lnTo>
                    <a:lnTo>
                      <a:pt x="67818" y="427006"/>
                    </a:lnTo>
                    <a:lnTo>
                      <a:pt x="68675" y="427006"/>
                    </a:lnTo>
                    <a:lnTo>
                      <a:pt x="69533" y="427006"/>
                    </a:lnTo>
                    <a:lnTo>
                      <a:pt x="70390" y="425291"/>
                    </a:lnTo>
                    <a:lnTo>
                      <a:pt x="70390" y="425291"/>
                    </a:lnTo>
                    <a:lnTo>
                      <a:pt x="71152" y="424434"/>
                    </a:lnTo>
                    <a:lnTo>
                      <a:pt x="72009" y="424434"/>
                    </a:lnTo>
                    <a:lnTo>
                      <a:pt x="72866" y="424434"/>
                    </a:lnTo>
                    <a:lnTo>
                      <a:pt x="72866" y="425291"/>
                    </a:lnTo>
                    <a:lnTo>
                      <a:pt x="72866" y="427006"/>
                    </a:lnTo>
                    <a:lnTo>
                      <a:pt x="72009" y="427863"/>
                    </a:lnTo>
                    <a:lnTo>
                      <a:pt x="71152" y="428720"/>
                    </a:lnTo>
                    <a:lnTo>
                      <a:pt x="65246" y="430435"/>
                    </a:lnTo>
                    <a:lnTo>
                      <a:pt x="62675" y="431292"/>
                    </a:lnTo>
                    <a:lnTo>
                      <a:pt x="44958" y="439769"/>
                    </a:lnTo>
                    <a:lnTo>
                      <a:pt x="40672" y="442341"/>
                    </a:lnTo>
                    <a:lnTo>
                      <a:pt x="38957" y="443198"/>
                    </a:lnTo>
                    <a:lnTo>
                      <a:pt x="38100" y="444055"/>
                    </a:lnTo>
                    <a:lnTo>
                      <a:pt x="38100" y="445675"/>
                    </a:lnTo>
                    <a:lnTo>
                      <a:pt x="38100" y="446532"/>
                    </a:lnTo>
                    <a:lnTo>
                      <a:pt x="38100" y="448246"/>
                    </a:lnTo>
                    <a:lnTo>
                      <a:pt x="38100" y="450818"/>
                    </a:lnTo>
                    <a:lnTo>
                      <a:pt x="37243" y="453390"/>
                    </a:lnTo>
                    <a:lnTo>
                      <a:pt x="37243" y="454247"/>
                    </a:lnTo>
                    <a:lnTo>
                      <a:pt x="37243" y="455105"/>
                    </a:lnTo>
                    <a:lnTo>
                      <a:pt x="38957" y="455105"/>
                    </a:lnTo>
                    <a:lnTo>
                      <a:pt x="41529" y="455105"/>
                    </a:lnTo>
                    <a:lnTo>
                      <a:pt x="43244" y="452533"/>
                    </a:lnTo>
                    <a:lnTo>
                      <a:pt x="44101" y="451675"/>
                    </a:lnTo>
                    <a:lnTo>
                      <a:pt x="44958" y="448246"/>
                    </a:lnTo>
                    <a:lnTo>
                      <a:pt x="45720" y="447389"/>
                    </a:lnTo>
                    <a:lnTo>
                      <a:pt x="46577" y="447389"/>
                    </a:lnTo>
                    <a:lnTo>
                      <a:pt x="48292" y="448246"/>
                    </a:lnTo>
                    <a:lnTo>
                      <a:pt x="49149" y="448246"/>
                    </a:lnTo>
                    <a:lnTo>
                      <a:pt x="50006" y="448246"/>
                    </a:lnTo>
                    <a:lnTo>
                      <a:pt x="64389" y="442341"/>
                    </a:lnTo>
                    <a:lnTo>
                      <a:pt x="66961" y="440626"/>
                    </a:lnTo>
                    <a:lnTo>
                      <a:pt x="70390" y="437197"/>
                    </a:lnTo>
                    <a:lnTo>
                      <a:pt x="71152" y="436340"/>
                    </a:lnTo>
                    <a:lnTo>
                      <a:pt x="72866" y="435483"/>
                    </a:lnTo>
                    <a:lnTo>
                      <a:pt x="74581" y="435483"/>
                    </a:lnTo>
                    <a:lnTo>
                      <a:pt x="78010" y="436340"/>
                    </a:lnTo>
                    <a:lnTo>
                      <a:pt x="84773" y="438055"/>
                    </a:lnTo>
                    <a:lnTo>
                      <a:pt x="85630" y="438055"/>
                    </a:lnTo>
                    <a:lnTo>
                      <a:pt x="86487" y="438055"/>
                    </a:lnTo>
                    <a:lnTo>
                      <a:pt x="86487" y="438912"/>
                    </a:lnTo>
                    <a:lnTo>
                      <a:pt x="87344" y="438912"/>
                    </a:lnTo>
                    <a:lnTo>
                      <a:pt x="87344" y="439769"/>
                    </a:lnTo>
                    <a:lnTo>
                      <a:pt x="88202" y="439769"/>
                    </a:lnTo>
                    <a:lnTo>
                      <a:pt x="89821" y="438055"/>
                    </a:lnTo>
                    <a:lnTo>
                      <a:pt x="90678" y="438055"/>
                    </a:lnTo>
                    <a:lnTo>
                      <a:pt x="91535" y="438055"/>
                    </a:lnTo>
                    <a:lnTo>
                      <a:pt x="94964" y="438912"/>
                    </a:lnTo>
                    <a:lnTo>
                      <a:pt x="101727" y="439769"/>
                    </a:lnTo>
                    <a:lnTo>
                      <a:pt x="102584" y="439769"/>
                    </a:lnTo>
                    <a:lnTo>
                      <a:pt x="103442" y="440626"/>
                    </a:lnTo>
                    <a:lnTo>
                      <a:pt x="104299" y="441484"/>
                    </a:lnTo>
                    <a:lnTo>
                      <a:pt x="104299" y="442341"/>
                    </a:lnTo>
                    <a:lnTo>
                      <a:pt x="105156" y="443198"/>
                    </a:lnTo>
                    <a:lnTo>
                      <a:pt x="105156" y="444055"/>
                    </a:lnTo>
                    <a:lnTo>
                      <a:pt x="105918" y="444055"/>
                    </a:lnTo>
                    <a:lnTo>
                      <a:pt x="105918" y="444055"/>
                    </a:lnTo>
                    <a:lnTo>
                      <a:pt x="106775" y="443198"/>
                    </a:lnTo>
                    <a:lnTo>
                      <a:pt x="105918" y="440626"/>
                    </a:lnTo>
                    <a:lnTo>
                      <a:pt x="106775" y="439769"/>
                    </a:lnTo>
                    <a:lnTo>
                      <a:pt x="106775" y="439769"/>
                    </a:lnTo>
                    <a:lnTo>
                      <a:pt x="107633" y="438912"/>
                    </a:lnTo>
                    <a:lnTo>
                      <a:pt x="108490" y="438912"/>
                    </a:lnTo>
                    <a:lnTo>
                      <a:pt x="110204" y="438912"/>
                    </a:lnTo>
                    <a:lnTo>
                      <a:pt x="111062" y="438912"/>
                    </a:lnTo>
                    <a:lnTo>
                      <a:pt x="111919" y="438055"/>
                    </a:lnTo>
                    <a:lnTo>
                      <a:pt x="112776" y="437197"/>
                    </a:lnTo>
                    <a:lnTo>
                      <a:pt x="112776" y="436340"/>
                    </a:lnTo>
                    <a:lnTo>
                      <a:pt x="113633" y="435483"/>
                    </a:lnTo>
                    <a:lnTo>
                      <a:pt x="114395" y="434626"/>
                    </a:lnTo>
                    <a:lnTo>
                      <a:pt x="116110" y="433768"/>
                    </a:lnTo>
                    <a:lnTo>
                      <a:pt x="117824" y="433768"/>
                    </a:lnTo>
                    <a:lnTo>
                      <a:pt x="121253" y="433768"/>
                    </a:lnTo>
                    <a:lnTo>
                      <a:pt x="122873" y="433768"/>
                    </a:lnTo>
                    <a:lnTo>
                      <a:pt x="123730" y="433768"/>
                    </a:lnTo>
                    <a:lnTo>
                      <a:pt x="125444" y="434626"/>
                    </a:lnTo>
                    <a:lnTo>
                      <a:pt x="126302" y="434626"/>
                    </a:lnTo>
                    <a:lnTo>
                      <a:pt x="128873" y="435483"/>
                    </a:lnTo>
                    <a:lnTo>
                      <a:pt x="129731" y="435483"/>
                    </a:lnTo>
                    <a:lnTo>
                      <a:pt x="130588" y="436340"/>
                    </a:lnTo>
                    <a:lnTo>
                      <a:pt x="131350" y="436340"/>
                    </a:lnTo>
                    <a:lnTo>
                      <a:pt x="131350" y="437197"/>
                    </a:lnTo>
                    <a:lnTo>
                      <a:pt x="131350" y="438055"/>
                    </a:lnTo>
                    <a:lnTo>
                      <a:pt x="130588" y="438912"/>
                    </a:lnTo>
                    <a:lnTo>
                      <a:pt x="127159" y="442341"/>
                    </a:lnTo>
                    <a:lnTo>
                      <a:pt x="126302" y="443198"/>
                    </a:lnTo>
                    <a:lnTo>
                      <a:pt x="124587" y="443198"/>
                    </a:lnTo>
                    <a:lnTo>
                      <a:pt x="123730" y="443198"/>
                    </a:lnTo>
                    <a:lnTo>
                      <a:pt x="123730" y="443198"/>
                    </a:lnTo>
                    <a:lnTo>
                      <a:pt x="122873" y="444055"/>
                    </a:lnTo>
                    <a:lnTo>
                      <a:pt x="122873" y="444817"/>
                    </a:lnTo>
                    <a:lnTo>
                      <a:pt x="123730" y="444817"/>
                    </a:lnTo>
                    <a:lnTo>
                      <a:pt x="124587" y="446532"/>
                    </a:lnTo>
                    <a:lnTo>
                      <a:pt x="125444" y="447389"/>
                    </a:lnTo>
                    <a:lnTo>
                      <a:pt x="126302" y="448246"/>
                    </a:lnTo>
                    <a:lnTo>
                      <a:pt x="126302" y="449104"/>
                    </a:lnTo>
                    <a:lnTo>
                      <a:pt x="128016" y="449104"/>
                    </a:lnTo>
                    <a:lnTo>
                      <a:pt x="129731" y="449961"/>
                    </a:lnTo>
                    <a:lnTo>
                      <a:pt x="132207" y="449961"/>
                    </a:lnTo>
                    <a:lnTo>
                      <a:pt x="132207" y="449961"/>
                    </a:lnTo>
                    <a:lnTo>
                      <a:pt x="133922" y="446532"/>
                    </a:lnTo>
                    <a:lnTo>
                      <a:pt x="134779" y="445675"/>
                    </a:lnTo>
                    <a:lnTo>
                      <a:pt x="135636" y="445675"/>
                    </a:lnTo>
                    <a:lnTo>
                      <a:pt x="139922" y="444817"/>
                    </a:lnTo>
                    <a:lnTo>
                      <a:pt x="143256" y="444817"/>
                    </a:lnTo>
                    <a:lnTo>
                      <a:pt x="144971" y="445675"/>
                    </a:lnTo>
                    <a:lnTo>
                      <a:pt x="146685" y="449104"/>
                    </a:lnTo>
                    <a:lnTo>
                      <a:pt x="147542" y="449104"/>
                    </a:lnTo>
                    <a:lnTo>
                      <a:pt x="150019" y="449104"/>
                    </a:lnTo>
                    <a:lnTo>
                      <a:pt x="151733" y="449961"/>
                    </a:lnTo>
                    <a:lnTo>
                      <a:pt x="151733" y="449961"/>
                    </a:lnTo>
                    <a:lnTo>
                      <a:pt x="152591" y="451675"/>
                    </a:lnTo>
                    <a:lnTo>
                      <a:pt x="153448" y="452533"/>
                    </a:lnTo>
                    <a:lnTo>
                      <a:pt x="155162" y="453390"/>
                    </a:lnTo>
                    <a:lnTo>
                      <a:pt x="159353" y="454247"/>
                    </a:lnTo>
                    <a:lnTo>
                      <a:pt x="161068" y="454247"/>
                    </a:lnTo>
                    <a:lnTo>
                      <a:pt x="166116" y="457581"/>
                    </a:lnTo>
                    <a:lnTo>
                      <a:pt x="168688" y="457581"/>
                    </a:lnTo>
                    <a:lnTo>
                      <a:pt x="169545" y="457581"/>
                    </a:lnTo>
                    <a:lnTo>
                      <a:pt x="170402" y="456819"/>
                    </a:lnTo>
                    <a:lnTo>
                      <a:pt x="171260" y="455962"/>
                    </a:lnTo>
                    <a:lnTo>
                      <a:pt x="172117" y="455105"/>
                    </a:lnTo>
                    <a:lnTo>
                      <a:pt x="172974" y="455105"/>
                    </a:lnTo>
                    <a:lnTo>
                      <a:pt x="175451" y="455105"/>
                    </a:lnTo>
                    <a:lnTo>
                      <a:pt x="176308" y="455105"/>
                    </a:lnTo>
                    <a:lnTo>
                      <a:pt x="180594" y="452533"/>
                    </a:lnTo>
                    <a:lnTo>
                      <a:pt x="182309" y="452533"/>
                    </a:lnTo>
                    <a:lnTo>
                      <a:pt x="183928" y="455105"/>
                    </a:lnTo>
                    <a:lnTo>
                      <a:pt x="184785" y="454247"/>
                    </a:lnTo>
                    <a:lnTo>
                      <a:pt x="186500" y="453390"/>
                    </a:lnTo>
                    <a:lnTo>
                      <a:pt x="187357" y="454247"/>
                    </a:lnTo>
                    <a:lnTo>
                      <a:pt x="188214" y="455962"/>
                    </a:lnTo>
                    <a:lnTo>
                      <a:pt x="188214" y="456819"/>
                    </a:lnTo>
                    <a:lnTo>
                      <a:pt x="189071" y="456819"/>
                    </a:lnTo>
                    <a:lnTo>
                      <a:pt x="190786" y="456819"/>
                    </a:lnTo>
                    <a:lnTo>
                      <a:pt x="191548" y="456819"/>
                    </a:lnTo>
                    <a:lnTo>
                      <a:pt x="194120" y="458438"/>
                    </a:lnTo>
                    <a:lnTo>
                      <a:pt x="197549" y="463582"/>
                    </a:lnTo>
                    <a:lnTo>
                      <a:pt x="199263" y="464439"/>
                    </a:lnTo>
                    <a:lnTo>
                      <a:pt x="200120" y="464439"/>
                    </a:lnTo>
                    <a:lnTo>
                      <a:pt x="204311" y="463582"/>
                    </a:lnTo>
                    <a:lnTo>
                      <a:pt x="206026" y="463582"/>
                    </a:lnTo>
                    <a:lnTo>
                      <a:pt x="206026" y="463582"/>
                    </a:lnTo>
                    <a:lnTo>
                      <a:pt x="207740" y="465296"/>
                    </a:lnTo>
                    <a:lnTo>
                      <a:pt x="207740" y="466154"/>
                    </a:lnTo>
                    <a:lnTo>
                      <a:pt x="207740" y="467868"/>
                    </a:lnTo>
                    <a:lnTo>
                      <a:pt x="207740" y="467868"/>
                    </a:lnTo>
                    <a:lnTo>
                      <a:pt x="207740" y="468725"/>
                    </a:lnTo>
                    <a:lnTo>
                      <a:pt x="208598" y="472916"/>
                    </a:lnTo>
                    <a:lnTo>
                      <a:pt x="210217" y="477202"/>
                    </a:lnTo>
                    <a:lnTo>
                      <a:pt x="211931" y="480631"/>
                    </a:lnTo>
                    <a:lnTo>
                      <a:pt x="217837" y="489966"/>
                    </a:lnTo>
                    <a:lnTo>
                      <a:pt x="218694" y="493395"/>
                    </a:lnTo>
                    <a:lnTo>
                      <a:pt x="219551" y="496729"/>
                    </a:lnTo>
                    <a:lnTo>
                      <a:pt x="220409" y="500158"/>
                    </a:lnTo>
                    <a:lnTo>
                      <a:pt x="218694" y="504444"/>
                    </a:lnTo>
                    <a:lnTo>
                      <a:pt x="219551" y="506159"/>
                    </a:lnTo>
                    <a:lnTo>
                      <a:pt x="220409" y="506159"/>
                    </a:lnTo>
                    <a:lnTo>
                      <a:pt x="221266" y="506921"/>
                    </a:lnTo>
                    <a:lnTo>
                      <a:pt x="221266" y="506921"/>
                    </a:lnTo>
                    <a:lnTo>
                      <a:pt x="221266" y="507778"/>
                    </a:lnTo>
                    <a:lnTo>
                      <a:pt x="221266" y="508635"/>
                    </a:lnTo>
                    <a:lnTo>
                      <a:pt x="218694" y="512921"/>
                    </a:lnTo>
                    <a:lnTo>
                      <a:pt x="217837" y="513779"/>
                    </a:lnTo>
                    <a:lnTo>
                      <a:pt x="217075" y="514636"/>
                    </a:lnTo>
                    <a:lnTo>
                      <a:pt x="215360" y="515493"/>
                    </a:lnTo>
                    <a:lnTo>
                      <a:pt x="212789" y="516350"/>
                    </a:lnTo>
                    <a:lnTo>
                      <a:pt x="211074" y="516350"/>
                    </a:lnTo>
                    <a:lnTo>
                      <a:pt x="210217" y="517208"/>
                    </a:lnTo>
                    <a:lnTo>
                      <a:pt x="209360" y="517208"/>
                    </a:lnTo>
                    <a:lnTo>
                      <a:pt x="208598" y="518827"/>
                    </a:lnTo>
                    <a:lnTo>
                      <a:pt x="207740" y="519684"/>
                    </a:lnTo>
                    <a:lnTo>
                      <a:pt x="207740" y="520541"/>
                    </a:lnTo>
                    <a:lnTo>
                      <a:pt x="207740" y="522256"/>
                    </a:lnTo>
                    <a:lnTo>
                      <a:pt x="208598" y="523970"/>
                    </a:lnTo>
                    <a:lnTo>
                      <a:pt x="209360" y="525685"/>
                    </a:lnTo>
                    <a:lnTo>
                      <a:pt x="209360" y="526542"/>
                    </a:lnTo>
                    <a:lnTo>
                      <a:pt x="209360" y="527399"/>
                    </a:lnTo>
                    <a:lnTo>
                      <a:pt x="208598" y="528256"/>
                    </a:lnTo>
                    <a:lnTo>
                      <a:pt x="206883" y="529114"/>
                    </a:lnTo>
                    <a:lnTo>
                      <a:pt x="206026" y="529971"/>
                    </a:lnTo>
                    <a:lnTo>
                      <a:pt x="205169" y="530828"/>
                    </a:lnTo>
                    <a:lnTo>
                      <a:pt x="206026" y="533305"/>
                    </a:lnTo>
                    <a:lnTo>
                      <a:pt x="206026" y="534162"/>
                    </a:lnTo>
                    <a:lnTo>
                      <a:pt x="206883" y="535876"/>
                    </a:lnTo>
                    <a:lnTo>
                      <a:pt x="208598" y="536734"/>
                    </a:lnTo>
                    <a:lnTo>
                      <a:pt x="209360" y="537591"/>
                    </a:lnTo>
                    <a:lnTo>
                      <a:pt x="209360" y="538448"/>
                    </a:lnTo>
                    <a:lnTo>
                      <a:pt x="208598" y="540163"/>
                    </a:lnTo>
                    <a:lnTo>
                      <a:pt x="205169" y="545211"/>
                    </a:lnTo>
                    <a:lnTo>
                      <a:pt x="202597" y="551212"/>
                    </a:lnTo>
                    <a:lnTo>
                      <a:pt x="202597" y="553784"/>
                    </a:lnTo>
                    <a:lnTo>
                      <a:pt x="201740" y="554641"/>
                    </a:lnTo>
                    <a:lnTo>
                      <a:pt x="201740" y="556260"/>
                    </a:lnTo>
                    <a:lnTo>
                      <a:pt x="196691" y="562261"/>
                    </a:lnTo>
                    <a:lnTo>
                      <a:pt x="194977" y="565690"/>
                    </a:lnTo>
                    <a:lnTo>
                      <a:pt x="193262" y="570738"/>
                    </a:lnTo>
                    <a:lnTo>
                      <a:pt x="191548" y="572452"/>
                    </a:lnTo>
                    <a:lnTo>
                      <a:pt x="189929" y="573310"/>
                    </a:lnTo>
                    <a:lnTo>
                      <a:pt x="188214" y="574167"/>
                    </a:lnTo>
                    <a:lnTo>
                      <a:pt x="186500" y="575024"/>
                    </a:lnTo>
                    <a:lnTo>
                      <a:pt x="185642" y="576739"/>
                    </a:lnTo>
                    <a:lnTo>
                      <a:pt x="184785" y="578453"/>
                    </a:lnTo>
                    <a:lnTo>
                      <a:pt x="184785" y="580168"/>
                    </a:lnTo>
                    <a:lnTo>
                      <a:pt x="184785" y="580930"/>
                    </a:lnTo>
                    <a:lnTo>
                      <a:pt x="184785" y="582644"/>
                    </a:lnTo>
                    <a:lnTo>
                      <a:pt x="184785" y="584359"/>
                    </a:lnTo>
                    <a:lnTo>
                      <a:pt x="184785" y="585216"/>
                    </a:lnTo>
                    <a:lnTo>
                      <a:pt x="186500" y="587788"/>
                    </a:lnTo>
                    <a:lnTo>
                      <a:pt x="187357" y="589502"/>
                    </a:lnTo>
                    <a:lnTo>
                      <a:pt x="187357" y="590359"/>
                    </a:lnTo>
                    <a:lnTo>
                      <a:pt x="187357" y="592074"/>
                    </a:lnTo>
                    <a:lnTo>
                      <a:pt x="187357" y="592931"/>
                    </a:lnTo>
                    <a:lnTo>
                      <a:pt x="187357" y="592931"/>
                    </a:lnTo>
                    <a:lnTo>
                      <a:pt x="187357" y="593693"/>
                    </a:lnTo>
                    <a:lnTo>
                      <a:pt x="186500" y="594551"/>
                    </a:lnTo>
                    <a:lnTo>
                      <a:pt x="183071" y="597122"/>
                    </a:lnTo>
                    <a:lnTo>
                      <a:pt x="172117" y="598837"/>
                    </a:lnTo>
                    <a:lnTo>
                      <a:pt x="168688" y="601409"/>
                    </a:lnTo>
                    <a:lnTo>
                      <a:pt x="166973" y="602266"/>
                    </a:lnTo>
                    <a:lnTo>
                      <a:pt x="166116" y="603123"/>
                    </a:lnTo>
                    <a:lnTo>
                      <a:pt x="164497" y="603123"/>
                    </a:lnTo>
                    <a:lnTo>
                      <a:pt x="161925" y="603123"/>
                    </a:lnTo>
                    <a:lnTo>
                      <a:pt x="158496" y="602266"/>
                    </a:lnTo>
                    <a:lnTo>
                      <a:pt x="157639" y="602266"/>
                    </a:lnTo>
                    <a:lnTo>
                      <a:pt x="155162" y="603123"/>
                    </a:lnTo>
                    <a:lnTo>
                      <a:pt x="144971" y="605600"/>
                    </a:lnTo>
                    <a:lnTo>
                      <a:pt x="143256" y="607314"/>
                    </a:lnTo>
                    <a:lnTo>
                      <a:pt x="142399" y="614172"/>
                    </a:lnTo>
                    <a:lnTo>
                      <a:pt x="140684" y="616744"/>
                    </a:lnTo>
                    <a:lnTo>
                      <a:pt x="133064" y="622649"/>
                    </a:lnTo>
                    <a:lnTo>
                      <a:pt x="132207" y="623506"/>
                    </a:lnTo>
                    <a:lnTo>
                      <a:pt x="132207" y="624364"/>
                    </a:lnTo>
                    <a:lnTo>
                      <a:pt x="132207" y="626078"/>
                    </a:lnTo>
                    <a:lnTo>
                      <a:pt x="132207" y="626935"/>
                    </a:lnTo>
                    <a:lnTo>
                      <a:pt x="133922" y="629507"/>
                    </a:lnTo>
                    <a:lnTo>
                      <a:pt x="135636" y="631126"/>
                    </a:lnTo>
                    <a:lnTo>
                      <a:pt x="137351" y="632841"/>
                    </a:lnTo>
                    <a:lnTo>
                      <a:pt x="142399" y="644747"/>
                    </a:lnTo>
                    <a:lnTo>
                      <a:pt x="144113" y="647319"/>
                    </a:lnTo>
                    <a:lnTo>
                      <a:pt x="144113" y="649034"/>
                    </a:lnTo>
                    <a:lnTo>
                      <a:pt x="144971" y="650748"/>
                    </a:lnTo>
                    <a:lnTo>
                      <a:pt x="144113" y="654177"/>
                    </a:lnTo>
                    <a:lnTo>
                      <a:pt x="142399" y="655796"/>
                    </a:lnTo>
                    <a:lnTo>
                      <a:pt x="141542" y="657511"/>
                    </a:lnTo>
                    <a:lnTo>
                      <a:pt x="141542" y="659225"/>
                    </a:lnTo>
                    <a:lnTo>
                      <a:pt x="141542" y="662654"/>
                    </a:lnTo>
                    <a:lnTo>
                      <a:pt x="140684" y="663512"/>
                    </a:lnTo>
                    <a:lnTo>
                      <a:pt x="140684" y="665226"/>
                    </a:lnTo>
                    <a:lnTo>
                      <a:pt x="141542" y="667702"/>
                    </a:lnTo>
                    <a:lnTo>
                      <a:pt x="141542" y="670274"/>
                    </a:lnTo>
                    <a:lnTo>
                      <a:pt x="139922" y="672846"/>
                    </a:lnTo>
                    <a:lnTo>
                      <a:pt x="138208" y="674560"/>
                    </a:lnTo>
                    <a:lnTo>
                      <a:pt x="132207" y="680466"/>
                    </a:lnTo>
                    <a:lnTo>
                      <a:pt x="128873" y="682180"/>
                    </a:lnTo>
                    <a:lnTo>
                      <a:pt x="123730" y="686467"/>
                    </a:lnTo>
                    <a:lnTo>
                      <a:pt x="122873" y="688181"/>
                    </a:lnTo>
                    <a:lnTo>
                      <a:pt x="122873" y="689896"/>
                    </a:lnTo>
                    <a:lnTo>
                      <a:pt x="122873" y="690753"/>
                    </a:lnTo>
                    <a:lnTo>
                      <a:pt x="124587" y="691610"/>
                    </a:lnTo>
                    <a:lnTo>
                      <a:pt x="125444" y="692372"/>
                    </a:lnTo>
                    <a:lnTo>
                      <a:pt x="126302" y="692372"/>
                    </a:lnTo>
                    <a:lnTo>
                      <a:pt x="128873" y="698373"/>
                    </a:lnTo>
                    <a:lnTo>
                      <a:pt x="128873" y="700945"/>
                    </a:lnTo>
                    <a:lnTo>
                      <a:pt x="128873" y="703517"/>
                    </a:lnTo>
                    <a:lnTo>
                      <a:pt x="129731" y="705136"/>
                    </a:lnTo>
                    <a:lnTo>
                      <a:pt x="130588" y="706850"/>
                    </a:lnTo>
                    <a:lnTo>
                      <a:pt x="132207" y="708565"/>
                    </a:lnTo>
                    <a:lnTo>
                      <a:pt x="133064" y="710279"/>
                    </a:lnTo>
                    <a:lnTo>
                      <a:pt x="133064" y="712851"/>
                    </a:lnTo>
                    <a:lnTo>
                      <a:pt x="133064" y="713708"/>
                    </a:lnTo>
                    <a:lnTo>
                      <a:pt x="132207" y="716280"/>
                    </a:lnTo>
                    <a:lnTo>
                      <a:pt x="133064" y="717042"/>
                    </a:lnTo>
                    <a:lnTo>
                      <a:pt x="133922" y="717899"/>
                    </a:lnTo>
                    <a:lnTo>
                      <a:pt x="133922" y="718756"/>
                    </a:lnTo>
                    <a:lnTo>
                      <a:pt x="133922" y="721328"/>
                    </a:lnTo>
                    <a:lnTo>
                      <a:pt x="133064" y="723900"/>
                    </a:lnTo>
                    <a:lnTo>
                      <a:pt x="132207" y="725614"/>
                    </a:lnTo>
                    <a:lnTo>
                      <a:pt x="129731" y="729805"/>
                    </a:lnTo>
                    <a:lnTo>
                      <a:pt x="128873" y="731520"/>
                    </a:lnTo>
                    <a:lnTo>
                      <a:pt x="128873" y="731520"/>
                    </a:lnTo>
                    <a:lnTo>
                      <a:pt x="130588" y="734949"/>
                    </a:lnTo>
                    <a:lnTo>
                      <a:pt x="131350" y="734949"/>
                    </a:lnTo>
                    <a:lnTo>
                      <a:pt x="132207" y="735806"/>
                    </a:lnTo>
                    <a:lnTo>
                      <a:pt x="133064" y="735806"/>
                    </a:lnTo>
                    <a:lnTo>
                      <a:pt x="133922" y="736663"/>
                    </a:lnTo>
                    <a:lnTo>
                      <a:pt x="133922" y="737521"/>
                    </a:lnTo>
                    <a:lnTo>
                      <a:pt x="134779" y="739235"/>
                    </a:lnTo>
                    <a:lnTo>
                      <a:pt x="136493" y="740950"/>
                    </a:lnTo>
                    <a:lnTo>
                      <a:pt x="138208" y="742569"/>
                    </a:lnTo>
                    <a:lnTo>
                      <a:pt x="141542" y="743426"/>
                    </a:lnTo>
                    <a:lnTo>
                      <a:pt x="142399" y="744284"/>
                    </a:lnTo>
                    <a:lnTo>
                      <a:pt x="143256" y="745141"/>
                    </a:lnTo>
                    <a:lnTo>
                      <a:pt x="143256" y="745998"/>
                    </a:lnTo>
                    <a:lnTo>
                      <a:pt x="142399" y="746855"/>
                    </a:lnTo>
                    <a:lnTo>
                      <a:pt x="140684" y="750284"/>
                    </a:lnTo>
                    <a:lnTo>
                      <a:pt x="140684" y="751142"/>
                    </a:lnTo>
                    <a:lnTo>
                      <a:pt x="140684" y="752856"/>
                    </a:lnTo>
                    <a:lnTo>
                      <a:pt x="141542" y="754475"/>
                    </a:lnTo>
                    <a:lnTo>
                      <a:pt x="142399" y="756190"/>
                    </a:lnTo>
                    <a:lnTo>
                      <a:pt x="143256" y="757047"/>
                    </a:lnTo>
                    <a:lnTo>
                      <a:pt x="144971" y="757904"/>
                    </a:lnTo>
                    <a:lnTo>
                      <a:pt x="146685" y="757904"/>
                    </a:lnTo>
                    <a:lnTo>
                      <a:pt x="149162" y="757047"/>
                    </a:lnTo>
                    <a:lnTo>
                      <a:pt x="150876" y="756190"/>
                    </a:lnTo>
                    <a:lnTo>
                      <a:pt x="152591" y="754475"/>
                    </a:lnTo>
                    <a:lnTo>
                      <a:pt x="152591" y="753618"/>
                    </a:lnTo>
                    <a:lnTo>
                      <a:pt x="153448" y="752856"/>
                    </a:lnTo>
                    <a:lnTo>
                      <a:pt x="153448" y="751142"/>
                    </a:lnTo>
                    <a:lnTo>
                      <a:pt x="153448" y="750284"/>
                    </a:lnTo>
                    <a:lnTo>
                      <a:pt x="153448" y="749427"/>
                    </a:lnTo>
                    <a:lnTo>
                      <a:pt x="154305" y="747713"/>
                    </a:lnTo>
                    <a:lnTo>
                      <a:pt x="154305" y="746855"/>
                    </a:lnTo>
                    <a:lnTo>
                      <a:pt x="155162" y="745998"/>
                    </a:lnTo>
                    <a:lnTo>
                      <a:pt x="156020" y="745141"/>
                    </a:lnTo>
                    <a:lnTo>
                      <a:pt x="156877" y="744284"/>
                    </a:lnTo>
                    <a:lnTo>
                      <a:pt x="157639" y="744284"/>
                    </a:lnTo>
                    <a:lnTo>
                      <a:pt x="160211" y="745141"/>
                    </a:lnTo>
                    <a:lnTo>
                      <a:pt x="163640" y="747713"/>
                    </a:lnTo>
                    <a:lnTo>
                      <a:pt x="169545" y="752856"/>
                    </a:lnTo>
                    <a:lnTo>
                      <a:pt x="171260" y="753618"/>
                    </a:lnTo>
                    <a:lnTo>
                      <a:pt x="174593" y="757904"/>
                    </a:lnTo>
                    <a:lnTo>
                      <a:pt x="176308" y="758762"/>
                    </a:lnTo>
                    <a:lnTo>
                      <a:pt x="178022" y="759619"/>
                    </a:lnTo>
                    <a:lnTo>
                      <a:pt x="179737" y="760476"/>
                    </a:lnTo>
                    <a:lnTo>
                      <a:pt x="183928" y="760476"/>
                    </a:lnTo>
                    <a:lnTo>
                      <a:pt x="185642" y="760476"/>
                    </a:lnTo>
                    <a:lnTo>
                      <a:pt x="186500" y="760476"/>
                    </a:lnTo>
                    <a:lnTo>
                      <a:pt x="187357" y="760476"/>
                    </a:lnTo>
                    <a:lnTo>
                      <a:pt x="187357" y="761333"/>
                    </a:lnTo>
                    <a:lnTo>
                      <a:pt x="187357" y="763048"/>
                    </a:lnTo>
                    <a:lnTo>
                      <a:pt x="187357" y="763905"/>
                    </a:lnTo>
                    <a:lnTo>
                      <a:pt x="188214" y="765619"/>
                    </a:lnTo>
                    <a:lnTo>
                      <a:pt x="189929" y="767239"/>
                    </a:lnTo>
                    <a:lnTo>
                      <a:pt x="191548" y="768096"/>
                    </a:lnTo>
                    <a:lnTo>
                      <a:pt x="193262" y="767239"/>
                    </a:lnTo>
                    <a:lnTo>
                      <a:pt x="194977" y="766381"/>
                    </a:lnTo>
                    <a:lnTo>
                      <a:pt x="198406" y="763905"/>
                    </a:lnTo>
                    <a:lnTo>
                      <a:pt x="200120" y="761333"/>
                    </a:lnTo>
                    <a:lnTo>
                      <a:pt x="201740" y="758762"/>
                    </a:lnTo>
                    <a:lnTo>
                      <a:pt x="202597" y="755333"/>
                    </a:lnTo>
                    <a:lnTo>
                      <a:pt x="203454" y="751999"/>
                    </a:lnTo>
                    <a:lnTo>
                      <a:pt x="207740" y="748570"/>
                    </a:lnTo>
                    <a:lnTo>
                      <a:pt x="208598" y="747713"/>
                    </a:lnTo>
                    <a:lnTo>
                      <a:pt x="209360" y="746855"/>
                    </a:lnTo>
                    <a:lnTo>
                      <a:pt x="210217" y="745141"/>
                    </a:lnTo>
                    <a:lnTo>
                      <a:pt x="211931" y="743426"/>
                    </a:lnTo>
                    <a:lnTo>
                      <a:pt x="211931" y="740950"/>
                    </a:lnTo>
                    <a:lnTo>
                      <a:pt x="211931" y="737521"/>
                    </a:lnTo>
                    <a:lnTo>
                      <a:pt x="210217" y="736663"/>
                    </a:lnTo>
                    <a:lnTo>
                      <a:pt x="207740" y="735806"/>
                    </a:lnTo>
                    <a:lnTo>
                      <a:pt x="206883" y="735806"/>
                    </a:lnTo>
                    <a:lnTo>
                      <a:pt x="206026" y="735806"/>
                    </a:lnTo>
                    <a:lnTo>
                      <a:pt x="205169" y="735806"/>
                    </a:lnTo>
                    <a:lnTo>
                      <a:pt x="205169" y="734092"/>
                    </a:lnTo>
                    <a:lnTo>
                      <a:pt x="205169" y="734092"/>
                    </a:lnTo>
                    <a:lnTo>
                      <a:pt x="205169" y="734092"/>
                    </a:lnTo>
                    <a:lnTo>
                      <a:pt x="205169" y="733234"/>
                    </a:lnTo>
                    <a:lnTo>
                      <a:pt x="205169" y="733234"/>
                    </a:lnTo>
                    <a:lnTo>
                      <a:pt x="206026" y="730663"/>
                    </a:lnTo>
                    <a:lnTo>
                      <a:pt x="206026" y="729805"/>
                    </a:lnTo>
                    <a:lnTo>
                      <a:pt x="205169" y="728186"/>
                    </a:lnTo>
                    <a:lnTo>
                      <a:pt x="202597" y="724757"/>
                    </a:lnTo>
                    <a:lnTo>
                      <a:pt x="202597" y="723900"/>
                    </a:lnTo>
                    <a:lnTo>
                      <a:pt x="201740" y="722185"/>
                    </a:lnTo>
                    <a:lnTo>
                      <a:pt x="200882" y="720471"/>
                    </a:lnTo>
                    <a:lnTo>
                      <a:pt x="200120" y="718756"/>
                    </a:lnTo>
                    <a:lnTo>
                      <a:pt x="198406" y="717042"/>
                    </a:lnTo>
                    <a:lnTo>
                      <a:pt x="196691" y="716280"/>
                    </a:lnTo>
                    <a:lnTo>
                      <a:pt x="195834" y="716280"/>
                    </a:lnTo>
                    <a:lnTo>
                      <a:pt x="194120" y="716280"/>
                    </a:lnTo>
                    <a:lnTo>
                      <a:pt x="191548" y="716280"/>
                    </a:lnTo>
                    <a:lnTo>
                      <a:pt x="188214" y="717899"/>
                    </a:lnTo>
                    <a:lnTo>
                      <a:pt x="187357" y="717899"/>
                    </a:lnTo>
                    <a:lnTo>
                      <a:pt x="185642" y="717899"/>
                    </a:lnTo>
                    <a:lnTo>
                      <a:pt x="184785" y="717042"/>
                    </a:lnTo>
                    <a:lnTo>
                      <a:pt x="184785" y="716280"/>
                    </a:lnTo>
                    <a:lnTo>
                      <a:pt x="183928" y="714566"/>
                    </a:lnTo>
                    <a:lnTo>
                      <a:pt x="183071" y="712851"/>
                    </a:lnTo>
                    <a:lnTo>
                      <a:pt x="183071" y="711137"/>
                    </a:lnTo>
                    <a:lnTo>
                      <a:pt x="183928" y="710279"/>
                    </a:lnTo>
                    <a:lnTo>
                      <a:pt x="184785" y="708565"/>
                    </a:lnTo>
                    <a:lnTo>
                      <a:pt x="184785" y="707708"/>
                    </a:lnTo>
                    <a:lnTo>
                      <a:pt x="185642" y="706850"/>
                    </a:lnTo>
                    <a:lnTo>
                      <a:pt x="185642" y="705136"/>
                    </a:lnTo>
                    <a:lnTo>
                      <a:pt x="184785" y="700945"/>
                    </a:lnTo>
                    <a:lnTo>
                      <a:pt x="184785" y="695801"/>
                    </a:lnTo>
                    <a:lnTo>
                      <a:pt x="184785" y="693230"/>
                    </a:lnTo>
                    <a:lnTo>
                      <a:pt x="183928" y="691610"/>
                    </a:lnTo>
                    <a:lnTo>
                      <a:pt x="182309" y="688181"/>
                    </a:lnTo>
                    <a:lnTo>
                      <a:pt x="181451" y="686467"/>
                    </a:lnTo>
                    <a:lnTo>
                      <a:pt x="177165" y="682180"/>
                    </a:lnTo>
                    <a:lnTo>
                      <a:pt x="175451" y="680466"/>
                    </a:lnTo>
                    <a:lnTo>
                      <a:pt x="174593" y="677132"/>
                    </a:lnTo>
                    <a:lnTo>
                      <a:pt x="172974" y="665226"/>
                    </a:lnTo>
                    <a:lnTo>
                      <a:pt x="172117" y="660083"/>
                    </a:lnTo>
                    <a:lnTo>
                      <a:pt x="171260" y="656654"/>
                    </a:lnTo>
                    <a:lnTo>
                      <a:pt x="167831" y="647319"/>
                    </a:lnTo>
                    <a:lnTo>
                      <a:pt x="166116" y="645605"/>
                    </a:lnTo>
                    <a:lnTo>
                      <a:pt x="164497" y="643890"/>
                    </a:lnTo>
                    <a:lnTo>
                      <a:pt x="162782" y="642271"/>
                    </a:lnTo>
                    <a:lnTo>
                      <a:pt x="161925" y="641413"/>
                    </a:lnTo>
                    <a:lnTo>
                      <a:pt x="161068" y="640556"/>
                    </a:lnTo>
                    <a:lnTo>
                      <a:pt x="161068" y="639699"/>
                    </a:lnTo>
                    <a:lnTo>
                      <a:pt x="161068" y="638842"/>
                    </a:lnTo>
                    <a:lnTo>
                      <a:pt x="161068" y="637984"/>
                    </a:lnTo>
                    <a:lnTo>
                      <a:pt x="161925" y="637127"/>
                    </a:lnTo>
                    <a:lnTo>
                      <a:pt x="162782" y="634555"/>
                    </a:lnTo>
                    <a:lnTo>
                      <a:pt x="165354" y="630269"/>
                    </a:lnTo>
                    <a:lnTo>
                      <a:pt x="166116" y="629507"/>
                    </a:lnTo>
                    <a:lnTo>
                      <a:pt x="167831" y="628650"/>
                    </a:lnTo>
                    <a:lnTo>
                      <a:pt x="167831" y="627793"/>
                    </a:lnTo>
                    <a:lnTo>
                      <a:pt x="167831" y="627793"/>
                    </a:lnTo>
                    <a:lnTo>
                      <a:pt x="167831" y="626935"/>
                    </a:lnTo>
                    <a:lnTo>
                      <a:pt x="167831" y="626078"/>
                    </a:lnTo>
                    <a:lnTo>
                      <a:pt x="167831" y="625221"/>
                    </a:lnTo>
                    <a:lnTo>
                      <a:pt x="167831" y="624364"/>
                    </a:lnTo>
                    <a:lnTo>
                      <a:pt x="168688" y="623506"/>
                    </a:lnTo>
                    <a:lnTo>
                      <a:pt x="168688" y="622649"/>
                    </a:lnTo>
                    <a:lnTo>
                      <a:pt x="169545" y="622649"/>
                    </a:lnTo>
                    <a:lnTo>
                      <a:pt x="172117" y="622649"/>
                    </a:lnTo>
                    <a:lnTo>
                      <a:pt x="173831" y="622649"/>
                    </a:lnTo>
                    <a:lnTo>
                      <a:pt x="176308" y="623506"/>
                    </a:lnTo>
                    <a:lnTo>
                      <a:pt x="177165" y="623506"/>
                    </a:lnTo>
                    <a:lnTo>
                      <a:pt x="177165" y="624364"/>
                    </a:lnTo>
                    <a:lnTo>
                      <a:pt x="178022" y="626078"/>
                    </a:lnTo>
                    <a:lnTo>
                      <a:pt x="178879" y="626078"/>
                    </a:lnTo>
                    <a:lnTo>
                      <a:pt x="180594" y="627793"/>
                    </a:lnTo>
                    <a:lnTo>
                      <a:pt x="181451" y="628650"/>
                    </a:lnTo>
                    <a:lnTo>
                      <a:pt x="183071" y="630269"/>
                    </a:lnTo>
                    <a:lnTo>
                      <a:pt x="183928" y="630269"/>
                    </a:lnTo>
                    <a:lnTo>
                      <a:pt x="184785" y="631126"/>
                    </a:lnTo>
                    <a:lnTo>
                      <a:pt x="185642" y="630269"/>
                    </a:lnTo>
                    <a:lnTo>
                      <a:pt x="185642" y="629507"/>
                    </a:lnTo>
                    <a:lnTo>
                      <a:pt x="185642" y="627793"/>
                    </a:lnTo>
                    <a:lnTo>
                      <a:pt x="184785" y="626935"/>
                    </a:lnTo>
                    <a:lnTo>
                      <a:pt x="184785" y="626078"/>
                    </a:lnTo>
                    <a:lnTo>
                      <a:pt x="184785" y="625221"/>
                    </a:lnTo>
                    <a:lnTo>
                      <a:pt x="185642" y="624364"/>
                    </a:lnTo>
                    <a:lnTo>
                      <a:pt x="186500" y="621792"/>
                    </a:lnTo>
                    <a:lnTo>
                      <a:pt x="186500" y="620935"/>
                    </a:lnTo>
                    <a:lnTo>
                      <a:pt x="186500" y="620077"/>
                    </a:lnTo>
                    <a:lnTo>
                      <a:pt x="186500" y="619220"/>
                    </a:lnTo>
                    <a:lnTo>
                      <a:pt x="183928" y="617601"/>
                    </a:lnTo>
                    <a:lnTo>
                      <a:pt x="183928" y="616744"/>
                    </a:lnTo>
                    <a:lnTo>
                      <a:pt x="183928" y="614172"/>
                    </a:lnTo>
                    <a:lnTo>
                      <a:pt x="184785" y="612458"/>
                    </a:lnTo>
                    <a:lnTo>
                      <a:pt x="184785" y="611600"/>
                    </a:lnTo>
                    <a:lnTo>
                      <a:pt x="186500" y="611600"/>
                    </a:lnTo>
                    <a:lnTo>
                      <a:pt x="187357" y="610743"/>
                    </a:lnTo>
                    <a:lnTo>
                      <a:pt x="188214" y="610743"/>
                    </a:lnTo>
                    <a:lnTo>
                      <a:pt x="190786" y="609029"/>
                    </a:lnTo>
                    <a:lnTo>
                      <a:pt x="191548" y="610743"/>
                    </a:lnTo>
                    <a:lnTo>
                      <a:pt x="192405" y="611600"/>
                    </a:lnTo>
                    <a:lnTo>
                      <a:pt x="192405" y="612458"/>
                    </a:lnTo>
                    <a:lnTo>
                      <a:pt x="192405" y="615029"/>
                    </a:lnTo>
                    <a:lnTo>
                      <a:pt x="192405" y="619220"/>
                    </a:lnTo>
                    <a:lnTo>
                      <a:pt x="192405" y="620935"/>
                    </a:lnTo>
                    <a:lnTo>
                      <a:pt x="193262" y="621792"/>
                    </a:lnTo>
                    <a:lnTo>
                      <a:pt x="194120" y="621792"/>
                    </a:lnTo>
                    <a:lnTo>
                      <a:pt x="196691" y="621792"/>
                    </a:lnTo>
                    <a:lnTo>
                      <a:pt x="197549" y="620935"/>
                    </a:lnTo>
                    <a:lnTo>
                      <a:pt x="198406" y="620077"/>
                    </a:lnTo>
                    <a:lnTo>
                      <a:pt x="198406" y="618363"/>
                    </a:lnTo>
                    <a:lnTo>
                      <a:pt x="198406" y="614172"/>
                    </a:lnTo>
                    <a:lnTo>
                      <a:pt x="198406" y="613315"/>
                    </a:lnTo>
                    <a:lnTo>
                      <a:pt x="198406" y="612458"/>
                    </a:lnTo>
                    <a:lnTo>
                      <a:pt x="198406" y="611600"/>
                    </a:lnTo>
                    <a:lnTo>
                      <a:pt x="199263" y="609886"/>
                    </a:lnTo>
                    <a:lnTo>
                      <a:pt x="200120" y="609029"/>
                    </a:lnTo>
                    <a:lnTo>
                      <a:pt x="200882" y="608171"/>
                    </a:lnTo>
                    <a:lnTo>
                      <a:pt x="202597" y="607314"/>
                    </a:lnTo>
                    <a:lnTo>
                      <a:pt x="203454" y="607314"/>
                    </a:lnTo>
                    <a:lnTo>
                      <a:pt x="205169" y="609029"/>
                    </a:lnTo>
                    <a:lnTo>
                      <a:pt x="205169" y="610743"/>
                    </a:lnTo>
                    <a:lnTo>
                      <a:pt x="206026" y="611600"/>
                    </a:lnTo>
                    <a:lnTo>
                      <a:pt x="206026" y="614172"/>
                    </a:lnTo>
                    <a:lnTo>
                      <a:pt x="205169" y="615029"/>
                    </a:lnTo>
                    <a:lnTo>
                      <a:pt x="205169" y="616744"/>
                    </a:lnTo>
                    <a:lnTo>
                      <a:pt x="204311" y="617601"/>
                    </a:lnTo>
                    <a:lnTo>
                      <a:pt x="204311" y="618363"/>
                    </a:lnTo>
                    <a:lnTo>
                      <a:pt x="204311" y="619220"/>
                    </a:lnTo>
                    <a:lnTo>
                      <a:pt x="205169" y="619220"/>
                    </a:lnTo>
                    <a:lnTo>
                      <a:pt x="206883" y="619220"/>
                    </a:lnTo>
                    <a:lnTo>
                      <a:pt x="207740" y="619220"/>
                    </a:lnTo>
                    <a:lnTo>
                      <a:pt x="208598" y="619220"/>
                    </a:lnTo>
                    <a:lnTo>
                      <a:pt x="209360" y="619220"/>
                    </a:lnTo>
                    <a:lnTo>
                      <a:pt x="210217" y="619220"/>
                    </a:lnTo>
                    <a:lnTo>
                      <a:pt x="210217" y="620077"/>
                    </a:lnTo>
                    <a:lnTo>
                      <a:pt x="210217" y="620935"/>
                    </a:lnTo>
                    <a:lnTo>
                      <a:pt x="209360" y="624364"/>
                    </a:lnTo>
                    <a:lnTo>
                      <a:pt x="209360" y="626078"/>
                    </a:lnTo>
                    <a:lnTo>
                      <a:pt x="207740" y="629507"/>
                    </a:lnTo>
                    <a:lnTo>
                      <a:pt x="206883" y="631126"/>
                    </a:lnTo>
                    <a:lnTo>
                      <a:pt x="207740" y="631984"/>
                    </a:lnTo>
                    <a:lnTo>
                      <a:pt x="207740" y="633698"/>
                    </a:lnTo>
                    <a:lnTo>
                      <a:pt x="207740" y="634555"/>
                    </a:lnTo>
                    <a:lnTo>
                      <a:pt x="207740" y="636270"/>
                    </a:lnTo>
                    <a:lnTo>
                      <a:pt x="206883" y="637127"/>
                    </a:lnTo>
                    <a:lnTo>
                      <a:pt x="206026" y="637984"/>
                    </a:lnTo>
                    <a:lnTo>
                      <a:pt x="203454" y="639699"/>
                    </a:lnTo>
                    <a:lnTo>
                      <a:pt x="201740" y="640556"/>
                    </a:lnTo>
                    <a:lnTo>
                      <a:pt x="200882" y="642271"/>
                    </a:lnTo>
                    <a:lnTo>
                      <a:pt x="200120" y="643890"/>
                    </a:lnTo>
                    <a:lnTo>
                      <a:pt x="199263" y="646462"/>
                    </a:lnTo>
                    <a:lnTo>
                      <a:pt x="199263" y="648176"/>
                    </a:lnTo>
                    <a:lnTo>
                      <a:pt x="199263" y="649891"/>
                    </a:lnTo>
                    <a:lnTo>
                      <a:pt x="200120" y="650748"/>
                    </a:lnTo>
                    <a:lnTo>
                      <a:pt x="201740" y="651605"/>
                    </a:lnTo>
                    <a:lnTo>
                      <a:pt x="202597" y="651605"/>
                    </a:lnTo>
                    <a:lnTo>
                      <a:pt x="204311" y="650748"/>
                    </a:lnTo>
                    <a:lnTo>
                      <a:pt x="205169" y="649034"/>
                    </a:lnTo>
                    <a:lnTo>
                      <a:pt x="206883" y="647319"/>
                    </a:lnTo>
                    <a:lnTo>
                      <a:pt x="207740" y="646462"/>
                    </a:lnTo>
                    <a:lnTo>
                      <a:pt x="208598" y="645605"/>
                    </a:lnTo>
                    <a:lnTo>
                      <a:pt x="210217" y="645605"/>
                    </a:lnTo>
                    <a:lnTo>
                      <a:pt x="211931" y="645605"/>
                    </a:lnTo>
                    <a:lnTo>
                      <a:pt x="212789" y="643890"/>
                    </a:lnTo>
                    <a:lnTo>
                      <a:pt x="212789" y="643033"/>
                    </a:lnTo>
                    <a:lnTo>
                      <a:pt x="212789" y="641413"/>
                    </a:lnTo>
                    <a:lnTo>
                      <a:pt x="212789" y="640556"/>
                    </a:lnTo>
                    <a:lnTo>
                      <a:pt x="212789" y="639699"/>
                    </a:lnTo>
                    <a:lnTo>
                      <a:pt x="213646" y="638842"/>
                    </a:lnTo>
                    <a:lnTo>
                      <a:pt x="214503" y="638842"/>
                    </a:lnTo>
                    <a:lnTo>
                      <a:pt x="216218" y="638842"/>
                    </a:lnTo>
                    <a:lnTo>
                      <a:pt x="217075" y="639699"/>
                    </a:lnTo>
                    <a:lnTo>
                      <a:pt x="217075" y="639699"/>
                    </a:lnTo>
                    <a:lnTo>
                      <a:pt x="217837" y="639699"/>
                    </a:lnTo>
                    <a:lnTo>
                      <a:pt x="217837" y="640556"/>
                    </a:lnTo>
                    <a:lnTo>
                      <a:pt x="219551" y="641413"/>
                    </a:lnTo>
                    <a:lnTo>
                      <a:pt x="219551" y="641413"/>
                    </a:lnTo>
                    <a:lnTo>
                      <a:pt x="219551" y="641413"/>
                    </a:lnTo>
                    <a:lnTo>
                      <a:pt x="219551" y="642271"/>
                    </a:lnTo>
                    <a:lnTo>
                      <a:pt x="216218" y="645605"/>
                    </a:lnTo>
                    <a:lnTo>
                      <a:pt x="216218" y="647319"/>
                    </a:lnTo>
                    <a:lnTo>
                      <a:pt x="215360" y="648176"/>
                    </a:lnTo>
                    <a:lnTo>
                      <a:pt x="215360" y="649891"/>
                    </a:lnTo>
                    <a:lnTo>
                      <a:pt x="216218" y="650748"/>
                    </a:lnTo>
                    <a:lnTo>
                      <a:pt x="216218" y="651605"/>
                    </a:lnTo>
                    <a:lnTo>
                      <a:pt x="217075" y="651605"/>
                    </a:lnTo>
                    <a:lnTo>
                      <a:pt x="218694" y="651605"/>
                    </a:lnTo>
                    <a:lnTo>
                      <a:pt x="220409" y="650748"/>
                    </a:lnTo>
                    <a:lnTo>
                      <a:pt x="223838" y="649034"/>
                    </a:lnTo>
                    <a:lnTo>
                      <a:pt x="225552" y="649034"/>
                    </a:lnTo>
                    <a:lnTo>
                      <a:pt x="226314" y="649034"/>
                    </a:lnTo>
                    <a:lnTo>
                      <a:pt x="227171" y="650748"/>
                    </a:lnTo>
                    <a:lnTo>
                      <a:pt x="227171" y="654177"/>
                    </a:lnTo>
                    <a:lnTo>
                      <a:pt x="228029" y="654939"/>
                    </a:lnTo>
                    <a:lnTo>
                      <a:pt x="228029" y="655796"/>
                    </a:lnTo>
                    <a:lnTo>
                      <a:pt x="228886" y="654939"/>
                    </a:lnTo>
                    <a:lnTo>
                      <a:pt x="230600" y="654939"/>
                    </a:lnTo>
                    <a:lnTo>
                      <a:pt x="231458" y="653320"/>
                    </a:lnTo>
                    <a:lnTo>
                      <a:pt x="232315" y="651605"/>
                    </a:lnTo>
                    <a:lnTo>
                      <a:pt x="234029" y="650748"/>
                    </a:lnTo>
                    <a:lnTo>
                      <a:pt x="234791" y="650748"/>
                    </a:lnTo>
                    <a:lnTo>
                      <a:pt x="235649" y="651605"/>
                    </a:lnTo>
                    <a:lnTo>
                      <a:pt x="237363" y="652463"/>
                    </a:lnTo>
                    <a:lnTo>
                      <a:pt x="239078" y="651605"/>
                    </a:lnTo>
                    <a:lnTo>
                      <a:pt x="239935" y="651605"/>
                    </a:lnTo>
                    <a:lnTo>
                      <a:pt x="240792" y="651605"/>
                    </a:lnTo>
                    <a:lnTo>
                      <a:pt x="241649" y="652463"/>
                    </a:lnTo>
                    <a:lnTo>
                      <a:pt x="244126" y="653320"/>
                    </a:lnTo>
                    <a:lnTo>
                      <a:pt x="245840" y="653320"/>
                    </a:lnTo>
                    <a:lnTo>
                      <a:pt x="245840" y="652463"/>
                    </a:lnTo>
                    <a:lnTo>
                      <a:pt x="246698" y="651605"/>
                    </a:lnTo>
                    <a:lnTo>
                      <a:pt x="246698" y="649891"/>
                    </a:lnTo>
                    <a:lnTo>
                      <a:pt x="246698" y="648176"/>
                    </a:lnTo>
                    <a:lnTo>
                      <a:pt x="243269" y="639699"/>
                    </a:lnTo>
                    <a:lnTo>
                      <a:pt x="243269" y="637984"/>
                    </a:lnTo>
                    <a:lnTo>
                      <a:pt x="243269" y="637127"/>
                    </a:lnTo>
                    <a:lnTo>
                      <a:pt x="244126" y="635413"/>
                    </a:lnTo>
                    <a:lnTo>
                      <a:pt x="244983" y="631984"/>
                    </a:lnTo>
                    <a:lnTo>
                      <a:pt x="247555" y="628650"/>
                    </a:lnTo>
                    <a:lnTo>
                      <a:pt x="249269" y="628650"/>
                    </a:lnTo>
                    <a:lnTo>
                      <a:pt x="249269" y="628650"/>
                    </a:lnTo>
                    <a:lnTo>
                      <a:pt x="250127" y="629507"/>
                    </a:lnTo>
                    <a:lnTo>
                      <a:pt x="250127" y="630269"/>
                    </a:lnTo>
                    <a:lnTo>
                      <a:pt x="250127" y="631984"/>
                    </a:lnTo>
                    <a:lnTo>
                      <a:pt x="247555" y="636270"/>
                    </a:lnTo>
                    <a:lnTo>
                      <a:pt x="246698" y="637127"/>
                    </a:lnTo>
                    <a:lnTo>
                      <a:pt x="246698" y="637984"/>
                    </a:lnTo>
                    <a:lnTo>
                      <a:pt x="246698" y="638842"/>
                    </a:lnTo>
                    <a:lnTo>
                      <a:pt x="246698" y="640556"/>
                    </a:lnTo>
                    <a:lnTo>
                      <a:pt x="246698" y="641413"/>
                    </a:lnTo>
                    <a:lnTo>
                      <a:pt x="248412" y="643033"/>
                    </a:lnTo>
                    <a:lnTo>
                      <a:pt x="248412" y="643033"/>
                    </a:lnTo>
                    <a:lnTo>
                      <a:pt x="249269" y="643033"/>
                    </a:lnTo>
                    <a:lnTo>
                      <a:pt x="250127" y="643033"/>
                    </a:lnTo>
                    <a:lnTo>
                      <a:pt x="250984" y="643033"/>
                    </a:lnTo>
                    <a:lnTo>
                      <a:pt x="250984" y="642271"/>
                    </a:lnTo>
                    <a:lnTo>
                      <a:pt x="251746" y="641413"/>
                    </a:lnTo>
                    <a:lnTo>
                      <a:pt x="251746" y="640556"/>
                    </a:lnTo>
                    <a:lnTo>
                      <a:pt x="253460" y="639699"/>
                    </a:lnTo>
                    <a:lnTo>
                      <a:pt x="254317" y="638842"/>
                    </a:lnTo>
                    <a:lnTo>
                      <a:pt x="255175" y="638842"/>
                    </a:lnTo>
                    <a:lnTo>
                      <a:pt x="256889" y="638842"/>
                    </a:lnTo>
                    <a:lnTo>
                      <a:pt x="257746" y="639699"/>
                    </a:lnTo>
                    <a:lnTo>
                      <a:pt x="258604" y="639699"/>
                    </a:lnTo>
                    <a:lnTo>
                      <a:pt x="259461" y="638842"/>
                    </a:lnTo>
                    <a:lnTo>
                      <a:pt x="261080" y="637127"/>
                    </a:lnTo>
                    <a:lnTo>
                      <a:pt x="261938" y="636270"/>
                    </a:lnTo>
                    <a:lnTo>
                      <a:pt x="262795" y="636270"/>
                    </a:lnTo>
                    <a:lnTo>
                      <a:pt x="263652" y="637127"/>
                    </a:lnTo>
                    <a:lnTo>
                      <a:pt x="262795" y="637984"/>
                    </a:lnTo>
                    <a:lnTo>
                      <a:pt x="261080" y="641413"/>
                    </a:lnTo>
                    <a:lnTo>
                      <a:pt x="257746" y="646462"/>
                    </a:lnTo>
                    <a:lnTo>
                      <a:pt x="256032" y="649891"/>
                    </a:lnTo>
                    <a:lnTo>
                      <a:pt x="255175" y="651605"/>
                    </a:lnTo>
                    <a:lnTo>
                      <a:pt x="252603" y="654177"/>
                    </a:lnTo>
                    <a:lnTo>
                      <a:pt x="251746" y="654939"/>
                    </a:lnTo>
                    <a:lnTo>
                      <a:pt x="251746" y="655796"/>
                    </a:lnTo>
                    <a:lnTo>
                      <a:pt x="250984" y="657511"/>
                    </a:lnTo>
                    <a:lnTo>
                      <a:pt x="250984" y="659225"/>
                    </a:lnTo>
                    <a:lnTo>
                      <a:pt x="250984" y="660940"/>
                    </a:lnTo>
                    <a:lnTo>
                      <a:pt x="250984" y="661797"/>
                    </a:lnTo>
                    <a:lnTo>
                      <a:pt x="251746" y="663512"/>
                    </a:lnTo>
                    <a:lnTo>
                      <a:pt x="252603" y="664369"/>
                    </a:lnTo>
                    <a:lnTo>
                      <a:pt x="254317" y="664369"/>
                    </a:lnTo>
                    <a:lnTo>
                      <a:pt x="257746" y="664369"/>
                    </a:lnTo>
                    <a:lnTo>
                      <a:pt x="258604" y="662654"/>
                    </a:lnTo>
                    <a:lnTo>
                      <a:pt x="258604" y="660940"/>
                    </a:lnTo>
                    <a:lnTo>
                      <a:pt x="257746" y="659225"/>
                    </a:lnTo>
                    <a:lnTo>
                      <a:pt x="257746" y="656654"/>
                    </a:lnTo>
                    <a:lnTo>
                      <a:pt x="257746" y="656654"/>
                    </a:lnTo>
                    <a:lnTo>
                      <a:pt x="258604" y="655796"/>
                    </a:lnTo>
                    <a:lnTo>
                      <a:pt x="259461" y="655796"/>
                    </a:lnTo>
                    <a:lnTo>
                      <a:pt x="261938" y="654939"/>
                    </a:lnTo>
                    <a:lnTo>
                      <a:pt x="262795" y="655796"/>
                    </a:lnTo>
                    <a:lnTo>
                      <a:pt x="263652" y="656654"/>
                    </a:lnTo>
                    <a:lnTo>
                      <a:pt x="264509" y="657511"/>
                    </a:lnTo>
                    <a:lnTo>
                      <a:pt x="264509" y="657511"/>
                    </a:lnTo>
                    <a:lnTo>
                      <a:pt x="264509" y="658368"/>
                    </a:lnTo>
                    <a:lnTo>
                      <a:pt x="264509" y="659225"/>
                    </a:lnTo>
                    <a:lnTo>
                      <a:pt x="265367" y="660083"/>
                    </a:lnTo>
                    <a:lnTo>
                      <a:pt x="266224" y="660083"/>
                    </a:lnTo>
                    <a:lnTo>
                      <a:pt x="267938" y="660083"/>
                    </a:lnTo>
                    <a:lnTo>
                      <a:pt x="268796" y="659225"/>
                    </a:lnTo>
                    <a:lnTo>
                      <a:pt x="269558" y="658368"/>
                    </a:lnTo>
                    <a:lnTo>
                      <a:pt x="270415" y="657511"/>
                    </a:lnTo>
                    <a:lnTo>
                      <a:pt x="272129" y="654177"/>
                    </a:lnTo>
                    <a:lnTo>
                      <a:pt x="272987" y="652463"/>
                    </a:lnTo>
                    <a:lnTo>
                      <a:pt x="274701" y="651605"/>
                    </a:lnTo>
                    <a:lnTo>
                      <a:pt x="275558" y="651605"/>
                    </a:lnTo>
                    <a:lnTo>
                      <a:pt x="276416" y="651605"/>
                    </a:lnTo>
                    <a:lnTo>
                      <a:pt x="277273" y="651605"/>
                    </a:lnTo>
                    <a:lnTo>
                      <a:pt x="278035" y="651605"/>
                    </a:lnTo>
                    <a:lnTo>
                      <a:pt x="282321" y="654177"/>
                    </a:lnTo>
                    <a:lnTo>
                      <a:pt x="286512" y="654939"/>
                    </a:lnTo>
                    <a:lnTo>
                      <a:pt x="287369" y="654939"/>
                    </a:lnTo>
                    <a:lnTo>
                      <a:pt x="295846" y="654177"/>
                    </a:lnTo>
                    <a:lnTo>
                      <a:pt x="298418" y="654177"/>
                    </a:lnTo>
                    <a:lnTo>
                      <a:pt x="299275" y="654177"/>
                    </a:lnTo>
                    <a:lnTo>
                      <a:pt x="300133" y="654177"/>
                    </a:lnTo>
                    <a:lnTo>
                      <a:pt x="300990" y="654939"/>
                    </a:lnTo>
                    <a:lnTo>
                      <a:pt x="301847" y="656654"/>
                    </a:lnTo>
                    <a:lnTo>
                      <a:pt x="302705" y="656654"/>
                    </a:lnTo>
                    <a:lnTo>
                      <a:pt x="304324" y="656654"/>
                    </a:lnTo>
                    <a:lnTo>
                      <a:pt x="306896" y="654939"/>
                    </a:lnTo>
                    <a:lnTo>
                      <a:pt x="308610" y="654939"/>
                    </a:lnTo>
                    <a:lnTo>
                      <a:pt x="310325" y="654177"/>
                    </a:lnTo>
                    <a:lnTo>
                      <a:pt x="310325" y="654177"/>
                    </a:lnTo>
                    <a:lnTo>
                      <a:pt x="310325" y="653320"/>
                    </a:lnTo>
                    <a:lnTo>
                      <a:pt x="310325" y="652463"/>
                    </a:lnTo>
                    <a:lnTo>
                      <a:pt x="310325" y="651605"/>
                    </a:lnTo>
                    <a:lnTo>
                      <a:pt x="308610" y="649034"/>
                    </a:lnTo>
                    <a:lnTo>
                      <a:pt x="307753" y="648176"/>
                    </a:lnTo>
                    <a:lnTo>
                      <a:pt x="306896" y="647319"/>
                    </a:lnTo>
                    <a:lnTo>
                      <a:pt x="306896" y="646462"/>
                    </a:lnTo>
                    <a:lnTo>
                      <a:pt x="306896" y="645605"/>
                    </a:lnTo>
                    <a:lnTo>
                      <a:pt x="306896" y="644747"/>
                    </a:lnTo>
                    <a:lnTo>
                      <a:pt x="306896" y="644747"/>
                    </a:lnTo>
                    <a:lnTo>
                      <a:pt x="307753" y="643890"/>
                    </a:lnTo>
                    <a:lnTo>
                      <a:pt x="308610" y="643033"/>
                    </a:lnTo>
                    <a:lnTo>
                      <a:pt x="311182" y="642271"/>
                    </a:lnTo>
                    <a:lnTo>
                      <a:pt x="314516" y="642271"/>
                    </a:lnTo>
                    <a:lnTo>
                      <a:pt x="315373" y="641413"/>
                    </a:lnTo>
                    <a:lnTo>
                      <a:pt x="317945" y="640556"/>
                    </a:lnTo>
                    <a:lnTo>
                      <a:pt x="322136" y="637127"/>
                    </a:lnTo>
                    <a:lnTo>
                      <a:pt x="324707" y="633698"/>
                    </a:lnTo>
                    <a:lnTo>
                      <a:pt x="326422" y="632841"/>
                    </a:lnTo>
                    <a:lnTo>
                      <a:pt x="334899" y="628650"/>
                    </a:lnTo>
                    <a:lnTo>
                      <a:pt x="337471" y="630269"/>
                    </a:lnTo>
                    <a:lnTo>
                      <a:pt x="338233" y="630269"/>
                    </a:lnTo>
                    <a:lnTo>
                      <a:pt x="338233" y="630269"/>
                    </a:lnTo>
                    <a:lnTo>
                      <a:pt x="339090" y="630269"/>
                    </a:lnTo>
                    <a:lnTo>
                      <a:pt x="343376" y="626935"/>
                    </a:lnTo>
                    <a:lnTo>
                      <a:pt x="344234" y="626078"/>
                    </a:lnTo>
                    <a:lnTo>
                      <a:pt x="345091" y="625221"/>
                    </a:lnTo>
                    <a:lnTo>
                      <a:pt x="345948" y="623506"/>
                    </a:lnTo>
                    <a:lnTo>
                      <a:pt x="345948" y="622649"/>
                    </a:lnTo>
                    <a:lnTo>
                      <a:pt x="346710" y="621792"/>
                    </a:lnTo>
                    <a:lnTo>
                      <a:pt x="347567" y="622649"/>
                    </a:lnTo>
                    <a:lnTo>
                      <a:pt x="349282" y="623506"/>
                    </a:lnTo>
                    <a:lnTo>
                      <a:pt x="350139" y="623506"/>
                    </a:lnTo>
                    <a:lnTo>
                      <a:pt x="350996" y="623506"/>
                    </a:lnTo>
                    <a:lnTo>
                      <a:pt x="352711" y="622649"/>
                    </a:lnTo>
                    <a:lnTo>
                      <a:pt x="354425" y="621792"/>
                    </a:lnTo>
                    <a:lnTo>
                      <a:pt x="355187" y="621792"/>
                    </a:lnTo>
                    <a:lnTo>
                      <a:pt x="356045" y="622649"/>
                    </a:lnTo>
                    <a:lnTo>
                      <a:pt x="356902" y="623506"/>
                    </a:lnTo>
                    <a:lnTo>
                      <a:pt x="358616" y="626078"/>
                    </a:lnTo>
                    <a:lnTo>
                      <a:pt x="359474" y="626935"/>
                    </a:lnTo>
                    <a:lnTo>
                      <a:pt x="359474" y="627793"/>
                    </a:lnTo>
                    <a:lnTo>
                      <a:pt x="360331" y="631984"/>
                    </a:lnTo>
                    <a:lnTo>
                      <a:pt x="360331" y="637127"/>
                    </a:lnTo>
                    <a:lnTo>
                      <a:pt x="360331" y="637984"/>
                    </a:lnTo>
                    <a:lnTo>
                      <a:pt x="361188" y="638842"/>
                    </a:lnTo>
                    <a:lnTo>
                      <a:pt x="362903" y="639699"/>
                    </a:lnTo>
                    <a:lnTo>
                      <a:pt x="364522" y="640556"/>
                    </a:lnTo>
                    <a:lnTo>
                      <a:pt x="364522" y="640556"/>
                    </a:lnTo>
                    <a:lnTo>
                      <a:pt x="365379" y="641413"/>
                    </a:lnTo>
                    <a:lnTo>
                      <a:pt x="366236" y="643033"/>
                    </a:lnTo>
                    <a:lnTo>
                      <a:pt x="366236" y="643033"/>
                    </a:lnTo>
                    <a:lnTo>
                      <a:pt x="367094" y="643033"/>
                    </a:lnTo>
                    <a:lnTo>
                      <a:pt x="367951" y="643033"/>
                    </a:lnTo>
                    <a:lnTo>
                      <a:pt x="367951" y="643033"/>
                    </a:lnTo>
                    <a:lnTo>
                      <a:pt x="368808" y="643033"/>
                    </a:lnTo>
                    <a:lnTo>
                      <a:pt x="368808" y="643033"/>
                    </a:lnTo>
                    <a:lnTo>
                      <a:pt x="369665" y="643890"/>
                    </a:lnTo>
                    <a:lnTo>
                      <a:pt x="369665" y="644747"/>
                    </a:lnTo>
                    <a:lnTo>
                      <a:pt x="369665" y="644747"/>
                    </a:lnTo>
                    <a:lnTo>
                      <a:pt x="370523" y="647319"/>
                    </a:lnTo>
                    <a:lnTo>
                      <a:pt x="370523" y="648176"/>
                    </a:lnTo>
                    <a:lnTo>
                      <a:pt x="371380" y="649891"/>
                    </a:lnTo>
                    <a:lnTo>
                      <a:pt x="371380" y="650748"/>
                    </a:lnTo>
                    <a:lnTo>
                      <a:pt x="371380" y="650748"/>
                    </a:lnTo>
                    <a:lnTo>
                      <a:pt x="371380" y="651605"/>
                    </a:lnTo>
                    <a:lnTo>
                      <a:pt x="370523" y="652463"/>
                    </a:lnTo>
                    <a:lnTo>
                      <a:pt x="369665" y="653320"/>
                    </a:lnTo>
                    <a:lnTo>
                      <a:pt x="367951" y="653320"/>
                    </a:lnTo>
                    <a:lnTo>
                      <a:pt x="366236" y="654939"/>
                    </a:lnTo>
                    <a:lnTo>
                      <a:pt x="365379" y="654939"/>
                    </a:lnTo>
                    <a:lnTo>
                      <a:pt x="364522" y="654939"/>
                    </a:lnTo>
                    <a:lnTo>
                      <a:pt x="363665" y="655796"/>
                    </a:lnTo>
                    <a:lnTo>
                      <a:pt x="363665" y="655796"/>
                    </a:lnTo>
                    <a:lnTo>
                      <a:pt x="362903" y="656654"/>
                    </a:lnTo>
                    <a:lnTo>
                      <a:pt x="362903" y="657511"/>
                    </a:lnTo>
                    <a:lnTo>
                      <a:pt x="360331" y="660083"/>
                    </a:lnTo>
                    <a:lnTo>
                      <a:pt x="359474" y="661797"/>
                    </a:lnTo>
                    <a:lnTo>
                      <a:pt x="358616" y="661797"/>
                    </a:lnTo>
                    <a:lnTo>
                      <a:pt x="356902" y="662654"/>
                    </a:lnTo>
                    <a:lnTo>
                      <a:pt x="356045" y="662654"/>
                    </a:lnTo>
                    <a:lnTo>
                      <a:pt x="356045" y="662654"/>
                    </a:lnTo>
                    <a:lnTo>
                      <a:pt x="355187" y="661797"/>
                    </a:lnTo>
                    <a:lnTo>
                      <a:pt x="355187" y="661797"/>
                    </a:lnTo>
                    <a:lnTo>
                      <a:pt x="354425" y="662654"/>
                    </a:lnTo>
                    <a:lnTo>
                      <a:pt x="354425" y="664369"/>
                    </a:lnTo>
                    <a:lnTo>
                      <a:pt x="354425" y="665226"/>
                    </a:lnTo>
                    <a:lnTo>
                      <a:pt x="355187" y="667702"/>
                    </a:lnTo>
                    <a:lnTo>
                      <a:pt x="356045" y="669417"/>
                    </a:lnTo>
                    <a:lnTo>
                      <a:pt x="356902" y="671131"/>
                    </a:lnTo>
                    <a:lnTo>
                      <a:pt x="357759" y="671131"/>
                    </a:lnTo>
                    <a:lnTo>
                      <a:pt x="359474" y="671989"/>
                    </a:lnTo>
                    <a:lnTo>
                      <a:pt x="362045" y="670274"/>
                    </a:lnTo>
                    <a:lnTo>
                      <a:pt x="363665" y="670274"/>
                    </a:lnTo>
                    <a:lnTo>
                      <a:pt x="365379" y="670274"/>
                    </a:lnTo>
                    <a:lnTo>
                      <a:pt x="366236" y="671131"/>
                    </a:lnTo>
                    <a:lnTo>
                      <a:pt x="367951" y="671131"/>
                    </a:lnTo>
                    <a:lnTo>
                      <a:pt x="367951" y="671131"/>
                    </a:lnTo>
                    <a:lnTo>
                      <a:pt x="369665" y="671989"/>
                    </a:lnTo>
                    <a:lnTo>
                      <a:pt x="369665" y="671131"/>
                    </a:lnTo>
                    <a:lnTo>
                      <a:pt x="370523" y="670274"/>
                    </a:lnTo>
                    <a:lnTo>
                      <a:pt x="370523" y="669417"/>
                    </a:lnTo>
                    <a:lnTo>
                      <a:pt x="369665" y="666941"/>
                    </a:lnTo>
                    <a:lnTo>
                      <a:pt x="369665" y="666083"/>
                    </a:lnTo>
                    <a:lnTo>
                      <a:pt x="369665" y="665226"/>
                    </a:lnTo>
                    <a:lnTo>
                      <a:pt x="369665" y="665226"/>
                    </a:lnTo>
                    <a:lnTo>
                      <a:pt x="370523" y="665226"/>
                    </a:lnTo>
                    <a:lnTo>
                      <a:pt x="372237" y="667702"/>
                    </a:lnTo>
                    <a:lnTo>
                      <a:pt x="374713" y="670274"/>
                    </a:lnTo>
                    <a:lnTo>
                      <a:pt x="374713" y="671131"/>
                    </a:lnTo>
                    <a:lnTo>
                      <a:pt x="375571" y="671131"/>
                    </a:lnTo>
                    <a:lnTo>
                      <a:pt x="377285" y="671131"/>
                    </a:lnTo>
                    <a:lnTo>
                      <a:pt x="378142" y="671131"/>
                    </a:lnTo>
                    <a:lnTo>
                      <a:pt x="381476" y="667702"/>
                    </a:lnTo>
                    <a:lnTo>
                      <a:pt x="381476" y="666941"/>
                    </a:lnTo>
                    <a:lnTo>
                      <a:pt x="381476" y="666941"/>
                    </a:lnTo>
                    <a:lnTo>
                      <a:pt x="380714" y="666083"/>
                    </a:lnTo>
                    <a:lnTo>
                      <a:pt x="378142" y="665226"/>
                    </a:lnTo>
                    <a:lnTo>
                      <a:pt x="377285" y="664369"/>
                    </a:lnTo>
                    <a:lnTo>
                      <a:pt x="376428" y="663512"/>
                    </a:lnTo>
                    <a:lnTo>
                      <a:pt x="376428" y="661797"/>
                    </a:lnTo>
                    <a:lnTo>
                      <a:pt x="375571" y="660940"/>
                    </a:lnTo>
                    <a:lnTo>
                      <a:pt x="375571" y="659225"/>
                    </a:lnTo>
                    <a:lnTo>
                      <a:pt x="375571" y="659225"/>
                    </a:lnTo>
                    <a:lnTo>
                      <a:pt x="375571" y="658368"/>
                    </a:lnTo>
                    <a:lnTo>
                      <a:pt x="376428" y="658368"/>
                    </a:lnTo>
                    <a:lnTo>
                      <a:pt x="377285" y="659225"/>
                    </a:lnTo>
                    <a:lnTo>
                      <a:pt x="379000" y="660083"/>
                    </a:lnTo>
                    <a:lnTo>
                      <a:pt x="382334" y="660083"/>
                    </a:lnTo>
                    <a:lnTo>
                      <a:pt x="383191" y="660083"/>
                    </a:lnTo>
                    <a:lnTo>
                      <a:pt x="384048" y="660083"/>
                    </a:lnTo>
                    <a:lnTo>
                      <a:pt x="385763" y="660083"/>
                    </a:lnTo>
                    <a:lnTo>
                      <a:pt x="385763" y="659225"/>
                    </a:lnTo>
                    <a:lnTo>
                      <a:pt x="386620" y="658368"/>
                    </a:lnTo>
                    <a:lnTo>
                      <a:pt x="386620" y="657511"/>
                    </a:lnTo>
                    <a:lnTo>
                      <a:pt x="385763" y="656654"/>
                    </a:lnTo>
                    <a:lnTo>
                      <a:pt x="385763" y="655796"/>
                    </a:lnTo>
                    <a:lnTo>
                      <a:pt x="385763" y="654939"/>
                    </a:lnTo>
                    <a:lnTo>
                      <a:pt x="386620" y="654939"/>
                    </a:lnTo>
                    <a:lnTo>
                      <a:pt x="387477" y="654177"/>
                    </a:lnTo>
                    <a:lnTo>
                      <a:pt x="388334" y="654939"/>
                    </a:lnTo>
                    <a:lnTo>
                      <a:pt x="389192" y="654939"/>
                    </a:lnTo>
                    <a:lnTo>
                      <a:pt x="389954" y="655796"/>
                    </a:lnTo>
                    <a:lnTo>
                      <a:pt x="390811" y="658368"/>
                    </a:lnTo>
                    <a:lnTo>
                      <a:pt x="390811" y="659225"/>
                    </a:lnTo>
                    <a:lnTo>
                      <a:pt x="391668" y="660940"/>
                    </a:lnTo>
                    <a:lnTo>
                      <a:pt x="394240" y="663512"/>
                    </a:lnTo>
                    <a:lnTo>
                      <a:pt x="395954" y="664369"/>
                    </a:lnTo>
                    <a:lnTo>
                      <a:pt x="396812" y="664369"/>
                    </a:lnTo>
                    <a:lnTo>
                      <a:pt x="397669" y="664369"/>
                    </a:lnTo>
                    <a:lnTo>
                      <a:pt x="399288" y="663512"/>
                    </a:lnTo>
                    <a:lnTo>
                      <a:pt x="401003" y="663512"/>
                    </a:lnTo>
                    <a:lnTo>
                      <a:pt x="403574" y="663512"/>
                    </a:lnTo>
                    <a:lnTo>
                      <a:pt x="404432" y="663512"/>
                    </a:lnTo>
                    <a:lnTo>
                      <a:pt x="405289" y="662654"/>
                    </a:lnTo>
                    <a:lnTo>
                      <a:pt x="406146" y="660940"/>
                    </a:lnTo>
                    <a:lnTo>
                      <a:pt x="405289" y="660083"/>
                    </a:lnTo>
                    <a:lnTo>
                      <a:pt x="404432" y="659225"/>
                    </a:lnTo>
                    <a:lnTo>
                      <a:pt x="399288" y="655796"/>
                    </a:lnTo>
                    <a:lnTo>
                      <a:pt x="399288" y="655796"/>
                    </a:lnTo>
                    <a:lnTo>
                      <a:pt x="398431" y="654939"/>
                    </a:lnTo>
                    <a:lnTo>
                      <a:pt x="398431" y="654939"/>
                    </a:lnTo>
                    <a:lnTo>
                      <a:pt x="399288" y="654177"/>
                    </a:lnTo>
                    <a:lnTo>
                      <a:pt x="400145" y="654177"/>
                    </a:lnTo>
                    <a:lnTo>
                      <a:pt x="401003" y="654177"/>
                    </a:lnTo>
                    <a:lnTo>
                      <a:pt x="409480" y="654177"/>
                    </a:lnTo>
                    <a:lnTo>
                      <a:pt x="410337" y="653320"/>
                    </a:lnTo>
                    <a:lnTo>
                      <a:pt x="411194" y="653320"/>
                    </a:lnTo>
                    <a:lnTo>
                      <a:pt x="411194" y="652463"/>
                    </a:lnTo>
                    <a:lnTo>
                      <a:pt x="412052" y="651605"/>
                    </a:lnTo>
                    <a:lnTo>
                      <a:pt x="412909" y="649034"/>
                    </a:lnTo>
                    <a:lnTo>
                      <a:pt x="412909" y="648176"/>
                    </a:lnTo>
                    <a:lnTo>
                      <a:pt x="412909" y="648176"/>
                    </a:lnTo>
                    <a:lnTo>
                      <a:pt x="413766" y="647319"/>
                    </a:lnTo>
                    <a:lnTo>
                      <a:pt x="413766" y="647319"/>
                    </a:lnTo>
                    <a:lnTo>
                      <a:pt x="414623" y="646462"/>
                    </a:lnTo>
                    <a:lnTo>
                      <a:pt x="415385" y="646462"/>
                    </a:lnTo>
                    <a:lnTo>
                      <a:pt x="416242" y="646462"/>
                    </a:lnTo>
                    <a:lnTo>
                      <a:pt x="417100" y="646462"/>
                    </a:lnTo>
                    <a:lnTo>
                      <a:pt x="417957" y="646462"/>
                    </a:lnTo>
                    <a:lnTo>
                      <a:pt x="418814" y="646462"/>
                    </a:lnTo>
                    <a:lnTo>
                      <a:pt x="419671" y="647319"/>
                    </a:lnTo>
                    <a:lnTo>
                      <a:pt x="419671" y="648176"/>
                    </a:lnTo>
                    <a:lnTo>
                      <a:pt x="419671" y="649891"/>
                    </a:lnTo>
                    <a:lnTo>
                      <a:pt x="417100" y="657511"/>
                    </a:lnTo>
                    <a:lnTo>
                      <a:pt x="416242" y="659225"/>
                    </a:lnTo>
                    <a:lnTo>
                      <a:pt x="416242" y="662654"/>
                    </a:lnTo>
                    <a:lnTo>
                      <a:pt x="416242" y="662654"/>
                    </a:lnTo>
                    <a:lnTo>
                      <a:pt x="413766" y="664369"/>
                    </a:lnTo>
                    <a:lnTo>
                      <a:pt x="413766" y="665226"/>
                    </a:lnTo>
                    <a:lnTo>
                      <a:pt x="412909" y="666083"/>
                    </a:lnTo>
                    <a:lnTo>
                      <a:pt x="412909" y="666083"/>
                    </a:lnTo>
                    <a:lnTo>
                      <a:pt x="412909" y="666941"/>
                    </a:lnTo>
                    <a:lnTo>
                      <a:pt x="412909" y="668560"/>
                    </a:lnTo>
                    <a:lnTo>
                      <a:pt x="412052" y="669417"/>
                    </a:lnTo>
                    <a:lnTo>
                      <a:pt x="412052" y="670274"/>
                    </a:lnTo>
                    <a:lnTo>
                      <a:pt x="411194" y="671131"/>
                    </a:lnTo>
                    <a:lnTo>
                      <a:pt x="411194" y="671989"/>
                    </a:lnTo>
                    <a:lnTo>
                      <a:pt x="409480" y="672846"/>
                    </a:lnTo>
                    <a:lnTo>
                      <a:pt x="409480" y="672846"/>
                    </a:lnTo>
                    <a:lnTo>
                      <a:pt x="409480" y="673703"/>
                    </a:lnTo>
                    <a:lnTo>
                      <a:pt x="409480" y="675418"/>
                    </a:lnTo>
                    <a:lnTo>
                      <a:pt x="409480" y="676275"/>
                    </a:lnTo>
                    <a:lnTo>
                      <a:pt x="411194" y="676275"/>
                    </a:lnTo>
                    <a:lnTo>
                      <a:pt x="413766" y="677132"/>
                    </a:lnTo>
                    <a:lnTo>
                      <a:pt x="417100" y="677132"/>
                    </a:lnTo>
                    <a:lnTo>
                      <a:pt x="417957" y="677132"/>
                    </a:lnTo>
                    <a:lnTo>
                      <a:pt x="423863" y="674560"/>
                    </a:lnTo>
                    <a:lnTo>
                      <a:pt x="424720" y="674560"/>
                    </a:lnTo>
                    <a:lnTo>
                      <a:pt x="425577" y="675418"/>
                    </a:lnTo>
                    <a:lnTo>
                      <a:pt x="426434" y="676275"/>
                    </a:lnTo>
                    <a:lnTo>
                      <a:pt x="427292" y="677989"/>
                    </a:lnTo>
                    <a:lnTo>
                      <a:pt x="428149" y="677989"/>
                    </a:lnTo>
                    <a:lnTo>
                      <a:pt x="429006" y="678847"/>
                    </a:lnTo>
                    <a:lnTo>
                      <a:pt x="431578" y="678847"/>
                    </a:lnTo>
                    <a:lnTo>
                      <a:pt x="432435" y="678847"/>
                    </a:lnTo>
                    <a:lnTo>
                      <a:pt x="434912" y="677132"/>
                    </a:lnTo>
                    <a:lnTo>
                      <a:pt x="435769" y="677132"/>
                    </a:lnTo>
                    <a:lnTo>
                      <a:pt x="437483" y="677989"/>
                    </a:lnTo>
                    <a:lnTo>
                      <a:pt x="439198" y="678847"/>
                    </a:lnTo>
                    <a:lnTo>
                      <a:pt x="443389" y="682180"/>
                    </a:lnTo>
                    <a:lnTo>
                      <a:pt x="445961" y="683895"/>
                    </a:lnTo>
                    <a:lnTo>
                      <a:pt x="449390" y="680466"/>
                    </a:lnTo>
                    <a:lnTo>
                      <a:pt x="450152" y="679609"/>
                    </a:lnTo>
                    <a:lnTo>
                      <a:pt x="451009" y="679609"/>
                    </a:lnTo>
                    <a:lnTo>
                      <a:pt x="451866" y="678847"/>
                    </a:lnTo>
                    <a:lnTo>
                      <a:pt x="454438" y="678847"/>
                    </a:lnTo>
                    <a:lnTo>
                      <a:pt x="454438" y="678847"/>
                    </a:lnTo>
                    <a:lnTo>
                      <a:pt x="455295" y="677989"/>
                    </a:lnTo>
                    <a:lnTo>
                      <a:pt x="456152" y="677132"/>
                    </a:lnTo>
                    <a:lnTo>
                      <a:pt x="456152" y="676275"/>
                    </a:lnTo>
                    <a:lnTo>
                      <a:pt x="455295" y="675418"/>
                    </a:lnTo>
                    <a:lnTo>
                      <a:pt x="455295" y="674560"/>
                    </a:lnTo>
                    <a:lnTo>
                      <a:pt x="455295" y="673703"/>
                    </a:lnTo>
                    <a:lnTo>
                      <a:pt x="454438" y="672846"/>
                    </a:lnTo>
                    <a:lnTo>
                      <a:pt x="454438" y="672846"/>
                    </a:lnTo>
                    <a:lnTo>
                      <a:pt x="454438" y="672846"/>
                    </a:lnTo>
                    <a:lnTo>
                      <a:pt x="454438" y="671989"/>
                    </a:lnTo>
                    <a:lnTo>
                      <a:pt x="455295" y="671131"/>
                    </a:lnTo>
                    <a:lnTo>
                      <a:pt x="455295" y="670274"/>
                    </a:lnTo>
                    <a:lnTo>
                      <a:pt x="458629" y="666941"/>
                    </a:lnTo>
                    <a:lnTo>
                      <a:pt x="460343" y="665226"/>
                    </a:lnTo>
                    <a:lnTo>
                      <a:pt x="461200" y="661797"/>
                    </a:lnTo>
                    <a:lnTo>
                      <a:pt x="462058" y="660940"/>
                    </a:lnTo>
                    <a:lnTo>
                      <a:pt x="462058" y="660083"/>
                    </a:lnTo>
                    <a:lnTo>
                      <a:pt x="462058" y="659225"/>
                    </a:lnTo>
                    <a:lnTo>
                      <a:pt x="462058" y="657511"/>
                    </a:lnTo>
                    <a:lnTo>
                      <a:pt x="461200" y="654177"/>
                    </a:lnTo>
                    <a:lnTo>
                      <a:pt x="462058" y="653320"/>
                    </a:lnTo>
                    <a:lnTo>
                      <a:pt x="462058" y="652463"/>
                    </a:lnTo>
                    <a:lnTo>
                      <a:pt x="463772" y="652463"/>
                    </a:lnTo>
                    <a:lnTo>
                      <a:pt x="465487" y="653320"/>
                    </a:lnTo>
                    <a:lnTo>
                      <a:pt x="466344" y="653320"/>
                    </a:lnTo>
                    <a:lnTo>
                      <a:pt x="467963" y="652463"/>
                    </a:lnTo>
                    <a:lnTo>
                      <a:pt x="469678" y="652463"/>
                    </a:lnTo>
                    <a:lnTo>
                      <a:pt x="471392" y="652463"/>
                    </a:lnTo>
                    <a:lnTo>
                      <a:pt x="473107" y="653320"/>
                    </a:lnTo>
                    <a:lnTo>
                      <a:pt x="475583" y="654177"/>
                    </a:lnTo>
                    <a:lnTo>
                      <a:pt x="475583" y="654177"/>
                    </a:lnTo>
                    <a:lnTo>
                      <a:pt x="476441" y="654939"/>
                    </a:lnTo>
                    <a:lnTo>
                      <a:pt x="476441" y="655796"/>
                    </a:lnTo>
                    <a:lnTo>
                      <a:pt x="476441" y="655796"/>
                    </a:lnTo>
                    <a:lnTo>
                      <a:pt x="475583" y="657511"/>
                    </a:lnTo>
                    <a:lnTo>
                      <a:pt x="475583" y="658368"/>
                    </a:lnTo>
                    <a:lnTo>
                      <a:pt x="475583" y="659225"/>
                    </a:lnTo>
                    <a:lnTo>
                      <a:pt x="476441" y="659225"/>
                    </a:lnTo>
                    <a:lnTo>
                      <a:pt x="477298" y="660083"/>
                    </a:lnTo>
                    <a:lnTo>
                      <a:pt x="479012" y="660083"/>
                    </a:lnTo>
                    <a:lnTo>
                      <a:pt x="481584" y="660083"/>
                    </a:lnTo>
                    <a:lnTo>
                      <a:pt x="484918" y="660083"/>
                    </a:lnTo>
                    <a:lnTo>
                      <a:pt x="485775" y="659225"/>
                    </a:lnTo>
                    <a:lnTo>
                      <a:pt x="486632" y="658368"/>
                    </a:lnTo>
                    <a:lnTo>
                      <a:pt x="487490" y="657511"/>
                    </a:lnTo>
                    <a:lnTo>
                      <a:pt x="487490" y="656654"/>
                    </a:lnTo>
                    <a:lnTo>
                      <a:pt x="486632" y="655796"/>
                    </a:lnTo>
                    <a:lnTo>
                      <a:pt x="483299" y="654177"/>
                    </a:lnTo>
                    <a:lnTo>
                      <a:pt x="482441" y="653320"/>
                    </a:lnTo>
                    <a:lnTo>
                      <a:pt x="482441" y="653320"/>
                    </a:lnTo>
                    <a:lnTo>
                      <a:pt x="484918" y="651605"/>
                    </a:lnTo>
                    <a:lnTo>
                      <a:pt x="495109" y="649034"/>
                    </a:lnTo>
                    <a:lnTo>
                      <a:pt x="496824" y="652463"/>
                    </a:lnTo>
                    <a:lnTo>
                      <a:pt x="497681" y="655796"/>
                    </a:lnTo>
                    <a:lnTo>
                      <a:pt x="498538" y="656654"/>
                    </a:lnTo>
                    <a:lnTo>
                      <a:pt x="499396" y="657511"/>
                    </a:lnTo>
                    <a:lnTo>
                      <a:pt x="499396" y="658368"/>
                    </a:lnTo>
                    <a:lnTo>
                      <a:pt x="499396" y="659225"/>
                    </a:lnTo>
                    <a:lnTo>
                      <a:pt x="499396" y="660083"/>
                    </a:lnTo>
                    <a:lnTo>
                      <a:pt x="499396" y="660083"/>
                    </a:lnTo>
                    <a:lnTo>
                      <a:pt x="498538" y="660940"/>
                    </a:lnTo>
                    <a:lnTo>
                      <a:pt x="498538" y="661797"/>
                    </a:lnTo>
                    <a:lnTo>
                      <a:pt x="499396" y="662654"/>
                    </a:lnTo>
                    <a:lnTo>
                      <a:pt x="500253" y="663512"/>
                    </a:lnTo>
                    <a:lnTo>
                      <a:pt x="501872" y="663512"/>
                    </a:lnTo>
                    <a:lnTo>
                      <a:pt x="504444" y="664369"/>
                    </a:lnTo>
                    <a:lnTo>
                      <a:pt x="508730" y="665226"/>
                    </a:lnTo>
                    <a:lnTo>
                      <a:pt x="513779" y="665226"/>
                    </a:lnTo>
                    <a:lnTo>
                      <a:pt x="514636" y="666083"/>
                    </a:lnTo>
                    <a:lnTo>
                      <a:pt x="514636" y="666941"/>
                    </a:lnTo>
                    <a:lnTo>
                      <a:pt x="515493" y="668560"/>
                    </a:lnTo>
                    <a:lnTo>
                      <a:pt x="515493" y="669417"/>
                    </a:lnTo>
                    <a:lnTo>
                      <a:pt x="516350" y="670274"/>
                    </a:lnTo>
                    <a:lnTo>
                      <a:pt x="518827" y="670274"/>
                    </a:lnTo>
                    <a:lnTo>
                      <a:pt x="520541" y="670274"/>
                    </a:lnTo>
                    <a:lnTo>
                      <a:pt x="521399" y="670274"/>
                    </a:lnTo>
                    <a:lnTo>
                      <a:pt x="523113" y="669417"/>
                    </a:lnTo>
                    <a:lnTo>
                      <a:pt x="523970" y="668560"/>
                    </a:lnTo>
                    <a:lnTo>
                      <a:pt x="524828" y="668560"/>
                    </a:lnTo>
                    <a:lnTo>
                      <a:pt x="525685" y="668560"/>
                    </a:lnTo>
                    <a:lnTo>
                      <a:pt x="527304" y="669417"/>
                    </a:lnTo>
                    <a:lnTo>
                      <a:pt x="529019" y="669417"/>
                    </a:lnTo>
                    <a:lnTo>
                      <a:pt x="529876" y="671131"/>
                    </a:lnTo>
                    <a:lnTo>
                      <a:pt x="530733" y="672846"/>
                    </a:lnTo>
                    <a:lnTo>
                      <a:pt x="530733" y="672846"/>
                    </a:lnTo>
                    <a:lnTo>
                      <a:pt x="530733" y="672846"/>
                    </a:lnTo>
                    <a:lnTo>
                      <a:pt x="532448" y="675418"/>
                    </a:lnTo>
                    <a:lnTo>
                      <a:pt x="532448" y="677132"/>
                    </a:lnTo>
                    <a:lnTo>
                      <a:pt x="532448" y="677989"/>
                    </a:lnTo>
                    <a:lnTo>
                      <a:pt x="531590" y="678847"/>
                    </a:lnTo>
                    <a:lnTo>
                      <a:pt x="531590" y="679609"/>
                    </a:lnTo>
                    <a:lnTo>
                      <a:pt x="531590" y="679609"/>
                    </a:lnTo>
                    <a:lnTo>
                      <a:pt x="531590" y="680466"/>
                    </a:lnTo>
                    <a:lnTo>
                      <a:pt x="531590" y="681323"/>
                    </a:lnTo>
                    <a:lnTo>
                      <a:pt x="533305" y="682180"/>
                    </a:lnTo>
                    <a:lnTo>
                      <a:pt x="540925" y="689038"/>
                    </a:lnTo>
                    <a:lnTo>
                      <a:pt x="542639" y="689896"/>
                    </a:lnTo>
                    <a:lnTo>
                      <a:pt x="543497" y="689896"/>
                    </a:lnTo>
                    <a:lnTo>
                      <a:pt x="545973" y="689896"/>
                    </a:lnTo>
                    <a:lnTo>
                      <a:pt x="548545" y="689896"/>
                    </a:lnTo>
                    <a:lnTo>
                      <a:pt x="549402" y="689896"/>
                    </a:lnTo>
                    <a:lnTo>
                      <a:pt x="551974" y="691610"/>
                    </a:lnTo>
                    <a:lnTo>
                      <a:pt x="557879" y="695801"/>
                    </a:lnTo>
                    <a:lnTo>
                      <a:pt x="559594" y="696659"/>
                    </a:lnTo>
                    <a:lnTo>
                      <a:pt x="559594" y="696659"/>
                    </a:lnTo>
                    <a:lnTo>
                      <a:pt x="560451" y="696659"/>
                    </a:lnTo>
                    <a:lnTo>
                      <a:pt x="561308" y="695801"/>
                    </a:lnTo>
                    <a:lnTo>
                      <a:pt x="562070" y="695801"/>
                    </a:lnTo>
                    <a:lnTo>
                      <a:pt x="562928" y="694944"/>
                    </a:lnTo>
                    <a:lnTo>
                      <a:pt x="567214" y="692372"/>
                    </a:lnTo>
                    <a:lnTo>
                      <a:pt x="568071" y="691610"/>
                    </a:lnTo>
                    <a:lnTo>
                      <a:pt x="568928" y="691610"/>
                    </a:lnTo>
                    <a:lnTo>
                      <a:pt x="568928" y="692372"/>
                    </a:lnTo>
                    <a:lnTo>
                      <a:pt x="569786" y="693230"/>
                    </a:lnTo>
                    <a:lnTo>
                      <a:pt x="569786" y="694087"/>
                    </a:lnTo>
                    <a:lnTo>
                      <a:pt x="569786" y="696659"/>
                    </a:lnTo>
                    <a:lnTo>
                      <a:pt x="569786" y="698373"/>
                    </a:lnTo>
                    <a:lnTo>
                      <a:pt x="568928" y="699230"/>
                    </a:lnTo>
                    <a:lnTo>
                      <a:pt x="568928" y="700088"/>
                    </a:lnTo>
                    <a:lnTo>
                      <a:pt x="568928" y="700945"/>
                    </a:lnTo>
                    <a:lnTo>
                      <a:pt x="568928" y="701802"/>
                    </a:lnTo>
                    <a:lnTo>
                      <a:pt x="570548" y="702659"/>
                    </a:lnTo>
                    <a:lnTo>
                      <a:pt x="571405" y="702659"/>
                    </a:lnTo>
                    <a:lnTo>
                      <a:pt x="571405" y="702659"/>
                    </a:lnTo>
                    <a:lnTo>
                      <a:pt x="572262" y="701802"/>
                    </a:lnTo>
                    <a:lnTo>
                      <a:pt x="573119" y="700945"/>
                    </a:lnTo>
                    <a:lnTo>
                      <a:pt x="573977" y="699230"/>
                    </a:lnTo>
                    <a:lnTo>
                      <a:pt x="573977" y="699230"/>
                    </a:lnTo>
                    <a:lnTo>
                      <a:pt x="574834" y="698373"/>
                    </a:lnTo>
                    <a:lnTo>
                      <a:pt x="574834" y="698373"/>
                    </a:lnTo>
                    <a:lnTo>
                      <a:pt x="575691" y="699230"/>
                    </a:lnTo>
                    <a:lnTo>
                      <a:pt x="575691" y="701802"/>
                    </a:lnTo>
                    <a:lnTo>
                      <a:pt x="574834" y="706850"/>
                    </a:lnTo>
                    <a:lnTo>
                      <a:pt x="575691" y="707708"/>
                    </a:lnTo>
                    <a:lnTo>
                      <a:pt x="575691" y="708565"/>
                    </a:lnTo>
                    <a:lnTo>
                      <a:pt x="576548" y="708565"/>
                    </a:lnTo>
                    <a:lnTo>
                      <a:pt x="576548" y="708565"/>
                    </a:lnTo>
                    <a:lnTo>
                      <a:pt x="577405" y="708565"/>
                    </a:lnTo>
                    <a:lnTo>
                      <a:pt x="578263" y="708565"/>
                    </a:lnTo>
                    <a:lnTo>
                      <a:pt x="578263" y="708565"/>
                    </a:lnTo>
                    <a:lnTo>
                      <a:pt x="579025" y="708565"/>
                    </a:lnTo>
                    <a:lnTo>
                      <a:pt x="579882" y="708565"/>
                    </a:lnTo>
                    <a:lnTo>
                      <a:pt x="581597" y="709422"/>
                    </a:lnTo>
                    <a:lnTo>
                      <a:pt x="581597" y="710279"/>
                    </a:lnTo>
                    <a:lnTo>
                      <a:pt x="582454" y="711994"/>
                    </a:lnTo>
                    <a:lnTo>
                      <a:pt x="579882" y="716280"/>
                    </a:lnTo>
                    <a:lnTo>
                      <a:pt x="579882" y="717042"/>
                    </a:lnTo>
                    <a:lnTo>
                      <a:pt x="579882" y="717899"/>
                    </a:lnTo>
                    <a:lnTo>
                      <a:pt x="585026" y="717042"/>
                    </a:lnTo>
                    <a:lnTo>
                      <a:pt x="590074" y="717899"/>
                    </a:lnTo>
                    <a:lnTo>
                      <a:pt x="590931" y="717042"/>
                    </a:lnTo>
                    <a:lnTo>
                      <a:pt x="592646" y="716280"/>
                    </a:lnTo>
                    <a:lnTo>
                      <a:pt x="593503" y="714566"/>
                    </a:lnTo>
                    <a:lnTo>
                      <a:pt x="593503" y="713708"/>
                    </a:lnTo>
                    <a:lnTo>
                      <a:pt x="592646" y="711137"/>
                    </a:lnTo>
                    <a:lnTo>
                      <a:pt x="592646" y="710279"/>
                    </a:lnTo>
                    <a:lnTo>
                      <a:pt x="592646" y="709422"/>
                    </a:lnTo>
                    <a:lnTo>
                      <a:pt x="592646" y="708565"/>
                    </a:lnTo>
                    <a:lnTo>
                      <a:pt x="593503" y="706850"/>
                    </a:lnTo>
                    <a:lnTo>
                      <a:pt x="594360" y="706850"/>
                    </a:lnTo>
                    <a:lnTo>
                      <a:pt x="595979" y="706850"/>
                    </a:lnTo>
                    <a:lnTo>
                      <a:pt x="606171" y="710279"/>
                    </a:lnTo>
                    <a:lnTo>
                      <a:pt x="612172" y="711137"/>
                    </a:lnTo>
                    <a:lnTo>
                      <a:pt x="613791" y="711137"/>
                    </a:lnTo>
                    <a:lnTo>
                      <a:pt x="614648" y="710279"/>
                    </a:lnTo>
                    <a:lnTo>
                      <a:pt x="622268" y="706850"/>
                    </a:lnTo>
                    <a:lnTo>
                      <a:pt x="623126" y="706850"/>
                    </a:lnTo>
                    <a:lnTo>
                      <a:pt x="623983" y="706850"/>
                    </a:lnTo>
                    <a:lnTo>
                      <a:pt x="624840" y="707708"/>
                    </a:lnTo>
                    <a:lnTo>
                      <a:pt x="624840" y="708565"/>
                    </a:lnTo>
                    <a:lnTo>
                      <a:pt x="624840" y="711137"/>
                    </a:lnTo>
                    <a:lnTo>
                      <a:pt x="624840" y="711994"/>
                    </a:lnTo>
                    <a:lnTo>
                      <a:pt x="625697" y="712851"/>
                    </a:lnTo>
                    <a:lnTo>
                      <a:pt x="626555" y="712851"/>
                    </a:lnTo>
                    <a:lnTo>
                      <a:pt x="630746" y="712851"/>
                    </a:lnTo>
                    <a:lnTo>
                      <a:pt x="631603" y="713708"/>
                    </a:lnTo>
                    <a:lnTo>
                      <a:pt x="632460" y="713708"/>
                    </a:lnTo>
                    <a:lnTo>
                      <a:pt x="632460" y="715423"/>
                    </a:lnTo>
                    <a:lnTo>
                      <a:pt x="633317" y="717899"/>
                    </a:lnTo>
                    <a:lnTo>
                      <a:pt x="634175" y="719614"/>
                    </a:lnTo>
                    <a:lnTo>
                      <a:pt x="634175" y="720471"/>
                    </a:lnTo>
                    <a:lnTo>
                      <a:pt x="635889" y="722185"/>
                    </a:lnTo>
                    <a:lnTo>
                      <a:pt x="636746" y="723043"/>
                    </a:lnTo>
                    <a:lnTo>
                      <a:pt x="635889" y="723900"/>
                    </a:lnTo>
                    <a:lnTo>
                      <a:pt x="635032" y="725614"/>
                    </a:lnTo>
                    <a:lnTo>
                      <a:pt x="634175" y="726472"/>
                    </a:lnTo>
                    <a:lnTo>
                      <a:pt x="632460" y="726472"/>
                    </a:lnTo>
                    <a:lnTo>
                      <a:pt x="629126" y="725614"/>
                    </a:lnTo>
                    <a:lnTo>
                      <a:pt x="629126" y="725614"/>
                    </a:lnTo>
                    <a:lnTo>
                      <a:pt x="628269" y="725614"/>
                    </a:lnTo>
                    <a:lnTo>
                      <a:pt x="627412" y="726472"/>
                    </a:lnTo>
                    <a:lnTo>
                      <a:pt x="627412" y="727329"/>
                    </a:lnTo>
                    <a:lnTo>
                      <a:pt x="627412" y="728186"/>
                    </a:lnTo>
                    <a:lnTo>
                      <a:pt x="627412" y="730663"/>
                    </a:lnTo>
                    <a:lnTo>
                      <a:pt x="628269" y="733234"/>
                    </a:lnTo>
                    <a:lnTo>
                      <a:pt x="628269" y="735806"/>
                    </a:lnTo>
                    <a:lnTo>
                      <a:pt x="626555" y="740950"/>
                    </a:lnTo>
                    <a:lnTo>
                      <a:pt x="626555" y="742569"/>
                    </a:lnTo>
                    <a:lnTo>
                      <a:pt x="627412" y="743426"/>
                    </a:lnTo>
                    <a:lnTo>
                      <a:pt x="627412" y="744284"/>
                    </a:lnTo>
                    <a:lnTo>
                      <a:pt x="629126" y="745141"/>
                    </a:lnTo>
                    <a:lnTo>
                      <a:pt x="630746" y="745998"/>
                    </a:lnTo>
                    <a:lnTo>
                      <a:pt x="630746" y="747713"/>
                    </a:lnTo>
                    <a:lnTo>
                      <a:pt x="630746" y="754475"/>
                    </a:lnTo>
                    <a:lnTo>
                      <a:pt x="629984" y="756190"/>
                    </a:lnTo>
                    <a:lnTo>
                      <a:pt x="629984" y="757904"/>
                    </a:lnTo>
                    <a:lnTo>
                      <a:pt x="627412" y="760476"/>
                    </a:lnTo>
                    <a:lnTo>
                      <a:pt x="626555" y="768096"/>
                    </a:lnTo>
                    <a:lnTo>
                      <a:pt x="625697" y="769810"/>
                    </a:lnTo>
                    <a:lnTo>
                      <a:pt x="623983" y="770668"/>
                    </a:lnTo>
                    <a:lnTo>
                      <a:pt x="622268" y="770668"/>
                    </a:lnTo>
                    <a:lnTo>
                      <a:pt x="621506" y="771525"/>
                    </a:lnTo>
                    <a:lnTo>
                      <a:pt x="620649" y="771525"/>
                    </a:lnTo>
                    <a:lnTo>
                      <a:pt x="620649" y="772382"/>
                    </a:lnTo>
                    <a:lnTo>
                      <a:pt x="621506" y="774097"/>
                    </a:lnTo>
                    <a:lnTo>
                      <a:pt x="622268" y="775811"/>
                    </a:lnTo>
                    <a:lnTo>
                      <a:pt x="623126" y="777526"/>
                    </a:lnTo>
                    <a:lnTo>
                      <a:pt x="625697" y="778288"/>
                    </a:lnTo>
                    <a:lnTo>
                      <a:pt x="626555" y="779145"/>
                    </a:lnTo>
                    <a:lnTo>
                      <a:pt x="627412" y="780002"/>
                    </a:lnTo>
                    <a:lnTo>
                      <a:pt x="627412" y="780859"/>
                    </a:lnTo>
                    <a:lnTo>
                      <a:pt x="627412" y="783431"/>
                    </a:lnTo>
                    <a:lnTo>
                      <a:pt x="627412" y="784288"/>
                    </a:lnTo>
                    <a:lnTo>
                      <a:pt x="626555" y="785146"/>
                    </a:lnTo>
                    <a:lnTo>
                      <a:pt x="627412" y="786003"/>
                    </a:lnTo>
                    <a:lnTo>
                      <a:pt x="627412" y="786860"/>
                    </a:lnTo>
                    <a:lnTo>
                      <a:pt x="629126" y="786860"/>
                    </a:lnTo>
                    <a:lnTo>
                      <a:pt x="630746" y="789432"/>
                    </a:lnTo>
                    <a:lnTo>
                      <a:pt x="634175" y="794480"/>
                    </a:lnTo>
                    <a:lnTo>
                      <a:pt x="638461" y="795338"/>
                    </a:lnTo>
                    <a:lnTo>
                      <a:pt x="644366" y="801338"/>
                    </a:lnTo>
                    <a:lnTo>
                      <a:pt x="646938" y="802958"/>
                    </a:lnTo>
                    <a:lnTo>
                      <a:pt x="649415" y="803815"/>
                    </a:lnTo>
                    <a:lnTo>
                      <a:pt x="652844" y="804672"/>
                    </a:lnTo>
                    <a:lnTo>
                      <a:pt x="653701" y="804672"/>
                    </a:lnTo>
                    <a:lnTo>
                      <a:pt x="657034" y="803815"/>
                    </a:lnTo>
                    <a:lnTo>
                      <a:pt x="661321" y="803815"/>
                    </a:lnTo>
                    <a:lnTo>
                      <a:pt x="666369" y="804672"/>
                    </a:lnTo>
                    <a:lnTo>
                      <a:pt x="668084" y="804672"/>
                    </a:lnTo>
                    <a:lnTo>
                      <a:pt x="668941" y="804672"/>
                    </a:lnTo>
                    <a:lnTo>
                      <a:pt x="672370" y="802958"/>
                    </a:lnTo>
                    <a:lnTo>
                      <a:pt x="673989" y="802958"/>
                    </a:lnTo>
                    <a:lnTo>
                      <a:pt x="676561" y="802196"/>
                    </a:lnTo>
                    <a:lnTo>
                      <a:pt x="679133" y="801338"/>
                    </a:lnTo>
                    <a:lnTo>
                      <a:pt x="679990" y="800481"/>
                    </a:lnTo>
                    <a:lnTo>
                      <a:pt x="680847" y="799624"/>
                    </a:lnTo>
                    <a:lnTo>
                      <a:pt x="681704" y="798767"/>
                    </a:lnTo>
                    <a:lnTo>
                      <a:pt x="684181" y="794480"/>
                    </a:lnTo>
                    <a:lnTo>
                      <a:pt x="684181" y="794480"/>
                    </a:lnTo>
                    <a:lnTo>
                      <a:pt x="684181" y="793623"/>
                    </a:lnTo>
                    <a:lnTo>
                      <a:pt x="685038" y="790289"/>
                    </a:lnTo>
                    <a:lnTo>
                      <a:pt x="685038" y="788575"/>
                    </a:lnTo>
                    <a:lnTo>
                      <a:pt x="685895" y="786860"/>
                    </a:lnTo>
                    <a:lnTo>
                      <a:pt x="690182" y="785146"/>
                    </a:lnTo>
                    <a:lnTo>
                      <a:pt x="690944" y="784288"/>
                    </a:lnTo>
                    <a:lnTo>
                      <a:pt x="690944" y="783431"/>
                    </a:lnTo>
                    <a:lnTo>
                      <a:pt x="692658" y="779145"/>
                    </a:lnTo>
                    <a:lnTo>
                      <a:pt x="693515" y="777526"/>
                    </a:lnTo>
                    <a:lnTo>
                      <a:pt x="696087" y="770668"/>
                    </a:lnTo>
                    <a:lnTo>
                      <a:pt x="696944" y="768953"/>
                    </a:lnTo>
                    <a:lnTo>
                      <a:pt x="698659" y="766381"/>
                    </a:lnTo>
                    <a:lnTo>
                      <a:pt x="701135" y="763048"/>
                    </a:lnTo>
                    <a:lnTo>
                      <a:pt x="701993" y="762191"/>
                    </a:lnTo>
                    <a:lnTo>
                      <a:pt x="702850" y="760476"/>
                    </a:lnTo>
                    <a:lnTo>
                      <a:pt x="702850" y="759619"/>
                    </a:lnTo>
                    <a:lnTo>
                      <a:pt x="702850" y="758762"/>
                    </a:lnTo>
                    <a:lnTo>
                      <a:pt x="702850" y="757047"/>
                    </a:lnTo>
                    <a:lnTo>
                      <a:pt x="702850" y="756190"/>
                    </a:lnTo>
                    <a:lnTo>
                      <a:pt x="706279" y="751999"/>
                    </a:lnTo>
                    <a:lnTo>
                      <a:pt x="706279" y="751142"/>
                    </a:lnTo>
                    <a:lnTo>
                      <a:pt x="706279" y="750284"/>
                    </a:lnTo>
                    <a:lnTo>
                      <a:pt x="706279" y="749427"/>
                    </a:lnTo>
                    <a:lnTo>
                      <a:pt x="706279" y="748570"/>
                    </a:lnTo>
                    <a:lnTo>
                      <a:pt x="704564" y="745998"/>
                    </a:lnTo>
                    <a:lnTo>
                      <a:pt x="702850" y="744284"/>
                    </a:lnTo>
                    <a:lnTo>
                      <a:pt x="701993" y="743426"/>
                    </a:lnTo>
                    <a:lnTo>
                      <a:pt x="701135" y="741712"/>
                    </a:lnTo>
                    <a:lnTo>
                      <a:pt x="700278" y="739235"/>
                    </a:lnTo>
                    <a:lnTo>
                      <a:pt x="700278" y="737521"/>
                    </a:lnTo>
                    <a:lnTo>
                      <a:pt x="700278" y="736663"/>
                    </a:lnTo>
                    <a:lnTo>
                      <a:pt x="700278" y="735806"/>
                    </a:lnTo>
                    <a:lnTo>
                      <a:pt x="700278" y="734949"/>
                    </a:lnTo>
                    <a:lnTo>
                      <a:pt x="700278" y="734949"/>
                    </a:lnTo>
                    <a:lnTo>
                      <a:pt x="701135" y="734092"/>
                    </a:lnTo>
                    <a:lnTo>
                      <a:pt x="701135" y="733234"/>
                    </a:lnTo>
                    <a:lnTo>
                      <a:pt x="702850" y="732377"/>
                    </a:lnTo>
                    <a:lnTo>
                      <a:pt x="704564" y="731520"/>
                    </a:lnTo>
                    <a:lnTo>
                      <a:pt x="714756" y="729805"/>
                    </a:lnTo>
                    <a:lnTo>
                      <a:pt x="714756" y="726472"/>
                    </a:lnTo>
                    <a:lnTo>
                      <a:pt x="713899" y="722185"/>
                    </a:lnTo>
                    <a:lnTo>
                      <a:pt x="713899" y="719614"/>
                    </a:lnTo>
                    <a:lnTo>
                      <a:pt x="714756" y="717899"/>
                    </a:lnTo>
                    <a:lnTo>
                      <a:pt x="714756" y="717042"/>
                    </a:lnTo>
                    <a:lnTo>
                      <a:pt x="713042" y="714566"/>
                    </a:lnTo>
                    <a:lnTo>
                      <a:pt x="713042" y="713708"/>
                    </a:lnTo>
                    <a:lnTo>
                      <a:pt x="713042" y="712851"/>
                    </a:lnTo>
                    <a:lnTo>
                      <a:pt x="715613" y="709422"/>
                    </a:lnTo>
                    <a:lnTo>
                      <a:pt x="715613" y="707708"/>
                    </a:lnTo>
                    <a:lnTo>
                      <a:pt x="714756" y="705993"/>
                    </a:lnTo>
                    <a:lnTo>
                      <a:pt x="714756" y="704279"/>
                    </a:lnTo>
                    <a:lnTo>
                      <a:pt x="713899" y="702659"/>
                    </a:lnTo>
                    <a:lnTo>
                      <a:pt x="713042" y="701802"/>
                    </a:lnTo>
                    <a:lnTo>
                      <a:pt x="708755" y="700945"/>
                    </a:lnTo>
                    <a:lnTo>
                      <a:pt x="707136" y="700088"/>
                    </a:lnTo>
                    <a:lnTo>
                      <a:pt x="705422" y="699230"/>
                    </a:lnTo>
                    <a:lnTo>
                      <a:pt x="704564" y="698373"/>
                    </a:lnTo>
                    <a:lnTo>
                      <a:pt x="703707" y="696659"/>
                    </a:lnTo>
                    <a:lnTo>
                      <a:pt x="701135" y="693230"/>
                    </a:lnTo>
                    <a:lnTo>
                      <a:pt x="700278" y="693230"/>
                    </a:lnTo>
                    <a:lnTo>
                      <a:pt x="699421" y="692372"/>
                    </a:lnTo>
                    <a:lnTo>
                      <a:pt x="698659" y="692372"/>
                    </a:lnTo>
                    <a:lnTo>
                      <a:pt x="696087" y="689896"/>
                    </a:lnTo>
                    <a:lnTo>
                      <a:pt x="696087" y="688181"/>
                    </a:lnTo>
                    <a:lnTo>
                      <a:pt x="695230" y="686467"/>
                    </a:lnTo>
                    <a:lnTo>
                      <a:pt x="696087" y="685609"/>
                    </a:lnTo>
                    <a:lnTo>
                      <a:pt x="696087" y="684752"/>
                    </a:lnTo>
                    <a:lnTo>
                      <a:pt x="696944" y="683038"/>
                    </a:lnTo>
                    <a:lnTo>
                      <a:pt x="696944" y="681323"/>
                    </a:lnTo>
                    <a:lnTo>
                      <a:pt x="696944" y="677132"/>
                    </a:lnTo>
                    <a:lnTo>
                      <a:pt x="696944" y="672846"/>
                    </a:lnTo>
                    <a:lnTo>
                      <a:pt x="696944" y="672846"/>
                    </a:lnTo>
                    <a:lnTo>
                      <a:pt x="696087" y="671989"/>
                    </a:lnTo>
                    <a:lnTo>
                      <a:pt x="693515" y="668560"/>
                    </a:lnTo>
                    <a:lnTo>
                      <a:pt x="692658" y="666083"/>
                    </a:lnTo>
                    <a:lnTo>
                      <a:pt x="692658" y="665226"/>
                    </a:lnTo>
                    <a:lnTo>
                      <a:pt x="691801" y="663512"/>
                    </a:lnTo>
                    <a:lnTo>
                      <a:pt x="692658" y="661797"/>
                    </a:lnTo>
                    <a:lnTo>
                      <a:pt x="692658" y="654939"/>
                    </a:lnTo>
                    <a:lnTo>
                      <a:pt x="693515" y="652463"/>
                    </a:lnTo>
                    <a:lnTo>
                      <a:pt x="693515" y="650748"/>
                    </a:lnTo>
                    <a:lnTo>
                      <a:pt x="694373" y="649891"/>
                    </a:lnTo>
                    <a:lnTo>
                      <a:pt x="694373" y="649034"/>
                    </a:lnTo>
                    <a:lnTo>
                      <a:pt x="696087" y="647319"/>
                    </a:lnTo>
                    <a:lnTo>
                      <a:pt x="697802" y="645605"/>
                    </a:lnTo>
                    <a:lnTo>
                      <a:pt x="698659" y="643890"/>
                    </a:lnTo>
                    <a:lnTo>
                      <a:pt x="702850" y="642271"/>
                    </a:lnTo>
                    <a:lnTo>
                      <a:pt x="707898" y="639699"/>
                    </a:lnTo>
                    <a:lnTo>
                      <a:pt x="709613" y="638842"/>
                    </a:lnTo>
                    <a:lnTo>
                      <a:pt x="713899" y="635413"/>
                    </a:lnTo>
                    <a:lnTo>
                      <a:pt x="715613" y="634555"/>
                    </a:lnTo>
                    <a:lnTo>
                      <a:pt x="730853" y="626078"/>
                    </a:lnTo>
                    <a:lnTo>
                      <a:pt x="741902" y="618363"/>
                    </a:lnTo>
                    <a:lnTo>
                      <a:pt x="745236" y="616744"/>
                    </a:lnTo>
                    <a:lnTo>
                      <a:pt x="745236" y="615029"/>
                    </a:lnTo>
                    <a:lnTo>
                      <a:pt x="746093" y="614172"/>
                    </a:lnTo>
                    <a:lnTo>
                      <a:pt x="746951" y="613315"/>
                    </a:lnTo>
                    <a:lnTo>
                      <a:pt x="751142" y="611600"/>
                    </a:lnTo>
                    <a:lnTo>
                      <a:pt x="754571" y="609886"/>
                    </a:lnTo>
                    <a:lnTo>
                      <a:pt x="756285" y="608171"/>
                    </a:lnTo>
                    <a:lnTo>
                      <a:pt x="757142" y="607314"/>
                    </a:lnTo>
                    <a:lnTo>
                      <a:pt x="758000" y="605600"/>
                    </a:lnTo>
                    <a:lnTo>
                      <a:pt x="764762" y="601409"/>
                    </a:lnTo>
                    <a:lnTo>
                      <a:pt x="767334" y="598837"/>
                    </a:lnTo>
                    <a:lnTo>
                      <a:pt x="773240" y="591217"/>
                    </a:lnTo>
                    <a:lnTo>
                      <a:pt x="782574" y="583501"/>
                    </a:lnTo>
                    <a:lnTo>
                      <a:pt x="786765" y="581787"/>
                    </a:lnTo>
                    <a:lnTo>
                      <a:pt x="790194" y="584359"/>
                    </a:lnTo>
                    <a:lnTo>
                      <a:pt x="791051" y="585216"/>
                    </a:lnTo>
                    <a:lnTo>
                      <a:pt x="791051" y="586930"/>
                    </a:lnTo>
                    <a:lnTo>
                      <a:pt x="790194" y="587788"/>
                    </a:lnTo>
                    <a:lnTo>
                      <a:pt x="790194" y="588645"/>
                    </a:lnTo>
                    <a:lnTo>
                      <a:pt x="790194" y="588645"/>
                    </a:lnTo>
                    <a:lnTo>
                      <a:pt x="790194" y="589502"/>
                    </a:lnTo>
                    <a:lnTo>
                      <a:pt x="791051" y="590359"/>
                    </a:lnTo>
                    <a:lnTo>
                      <a:pt x="791051" y="591217"/>
                    </a:lnTo>
                    <a:lnTo>
                      <a:pt x="791051" y="592074"/>
                    </a:lnTo>
                    <a:lnTo>
                      <a:pt x="791051" y="592074"/>
                    </a:lnTo>
                    <a:lnTo>
                      <a:pt x="791909" y="592931"/>
                    </a:lnTo>
                    <a:lnTo>
                      <a:pt x="791909" y="592931"/>
                    </a:lnTo>
                    <a:lnTo>
                      <a:pt x="793623" y="593693"/>
                    </a:lnTo>
                    <a:lnTo>
                      <a:pt x="793623" y="594551"/>
                    </a:lnTo>
                    <a:lnTo>
                      <a:pt x="794385" y="594551"/>
                    </a:lnTo>
                    <a:lnTo>
                      <a:pt x="795242" y="594551"/>
                    </a:lnTo>
                    <a:lnTo>
                      <a:pt x="797814" y="594551"/>
                    </a:lnTo>
                    <a:lnTo>
                      <a:pt x="798671" y="594551"/>
                    </a:lnTo>
                    <a:lnTo>
                      <a:pt x="801243" y="593693"/>
                    </a:lnTo>
                    <a:lnTo>
                      <a:pt x="802100" y="592931"/>
                    </a:lnTo>
                    <a:lnTo>
                      <a:pt x="802862" y="592931"/>
                    </a:lnTo>
                    <a:lnTo>
                      <a:pt x="802862" y="592074"/>
                    </a:lnTo>
                    <a:lnTo>
                      <a:pt x="802862" y="591217"/>
                    </a:lnTo>
                    <a:lnTo>
                      <a:pt x="802862" y="590359"/>
                    </a:lnTo>
                    <a:lnTo>
                      <a:pt x="802862" y="590359"/>
                    </a:lnTo>
                    <a:lnTo>
                      <a:pt x="802862" y="589502"/>
                    </a:lnTo>
                    <a:lnTo>
                      <a:pt x="802862" y="588645"/>
                    </a:lnTo>
                    <a:lnTo>
                      <a:pt x="801243" y="585216"/>
                    </a:lnTo>
                    <a:lnTo>
                      <a:pt x="802100" y="582644"/>
                    </a:lnTo>
                    <a:lnTo>
                      <a:pt x="802862" y="581787"/>
                    </a:lnTo>
                    <a:lnTo>
                      <a:pt x="804577" y="580930"/>
                    </a:lnTo>
                    <a:lnTo>
                      <a:pt x="806291" y="580168"/>
                    </a:lnTo>
                    <a:lnTo>
                      <a:pt x="808006" y="579310"/>
                    </a:lnTo>
                    <a:lnTo>
                      <a:pt x="809720" y="580168"/>
                    </a:lnTo>
                    <a:lnTo>
                      <a:pt x="813054" y="583501"/>
                    </a:lnTo>
                    <a:lnTo>
                      <a:pt x="815626" y="585216"/>
                    </a:lnTo>
                    <a:lnTo>
                      <a:pt x="818198" y="586073"/>
                    </a:lnTo>
                    <a:lnTo>
                      <a:pt x="819817" y="586930"/>
                    </a:lnTo>
                    <a:lnTo>
                      <a:pt x="820674" y="587788"/>
                    </a:lnTo>
                    <a:lnTo>
                      <a:pt x="821531" y="587788"/>
                    </a:lnTo>
                    <a:lnTo>
                      <a:pt x="824960" y="587788"/>
                    </a:lnTo>
                    <a:lnTo>
                      <a:pt x="825818" y="586930"/>
                    </a:lnTo>
                    <a:lnTo>
                      <a:pt x="826675" y="586930"/>
                    </a:lnTo>
                    <a:lnTo>
                      <a:pt x="831723" y="583501"/>
                    </a:lnTo>
                    <a:lnTo>
                      <a:pt x="832580" y="582644"/>
                    </a:lnTo>
                    <a:lnTo>
                      <a:pt x="833438" y="581787"/>
                    </a:lnTo>
                    <a:lnTo>
                      <a:pt x="833438" y="580168"/>
                    </a:lnTo>
                    <a:lnTo>
                      <a:pt x="834295" y="578453"/>
                    </a:lnTo>
                    <a:lnTo>
                      <a:pt x="834295" y="576739"/>
                    </a:lnTo>
                    <a:lnTo>
                      <a:pt x="834295" y="576739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27" name="Freeform: Shape 131">
                <a:extLst>
                  <a:ext uri="{FF2B5EF4-FFF2-40B4-BE49-F238E27FC236}">
                    <a16:creationId xmlns:a16="http://schemas.microsoft.com/office/drawing/2014/main" id="{8A417B78-6401-4FE6-A4D4-9E6E4D5A654C}"/>
                  </a:ext>
                </a:extLst>
              </p:cNvPr>
              <p:cNvSpPr/>
              <p:nvPr/>
            </p:nvSpPr>
            <p:spPr>
              <a:xfrm>
                <a:off x="7019163" y="3200971"/>
                <a:ext cx="133350" cy="190500"/>
              </a:xfrm>
              <a:custGeom>
                <a:avLst/>
                <a:gdLst>
                  <a:gd name="connsiteX0" fmla="*/ 132969 w 133350"/>
                  <a:gd name="connsiteY0" fmla="*/ 74200 h 190500"/>
                  <a:gd name="connsiteX1" fmla="*/ 132969 w 133350"/>
                  <a:gd name="connsiteY1" fmla="*/ 73342 h 190500"/>
                  <a:gd name="connsiteX2" fmla="*/ 134683 w 133350"/>
                  <a:gd name="connsiteY2" fmla="*/ 69913 h 190500"/>
                  <a:gd name="connsiteX3" fmla="*/ 134683 w 133350"/>
                  <a:gd name="connsiteY3" fmla="*/ 67246 h 190500"/>
                  <a:gd name="connsiteX4" fmla="*/ 134683 w 133350"/>
                  <a:gd name="connsiteY4" fmla="*/ 67246 h 190500"/>
                  <a:gd name="connsiteX5" fmla="*/ 134683 w 133350"/>
                  <a:gd name="connsiteY5" fmla="*/ 66389 h 190500"/>
                  <a:gd name="connsiteX6" fmla="*/ 133826 w 133350"/>
                  <a:gd name="connsiteY6" fmla="*/ 64675 h 190500"/>
                  <a:gd name="connsiteX7" fmla="*/ 133826 w 133350"/>
                  <a:gd name="connsiteY7" fmla="*/ 64675 h 190500"/>
                  <a:gd name="connsiteX8" fmla="*/ 133826 w 133350"/>
                  <a:gd name="connsiteY8" fmla="*/ 63817 h 190500"/>
                  <a:gd name="connsiteX9" fmla="*/ 132969 w 133350"/>
                  <a:gd name="connsiteY9" fmla="*/ 62960 h 190500"/>
                  <a:gd name="connsiteX10" fmla="*/ 133826 w 133350"/>
                  <a:gd name="connsiteY10" fmla="*/ 60388 h 190500"/>
                  <a:gd name="connsiteX11" fmla="*/ 134683 w 133350"/>
                  <a:gd name="connsiteY11" fmla="*/ 55245 h 190500"/>
                  <a:gd name="connsiteX12" fmla="*/ 134683 w 133350"/>
                  <a:gd name="connsiteY12" fmla="*/ 54388 h 190500"/>
                  <a:gd name="connsiteX13" fmla="*/ 133826 w 133350"/>
                  <a:gd name="connsiteY13" fmla="*/ 44005 h 190500"/>
                  <a:gd name="connsiteX14" fmla="*/ 133826 w 133350"/>
                  <a:gd name="connsiteY14" fmla="*/ 43148 h 190500"/>
                  <a:gd name="connsiteX15" fmla="*/ 133826 w 133350"/>
                  <a:gd name="connsiteY15" fmla="*/ 42291 h 190500"/>
                  <a:gd name="connsiteX16" fmla="*/ 132969 w 133350"/>
                  <a:gd name="connsiteY16" fmla="*/ 41434 h 190500"/>
                  <a:gd name="connsiteX17" fmla="*/ 132969 w 133350"/>
                  <a:gd name="connsiteY17" fmla="*/ 40577 h 190500"/>
                  <a:gd name="connsiteX18" fmla="*/ 132112 w 133350"/>
                  <a:gd name="connsiteY18" fmla="*/ 40577 h 190500"/>
                  <a:gd name="connsiteX19" fmla="*/ 132112 w 133350"/>
                  <a:gd name="connsiteY19" fmla="*/ 39719 h 190500"/>
                  <a:gd name="connsiteX20" fmla="*/ 131254 w 133350"/>
                  <a:gd name="connsiteY20" fmla="*/ 38005 h 190500"/>
                  <a:gd name="connsiteX21" fmla="*/ 123444 w 133350"/>
                  <a:gd name="connsiteY21" fmla="*/ 36290 h 190500"/>
                  <a:gd name="connsiteX22" fmla="*/ 122587 w 133350"/>
                  <a:gd name="connsiteY22" fmla="*/ 35338 h 190500"/>
                  <a:gd name="connsiteX23" fmla="*/ 122587 w 133350"/>
                  <a:gd name="connsiteY23" fmla="*/ 34480 h 190500"/>
                  <a:gd name="connsiteX24" fmla="*/ 126111 w 133350"/>
                  <a:gd name="connsiteY24" fmla="*/ 25908 h 190500"/>
                  <a:gd name="connsiteX25" fmla="*/ 126968 w 133350"/>
                  <a:gd name="connsiteY25" fmla="*/ 24194 h 190500"/>
                  <a:gd name="connsiteX26" fmla="*/ 126968 w 133350"/>
                  <a:gd name="connsiteY26" fmla="*/ 22479 h 190500"/>
                  <a:gd name="connsiteX27" fmla="*/ 126968 w 133350"/>
                  <a:gd name="connsiteY27" fmla="*/ 19907 h 190500"/>
                  <a:gd name="connsiteX28" fmla="*/ 126111 w 133350"/>
                  <a:gd name="connsiteY28" fmla="*/ 18098 h 190500"/>
                  <a:gd name="connsiteX29" fmla="*/ 124396 w 133350"/>
                  <a:gd name="connsiteY29" fmla="*/ 14669 h 190500"/>
                  <a:gd name="connsiteX30" fmla="*/ 124396 w 133350"/>
                  <a:gd name="connsiteY30" fmla="*/ 12954 h 190500"/>
                  <a:gd name="connsiteX31" fmla="*/ 124396 w 133350"/>
                  <a:gd name="connsiteY31" fmla="*/ 12097 h 190500"/>
                  <a:gd name="connsiteX32" fmla="*/ 123444 w 133350"/>
                  <a:gd name="connsiteY32" fmla="*/ 8668 h 190500"/>
                  <a:gd name="connsiteX33" fmla="*/ 123444 w 133350"/>
                  <a:gd name="connsiteY33" fmla="*/ 6953 h 190500"/>
                  <a:gd name="connsiteX34" fmla="*/ 123444 w 133350"/>
                  <a:gd name="connsiteY34" fmla="*/ 6096 h 190500"/>
                  <a:gd name="connsiteX35" fmla="*/ 122587 w 133350"/>
                  <a:gd name="connsiteY35" fmla="*/ 6096 h 190500"/>
                  <a:gd name="connsiteX36" fmla="*/ 115729 w 133350"/>
                  <a:gd name="connsiteY36" fmla="*/ 857 h 190500"/>
                  <a:gd name="connsiteX37" fmla="*/ 114014 w 133350"/>
                  <a:gd name="connsiteY37" fmla="*/ 0 h 190500"/>
                  <a:gd name="connsiteX38" fmla="*/ 113157 w 133350"/>
                  <a:gd name="connsiteY38" fmla="*/ 1715 h 190500"/>
                  <a:gd name="connsiteX39" fmla="*/ 111442 w 133350"/>
                  <a:gd name="connsiteY39" fmla="*/ 2572 h 190500"/>
                  <a:gd name="connsiteX40" fmla="*/ 109633 w 133350"/>
                  <a:gd name="connsiteY40" fmla="*/ 4382 h 190500"/>
                  <a:gd name="connsiteX41" fmla="*/ 109633 w 133350"/>
                  <a:gd name="connsiteY41" fmla="*/ 6096 h 190500"/>
                  <a:gd name="connsiteX42" fmla="*/ 110585 w 133350"/>
                  <a:gd name="connsiteY42" fmla="*/ 13811 h 190500"/>
                  <a:gd name="connsiteX43" fmla="*/ 109633 w 133350"/>
                  <a:gd name="connsiteY43" fmla="*/ 17240 h 190500"/>
                  <a:gd name="connsiteX44" fmla="*/ 107061 w 133350"/>
                  <a:gd name="connsiteY44" fmla="*/ 19907 h 190500"/>
                  <a:gd name="connsiteX45" fmla="*/ 104489 w 133350"/>
                  <a:gd name="connsiteY45" fmla="*/ 21622 h 190500"/>
                  <a:gd name="connsiteX46" fmla="*/ 101060 w 133350"/>
                  <a:gd name="connsiteY46" fmla="*/ 21622 h 190500"/>
                  <a:gd name="connsiteX47" fmla="*/ 91535 w 133350"/>
                  <a:gd name="connsiteY47" fmla="*/ 20765 h 190500"/>
                  <a:gd name="connsiteX48" fmla="*/ 91535 w 133350"/>
                  <a:gd name="connsiteY48" fmla="*/ 22479 h 190500"/>
                  <a:gd name="connsiteX49" fmla="*/ 94107 w 133350"/>
                  <a:gd name="connsiteY49" fmla="*/ 26765 h 190500"/>
                  <a:gd name="connsiteX50" fmla="*/ 94107 w 133350"/>
                  <a:gd name="connsiteY50" fmla="*/ 28480 h 190500"/>
                  <a:gd name="connsiteX51" fmla="*/ 92392 w 133350"/>
                  <a:gd name="connsiteY51" fmla="*/ 27623 h 190500"/>
                  <a:gd name="connsiteX52" fmla="*/ 89821 w 133350"/>
                  <a:gd name="connsiteY52" fmla="*/ 25908 h 190500"/>
                  <a:gd name="connsiteX53" fmla="*/ 88963 w 133350"/>
                  <a:gd name="connsiteY53" fmla="*/ 25051 h 190500"/>
                  <a:gd name="connsiteX54" fmla="*/ 86392 w 133350"/>
                  <a:gd name="connsiteY54" fmla="*/ 25908 h 190500"/>
                  <a:gd name="connsiteX55" fmla="*/ 85534 w 133350"/>
                  <a:gd name="connsiteY55" fmla="*/ 27623 h 190500"/>
                  <a:gd name="connsiteX56" fmla="*/ 87249 w 133350"/>
                  <a:gd name="connsiteY56" fmla="*/ 32766 h 190500"/>
                  <a:gd name="connsiteX57" fmla="*/ 87249 w 133350"/>
                  <a:gd name="connsiteY57" fmla="*/ 35338 h 190500"/>
                  <a:gd name="connsiteX58" fmla="*/ 84677 w 133350"/>
                  <a:gd name="connsiteY58" fmla="*/ 45720 h 190500"/>
                  <a:gd name="connsiteX59" fmla="*/ 83725 w 133350"/>
                  <a:gd name="connsiteY59" fmla="*/ 47434 h 190500"/>
                  <a:gd name="connsiteX60" fmla="*/ 82010 w 133350"/>
                  <a:gd name="connsiteY60" fmla="*/ 48292 h 190500"/>
                  <a:gd name="connsiteX61" fmla="*/ 80296 w 133350"/>
                  <a:gd name="connsiteY61" fmla="*/ 48292 h 190500"/>
                  <a:gd name="connsiteX62" fmla="*/ 76867 w 133350"/>
                  <a:gd name="connsiteY62" fmla="*/ 44863 h 190500"/>
                  <a:gd name="connsiteX63" fmla="*/ 76009 w 133350"/>
                  <a:gd name="connsiteY63" fmla="*/ 44005 h 190500"/>
                  <a:gd name="connsiteX64" fmla="*/ 76009 w 133350"/>
                  <a:gd name="connsiteY64" fmla="*/ 40577 h 190500"/>
                  <a:gd name="connsiteX65" fmla="*/ 76009 w 133350"/>
                  <a:gd name="connsiteY65" fmla="*/ 39719 h 190500"/>
                  <a:gd name="connsiteX66" fmla="*/ 74295 w 133350"/>
                  <a:gd name="connsiteY66" fmla="*/ 39719 h 190500"/>
                  <a:gd name="connsiteX67" fmla="*/ 67342 w 133350"/>
                  <a:gd name="connsiteY67" fmla="*/ 38005 h 190500"/>
                  <a:gd name="connsiteX68" fmla="*/ 66484 w 133350"/>
                  <a:gd name="connsiteY68" fmla="*/ 39719 h 190500"/>
                  <a:gd name="connsiteX69" fmla="*/ 66484 w 133350"/>
                  <a:gd name="connsiteY69" fmla="*/ 42291 h 190500"/>
                  <a:gd name="connsiteX70" fmla="*/ 67342 w 133350"/>
                  <a:gd name="connsiteY70" fmla="*/ 44863 h 190500"/>
                  <a:gd name="connsiteX71" fmla="*/ 67342 w 133350"/>
                  <a:gd name="connsiteY71" fmla="*/ 46577 h 190500"/>
                  <a:gd name="connsiteX72" fmla="*/ 66484 w 133350"/>
                  <a:gd name="connsiteY72" fmla="*/ 49149 h 190500"/>
                  <a:gd name="connsiteX73" fmla="*/ 63913 w 133350"/>
                  <a:gd name="connsiteY73" fmla="*/ 49149 h 190500"/>
                  <a:gd name="connsiteX74" fmla="*/ 62198 w 133350"/>
                  <a:gd name="connsiteY74" fmla="*/ 49149 h 190500"/>
                  <a:gd name="connsiteX75" fmla="*/ 59626 w 133350"/>
                  <a:gd name="connsiteY75" fmla="*/ 48292 h 190500"/>
                  <a:gd name="connsiteX76" fmla="*/ 58769 w 133350"/>
                  <a:gd name="connsiteY76" fmla="*/ 45720 h 190500"/>
                  <a:gd name="connsiteX77" fmla="*/ 56959 w 133350"/>
                  <a:gd name="connsiteY77" fmla="*/ 41434 h 190500"/>
                  <a:gd name="connsiteX78" fmla="*/ 56102 w 133350"/>
                  <a:gd name="connsiteY78" fmla="*/ 40577 h 190500"/>
                  <a:gd name="connsiteX79" fmla="*/ 55245 w 133350"/>
                  <a:gd name="connsiteY79" fmla="*/ 42291 h 190500"/>
                  <a:gd name="connsiteX80" fmla="*/ 54388 w 133350"/>
                  <a:gd name="connsiteY80" fmla="*/ 50006 h 190500"/>
                  <a:gd name="connsiteX81" fmla="*/ 53530 w 133350"/>
                  <a:gd name="connsiteY81" fmla="*/ 52673 h 190500"/>
                  <a:gd name="connsiteX82" fmla="*/ 51816 w 133350"/>
                  <a:gd name="connsiteY82" fmla="*/ 54388 h 190500"/>
                  <a:gd name="connsiteX83" fmla="*/ 50101 w 133350"/>
                  <a:gd name="connsiteY83" fmla="*/ 55245 h 190500"/>
                  <a:gd name="connsiteX84" fmla="*/ 48387 w 133350"/>
                  <a:gd name="connsiteY84" fmla="*/ 56102 h 190500"/>
                  <a:gd name="connsiteX85" fmla="*/ 43148 w 133350"/>
                  <a:gd name="connsiteY85" fmla="*/ 56959 h 190500"/>
                  <a:gd name="connsiteX86" fmla="*/ 38862 w 133350"/>
                  <a:gd name="connsiteY86" fmla="*/ 56102 h 190500"/>
                  <a:gd name="connsiteX87" fmla="*/ 30194 w 133350"/>
                  <a:gd name="connsiteY87" fmla="*/ 54388 h 190500"/>
                  <a:gd name="connsiteX88" fmla="*/ 25908 w 133350"/>
                  <a:gd name="connsiteY88" fmla="*/ 55245 h 190500"/>
                  <a:gd name="connsiteX89" fmla="*/ 24193 w 133350"/>
                  <a:gd name="connsiteY89" fmla="*/ 57817 h 190500"/>
                  <a:gd name="connsiteX90" fmla="*/ 24193 w 133350"/>
                  <a:gd name="connsiteY90" fmla="*/ 62960 h 190500"/>
                  <a:gd name="connsiteX91" fmla="*/ 23336 w 133350"/>
                  <a:gd name="connsiteY91" fmla="*/ 67246 h 190500"/>
                  <a:gd name="connsiteX92" fmla="*/ 21622 w 133350"/>
                  <a:gd name="connsiteY92" fmla="*/ 69056 h 190500"/>
                  <a:gd name="connsiteX93" fmla="*/ 20764 w 133350"/>
                  <a:gd name="connsiteY93" fmla="*/ 68199 h 190500"/>
                  <a:gd name="connsiteX94" fmla="*/ 19907 w 133350"/>
                  <a:gd name="connsiteY94" fmla="*/ 68199 h 190500"/>
                  <a:gd name="connsiteX95" fmla="*/ 19050 w 133350"/>
                  <a:gd name="connsiteY95" fmla="*/ 67246 h 190500"/>
                  <a:gd name="connsiteX96" fmla="*/ 18192 w 133350"/>
                  <a:gd name="connsiteY96" fmla="*/ 67246 h 190500"/>
                  <a:gd name="connsiteX97" fmla="*/ 15526 w 133350"/>
                  <a:gd name="connsiteY97" fmla="*/ 69056 h 190500"/>
                  <a:gd name="connsiteX98" fmla="*/ 14668 w 133350"/>
                  <a:gd name="connsiteY98" fmla="*/ 69913 h 190500"/>
                  <a:gd name="connsiteX99" fmla="*/ 12954 w 133350"/>
                  <a:gd name="connsiteY99" fmla="*/ 71628 h 190500"/>
                  <a:gd name="connsiteX100" fmla="*/ 9525 w 133350"/>
                  <a:gd name="connsiteY100" fmla="*/ 78486 h 190500"/>
                  <a:gd name="connsiteX101" fmla="*/ 8667 w 133350"/>
                  <a:gd name="connsiteY101" fmla="*/ 80200 h 190500"/>
                  <a:gd name="connsiteX102" fmla="*/ 8667 w 133350"/>
                  <a:gd name="connsiteY102" fmla="*/ 81915 h 190500"/>
                  <a:gd name="connsiteX103" fmla="*/ 10382 w 133350"/>
                  <a:gd name="connsiteY103" fmla="*/ 84582 h 190500"/>
                  <a:gd name="connsiteX104" fmla="*/ 10382 w 133350"/>
                  <a:gd name="connsiteY104" fmla="*/ 86296 h 190500"/>
                  <a:gd name="connsiteX105" fmla="*/ 10382 w 133350"/>
                  <a:gd name="connsiteY105" fmla="*/ 88011 h 190500"/>
                  <a:gd name="connsiteX106" fmla="*/ 7810 w 133350"/>
                  <a:gd name="connsiteY106" fmla="*/ 94869 h 190500"/>
                  <a:gd name="connsiteX107" fmla="*/ 6953 w 133350"/>
                  <a:gd name="connsiteY107" fmla="*/ 97441 h 190500"/>
                  <a:gd name="connsiteX108" fmla="*/ 5239 w 133350"/>
                  <a:gd name="connsiteY108" fmla="*/ 98298 h 190500"/>
                  <a:gd name="connsiteX109" fmla="*/ 2572 w 133350"/>
                  <a:gd name="connsiteY109" fmla="*/ 98298 h 190500"/>
                  <a:gd name="connsiteX110" fmla="*/ 857 w 133350"/>
                  <a:gd name="connsiteY110" fmla="*/ 99155 h 190500"/>
                  <a:gd name="connsiteX111" fmla="*/ 0 w 133350"/>
                  <a:gd name="connsiteY111" fmla="*/ 100965 h 190500"/>
                  <a:gd name="connsiteX112" fmla="*/ 0 w 133350"/>
                  <a:gd name="connsiteY112" fmla="*/ 103537 h 190500"/>
                  <a:gd name="connsiteX113" fmla="*/ 1714 w 133350"/>
                  <a:gd name="connsiteY113" fmla="*/ 104394 h 190500"/>
                  <a:gd name="connsiteX114" fmla="*/ 4286 w 133350"/>
                  <a:gd name="connsiteY114" fmla="*/ 105251 h 190500"/>
                  <a:gd name="connsiteX115" fmla="*/ 4286 w 133350"/>
                  <a:gd name="connsiteY115" fmla="*/ 106966 h 190500"/>
                  <a:gd name="connsiteX116" fmla="*/ 3429 w 133350"/>
                  <a:gd name="connsiteY116" fmla="*/ 109538 h 190500"/>
                  <a:gd name="connsiteX117" fmla="*/ 1714 w 133350"/>
                  <a:gd name="connsiteY117" fmla="*/ 109538 h 190500"/>
                  <a:gd name="connsiteX118" fmla="*/ 857 w 133350"/>
                  <a:gd name="connsiteY118" fmla="*/ 109538 h 190500"/>
                  <a:gd name="connsiteX119" fmla="*/ 0 w 133350"/>
                  <a:gd name="connsiteY119" fmla="*/ 112109 h 190500"/>
                  <a:gd name="connsiteX120" fmla="*/ 857 w 133350"/>
                  <a:gd name="connsiteY120" fmla="*/ 114681 h 190500"/>
                  <a:gd name="connsiteX121" fmla="*/ 4286 w 133350"/>
                  <a:gd name="connsiteY121" fmla="*/ 120777 h 190500"/>
                  <a:gd name="connsiteX122" fmla="*/ 5239 w 133350"/>
                  <a:gd name="connsiteY122" fmla="*/ 122492 h 190500"/>
                  <a:gd name="connsiteX123" fmla="*/ 6096 w 133350"/>
                  <a:gd name="connsiteY123" fmla="*/ 126778 h 190500"/>
                  <a:gd name="connsiteX124" fmla="*/ 6953 w 133350"/>
                  <a:gd name="connsiteY124" fmla="*/ 128492 h 190500"/>
                  <a:gd name="connsiteX125" fmla="*/ 7810 w 133350"/>
                  <a:gd name="connsiteY125" fmla="*/ 129350 h 190500"/>
                  <a:gd name="connsiteX126" fmla="*/ 9525 w 133350"/>
                  <a:gd name="connsiteY126" fmla="*/ 131064 h 190500"/>
                  <a:gd name="connsiteX127" fmla="*/ 10382 w 133350"/>
                  <a:gd name="connsiteY127" fmla="*/ 131921 h 190500"/>
                  <a:gd name="connsiteX128" fmla="*/ 11239 w 133350"/>
                  <a:gd name="connsiteY128" fmla="*/ 132874 h 190500"/>
                  <a:gd name="connsiteX129" fmla="*/ 11239 w 133350"/>
                  <a:gd name="connsiteY129" fmla="*/ 136303 h 190500"/>
                  <a:gd name="connsiteX130" fmla="*/ 12954 w 133350"/>
                  <a:gd name="connsiteY130" fmla="*/ 141446 h 190500"/>
                  <a:gd name="connsiteX131" fmla="*/ 13811 w 133350"/>
                  <a:gd name="connsiteY131" fmla="*/ 143161 h 190500"/>
                  <a:gd name="connsiteX132" fmla="*/ 15526 w 133350"/>
                  <a:gd name="connsiteY132" fmla="*/ 144875 h 190500"/>
                  <a:gd name="connsiteX133" fmla="*/ 17240 w 133350"/>
                  <a:gd name="connsiteY133" fmla="*/ 144875 h 190500"/>
                  <a:gd name="connsiteX134" fmla="*/ 17240 w 133350"/>
                  <a:gd name="connsiteY134" fmla="*/ 145733 h 190500"/>
                  <a:gd name="connsiteX135" fmla="*/ 17240 w 133350"/>
                  <a:gd name="connsiteY135" fmla="*/ 146590 h 190500"/>
                  <a:gd name="connsiteX136" fmla="*/ 15526 w 133350"/>
                  <a:gd name="connsiteY136" fmla="*/ 147447 h 190500"/>
                  <a:gd name="connsiteX137" fmla="*/ 14668 w 133350"/>
                  <a:gd name="connsiteY137" fmla="*/ 149257 h 190500"/>
                  <a:gd name="connsiteX138" fmla="*/ 14668 w 133350"/>
                  <a:gd name="connsiteY138" fmla="*/ 150114 h 190500"/>
                  <a:gd name="connsiteX139" fmla="*/ 15526 w 133350"/>
                  <a:gd name="connsiteY139" fmla="*/ 150971 h 190500"/>
                  <a:gd name="connsiteX140" fmla="*/ 16383 w 133350"/>
                  <a:gd name="connsiteY140" fmla="*/ 151829 h 190500"/>
                  <a:gd name="connsiteX141" fmla="*/ 19050 w 133350"/>
                  <a:gd name="connsiteY141" fmla="*/ 171641 h 190500"/>
                  <a:gd name="connsiteX142" fmla="*/ 20764 w 133350"/>
                  <a:gd name="connsiteY142" fmla="*/ 176784 h 190500"/>
                  <a:gd name="connsiteX143" fmla="*/ 23336 w 133350"/>
                  <a:gd name="connsiteY143" fmla="*/ 180213 h 190500"/>
                  <a:gd name="connsiteX144" fmla="*/ 26765 w 133350"/>
                  <a:gd name="connsiteY144" fmla="*/ 181166 h 190500"/>
                  <a:gd name="connsiteX145" fmla="*/ 27622 w 133350"/>
                  <a:gd name="connsiteY145" fmla="*/ 177641 h 190500"/>
                  <a:gd name="connsiteX146" fmla="*/ 25051 w 133350"/>
                  <a:gd name="connsiteY146" fmla="*/ 167354 h 190500"/>
                  <a:gd name="connsiteX147" fmla="*/ 25051 w 133350"/>
                  <a:gd name="connsiteY147" fmla="*/ 161258 h 190500"/>
                  <a:gd name="connsiteX148" fmla="*/ 25908 w 133350"/>
                  <a:gd name="connsiteY148" fmla="*/ 158687 h 190500"/>
                  <a:gd name="connsiteX149" fmla="*/ 26765 w 133350"/>
                  <a:gd name="connsiteY149" fmla="*/ 156972 h 190500"/>
                  <a:gd name="connsiteX150" fmla="*/ 29337 w 133350"/>
                  <a:gd name="connsiteY150" fmla="*/ 156972 h 190500"/>
                  <a:gd name="connsiteX151" fmla="*/ 32004 w 133350"/>
                  <a:gd name="connsiteY151" fmla="*/ 158687 h 190500"/>
                  <a:gd name="connsiteX152" fmla="*/ 32861 w 133350"/>
                  <a:gd name="connsiteY152" fmla="*/ 161258 h 190500"/>
                  <a:gd name="connsiteX153" fmla="*/ 33718 w 133350"/>
                  <a:gd name="connsiteY153" fmla="*/ 162973 h 190500"/>
                  <a:gd name="connsiteX154" fmla="*/ 33718 w 133350"/>
                  <a:gd name="connsiteY154" fmla="*/ 162973 h 190500"/>
                  <a:gd name="connsiteX155" fmla="*/ 34576 w 133350"/>
                  <a:gd name="connsiteY155" fmla="*/ 162116 h 190500"/>
                  <a:gd name="connsiteX156" fmla="*/ 34576 w 133350"/>
                  <a:gd name="connsiteY156" fmla="*/ 162116 h 190500"/>
                  <a:gd name="connsiteX157" fmla="*/ 35433 w 133350"/>
                  <a:gd name="connsiteY157" fmla="*/ 162973 h 190500"/>
                  <a:gd name="connsiteX158" fmla="*/ 35433 w 133350"/>
                  <a:gd name="connsiteY158" fmla="*/ 163830 h 190500"/>
                  <a:gd name="connsiteX159" fmla="*/ 35433 w 133350"/>
                  <a:gd name="connsiteY159" fmla="*/ 164687 h 190500"/>
                  <a:gd name="connsiteX160" fmla="*/ 35433 w 133350"/>
                  <a:gd name="connsiteY160" fmla="*/ 164687 h 190500"/>
                  <a:gd name="connsiteX161" fmla="*/ 37147 w 133350"/>
                  <a:gd name="connsiteY161" fmla="*/ 166497 h 190500"/>
                  <a:gd name="connsiteX162" fmla="*/ 37147 w 133350"/>
                  <a:gd name="connsiteY162" fmla="*/ 166497 h 190500"/>
                  <a:gd name="connsiteX163" fmla="*/ 38005 w 133350"/>
                  <a:gd name="connsiteY163" fmla="*/ 169926 h 190500"/>
                  <a:gd name="connsiteX164" fmla="*/ 38862 w 133350"/>
                  <a:gd name="connsiteY164" fmla="*/ 171641 h 190500"/>
                  <a:gd name="connsiteX165" fmla="*/ 41434 w 133350"/>
                  <a:gd name="connsiteY165" fmla="*/ 180213 h 190500"/>
                  <a:gd name="connsiteX166" fmla="*/ 41434 w 133350"/>
                  <a:gd name="connsiteY166" fmla="*/ 183737 h 190500"/>
                  <a:gd name="connsiteX167" fmla="*/ 42291 w 133350"/>
                  <a:gd name="connsiteY167" fmla="*/ 183737 h 190500"/>
                  <a:gd name="connsiteX168" fmla="*/ 43148 w 133350"/>
                  <a:gd name="connsiteY168" fmla="*/ 184595 h 190500"/>
                  <a:gd name="connsiteX169" fmla="*/ 43148 w 133350"/>
                  <a:gd name="connsiteY169" fmla="*/ 184595 h 190500"/>
                  <a:gd name="connsiteX170" fmla="*/ 43148 w 133350"/>
                  <a:gd name="connsiteY170" fmla="*/ 188024 h 190500"/>
                  <a:gd name="connsiteX171" fmla="*/ 44005 w 133350"/>
                  <a:gd name="connsiteY171" fmla="*/ 189738 h 190500"/>
                  <a:gd name="connsiteX172" fmla="*/ 44958 w 133350"/>
                  <a:gd name="connsiteY172" fmla="*/ 191453 h 190500"/>
                  <a:gd name="connsiteX173" fmla="*/ 46672 w 133350"/>
                  <a:gd name="connsiteY173" fmla="*/ 191453 h 190500"/>
                  <a:gd name="connsiteX174" fmla="*/ 48387 w 133350"/>
                  <a:gd name="connsiteY174" fmla="*/ 192310 h 190500"/>
                  <a:gd name="connsiteX175" fmla="*/ 50101 w 133350"/>
                  <a:gd name="connsiteY175" fmla="*/ 193167 h 190500"/>
                  <a:gd name="connsiteX176" fmla="*/ 50959 w 133350"/>
                  <a:gd name="connsiteY176" fmla="*/ 194024 h 190500"/>
                  <a:gd name="connsiteX177" fmla="*/ 50959 w 133350"/>
                  <a:gd name="connsiteY177" fmla="*/ 194882 h 190500"/>
                  <a:gd name="connsiteX178" fmla="*/ 50959 w 133350"/>
                  <a:gd name="connsiteY178" fmla="*/ 195739 h 190500"/>
                  <a:gd name="connsiteX179" fmla="*/ 52673 w 133350"/>
                  <a:gd name="connsiteY179" fmla="*/ 194882 h 190500"/>
                  <a:gd name="connsiteX180" fmla="*/ 53530 w 133350"/>
                  <a:gd name="connsiteY180" fmla="*/ 194024 h 190500"/>
                  <a:gd name="connsiteX181" fmla="*/ 53530 w 133350"/>
                  <a:gd name="connsiteY181" fmla="*/ 192310 h 190500"/>
                  <a:gd name="connsiteX182" fmla="*/ 54388 w 133350"/>
                  <a:gd name="connsiteY182" fmla="*/ 191453 h 190500"/>
                  <a:gd name="connsiteX183" fmla="*/ 55245 w 133350"/>
                  <a:gd name="connsiteY183" fmla="*/ 191453 h 190500"/>
                  <a:gd name="connsiteX184" fmla="*/ 56102 w 133350"/>
                  <a:gd name="connsiteY184" fmla="*/ 191453 h 190500"/>
                  <a:gd name="connsiteX185" fmla="*/ 56959 w 133350"/>
                  <a:gd name="connsiteY185" fmla="*/ 191453 h 190500"/>
                  <a:gd name="connsiteX186" fmla="*/ 57912 w 133350"/>
                  <a:gd name="connsiteY186" fmla="*/ 192310 h 190500"/>
                  <a:gd name="connsiteX187" fmla="*/ 58769 w 133350"/>
                  <a:gd name="connsiteY187" fmla="*/ 191453 h 190500"/>
                  <a:gd name="connsiteX188" fmla="*/ 60484 w 133350"/>
                  <a:gd name="connsiteY188" fmla="*/ 191453 h 190500"/>
                  <a:gd name="connsiteX189" fmla="*/ 63055 w 133350"/>
                  <a:gd name="connsiteY189" fmla="*/ 190595 h 190500"/>
                  <a:gd name="connsiteX190" fmla="*/ 64770 w 133350"/>
                  <a:gd name="connsiteY190" fmla="*/ 189738 h 190500"/>
                  <a:gd name="connsiteX191" fmla="*/ 65627 w 133350"/>
                  <a:gd name="connsiteY191" fmla="*/ 188881 h 190500"/>
                  <a:gd name="connsiteX192" fmla="*/ 67342 w 133350"/>
                  <a:gd name="connsiteY192" fmla="*/ 187166 h 190500"/>
                  <a:gd name="connsiteX193" fmla="*/ 68199 w 133350"/>
                  <a:gd name="connsiteY193" fmla="*/ 186309 h 190500"/>
                  <a:gd name="connsiteX194" fmla="*/ 69913 w 133350"/>
                  <a:gd name="connsiteY194" fmla="*/ 182880 h 190500"/>
                  <a:gd name="connsiteX195" fmla="*/ 69913 w 133350"/>
                  <a:gd name="connsiteY195" fmla="*/ 182880 h 190500"/>
                  <a:gd name="connsiteX196" fmla="*/ 69913 w 133350"/>
                  <a:gd name="connsiteY196" fmla="*/ 182023 h 190500"/>
                  <a:gd name="connsiteX197" fmla="*/ 69913 w 133350"/>
                  <a:gd name="connsiteY197" fmla="*/ 181166 h 190500"/>
                  <a:gd name="connsiteX198" fmla="*/ 70866 w 133350"/>
                  <a:gd name="connsiteY198" fmla="*/ 181166 h 190500"/>
                  <a:gd name="connsiteX199" fmla="*/ 70866 w 133350"/>
                  <a:gd name="connsiteY199" fmla="*/ 181166 h 190500"/>
                  <a:gd name="connsiteX200" fmla="*/ 71723 w 133350"/>
                  <a:gd name="connsiteY200" fmla="*/ 181166 h 190500"/>
                  <a:gd name="connsiteX201" fmla="*/ 72580 w 133350"/>
                  <a:gd name="connsiteY201" fmla="*/ 181166 h 190500"/>
                  <a:gd name="connsiteX202" fmla="*/ 74295 w 133350"/>
                  <a:gd name="connsiteY202" fmla="*/ 179356 h 190500"/>
                  <a:gd name="connsiteX203" fmla="*/ 74295 w 133350"/>
                  <a:gd name="connsiteY203" fmla="*/ 178499 h 190500"/>
                  <a:gd name="connsiteX204" fmla="*/ 74295 w 133350"/>
                  <a:gd name="connsiteY204" fmla="*/ 176784 h 190500"/>
                  <a:gd name="connsiteX205" fmla="*/ 72580 w 133350"/>
                  <a:gd name="connsiteY205" fmla="*/ 172498 h 190500"/>
                  <a:gd name="connsiteX206" fmla="*/ 70866 w 133350"/>
                  <a:gd name="connsiteY206" fmla="*/ 164687 h 190500"/>
                  <a:gd name="connsiteX207" fmla="*/ 69056 w 133350"/>
                  <a:gd name="connsiteY207" fmla="*/ 160401 h 190500"/>
                  <a:gd name="connsiteX208" fmla="*/ 69056 w 133350"/>
                  <a:gd name="connsiteY208" fmla="*/ 156115 h 190500"/>
                  <a:gd name="connsiteX209" fmla="*/ 70866 w 133350"/>
                  <a:gd name="connsiteY209" fmla="*/ 150114 h 190500"/>
                  <a:gd name="connsiteX210" fmla="*/ 74295 w 133350"/>
                  <a:gd name="connsiteY210" fmla="*/ 144018 h 190500"/>
                  <a:gd name="connsiteX211" fmla="*/ 76867 w 133350"/>
                  <a:gd name="connsiteY211" fmla="*/ 140589 h 190500"/>
                  <a:gd name="connsiteX212" fmla="*/ 78581 w 133350"/>
                  <a:gd name="connsiteY212" fmla="*/ 138875 h 190500"/>
                  <a:gd name="connsiteX213" fmla="*/ 84677 w 133350"/>
                  <a:gd name="connsiteY213" fmla="*/ 136303 h 190500"/>
                  <a:gd name="connsiteX214" fmla="*/ 86392 w 133350"/>
                  <a:gd name="connsiteY214" fmla="*/ 134588 h 190500"/>
                  <a:gd name="connsiteX215" fmla="*/ 88106 w 133350"/>
                  <a:gd name="connsiteY215" fmla="*/ 132874 h 190500"/>
                  <a:gd name="connsiteX216" fmla="*/ 90678 w 133350"/>
                  <a:gd name="connsiteY216" fmla="*/ 128492 h 190500"/>
                  <a:gd name="connsiteX217" fmla="*/ 90678 w 133350"/>
                  <a:gd name="connsiteY217" fmla="*/ 124206 h 190500"/>
                  <a:gd name="connsiteX218" fmla="*/ 88106 w 133350"/>
                  <a:gd name="connsiteY218" fmla="*/ 109538 h 190500"/>
                  <a:gd name="connsiteX219" fmla="*/ 88106 w 133350"/>
                  <a:gd name="connsiteY219" fmla="*/ 105251 h 190500"/>
                  <a:gd name="connsiteX220" fmla="*/ 88106 w 133350"/>
                  <a:gd name="connsiteY220" fmla="*/ 102679 h 190500"/>
                  <a:gd name="connsiteX221" fmla="*/ 88963 w 133350"/>
                  <a:gd name="connsiteY221" fmla="*/ 100965 h 190500"/>
                  <a:gd name="connsiteX222" fmla="*/ 90678 w 133350"/>
                  <a:gd name="connsiteY222" fmla="*/ 100965 h 190500"/>
                  <a:gd name="connsiteX223" fmla="*/ 91535 w 133350"/>
                  <a:gd name="connsiteY223" fmla="*/ 102679 h 190500"/>
                  <a:gd name="connsiteX224" fmla="*/ 93250 w 133350"/>
                  <a:gd name="connsiteY224" fmla="*/ 104394 h 190500"/>
                  <a:gd name="connsiteX225" fmla="*/ 97631 w 133350"/>
                  <a:gd name="connsiteY225" fmla="*/ 110395 h 190500"/>
                  <a:gd name="connsiteX226" fmla="*/ 100203 w 133350"/>
                  <a:gd name="connsiteY226" fmla="*/ 111252 h 190500"/>
                  <a:gd name="connsiteX227" fmla="*/ 101917 w 133350"/>
                  <a:gd name="connsiteY227" fmla="*/ 110395 h 190500"/>
                  <a:gd name="connsiteX228" fmla="*/ 104489 w 133350"/>
                  <a:gd name="connsiteY228" fmla="*/ 108680 h 190500"/>
                  <a:gd name="connsiteX229" fmla="*/ 107918 w 133350"/>
                  <a:gd name="connsiteY229" fmla="*/ 103537 h 190500"/>
                  <a:gd name="connsiteX230" fmla="*/ 109633 w 133350"/>
                  <a:gd name="connsiteY230" fmla="*/ 101822 h 190500"/>
                  <a:gd name="connsiteX231" fmla="*/ 114871 w 133350"/>
                  <a:gd name="connsiteY231" fmla="*/ 100013 h 190500"/>
                  <a:gd name="connsiteX232" fmla="*/ 116586 w 133350"/>
                  <a:gd name="connsiteY232" fmla="*/ 103537 h 190500"/>
                  <a:gd name="connsiteX233" fmla="*/ 117443 w 133350"/>
                  <a:gd name="connsiteY233" fmla="*/ 107823 h 190500"/>
                  <a:gd name="connsiteX234" fmla="*/ 119158 w 133350"/>
                  <a:gd name="connsiteY234" fmla="*/ 110395 h 190500"/>
                  <a:gd name="connsiteX235" fmla="*/ 120872 w 133350"/>
                  <a:gd name="connsiteY235" fmla="*/ 108680 h 190500"/>
                  <a:gd name="connsiteX236" fmla="*/ 122587 w 133350"/>
                  <a:gd name="connsiteY236" fmla="*/ 102679 h 190500"/>
                  <a:gd name="connsiteX237" fmla="*/ 124396 w 133350"/>
                  <a:gd name="connsiteY237" fmla="*/ 101822 h 190500"/>
                  <a:gd name="connsiteX238" fmla="*/ 126968 w 133350"/>
                  <a:gd name="connsiteY238" fmla="*/ 102679 h 190500"/>
                  <a:gd name="connsiteX239" fmla="*/ 126968 w 133350"/>
                  <a:gd name="connsiteY239" fmla="*/ 103537 h 190500"/>
                  <a:gd name="connsiteX240" fmla="*/ 127825 w 133350"/>
                  <a:gd name="connsiteY240" fmla="*/ 101822 h 190500"/>
                  <a:gd name="connsiteX241" fmla="*/ 126968 w 133350"/>
                  <a:gd name="connsiteY241" fmla="*/ 94012 h 190500"/>
                  <a:gd name="connsiteX242" fmla="*/ 127825 w 133350"/>
                  <a:gd name="connsiteY242" fmla="*/ 92297 h 190500"/>
                  <a:gd name="connsiteX243" fmla="*/ 127825 w 133350"/>
                  <a:gd name="connsiteY243" fmla="*/ 90583 h 190500"/>
                  <a:gd name="connsiteX244" fmla="*/ 127825 w 133350"/>
                  <a:gd name="connsiteY244" fmla="*/ 90583 h 190500"/>
                  <a:gd name="connsiteX245" fmla="*/ 127825 w 133350"/>
                  <a:gd name="connsiteY245" fmla="*/ 89725 h 190500"/>
                  <a:gd name="connsiteX246" fmla="*/ 127825 w 133350"/>
                  <a:gd name="connsiteY246" fmla="*/ 88868 h 190500"/>
                  <a:gd name="connsiteX247" fmla="*/ 127825 w 133350"/>
                  <a:gd name="connsiteY247" fmla="*/ 88011 h 190500"/>
                  <a:gd name="connsiteX248" fmla="*/ 128683 w 133350"/>
                  <a:gd name="connsiteY248" fmla="*/ 87154 h 190500"/>
                  <a:gd name="connsiteX249" fmla="*/ 128683 w 133350"/>
                  <a:gd name="connsiteY249" fmla="*/ 86296 h 190500"/>
                  <a:gd name="connsiteX250" fmla="*/ 129540 w 133350"/>
                  <a:gd name="connsiteY250" fmla="*/ 85439 h 190500"/>
                  <a:gd name="connsiteX251" fmla="*/ 130397 w 133350"/>
                  <a:gd name="connsiteY251" fmla="*/ 85439 h 190500"/>
                  <a:gd name="connsiteX252" fmla="*/ 130397 w 133350"/>
                  <a:gd name="connsiteY252" fmla="*/ 85439 h 190500"/>
                  <a:gd name="connsiteX253" fmla="*/ 131254 w 133350"/>
                  <a:gd name="connsiteY253" fmla="*/ 84582 h 190500"/>
                  <a:gd name="connsiteX254" fmla="*/ 131254 w 133350"/>
                  <a:gd name="connsiteY254" fmla="*/ 84582 h 190500"/>
                  <a:gd name="connsiteX255" fmla="*/ 131254 w 133350"/>
                  <a:gd name="connsiteY255" fmla="*/ 85439 h 190500"/>
                  <a:gd name="connsiteX256" fmla="*/ 132112 w 133350"/>
                  <a:gd name="connsiteY256" fmla="*/ 85439 h 190500"/>
                  <a:gd name="connsiteX257" fmla="*/ 132112 w 133350"/>
                  <a:gd name="connsiteY257" fmla="*/ 85439 h 190500"/>
                  <a:gd name="connsiteX258" fmla="*/ 132112 w 133350"/>
                  <a:gd name="connsiteY258" fmla="*/ 86296 h 190500"/>
                  <a:gd name="connsiteX259" fmla="*/ 132969 w 133350"/>
                  <a:gd name="connsiteY259" fmla="*/ 86296 h 190500"/>
                  <a:gd name="connsiteX260" fmla="*/ 132969 w 133350"/>
                  <a:gd name="connsiteY260" fmla="*/ 85439 h 190500"/>
                  <a:gd name="connsiteX261" fmla="*/ 132969 w 133350"/>
                  <a:gd name="connsiteY261" fmla="*/ 85439 h 190500"/>
                  <a:gd name="connsiteX262" fmla="*/ 133826 w 133350"/>
                  <a:gd name="connsiteY262" fmla="*/ 84582 h 190500"/>
                  <a:gd name="connsiteX263" fmla="*/ 133826 w 133350"/>
                  <a:gd name="connsiteY263" fmla="*/ 83629 h 190500"/>
                  <a:gd name="connsiteX264" fmla="*/ 133826 w 133350"/>
                  <a:gd name="connsiteY264" fmla="*/ 81915 h 190500"/>
                  <a:gd name="connsiteX265" fmla="*/ 133826 w 133350"/>
                  <a:gd name="connsiteY265" fmla="*/ 81058 h 190500"/>
                  <a:gd name="connsiteX266" fmla="*/ 133826 w 133350"/>
                  <a:gd name="connsiteY266" fmla="*/ 80200 h 190500"/>
                  <a:gd name="connsiteX267" fmla="*/ 133826 w 133350"/>
                  <a:gd name="connsiteY267" fmla="*/ 80200 h 190500"/>
                  <a:gd name="connsiteX268" fmla="*/ 132969 w 133350"/>
                  <a:gd name="connsiteY268" fmla="*/ 78486 h 190500"/>
                  <a:gd name="connsiteX269" fmla="*/ 132969 w 133350"/>
                  <a:gd name="connsiteY269" fmla="*/ 78486 h 190500"/>
                  <a:gd name="connsiteX270" fmla="*/ 132969 w 133350"/>
                  <a:gd name="connsiteY270" fmla="*/ 77629 h 190500"/>
                  <a:gd name="connsiteX271" fmla="*/ 132969 w 133350"/>
                  <a:gd name="connsiteY271" fmla="*/ 75057 h 190500"/>
                  <a:gd name="connsiteX272" fmla="*/ 132969 w 133350"/>
                  <a:gd name="connsiteY272" fmla="*/ 74200 h 190500"/>
                  <a:gd name="connsiteX273" fmla="*/ 132969 w 133350"/>
                  <a:gd name="connsiteY273" fmla="*/ 74200 h 19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</a:cxnLst>
                <a:rect l="l" t="t" r="r" b="b"/>
                <a:pathLst>
                  <a:path w="133350" h="190500">
                    <a:moveTo>
                      <a:pt x="132969" y="74200"/>
                    </a:moveTo>
                    <a:lnTo>
                      <a:pt x="132969" y="73342"/>
                    </a:lnTo>
                    <a:lnTo>
                      <a:pt x="134683" y="69913"/>
                    </a:lnTo>
                    <a:lnTo>
                      <a:pt x="134683" y="67246"/>
                    </a:lnTo>
                    <a:lnTo>
                      <a:pt x="134683" y="67246"/>
                    </a:lnTo>
                    <a:lnTo>
                      <a:pt x="134683" y="66389"/>
                    </a:lnTo>
                    <a:lnTo>
                      <a:pt x="133826" y="64675"/>
                    </a:lnTo>
                    <a:lnTo>
                      <a:pt x="133826" y="64675"/>
                    </a:lnTo>
                    <a:lnTo>
                      <a:pt x="133826" y="63817"/>
                    </a:lnTo>
                    <a:lnTo>
                      <a:pt x="132969" y="62960"/>
                    </a:lnTo>
                    <a:lnTo>
                      <a:pt x="133826" y="60388"/>
                    </a:lnTo>
                    <a:lnTo>
                      <a:pt x="134683" y="55245"/>
                    </a:lnTo>
                    <a:lnTo>
                      <a:pt x="134683" y="54388"/>
                    </a:lnTo>
                    <a:lnTo>
                      <a:pt x="133826" y="44005"/>
                    </a:lnTo>
                    <a:lnTo>
                      <a:pt x="133826" y="43148"/>
                    </a:lnTo>
                    <a:lnTo>
                      <a:pt x="133826" y="42291"/>
                    </a:lnTo>
                    <a:lnTo>
                      <a:pt x="132969" y="41434"/>
                    </a:lnTo>
                    <a:lnTo>
                      <a:pt x="132969" y="40577"/>
                    </a:lnTo>
                    <a:lnTo>
                      <a:pt x="132112" y="40577"/>
                    </a:lnTo>
                    <a:lnTo>
                      <a:pt x="132112" y="39719"/>
                    </a:lnTo>
                    <a:lnTo>
                      <a:pt x="131254" y="38005"/>
                    </a:lnTo>
                    <a:lnTo>
                      <a:pt x="123444" y="36290"/>
                    </a:lnTo>
                    <a:lnTo>
                      <a:pt x="122587" y="35338"/>
                    </a:lnTo>
                    <a:lnTo>
                      <a:pt x="122587" y="34480"/>
                    </a:lnTo>
                    <a:lnTo>
                      <a:pt x="126111" y="25908"/>
                    </a:lnTo>
                    <a:lnTo>
                      <a:pt x="126968" y="24194"/>
                    </a:lnTo>
                    <a:lnTo>
                      <a:pt x="126968" y="22479"/>
                    </a:lnTo>
                    <a:lnTo>
                      <a:pt x="126968" y="19907"/>
                    </a:lnTo>
                    <a:lnTo>
                      <a:pt x="126111" y="18098"/>
                    </a:lnTo>
                    <a:lnTo>
                      <a:pt x="124396" y="14669"/>
                    </a:lnTo>
                    <a:lnTo>
                      <a:pt x="124396" y="12954"/>
                    </a:lnTo>
                    <a:lnTo>
                      <a:pt x="124396" y="12097"/>
                    </a:lnTo>
                    <a:lnTo>
                      <a:pt x="123444" y="8668"/>
                    </a:lnTo>
                    <a:lnTo>
                      <a:pt x="123444" y="6953"/>
                    </a:lnTo>
                    <a:lnTo>
                      <a:pt x="123444" y="6096"/>
                    </a:lnTo>
                    <a:lnTo>
                      <a:pt x="122587" y="6096"/>
                    </a:lnTo>
                    <a:lnTo>
                      <a:pt x="115729" y="857"/>
                    </a:lnTo>
                    <a:lnTo>
                      <a:pt x="114014" y="0"/>
                    </a:lnTo>
                    <a:lnTo>
                      <a:pt x="113157" y="1715"/>
                    </a:lnTo>
                    <a:lnTo>
                      <a:pt x="111442" y="2572"/>
                    </a:lnTo>
                    <a:lnTo>
                      <a:pt x="109633" y="4382"/>
                    </a:lnTo>
                    <a:lnTo>
                      <a:pt x="109633" y="6096"/>
                    </a:lnTo>
                    <a:lnTo>
                      <a:pt x="110585" y="13811"/>
                    </a:lnTo>
                    <a:lnTo>
                      <a:pt x="109633" y="17240"/>
                    </a:lnTo>
                    <a:lnTo>
                      <a:pt x="107061" y="19907"/>
                    </a:lnTo>
                    <a:lnTo>
                      <a:pt x="104489" y="21622"/>
                    </a:lnTo>
                    <a:lnTo>
                      <a:pt x="101060" y="21622"/>
                    </a:lnTo>
                    <a:lnTo>
                      <a:pt x="91535" y="20765"/>
                    </a:lnTo>
                    <a:lnTo>
                      <a:pt x="91535" y="22479"/>
                    </a:lnTo>
                    <a:lnTo>
                      <a:pt x="94107" y="26765"/>
                    </a:lnTo>
                    <a:lnTo>
                      <a:pt x="94107" y="28480"/>
                    </a:lnTo>
                    <a:lnTo>
                      <a:pt x="92392" y="27623"/>
                    </a:lnTo>
                    <a:lnTo>
                      <a:pt x="89821" y="25908"/>
                    </a:lnTo>
                    <a:lnTo>
                      <a:pt x="88963" y="25051"/>
                    </a:lnTo>
                    <a:lnTo>
                      <a:pt x="86392" y="25908"/>
                    </a:lnTo>
                    <a:lnTo>
                      <a:pt x="85534" y="27623"/>
                    </a:lnTo>
                    <a:lnTo>
                      <a:pt x="87249" y="32766"/>
                    </a:lnTo>
                    <a:lnTo>
                      <a:pt x="87249" y="35338"/>
                    </a:lnTo>
                    <a:lnTo>
                      <a:pt x="84677" y="45720"/>
                    </a:lnTo>
                    <a:lnTo>
                      <a:pt x="83725" y="47434"/>
                    </a:lnTo>
                    <a:lnTo>
                      <a:pt x="82010" y="48292"/>
                    </a:lnTo>
                    <a:lnTo>
                      <a:pt x="80296" y="48292"/>
                    </a:lnTo>
                    <a:lnTo>
                      <a:pt x="76867" y="44863"/>
                    </a:lnTo>
                    <a:lnTo>
                      <a:pt x="76009" y="44005"/>
                    </a:lnTo>
                    <a:lnTo>
                      <a:pt x="76009" y="40577"/>
                    </a:lnTo>
                    <a:lnTo>
                      <a:pt x="76009" y="39719"/>
                    </a:lnTo>
                    <a:lnTo>
                      <a:pt x="74295" y="39719"/>
                    </a:lnTo>
                    <a:lnTo>
                      <a:pt x="67342" y="38005"/>
                    </a:lnTo>
                    <a:lnTo>
                      <a:pt x="66484" y="39719"/>
                    </a:lnTo>
                    <a:lnTo>
                      <a:pt x="66484" y="42291"/>
                    </a:lnTo>
                    <a:lnTo>
                      <a:pt x="67342" y="44863"/>
                    </a:lnTo>
                    <a:lnTo>
                      <a:pt x="67342" y="46577"/>
                    </a:lnTo>
                    <a:lnTo>
                      <a:pt x="66484" y="49149"/>
                    </a:lnTo>
                    <a:lnTo>
                      <a:pt x="63913" y="49149"/>
                    </a:lnTo>
                    <a:lnTo>
                      <a:pt x="62198" y="49149"/>
                    </a:lnTo>
                    <a:lnTo>
                      <a:pt x="59626" y="48292"/>
                    </a:lnTo>
                    <a:lnTo>
                      <a:pt x="58769" y="45720"/>
                    </a:lnTo>
                    <a:lnTo>
                      <a:pt x="56959" y="41434"/>
                    </a:lnTo>
                    <a:lnTo>
                      <a:pt x="56102" y="40577"/>
                    </a:lnTo>
                    <a:lnTo>
                      <a:pt x="55245" y="42291"/>
                    </a:lnTo>
                    <a:lnTo>
                      <a:pt x="54388" y="50006"/>
                    </a:lnTo>
                    <a:lnTo>
                      <a:pt x="53530" y="52673"/>
                    </a:lnTo>
                    <a:lnTo>
                      <a:pt x="51816" y="54388"/>
                    </a:lnTo>
                    <a:lnTo>
                      <a:pt x="50101" y="55245"/>
                    </a:lnTo>
                    <a:lnTo>
                      <a:pt x="48387" y="56102"/>
                    </a:lnTo>
                    <a:lnTo>
                      <a:pt x="43148" y="56959"/>
                    </a:lnTo>
                    <a:lnTo>
                      <a:pt x="38862" y="56102"/>
                    </a:lnTo>
                    <a:lnTo>
                      <a:pt x="30194" y="54388"/>
                    </a:lnTo>
                    <a:lnTo>
                      <a:pt x="25908" y="55245"/>
                    </a:lnTo>
                    <a:lnTo>
                      <a:pt x="24193" y="57817"/>
                    </a:lnTo>
                    <a:lnTo>
                      <a:pt x="24193" y="62960"/>
                    </a:lnTo>
                    <a:lnTo>
                      <a:pt x="23336" y="67246"/>
                    </a:lnTo>
                    <a:lnTo>
                      <a:pt x="21622" y="69056"/>
                    </a:lnTo>
                    <a:lnTo>
                      <a:pt x="20764" y="68199"/>
                    </a:lnTo>
                    <a:lnTo>
                      <a:pt x="19907" y="68199"/>
                    </a:lnTo>
                    <a:lnTo>
                      <a:pt x="19050" y="67246"/>
                    </a:lnTo>
                    <a:lnTo>
                      <a:pt x="18192" y="67246"/>
                    </a:lnTo>
                    <a:lnTo>
                      <a:pt x="15526" y="69056"/>
                    </a:lnTo>
                    <a:lnTo>
                      <a:pt x="14668" y="69913"/>
                    </a:lnTo>
                    <a:lnTo>
                      <a:pt x="12954" y="71628"/>
                    </a:lnTo>
                    <a:lnTo>
                      <a:pt x="9525" y="78486"/>
                    </a:lnTo>
                    <a:lnTo>
                      <a:pt x="8667" y="80200"/>
                    </a:lnTo>
                    <a:lnTo>
                      <a:pt x="8667" y="81915"/>
                    </a:lnTo>
                    <a:lnTo>
                      <a:pt x="10382" y="84582"/>
                    </a:lnTo>
                    <a:lnTo>
                      <a:pt x="10382" y="86296"/>
                    </a:lnTo>
                    <a:lnTo>
                      <a:pt x="10382" y="88011"/>
                    </a:lnTo>
                    <a:lnTo>
                      <a:pt x="7810" y="94869"/>
                    </a:lnTo>
                    <a:lnTo>
                      <a:pt x="6953" y="97441"/>
                    </a:lnTo>
                    <a:lnTo>
                      <a:pt x="5239" y="98298"/>
                    </a:lnTo>
                    <a:lnTo>
                      <a:pt x="2572" y="98298"/>
                    </a:lnTo>
                    <a:lnTo>
                      <a:pt x="857" y="99155"/>
                    </a:lnTo>
                    <a:lnTo>
                      <a:pt x="0" y="100965"/>
                    </a:lnTo>
                    <a:lnTo>
                      <a:pt x="0" y="103537"/>
                    </a:lnTo>
                    <a:lnTo>
                      <a:pt x="1714" y="104394"/>
                    </a:lnTo>
                    <a:lnTo>
                      <a:pt x="4286" y="105251"/>
                    </a:lnTo>
                    <a:lnTo>
                      <a:pt x="4286" y="106966"/>
                    </a:lnTo>
                    <a:lnTo>
                      <a:pt x="3429" y="109538"/>
                    </a:lnTo>
                    <a:lnTo>
                      <a:pt x="1714" y="109538"/>
                    </a:lnTo>
                    <a:lnTo>
                      <a:pt x="857" y="109538"/>
                    </a:lnTo>
                    <a:lnTo>
                      <a:pt x="0" y="112109"/>
                    </a:lnTo>
                    <a:lnTo>
                      <a:pt x="857" y="114681"/>
                    </a:lnTo>
                    <a:lnTo>
                      <a:pt x="4286" y="120777"/>
                    </a:lnTo>
                    <a:lnTo>
                      <a:pt x="5239" y="122492"/>
                    </a:lnTo>
                    <a:lnTo>
                      <a:pt x="6096" y="126778"/>
                    </a:lnTo>
                    <a:lnTo>
                      <a:pt x="6953" y="128492"/>
                    </a:lnTo>
                    <a:lnTo>
                      <a:pt x="7810" y="129350"/>
                    </a:lnTo>
                    <a:lnTo>
                      <a:pt x="9525" y="131064"/>
                    </a:lnTo>
                    <a:lnTo>
                      <a:pt x="10382" y="131921"/>
                    </a:lnTo>
                    <a:lnTo>
                      <a:pt x="11239" y="132874"/>
                    </a:lnTo>
                    <a:lnTo>
                      <a:pt x="11239" y="136303"/>
                    </a:lnTo>
                    <a:lnTo>
                      <a:pt x="12954" y="141446"/>
                    </a:lnTo>
                    <a:lnTo>
                      <a:pt x="13811" y="143161"/>
                    </a:lnTo>
                    <a:lnTo>
                      <a:pt x="15526" y="144875"/>
                    </a:lnTo>
                    <a:lnTo>
                      <a:pt x="17240" y="144875"/>
                    </a:lnTo>
                    <a:lnTo>
                      <a:pt x="17240" y="145733"/>
                    </a:lnTo>
                    <a:lnTo>
                      <a:pt x="17240" y="146590"/>
                    </a:lnTo>
                    <a:lnTo>
                      <a:pt x="15526" y="147447"/>
                    </a:lnTo>
                    <a:lnTo>
                      <a:pt x="14668" y="149257"/>
                    </a:lnTo>
                    <a:lnTo>
                      <a:pt x="14668" y="150114"/>
                    </a:lnTo>
                    <a:lnTo>
                      <a:pt x="15526" y="150971"/>
                    </a:lnTo>
                    <a:lnTo>
                      <a:pt x="16383" y="151829"/>
                    </a:lnTo>
                    <a:lnTo>
                      <a:pt x="19050" y="171641"/>
                    </a:lnTo>
                    <a:lnTo>
                      <a:pt x="20764" y="176784"/>
                    </a:lnTo>
                    <a:lnTo>
                      <a:pt x="23336" y="180213"/>
                    </a:lnTo>
                    <a:lnTo>
                      <a:pt x="26765" y="181166"/>
                    </a:lnTo>
                    <a:lnTo>
                      <a:pt x="27622" y="177641"/>
                    </a:lnTo>
                    <a:lnTo>
                      <a:pt x="25051" y="167354"/>
                    </a:lnTo>
                    <a:lnTo>
                      <a:pt x="25051" y="161258"/>
                    </a:lnTo>
                    <a:lnTo>
                      <a:pt x="25908" y="158687"/>
                    </a:lnTo>
                    <a:lnTo>
                      <a:pt x="26765" y="156972"/>
                    </a:lnTo>
                    <a:lnTo>
                      <a:pt x="29337" y="156972"/>
                    </a:lnTo>
                    <a:lnTo>
                      <a:pt x="32004" y="158687"/>
                    </a:lnTo>
                    <a:lnTo>
                      <a:pt x="32861" y="161258"/>
                    </a:lnTo>
                    <a:lnTo>
                      <a:pt x="33718" y="162973"/>
                    </a:lnTo>
                    <a:lnTo>
                      <a:pt x="33718" y="162973"/>
                    </a:lnTo>
                    <a:lnTo>
                      <a:pt x="34576" y="162116"/>
                    </a:lnTo>
                    <a:lnTo>
                      <a:pt x="34576" y="162116"/>
                    </a:lnTo>
                    <a:lnTo>
                      <a:pt x="35433" y="162973"/>
                    </a:lnTo>
                    <a:lnTo>
                      <a:pt x="35433" y="163830"/>
                    </a:lnTo>
                    <a:lnTo>
                      <a:pt x="35433" y="164687"/>
                    </a:lnTo>
                    <a:lnTo>
                      <a:pt x="35433" y="164687"/>
                    </a:lnTo>
                    <a:lnTo>
                      <a:pt x="37147" y="166497"/>
                    </a:lnTo>
                    <a:lnTo>
                      <a:pt x="37147" y="166497"/>
                    </a:lnTo>
                    <a:lnTo>
                      <a:pt x="38005" y="169926"/>
                    </a:lnTo>
                    <a:lnTo>
                      <a:pt x="38862" y="171641"/>
                    </a:lnTo>
                    <a:lnTo>
                      <a:pt x="41434" y="180213"/>
                    </a:lnTo>
                    <a:lnTo>
                      <a:pt x="41434" y="183737"/>
                    </a:lnTo>
                    <a:lnTo>
                      <a:pt x="42291" y="183737"/>
                    </a:lnTo>
                    <a:lnTo>
                      <a:pt x="43148" y="184595"/>
                    </a:lnTo>
                    <a:lnTo>
                      <a:pt x="43148" y="184595"/>
                    </a:lnTo>
                    <a:lnTo>
                      <a:pt x="43148" y="188024"/>
                    </a:lnTo>
                    <a:lnTo>
                      <a:pt x="44005" y="189738"/>
                    </a:lnTo>
                    <a:lnTo>
                      <a:pt x="44958" y="191453"/>
                    </a:lnTo>
                    <a:lnTo>
                      <a:pt x="46672" y="191453"/>
                    </a:lnTo>
                    <a:lnTo>
                      <a:pt x="48387" y="192310"/>
                    </a:lnTo>
                    <a:lnTo>
                      <a:pt x="50101" y="193167"/>
                    </a:lnTo>
                    <a:lnTo>
                      <a:pt x="50959" y="194024"/>
                    </a:lnTo>
                    <a:lnTo>
                      <a:pt x="50959" y="194882"/>
                    </a:lnTo>
                    <a:lnTo>
                      <a:pt x="50959" y="195739"/>
                    </a:lnTo>
                    <a:lnTo>
                      <a:pt x="52673" y="194882"/>
                    </a:lnTo>
                    <a:lnTo>
                      <a:pt x="53530" y="194024"/>
                    </a:lnTo>
                    <a:lnTo>
                      <a:pt x="53530" y="192310"/>
                    </a:lnTo>
                    <a:lnTo>
                      <a:pt x="54388" y="191453"/>
                    </a:lnTo>
                    <a:lnTo>
                      <a:pt x="55245" y="191453"/>
                    </a:lnTo>
                    <a:lnTo>
                      <a:pt x="56102" y="191453"/>
                    </a:lnTo>
                    <a:lnTo>
                      <a:pt x="56959" y="191453"/>
                    </a:lnTo>
                    <a:lnTo>
                      <a:pt x="57912" y="192310"/>
                    </a:lnTo>
                    <a:lnTo>
                      <a:pt x="58769" y="191453"/>
                    </a:lnTo>
                    <a:lnTo>
                      <a:pt x="60484" y="191453"/>
                    </a:lnTo>
                    <a:lnTo>
                      <a:pt x="63055" y="190595"/>
                    </a:lnTo>
                    <a:lnTo>
                      <a:pt x="64770" y="189738"/>
                    </a:lnTo>
                    <a:lnTo>
                      <a:pt x="65627" y="188881"/>
                    </a:lnTo>
                    <a:lnTo>
                      <a:pt x="67342" y="187166"/>
                    </a:lnTo>
                    <a:lnTo>
                      <a:pt x="68199" y="186309"/>
                    </a:lnTo>
                    <a:lnTo>
                      <a:pt x="69913" y="182880"/>
                    </a:lnTo>
                    <a:lnTo>
                      <a:pt x="69913" y="182880"/>
                    </a:lnTo>
                    <a:lnTo>
                      <a:pt x="69913" y="182023"/>
                    </a:lnTo>
                    <a:lnTo>
                      <a:pt x="69913" y="181166"/>
                    </a:lnTo>
                    <a:lnTo>
                      <a:pt x="70866" y="181166"/>
                    </a:lnTo>
                    <a:lnTo>
                      <a:pt x="70866" y="181166"/>
                    </a:lnTo>
                    <a:lnTo>
                      <a:pt x="71723" y="181166"/>
                    </a:lnTo>
                    <a:lnTo>
                      <a:pt x="72580" y="181166"/>
                    </a:lnTo>
                    <a:lnTo>
                      <a:pt x="74295" y="179356"/>
                    </a:lnTo>
                    <a:lnTo>
                      <a:pt x="74295" y="178499"/>
                    </a:lnTo>
                    <a:lnTo>
                      <a:pt x="74295" y="176784"/>
                    </a:lnTo>
                    <a:lnTo>
                      <a:pt x="72580" y="172498"/>
                    </a:lnTo>
                    <a:lnTo>
                      <a:pt x="70866" y="164687"/>
                    </a:lnTo>
                    <a:lnTo>
                      <a:pt x="69056" y="160401"/>
                    </a:lnTo>
                    <a:lnTo>
                      <a:pt x="69056" y="156115"/>
                    </a:lnTo>
                    <a:lnTo>
                      <a:pt x="70866" y="150114"/>
                    </a:lnTo>
                    <a:lnTo>
                      <a:pt x="74295" y="144018"/>
                    </a:lnTo>
                    <a:lnTo>
                      <a:pt x="76867" y="140589"/>
                    </a:lnTo>
                    <a:lnTo>
                      <a:pt x="78581" y="138875"/>
                    </a:lnTo>
                    <a:lnTo>
                      <a:pt x="84677" y="136303"/>
                    </a:lnTo>
                    <a:lnTo>
                      <a:pt x="86392" y="134588"/>
                    </a:lnTo>
                    <a:lnTo>
                      <a:pt x="88106" y="132874"/>
                    </a:lnTo>
                    <a:lnTo>
                      <a:pt x="90678" y="128492"/>
                    </a:lnTo>
                    <a:lnTo>
                      <a:pt x="90678" y="124206"/>
                    </a:lnTo>
                    <a:lnTo>
                      <a:pt x="88106" y="109538"/>
                    </a:lnTo>
                    <a:lnTo>
                      <a:pt x="88106" y="105251"/>
                    </a:lnTo>
                    <a:lnTo>
                      <a:pt x="88106" y="102679"/>
                    </a:lnTo>
                    <a:lnTo>
                      <a:pt x="88963" y="100965"/>
                    </a:lnTo>
                    <a:lnTo>
                      <a:pt x="90678" y="100965"/>
                    </a:lnTo>
                    <a:lnTo>
                      <a:pt x="91535" y="102679"/>
                    </a:lnTo>
                    <a:lnTo>
                      <a:pt x="93250" y="104394"/>
                    </a:lnTo>
                    <a:lnTo>
                      <a:pt x="97631" y="110395"/>
                    </a:lnTo>
                    <a:lnTo>
                      <a:pt x="100203" y="111252"/>
                    </a:lnTo>
                    <a:lnTo>
                      <a:pt x="101917" y="110395"/>
                    </a:lnTo>
                    <a:lnTo>
                      <a:pt x="104489" y="108680"/>
                    </a:lnTo>
                    <a:lnTo>
                      <a:pt x="107918" y="103537"/>
                    </a:lnTo>
                    <a:lnTo>
                      <a:pt x="109633" y="101822"/>
                    </a:lnTo>
                    <a:lnTo>
                      <a:pt x="114871" y="100013"/>
                    </a:lnTo>
                    <a:lnTo>
                      <a:pt x="116586" y="103537"/>
                    </a:lnTo>
                    <a:lnTo>
                      <a:pt x="117443" y="107823"/>
                    </a:lnTo>
                    <a:lnTo>
                      <a:pt x="119158" y="110395"/>
                    </a:lnTo>
                    <a:lnTo>
                      <a:pt x="120872" y="108680"/>
                    </a:lnTo>
                    <a:lnTo>
                      <a:pt x="122587" y="102679"/>
                    </a:lnTo>
                    <a:lnTo>
                      <a:pt x="124396" y="101822"/>
                    </a:lnTo>
                    <a:lnTo>
                      <a:pt x="126968" y="102679"/>
                    </a:lnTo>
                    <a:lnTo>
                      <a:pt x="126968" y="103537"/>
                    </a:lnTo>
                    <a:lnTo>
                      <a:pt x="127825" y="101822"/>
                    </a:lnTo>
                    <a:lnTo>
                      <a:pt x="126968" y="94012"/>
                    </a:lnTo>
                    <a:lnTo>
                      <a:pt x="127825" y="92297"/>
                    </a:lnTo>
                    <a:lnTo>
                      <a:pt x="127825" y="90583"/>
                    </a:lnTo>
                    <a:lnTo>
                      <a:pt x="127825" y="90583"/>
                    </a:lnTo>
                    <a:lnTo>
                      <a:pt x="127825" y="89725"/>
                    </a:lnTo>
                    <a:lnTo>
                      <a:pt x="127825" y="88868"/>
                    </a:lnTo>
                    <a:lnTo>
                      <a:pt x="127825" y="88011"/>
                    </a:lnTo>
                    <a:lnTo>
                      <a:pt x="128683" y="87154"/>
                    </a:lnTo>
                    <a:lnTo>
                      <a:pt x="128683" y="86296"/>
                    </a:lnTo>
                    <a:lnTo>
                      <a:pt x="129540" y="85439"/>
                    </a:lnTo>
                    <a:lnTo>
                      <a:pt x="130397" y="85439"/>
                    </a:lnTo>
                    <a:lnTo>
                      <a:pt x="130397" y="85439"/>
                    </a:lnTo>
                    <a:lnTo>
                      <a:pt x="131254" y="84582"/>
                    </a:lnTo>
                    <a:lnTo>
                      <a:pt x="131254" y="84582"/>
                    </a:lnTo>
                    <a:lnTo>
                      <a:pt x="131254" y="85439"/>
                    </a:lnTo>
                    <a:lnTo>
                      <a:pt x="132112" y="85439"/>
                    </a:lnTo>
                    <a:lnTo>
                      <a:pt x="132112" y="85439"/>
                    </a:lnTo>
                    <a:lnTo>
                      <a:pt x="132112" y="86296"/>
                    </a:lnTo>
                    <a:lnTo>
                      <a:pt x="132969" y="86296"/>
                    </a:lnTo>
                    <a:lnTo>
                      <a:pt x="132969" y="85439"/>
                    </a:lnTo>
                    <a:lnTo>
                      <a:pt x="132969" y="85439"/>
                    </a:lnTo>
                    <a:lnTo>
                      <a:pt x="133826" y="84582"/>
                    </a:lnTo>
                    <a:lnTo>
                      <a:pt x="133826" y="83629"/>
                    </a:lnTo>
                    <a:lnTo>
                      <a:pt x="133826" y="81915"/>
                    </a:lnTo>
                    <a:lnTo>
                      <a:pt x="133826" y="81058"/>
                    </a:lnTo>
                    <a:lnTo>
                      <a:pt x="133826" y="80200"/>
                    </a:lnTo>
                    <a:lnTo>
                      <a:pt x="133826" y="80200"/>
                    </a:lnTo>
                    <a:lnTo>
                      <a:pt x="132969" y="78486"/>
                    </a:lnTo>
                    <a:lnTo>
                      <a:pt x="132969" y="78486"/>
                    </a:lnTo>
                    <a:lnTo>
                      <a:pt x="132969" y="77629"/>
                    </a:lnTo>
                    <a:lnTo>
                      <a:pt x="132969" y="75057"/>
                    </a:lnTo>
                    <a:lnTo>
                      <a:pt x="132969" y="74200"/>
                    </a:lnTo>
                    <a:lnTo>
                      <a:pt x="132969" y="7420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28" name="Freeform: Shape 132">
                <a:extLst>
                  <a:ext uri="{FF2B5EF4-FFF2-40B4-BE49-F238E27FC236}">
                    <a16:creationId xmlns:a16="http://schemas.microsoft.com/office/drawing/2014/main" id="{8733EB7A-A175-437B-AF76-907DF6D665E6}"/>
                  </a:ext>
                </a:extLst>
              </p:cNvPr>
              <p:cNvSpPr/>
              <p:nvPr/>
            </p:nvSpPr>
            <p:spPr>
              <a:xfrm>
                <a:off x="5489638" y="3753421"/>
                <a:ext cx="495300" cy="466725"/>
              </a:xfrm>
              <a:custGeom>
                <a:avLst/>
                <a:gdLst>
                  <a:gd name="connsiteX0" fmla="*/ 499682 w 495300"/>
                  <a:gd name="connsiteY0" fmla="*/ 237458 h 466725"/>
                  <a:gd name="connsiteX1" fmla="*/ 498824 w 495300"/>
                  <a:gd name="connsiteY1" fmla="*/ 235744 h 466725"/>
                  <a:gd name="connsiteX2" fmla="*/ 498824 w 495300"/>
                  <a:gd name="connsiteY2" fmla="*/ 234887 h 466725"/>
                  <a:gd name="connsiteX3" fmla="*/ 497205 w 495300"/>
                  <a:gd name="connsiteY3" fmla="*/ 234125 h 466725"/>
                  <a:gd name="connsiteX4" fmla="*/ 496348 w 495300"/>
                  <a:gd name="connsiteY4" fmla="*/ 233267 h 466725"/>
                  <a:gd name="connsiteX5" fmla="*/ 496348 w 495300"/>
                  <a:gd name="connsiteY5" fmla="*/ 230696 h 466725"/>
                  <a:gd name="connsiteX6" fmla="*/ 496348 w 495300"/>
                  <a:gd name="connsiteY6" fmla="*/ 230696 h 466725"/>
                  <a:gd name="connsiteX7" fmla="*/ 496348 w 495300"/>
                  <a:gd name="connsiteY7" fmla="*/ 230696 h 466725"/>
                  <a:gd name="connsiteX8" fmla="*/ 493776 w 495300"/>
                  <a:gd name="connsiteY8" fmla="*/ 232410 h 466725"/>
                  <a:gd name="connsiteX9" fmla="*/ 492062 w 495300"/>
                  <a:gd name="connsiteY9" fmla="*/ 233267 h 466725"/>
                  <a:gd name="connsiteX10" fmla="*/ 491204 w 495300"/>
                  <a:gd name="connsiteY10" fmla="*/ 234887 h 466725"/>
                  <a:gd name="connsiteX11" fmla="*/ 489585 w 495300"/>
                  <a:gd name="connsiteY11" fmla="*/ 236601 h 466725"/>
                  <a:gd name="connsiteX12" fmla="*/ 488728 w 495300"/>
                  <a:gd name="connsiteY12" fmla="*/ 236601 h 466725"/>
                  <a:gd name="connsiteX13" fmla="*/ 484442 w 495300"/>
                  <a:gd name="connsiteY13" fmla="*/ 237458 h 466725"/>
                  <a:gd name="connsiteX14" fmla="*/ 482822 w 495300"/>
                  <a:gd name="connsiteY14" fmla="*/ 238316 h 466725"/>
                  <a:gd name="connsiteX15" fmla="*/ 481108 w 495300"/>
                  <a:gd name="connsiteY15" fmla="*/ 240030 h 466725"/>
                  <a:gd name="connsiteX16" fmla="*/ 479393 w 495300"/>
                  <a:gd name="connsiteY16" fmla="*/ 241745 h 466725"/>
                  <a:gd name="connsiteX17" fmla="*/ 476060 w 495300"/>
                  <a:gd name="connsiteY17" fmla="*/ 243364 h 466725"/>
                  <a:gd name="connsiteX18" fmla="*/ 473488 w 495300"/>
                  <a:gd name="connsiteY18" fmla="*/ 242602 h 466725"/>
                  <a:gd name="connsiteX19" fmla="*/ 470059 w 495300"/>
                  <a:gd name="connsiteY19" fmla="*/ 240887 h 466725"/>
                  <a:gd name="connsiteX20" fmla="*/ 468440 w 495300"/>
                  <a:gd name="connsiteY20" fmla="*/ 240030 h 466725"/>
                  <a:gd name="connsiteX21" fmla="*/ 467582 w 495300"/>
                  <a:gd name="connsiteY21" fmla="*/ 240030 h 466725"/>
                  <a:gd name="connsiteX22" fmla="*/ 467582 w 495300"/>
                  <a:gd name="connsiteY22" fmla="*/ 240887 h 466725"/>
                  <a:gd name="connsiteX23" fmla="*/ 466725 w 495300"/>
                  <a:gd name="connsiteY23" fmla="*/ 243364 h 466725"/>
                  <a:gd name="connsiteX24" fmla="*/ 465868 w 495300"/>
                  <a:gd name="connsiteY24" fmla="*/ 244221 h 466725"/>
                  <a:gd name="connsiteX25" fmla="*/ 465011 w 495300"/>
                  <a:gd name="connsiteY25" fmla="*/ 245078 h 466725"/>
                  <a:gd name="connsiteX26" fmla="*/ 464153 w 495300"/>
                  <a:gd name="connsiteY26" fmla="*/ 245078 h 466725"/>
                  <a:gd name="connsiteX27" fmla="*/ 463296 w 495300"/>
                  <a:gd name="connsiteY27" fmla="*/ 244221 h 466725"/>
                  <a:gd name="connsiteX28" fmla="*/ 461677 w 495300"/>
                  <a:gd name="connsiteY28" fmla="*/ 243364 h 466725"/>
                  <a:gd name="connsiteX29" fmla="*/ 455771 w 495300"/>
                  <a:gd name="connsiteY29" fmla="*/ 242602 h 466725"/>
                  <a:gd name="connsiteX30" fmla="*/ 447294 w 495300"/>
                  <a:gd name="connsiteY30" fmla="*/ 241745 h 466725"/>
                  <a:gd name="connsiteX31" fmla="*/ 442246 w 495300"/>
                  <a:gd name="connsiteY31" fmla="*/ 242602 h 466725"/>
                  <a:gd name="connsiteX32" fmla="*/ 439674 w 495300"/>
                  <a:gd name="connsiteY32" fmla="*/ 242602 h 466725"/>
                  <a:gd name="connsiteX33" fmla="*/ 437102 w 495300"/>
                  <a:gd name="connsiteY33" fmla="*/ 242602 h 466725"/>
                  <a:gd name="connsiteX34" fmla="*/ 434626 w 495300"/>
                  <a:gd name="connsiteY34" fmla="*/ 240887 h 466725"/>
                  <a:gd name="connsiteX35" fmla="*/ 432054 w 495300"/>
                  <a:gd name="connsiteY35" fmla="*/ 239173 h 466725"/>
                  <a:gd name="connsiteX36" fmla="*/ 430340 w 495300"/>
                  <a:gd name="connsiteY36" fmla="*/ 239173 h 466725"/>
                  <a:gd name="connsiteX37" fmla="*/ 429482 w 495300"/>
                  <a:gd name="connsiteY37" fmla="*/ 239173 h 466725"/>
                  <a:gd name="connsiteX38" fmla="*/ 428625 w 495300"/>
                  <a:gd name="connsiteY38" fmla="*/ 239173 h 466725"/>
                  <a:gd name="connsiteX39" fmla="*/ 427006 w 495300"/>
                  <a:gd name="connsiteY39" fmla="*/ 240030 h 466725"/>
                  <a:gd name="connsiteX40" fmla="*/ 424434 w 495300"/>
                  <a:gd name="connsiteY40" fmla="*/ 241745 h 466725"/>
                  <a:gd name="connsiteX41" fmla="*/ 421100 w 495300"/>
                  <a:gd name="connsiteY41" fmla="*/ 243364 h 466725"/>
                  <a:gd name="connsiteX42" fmla="*/ 418529 w 495300"/>
                  <a:gd name="connsiteY42" fmla="*/ 245078 h 466725"/>
                  <a:gd name="connsiteX43" fmla="*/ 417671 w 495300"/>
                  <a:gd name="connsiteY43" fmla="*/ 245936 h 466725"/>
                  <a:gd name="connsiteX44" fmla="*/ 415957 w 495300"/>
                  <a:gd name="connsiteY44" fmla="*/ 245936 h 466725"/>
                  <a:gd name="connsiteX45" fmla="*/ 414338 w 495300"/>
                  <a:gd name="connsiteY45" fmla="*/ 245078 h 466725"/>
                  <a:gd name="connsiteX46" fmla="*/ 412623 w 495300"/>
                  <a:gd name="connsiteY46" fmla="*/ 242602 h 466725"/>
                  <a:gd name="connsiteX47" fmla="*/ 410909 w 495300"/>
                  <a:gd name="connsiteY47" fmla="*/ 238316 h 466725"/>
                  <a:gd name="connsiteX48" fmla="*/ 410051 w 495300"/>
                  <a:gd name="connsiteY48" fmla="*/ 223933 h 466725"/>
                  <a:gd name="connsiteX49" fmla="*/ 409194 w 495300"/>
                  <a:gd name="connsiteY49" fmla="*/ 222218 h 466725"/>
                  <a:gd name="connsiteX50" fmla="*/ 407575 w 495300"/>
                  <a:gd name="connsiteY50" fmla="*/ 218789 h 466725"/>
                  <a:gd name="connsiteX51" fmla="*/ 406717 w 495300"/>
                  <a:gd name="connsiteY51" fmla="*/ 217075 h 466725"/>
                  <a:gd name="connsiteX52" fmla="*/ 405860 w 495300"/>
                  <a:gd name="connsiteY52" fmla="*/ 214598 h 466725"/>
                  <a:gd name="connsiteX53" fmla="*/ 405860 w 495300"/>
                  <a:gd name="connsiteY53" fmla="*/ 212884 h 466725"/>
                  <a:gd name="connsiteX54" fmla="*/ 405860 w 495300"/>
                  <a:gd name="connsiteY54" fmla="*/ 210312 h 466725"/>
                  <a:gd name="connsiteX55" fmla="*/ 405860 w 495300"/>
                  <a:gd name="connsiteY55" fmla="*/ 208598 h 466725"/>
                  <a:gd name="connsiteX56" fmla="*/ 406717 w 495300"/>
                  <a:gd name="connsiteY56" fmla="*/ 206978 h 466725"/>
                  <a:gd name="connsiteX57" fmla="*/ 407575 w 495300"/>
                  <a:gd name="connsiteY57" fmla="*/ 205264 h 466725"/>
                  <a:gd name="connsiteX58" fmla="*/ 408337 w 495300"/>
                  <a:gd name="connsiteY58" fmla="*/ 203549 h 466725"/>
                  <a:gd name="connsiteX59" fmla="*/ 407575 w 495300"/>
                  <a:gd name="connsiteY59" fmla="*/ 202692 h 466725"/>
                  <a:gd name="connsiteX60" fmla="*/ 406717 w 495300"/>
                  <a:gd name="connsiteY60" fmla="*/ 202692 h 466725"/>
                  <a:gd name="connsiteX61" fmla="*/ 405003 w 495300"/>
                  <a:gd name="connsiteY61" fmla="*/ 201835 h 466725"/>
                  <a:gd name="connsiteX62" fmla="*/ 404146 w 495300"/>
                  <a:gd name="connsiteY62" fmla="*/ 202692 h 466725"/>
                  <a:gd name="connsiteX63" fmla="*/ 400812 w 495300"/>
                  <a:gd name="connsiteY63" fmla="*/ 203549 h 466725"/>
                  <a:gd name="connsiteX64" fmla="*/ 399955 w 495300"/>
                  <a:gd name="connsiteY64" fmla="*/ 204407 h 466725"/>
                  <a:gd name="connsiteX65" fmla="*/ 398240 w 495300"/>
                  <a:gd name="connsiteY65" fmla="*/ 204407 h 466725"/>
                  <a:gd name="connsiteX66" fmla="*/ 397383 w 495300"/>
                  <a:gd name="connsiteY66" fmla="*/ 203549 h 466725"/>
                  <a:gd name="connsiteX67" fmla="*/ 396526 w 495300"/>
                  <a:gd name="connsiteY67" fmla="*/ 201835 h 466725"/>
                  <a:gd name="connsiteX68" fmla="*/ 396526 w 495300"/>
                  <a:gd name="connsiteY68" fmla="*/ 200120 h 466725"/>
                  <a:gd name="connsiteX69" fmla="*/ 396526 w 495300"/>
                  <a:gd name="connsiteY69" fmla="*/ 199358 h 466725"/>
                  <a:gd name="connsiteX70" fmla="*/ 395669 w 495300"/>
                  <a:gd name="connsiteY70" fmla="*/ 197644 h 466725"/>
                  <a:gd name="connsiteX71" fmla="*/ 395669 w 495300"/>
                  <a:gd name="connsiteY71" fmla="*/ 195929 h 466725"/>
                  <a:gd name="connsiteX72" fmla="*/ 394049 w 495300"/>
                  <a:gd name="connsiteY72" fmla="*/ 195072 h 466725"/>
                  <a:gd name="connsiteX73" fmla="*/ 393192 w 495300"/>
                  <a:gd name="connsiteY73" fmla="*/ 195072 h 466725"/>
                  <a:gd name="connsiteX74" fmla="*/ 392335 w 495300"/>
                  <a:gd name="connsiteY74" fmla="*/ 195929 h 466725"/>
                  <a:gd name="connsiteX75" fmla="*/ 392335 w 495300"/>
                  <a:gd name="connsiteY75" fmla="*/ 195929 h 466725"/>
                  <a:gd name="connsiteX76" fmla="*/ 391478 w 495300"/>
                  <a:gd name="connsiteY76" fmla="*/ 196787 h 466725"/>
                  <a:gd name="connsiteX77" fmla="*/ 391478 w 495300"/>
                  <a:gd name="connsiteY77" fmla="*/ 199358 h 466725"/>
                  <a:gd name="connsiteX78" fmla="*/ 390620 w 495300"/>
                  <a:gd name="connsiteY78" fmla="*/ 199358 h 466725"/>
                  <a:gd name="connsiteX79" fmla="*/ 390620 w 495300"/>
                  <a:gd name="connsiteY79" fmla="*/ 200120 h 466725"/>
                  <a:gd name="connsiteX80" fmla="*/ 389763 w 495300"/>
                  <a:gd name="connsiteY80" fmla="*/ 200120 h 466725"/>
                  <a:gd name="connsiteX81" fmla="*/ 388906 w 495300"/>
                  <a:gd name="connsiteY81" fmla="*/ 200978 h 466725"/>
                  <a:gd name="connsiteX82" fmla="*/ 388049 w 495300"/>
                  <a:gd name="connsiteY82" fmla="*/ 200978 h 466725"/>
                  <a:gd name="connsiteX83" fmla="*/ 385572 w 495300"/>
                  <a:gd name="connsiteY83" fmla="*/ 200978 h 466725"/>
                  <a:gd name="connsiteX84" fmla="*/ 383858 w 495300"/>
                  <a:gd name="connsiteY84" fmla="*/ 200978 h 466725"/>
                  <a:gd name="connsiteX85" fmla="*/ 383000 w 495300"/>
                  <a:gd name="connsiteY85" fmla="*/ 200120 h 466725"/>
                  <a:gd name="connsiteX86" fmla="*/ 383000 w 495300"/>
                  <a:gd name="connsiteY86" fmla="*/ 198501 h 466725"/>
                  <a:gd name="connsiteX87" fmla="*/ 383000 w 495300"/>
                  <a:gd name="connsiteY87" fmla="*/ 197644 h 466725"/>
                  <a:gd name="connsiteX88" fmla="*/ 383000 w 495300"/>
                  <a:gd name="connsiteY88" fmla="*/ 195929 h 466725"/>
                  <a:gd name="connsiteX89" fmla="*/ 383858 w 495300"/>
                  <a:gd name="connsiteY89" fmla="*/ 195072 h 466725"/>
                  <a:gd name="connsiteX90" fmla="*/ 384715 w 495300"/>
                  <a:gd name="connsiteY90" fmla="*/ 195072 h 466725"/>
                  <a:gd name="connsiteX91" fmla="*/ 386429 w 495300"/>
                  <a:gd name="connsiteY91" fmla="*/ 194215 h 466725"/>
                  <a:gd name="connsiteX92" fmla="*/ 387287 w 495300"/>
                  <a:gd name="connsiteY92" fmla="*/ 193358 h 466725"/>
                  <a:gd name="connsiteX93" fmla="*/ 387287 w 495300"/>
                  <a:gd name="connsiteY93" fmla="*/ 192500 h 466725"/>
                  <a:gd name="connsiteX94" fmla="*/ 387287 w 495300"/>
                  <a:gd name="connsiteY94" fmla="*/ 191643 h 466725"/>
                  <a:gd name="connsiteX95" fmla="*/ 387287 w 495300"/>
                  <a:gd name="connsiteY95" fmla="*/ 190024 h 466725"/>
                  <a:gd name="connsiteX96" fmla="*/ 384715 w 495300"/>
                  <a:gd name="connsiteY96" fmla="*/ 185738 h 466725"/>
                  <a:gd name="connsiteX97" fmla="*/ 381286 w 495300"/>
                  <a:gd name="connsiteY97" fmla="*/ 179832 h 466725"/>
                  <a:gd name="connsiteX98" fmla="*/ 380524 w 495300"/>
                  <a:gd name="connsiteY98" fmla="*/ 175546 h 466725"/>
                  <a:gd name="connsiteX99" fmla="*/ 379667 w 495300"/>
                  <a:gd name="connsiteY99" fmla="*/ 173831 h 466725"/>
                  <a:gd name="connsiteX100" fmla="*/ 378809 w 495300"/>
                  <a:gd name="connsiteY100" fmla="*/ 172212 h 466725"/>
                  <a:gd name="connsiteX101" fmla="*/ 377095 w 495300"/>
                  <a:gd name="connsiteY101" fmla="*/ 170498 h 466725"/>
                  <a:gd name="connsiteX102" fmla="*/ 375380 w 495300"/>
                  <a:gd name="connsiteY102" fmla="*/ 167926 h 466725"/>
                  <a:gd name="connsiteX103" fmla="*/ 372904 w 495300"/>
                  <a:gd name="connsiteY103" fmla="*/ 165354 h 466725"/>
                  <a:gd name="connsiteX104" fmla="*/ 371189 w 495300"/>
                  <a:gd name="connsiteY104" fmla="*/ 162878 h 466725"/>
                  <a:gd name="connsiteX105" fmla="*/ 366141 w 495300"/>
                  <a:gd name="connsiteY105" fmla="*/ 157734 h 466725"/>
                  <a:gd name="connsiteX106" fmla="*/ 364427 w 495300"/>
                  <a:gd name="connsiteY106" fmla="*/ 155258 h 466725"/>
                  <a:gd name="connsiteX107" fmla="*/ 362712 w 495300"/>
                  <a:gd name="connsiteY107" fmla="*/ 154400 h 466725"/>
                  <a:gd name="connsiteX108" fmla="*/ 360140 w 495300"/>
                  <a:gd name="connsiteY108" fmla="*/ 153543 h 466725"/>
                  <a:gd name="connsiteX109" fmla="*/ 359378 w 495300"/>
                  <a:gd name="connsiteY109" fmla="*/ 152686 h 466725"/>
                  <a:gd name="connsiteX110" fmla="*/ 357664 w 495300"/>
                  <a:gd name="connsiteY110" fmla="*/ 150971 h 466725"/>
                  <a:gd name="connsiteX111" fmla="*/ 355949 w 495300"/>
                  <a:gd name="connsiteY111" fmla="*/ 150114 h 466725"/>
                  <a:gd name="connsiteX112" fmla="*/ 353378 w 495300"/>
                  <a:gd name="connsiteY112" fmla="*/ 150114 h 466725"/>
                  <a:gd name="connsiteX113" fmla="*/ 349187 w 495300"/>
                  <a:gd name="connsiteY113" fmla="*/ 150971 h 466725"/>
                  <a:gd name="connsiteX114" fmla="*/ 347472 w 495300"/>
                  <a:gd name="connsiteY114" fmla="*/ 151829 h 466725"/>
                  <a:gd name="connsiteX115" fmla="*/ 345853 w 495300"/>
                  <a:gd name="connsiteY115" fmla="*/ 151829 h 466725"/>
                  <a:gd name="connsiteX116" fmla="*/ 344996 w 495300"/>
                  <a:gd name="connsiteY116" fmla="*/ 150114 h 466725"/>
                  <a:gd name="connsiteX117" fmla="*/ 344138 w 495300"/>
                  <a:gd name="connsiteY117" fmla="*/ 149257 h 466725"/>
                  <a:gd name="connsiteX118" fmla="*/ 343281 w 495300"/>
                  <a:gd name="connsiteY118" fmla="*/ 148400 h 466725"/>
                  <a:gd name="connsiteX119" fmla="*/ 343281 w 495300"/>
                  <a:gd name="connsiteY119" fmla="*/ 149257 h 466725"/>
                  <a:gd name="connsiteX120" fmla="*/ 342424 w 495300"/>
                  <a:gd name="connsiteY120" fmla="*/ 150971 h 466725"/>
                  <a:gd name="connsiteX121" fmla="*/ 340709 w 495300"/>
                  <a:gd name="connsiteY121" fmla="*/ 151829 h 466725"/>
                  <a:gd name="connsiteX122" fmla="*/ 340709 w 495300"/>
                  <a:gd name="connsiteY122" fmla="*/ 150971 h 466725"/>
                  <a:gd name="connsiteX123" fmla="*/ 339852 w 495300"/>
                  <a:gd name="connsiteY123" fmla="*/ 149257 h 466725"/>
                  <a:gd name="connsiteX124" fmla="*/ 339090 w 495300"/>
                  <a:gd name="connsiteY124" fmla="*/ 148400 h 466725"/>
                  <a:gd name="connsiteX125" fmla="*/ 338233 w 495300"/>
                  <a:gd name="connsiteY125" fmla="*/ 146780 h 466725"/>
                  <a:gd name="connsiteX126" fmla="*/ 337375 w 495300"/>
                  <a:gd name="connsiteY126" fmla="*/ 145923 h 466725"/>
                  <a:gd name="connsiteX127" fmla="*/ 337375 w 495300"/>
                  <a:gd name="connsiteY127" fmla="*/ 144209 h 466725"/>
                  <a:gd name="connsiteX128" fmla="*/ 337375 w 495300"/>
                  <a:gd name="connsiteY128" fmla="*/ 142494 h 466725"/>
                  <a:gd name="connsiteX129" fmla="*/ 336518 w 495300"/>
                  <a:gd name="connsiteY129" fmla="*/ 140779 h 466725"/>
                  <a:gd name="connsiteX130" fmla="*/ 336518 w 495300"/>
                  <a:gd name="connsiteY130" fmla="*/ 139922 h 466725"/>
                  <a:gd name="connsiteX131" fmla="*/ 335661 w 495300"/>
                  <a:gd name="connsiteY131" fmla="*/ 138208 h 466725"/>
                  <a:gd name="connsiteX132" fmla="*/ 334804 w 495300"/>
                  <a:gd name="connsiteY132" fmla="*/ 137446 h 466725"/>
                  <a:gd name="connsiteX133" fmla="*/ 333089 w 495300"/>
                  <a:gd name="connsiteY133" fmla="*/ 137446 h 466725"/>
                  <a:gd name="connsiteX134" fmla="*/ 332327 w 495300"/>
                  <a:gd name="connsiteY134" fmla="*/ 137446 h 466725"/>
                  <a:gd name="connsiteX135" fmla="*/ 329756 w 495300"/>
                  <a:gd name="connsiteY135" fmla="*/ 139065 h 466725"/>
                  <a:gd name="connsiteX136" fmla="*/ 328898 w 495300"/>
                  <a:gd name="connsiteY136" fmla="*/ 139065 h 466725"/>
                  <a:gd name="connsiteX137" fmla="*/ 320421 w 495300"/>
                  <a:gd name="connsiteY137" fmla="*/ 139922 h 466725"/>
                  <a:gd name="connsiteX138" fmla="*/ 311944 w 495300"/>
                  <a:gd name="connsiteY138" fmla="*/ 139065 h 466725"/>
                  <a:gd name="connsiteX139" fmla="*/ 311182 w 495300"/>
                  <a:gd name="connsiteY139" fmla="*/ 139065 h 466725"/>
                  <a:gd name="connsiteX140" fmla="*/ 309467 w 495300"/>
                  <a:gd name="connsiteY140" fmla="*/ 135731 h 466725"/>
                  <a:gd name="connsiteX141" fmla="*/ 308610 w 495300"/>
                  <a:gd name="connsiteY141" fmla="*/ 134874 h 466725"/>
                  <a:gd name="connsiteX142" fmla="*/ 306896 w 495300"/>
                  <a:gd name="connsiteY142" fmla="*/ 133159 h 466725"/>
                  <a:gd name="connsiteX143" fmla="*/ 302705 w 495300"/>
                  <a:gd name="connsiteY143" fmla="*/ 128969 h 466725"/>
                  <a:gd name="connsiteX144" fmla="*/ 298418 w 495300"/>
                  <a:gd name="connsiteY144" fmla="*/ 128111 h 466725"/>
                  <a:gd name="connsiteX145" fmla="*/ 293370 w 495300"/>
                  <a:gd name="connsiteY145" fmla="*/ 124682 h 466725"/>
                  <a:gd name="connsiteX146" fmla="*/ 293370 w 495300"/>
                  <a:gd name="connsiteY146" fmla="*/ 123825 h 466725"/>
                  <a:gd name="connsiteX147" fmla="*/ 296799 w 495300"/>
                  <a:gd name="connsiteY147" fmla="*/ 121253 h 466725"/>
                  <a:gd name="connsiteX148" fmla="*/ 297656 w 495300"/>
                  <a:gd name="connsiteY148" fmla="*/ 119634 h 466725"/>
                  <a:gd name="connsiteX149" fmla="*/ 298418 w 495300"/>
                  <a:gd name="connsiteY149" fmla="*/ 117920 h 466725"/>
                  <a:gd name="connsiteX150" fmla="*/ 298418 w 495300"/>
                  <a:gd name="connsiteY150" fmla="*/ 112014 h 466725"/>
                  <a:gd name="connsiteX151" fmla="*/ 296799 w 495300"/>
                  <a:gd name="connsiteY151" fmla="*/ 107728 h 466725"/>
                  <a:gd name="connsiteX152" fmla="*/ 295942 w 495300"/>
                  <a:gd name="connsiteY152" fmla="*/ 100108 h 466725"/>
                  <a:gd name="connsiteX153" fmla="*/ 295085 w 495300"/>
                  <a:gd name="connsiteY153" fmla="*/ 97536 h 466725"/>
                  <a:gd name="connsiteX154" fmla="*/ 289179 w 495300"/>
                  <a:gd name="connsiteY154" fmla="*/ 99250 h 466725"/>
                  <a:gd name="connsiteX155" fmla="*/ 287465 w 495300"/>
                  <a:gd name="connsiteY155" fmla="*/ 98393 h 466725"/>
                  <a:gd name="connsiteX156" fmla="*/ 286607 w 495300"/>
                  <a:gd name="connsiteY156" fmla="*/ 94964 h 466725"/>
                  <a:gd name="connsiteX157" fmla="*/ 288322 w 495300"/>
                  <a:gd name="connsiteY157" fmla="*/ 91630 h 466725"/>
                  <a:gd name="connsiteX158" fmla="*/ 290036 w 495300"/>
                  <a:gd name="connsiteY158" fmla="*/ 88202 h 466725"/>
                  <a:gd name="connsiteX159" fmla="*/ 293370 w 495300"/>
                  <a:gd name="connsiteY159" fmla="*/ 85725 h 466725"/>
                  <a:gd name="connsiteX160" fmla="*/ 295942 w 495300"/>
                  <a:gd name="connsiteY160" fmla="*/ 84011 h 466725"/>
                  <a:gd name="connsiteX161" fmla="*/ 295085 w 495300"/>
                  <a:gd name="connsiteY161" fmla="*/ 81439 h 466725"/>
                  <a:gd name="connsiteX162" fmla="*/ 294227 w 495300"/>
                  <a:gd name="connsiteY162" fmla="*/ 79724 h 466725"/>
                  <a:gd name="connsiteX163" fmla="*/ 294227 w 495300"/>
                  <a:gd name="connsiteY163" fmla="*/ 77153 h 466725"/>
                  <a:gd name="connsiteX164" fmla="*/ 294227 w 495300"/>
                  <a:gd name="connsiteY164" fmla="*/ 75533 h 466725"/>
                  <a:gd name="connsiteX165" fmla="*/ 294227 w 495300"/>
                  <a:gd name="connsiteY165" fmla="*/ 73819 h 466725"/>
                  <a:gd name="connsiteX166" fmla="*/ 294227 w 495300"/>
                  <a:gd name="connsiteY166" fmla="*/ 73819 h 466725"/>
                  <a:gd name="connsiteX167" fmla="*/ 294227 w 495300"/>
                  <a:gd name="connsiteY167" fmla="*/ 72962 h 466725"/>
                  <a:gd name="connsiteX168" fmla="*/ 295085 w 495300"/>
                  <a:gd name="connsiteY168" fmla="*/ 72104 h 466725"/>
                  <a:gd name="connsiteX169" fmla="*/ 295942 w 495300"/>
                  <a:gd name="connsiteY169" fmla="*/ 71247 h 466725"/>
                  <a:gd name="connsiteX170" fmla="*/ 296799 w 495300"/>
                  <a:gd name="connsiteY170" fmla="*/ 70390 h 466725"/>
                  <a:gd name="connsiteX171" fmla="*/ 296799 w 495300"/>
                  <a:gd name="connsiteY171" fmla="*/ 69533 h 466725"/>
                  <a:gd name="connsiteX172" fmla="*/ 297656 w 495300"/>
                  <a:gd name="connsiteY172" fmla="*/ 67913 h 466725"/>
                  <a:gd name="connsiteX173" fmla="*/ 297656 w 495300"/>
                  <a:gd name="connsiteY173" fmla="*/ 65342 h 466725"/>
                  <a:gd name="connsiteX174" fmla="*/ 297656 w 495300"/>
                  <a:gd name="connsiteY174" fmla="*/ 63627 h 466725"/>
                  <a:gd name="connsiteX175" fmla="*/ 297656 w 495300"/>
                  <a:gd name="connsiteY175" fmla="*/ 61913 h 466725"/>
                  <a:gd name="connsiteX176" fmla="*/ 298418 w 495300"/>
                  <a:gd name="connsiteY176" fmla="*/ 57721 h 466725"/>
                  <a:gd name="connsiteX177" fmla="*/ 298418 w 495300"/>
                  <a:gd name="connsiteY177" fmla="*/ 56007 h 466725"/>
                  <a:gd name="connsiteX178" fmla="*/ 298418 w 495300"/>
                  <a:gd name="connsiteY178" fmla="*/ 54292 h 466725"/>
                  <a:gd name="connsiteX179" fmla="*/ 297656 w 495300"/>
                  <a:gd name="connsiteY179" fmla="*/ 52578 h 466725"/>
                  <a:gd name="connsiteX180" fmla="*/ 296799 w 495300"/>
                  <a:gd name="connsiteY180" fmla="*/ 51721 h 466725"/>
                  <a:gd name="connsiteX181" fmla="*/ 296799 w 495300"/>
                  <a:gd name="connsiteY181" fmla="*/ 50863 h 466725"/>
                  <a:gd name="connsiteX182" fmla="*/ 295942 w 495300"/>
                  <a:gd name="connsiteY182" fmla="*/ 50102 h 466725"/>
                  <a:gd name="connsiteX183" fmla="*/ 294227 w 495300"/>
                  <a:gd name="connsiteY183" fmla="*/ 48387 h 466725"/>
                  <a:gd name="connsiteX184" fmla="*/ 294227 w 495300"/>
                  <a:gd name="connsiteY184" fmla="*/ 47530 h 466725"/>
                  <a:gd name="connsiteX185" fmla="*/ 293370 w 495300"/>
                  <a:gd name="connsiteY185" fmla="*/ 47530 h 466725"/>
                  <a:gd name="connsiteX186" fmla="*/ 293370 w 495300"/>
                  <a:gd name="connsiteY186" fmla="*/ 47530 h 466725"/>
                  <a:gd name="connsiteX187" fmla="*/ 292513 w 495300"/>
                  <a:gd name="connsiteY187" fmla="*/ 46673 h 466725"/>
                  <a:gd name="connsiteX188" fmla="*/ 290036 w 495300"/>
                  <a:gd name="connsiteY188" fmla="*/ 45815 h 466725"/>
                  <a:gd name="connsiteX189" fmla="*/ 288322 w 495300"/>
                  <a:gd name="connsiteY189" fmla="*/ 45815 h 466725"/>
                  <a:gd name="connsiteX190" fmla="*/ 287465 w 495300"/>
                  <a:gd name="connsiteY190" fmla="*/ 44958 h 466725"/>
                  <a:gd name="connsiteX191" fmla="*/ 287465 w 495300"/>
                  <a:gd name="connsiteY191" fmla="*/ 44958 h 466725"/>
                  <a:gd name="connsiteX192" fmla="*/ 286607 w 495300"/>
                  <a:gd name="connsiteY192" fmla="*/ 44101 h 466725"/>
                  <a:gd name="connsiteX193" fmla="*/ 285750 w 495300"/>
                  <a:gd name="connsiteY193" fmla="*/ 43244 h 466725"/>
                  <a:gd name="connsiteX194" fmla="*/ 284893 w 495300"/>
                  <a:gd name="connsiteY194" fmla="*/ 40767 h 466725"/>
                  <a:gd name="connsiteX195" fmla="*/ 284131 w 495300"/>
                  <a:gd name="connsiteY195" fmla="*/ 39910 h 466725"/>
                  <a:gd name="connsiteX196" fmla="*/ 281559 w 495300"/>
                  <a:gd name="connsiteY196" fmla="*/ 37338 h 466725"/>
                  <a:gd name="connsiteX197" fmla="*/ 280702 w 495300"/>
                  <a:gd name="connsiteY197" fmla="*/ 36481 h 466725"/>
                  <a:gd name="connsiteX198" fmla="*/ 279845 w 495300"/>
                  <a:gd name="connsiteY198" fmla="*/ 34766 h 466725"/>
                  <a:gd name="connsiteX199" fmla="*/ 273082 w 495300"/>
                  <a:gd name="connsiteY199" fmla="*/ 33909 h 466725"/>
                  <a:gd name="connsiteX200" fmla="*/ 271367 w 495300"/>
                  <a:gd name="connsiteY200" fmla="*/ 34766 h 466725"/>
                  <a:gd name="connsiteX201" fmla="*/ 270510 w 495300"/>
                  <a:gd name="connsiteY201" fmla="*/ 34766 h 466725"/>
                  <a:gd name="connsiteX202" fmla="*/ 269748 w 495300"/>
                  <a:gd name="connsiteY202" fmla="*/ 35624 h 466725"/>
                  <a:gd name="connsiteX203" fmla="*/ 262128 w 495300"/>
                  <a:gd name="connsiteY203" fmla="*/ 38195 h 466725"/>
                  <a:gd name="connsiteX204" fmla="*/ 260413 w 495300"/>
                  <a:gd name="connsiteY204" fmla="*/ 39053 h 466725"/>
                  <a:gd name="connsiteX205" fmla="*/ 259556 w 495300"/>
                  <a:gd name="connsiteY205" fmla="*/ 39053 h 466725"/>
                  <a:gd name="connsiteX206" fmla="*/ 258699 w 495300"/>
                  <a:gd name="connsiteY206" fmla="*/ 39910 h 466725"/>
                  <a:gd name="connsiteX207" fmla="*/ 258699 w 495300"/>
                  <a:gd name="connsiteY207" fmla="*/ 40767 h 466725"/>
                  <a:gd name="connsiteX208" fmla="*/ 258699 w 495300"/>
                  <a:gd name="connsiteY208" fmla="*/ 42386 h 466725"/>
                  <a:gd name="connsiteX209" fmla="*/ 258699 w 495300"/>
                  <a:gd name="connsiteY209" fmla="*/ 43244 h 466725"/>
                  <a:gd name="connsiteX210" fmla="*/ 257842 w 495300"/>
                  <a:gd name="connsiteY210" fmla="*/ 43244 h 466725"/>
                  <a:gd name="connsiteX211" fmla="*/ 256985 w 495300"/>
                  <a:gd name="connsiteY211" fmla="*/ 44958 h 466725"/>
                  <a:gd name="connsiteX212" fmla="*/ 256223 w 495300"/>
                  <a:gd name="connsiteY212" fmla="*/ 44958 h 466725"/>
                  <a:gd name="connsiteX213" fmla="*/ 255365 w 495300"/>
                  <a:gd name="connsiteY213" fmla="*/ 44958 h 466725"/>
                  <a:gd name="connsiteX214" fmla="*/ 255365 w 495300"/>
                  <a:gd name="connsiteY214" fmla="*/ 44958 h 466725"/>
                  <a:gd name="connsiteX215" fmla="*/ 253651 w 495300"/>
                  <a:gd name="connsiteY215" fmla="*/ 44101 h 466725"/>
                  <a:gd name="connsiteX216" fmla="*/ 253651 w 495300"/>
                  <a:gd name="connsiteY216" fmla="*/ 44101 h 466725"/>
                  <a:gd name="connsiteX217" fmla="*/ 252794 w 495300"/>
                  <a:gd name="connsiteY217" fmla="*/ 43244 h 466725"/>
                  <a:gd name="connsiteX218" fmla="*/ 252794 w 495300"/>
                  <a:gd name="connsiteY218" fmla="*/ 42386 h 466725"/>
                  <a:gd name="connsiteX219" fmla="*/ 251936 w 495300"/>
                  <a:gd name="connsiteY219" fmla="*/ 42386 h 466725"/>
                  <a:gd name="connsiteX220" fmla="*/ 251079 w 495300"/>
                  <a:gd name="connsiteY220" fmla="*/ 41624 h 466725"/>
                  <a:gd name="connsiteX221" fmla="*/ 248603 w 495300"/>
                  <a:gd name="connsiteY221" fmla="*/ 41624 h 466725"/>
                  <a:gd name="connsiteX222" fmla="*/ 247745 w 495300"/>
                  <a:gd name="connsiteY222" fmla="*/ 41624 h 466725"/>
                  <a:gd name="connsiteX223" fmla="*/ 246888 w 495300"/>
                  <a:gd name="connsiteY223" fmla="*/ 41624 h 466725"/>
                  <a:gd name="connsiteX224" fmla="*/ 238411 w 495300"/>
                  <a:gd name="connsiteY224" fmla="*/ 41624 h 466725"/>
                  <a:gd name="connsiteX225" fmla="*/ 236696 w 495300"/>
                  <a:gd name="connsiteY225" fmla="*/ 41624 h 466725"/>
                  <a:gd name="connsiteX226" fmla="*/ 235934 w 495300"/>
                  <a:gd name="connsiteY226" fmla="*/ 41624 h 466725"/>
                  <a:gd name="connsiteX227" fmla="*/ 235077 w 495300"/>
                  <a:gd name="connsiteY227" fmla="*/ 40767 h 466725"/>
                  <a:gd name="connsiteX228" fmla="*/ 234220 w 495300"/>
                  <a:gd name="connsiteY228" fmla="*/ 39910 h 466725"/>
                  <a:gd name="connsiteX229" fmla="*/ 232505 w 495300"/>
                  <a:gd name="connsiteY229" fmla="*/ 38195 h 466725"/>
                  <a:gd name="connsiteX230" fmla="*/ 232505 w 495300"/>
                  <a:gd name="connsiteY230" fmla="*/ 37338 h 466725"/>
                  <a:gd name="connsiteX231" fmla="*/ 230791 w 495300"/>
                  <a:gd name="connsiteY231" fmla="*/ 36481 h 466725"/>
                  <a:gd name="connsiteX232" fmla="*/ 221552 w 495300"/>
                  <a:gd name="connsiteY232" fmla="*/ 35624 h 466725"/>
                  <a:gd name="connsiteX233" fmla="*/ 219837 w 495300"/>
                  <a:gd name="connsiteY233" fmla="*/ 34766 h 466725"/>
                  <a:gd name="connsiteX234" fmla="*/ 218980 w 495300"/>
                  <a:gd name="connsiteY234" fmla="*/ 34766 h 466725"/>
                  <a:gd name="connsiteX235" fmla="*/ 218123 w 495300"/>
                  <a:gd name="connsiteY235" fmla="*/ 33909 h 466725"/>
                  <a:gd name="connsiteX236" fmla="*/ 217265 w 495300"/>
                  <a:gd name="connsiteY236" fmla="*/ 31433 h 466725"/>
                  <a:gd name="connsiteX237" fmla="*/ 216408 w 495300"/>
                  <a:gd name="connsiteY237" fmla="*/ 30575 h 466725"/>
                  <a:gd name="connsiteX238" fmla="*/ 215551 w 495300"/>
                  <a:gd name="connsiteY238" fmla="*/ 29718 h 466725"/>
                  <a:gd name="connsiteX239" fmla="*/ 213074 w 495300"/>
                  <a:gd name="connsiteY239" fmla="*/ 28861 h 466725"/>
                  <a:gd name="connsiteX240" fmla="*/ 212217 w 495300"/>
                  <a:gd name="connsiteY240" fmla="*/ 28861 h 466725"/>
                  <a:gd name="connsiteX241" fmla="*/ 210503 w 495300"/>
                  <a:gd name="connsiteY241" fmla="*/ 28861 h 466725"/>
                  <a:gd name="connsiteX242" fmla="*/ 203740 w 495300"/>
                  <a:gd name="connsiteY242" fmla="*/ 29718 h 466725"/>
                  <a:gd name="connsiteX243" fmla="*/ 199549 w 495300"/>
                  <a:gd name="connsiteY243" fmla="*/ 32290 h 466725"/>
                  <a:gd name="connsiteX244" fmla="*/ 198692 w 495300"/>
                  <a:gd name="connsiteY244" fmla="*/ 33147 h 466725"/>
                  <a:gd name="connsiteX245" fmla="*/ 197834 w 495300"/>
                  <a:gd name="connsiteY245" fmla="*/ 33147 h 466725"/>
                  <a:gd name="connsiteX246" fmla="*/ 196977 w 495300"/>
                  <a:gd name="connsiteY246" fmla="*/ 35624 h 466725"/>
                  <a:gd name="connsiteX247" fmla="*/ 196120 w 495300"/>
                  <a:gd name="connsiteY247" fmla="*/ 36481 h 466725"/>
                  <a:gd name="connsiteX248" fmla="*/ 194501 w 495300"/>
                  <a:gd name="connsiteY248" fmla="*/ 37338 h 466725"/>
                  <a:gd name="connsiteX249" fmla="*/ 191929 w 495300"/>
                  <a:gd name="connsiteY249" fmla="*/ 37338 h 466725"/>
                  <a:gd name="connsiteX250" fmla="*/ 191072 w 495300"/>
                  <a:gd name="connsiteY250" fmla="*/ 37338 h 466725"/>
                  <a:gd name="connsiteX251" fmla="*/ 190214 w 495300"/>
                  <a:gd name="connsiteY251" fmla="*/ 37338 h 466725"/>
                  <a:gd name="connsiteX252" fmla="*/ 189357 w 495300"/>
                  <a:gd name="connsiteY252" fmla="*/ 37338 h 466725"/>
                  <a:gd name="connsiteX253" fmla="*/ 189357 w 495300"/>
                  <a:gd name="connsiteY253" fmla="*/ 36481 h 466725"/>
                  <a:gd name="connsiteX254" fmla="*/ 189357 w 495300"/>
                  <a:gd name="connsiteY254" fmla="*/ 36481 h 466725"/>
                  <a:gd name="connsiteX255" fmla="*/ 187738 w 495300"/>
                  <a:gd name="connsiteY255" fmla="*/ 35624 h 466725"/>
                  <a:gd name="connsiteX256" fmla="*/ 186023 w 495300"/>
                  <a:gd name="connsiteY256" fmla="*/ 34766 h 466725"/>
                  <a:gd name="connsiteX257" fmla="*/ 185166 w 495300"/>
                  <a:gd name="connsiteY257" fmla="*/ 34766 h 466725"/>
                  <a:gd name="connsiteX258" fmla="*/ 184309 w 495300"/>
                  <a:gd name="connsiteY258" fmla="*/ 33909 h 466725"/>
                  <a:gd name="connsiteX259" fmla="*/ 183452 w 495300"/>
                  <a:gd name="connsiteY259" fmla="*/ 33147 h 466725"/>
                  <a:gd name="connsiteX260" fmla="*/ 183452 w 495300"/>
                  <a:gd name="connsiteY260" fmla="*/ 32290 h 466725"/>
                  <a:gd name="connsiteX261" fmla="*/ 183452 w 495300"/>
                  <a:gd name="connsiteY261" fmla="*/ 31433 h 466725"/>
                  <a:gd name="connsiteX262" fmla="*/ 182594 w 495300"/>
                  <a:gd name="connsiteY262" fmla="*/ 30575 h 466725"/>
                  <a:gd name="connsiteX263" fmla="*/ 180118 w 495300"/>
                  <a:gd name="connsiteY263" fmla="*/ 29718 h 466725"/>
                  <a:gd name="connsiteX264" fmla="*/ 179261 w 495300"/>
                  <a:gd name="connsiteY264" fmla="*/ 29718 h 466725"/>
                  <a:gd name="connsiteX265" fmla="*/ 178403 w 495300"/>
                  <a:gd name="connsiteY265" fmla="*/ 28861 h 466725"/>
                  <a:gd name="connsiteX266" fmla="*/ 177546 w 495300"/>
                  <a:gd name="connsiteY266" fmla="*/ 28004 h 466725"/>
                  <a:gd name="connsiteX267" fmla="*/ 174974 w 495300"/>
                  <a:gd name="connsiteY267" fmla="*/ 19526 h 466725"/>
                  <a:gd name="connsiteX268" fmla="*/ 174974 w 495300"/>
                  <a:gd name="connsiteY268" fmla="*/ 19526 h 466725"/>
                  <a:gd name="connsiteX269" fmla="*/ 174974 w 495300"/>
                  <a:gd name="connsiteY269" fmla="*/ 18669 h 466725"/>
                  <a:gd name="connsiteX270" fmla="*/ 174212 w 495300"/>
                  <a:gd name="connsiteY270" fmla="*/ 17812 h 466725"/>
                  <a:gd name="connsiteX271" fmla="*/ 173355 w 495300"/>
                  <a:gd name="connsiteY271" fmla="*/ 17812 h 466725"/>
                  <a:gd name="connsiteX272" fmla="*/ 173355 w 495300"/>
                  <a:gd name="connsiteY272" fmla="*/ 16954 h 466725"/>
                  <a:gd name="connsiteX273" fmla="*/ 171641 w 495300"/>
                  <a:gd name="connsiteY273" fmla="*/ 16097 h 466725"/>
                  <a:gd name="connsiteX274" fmla="*/ 170783 w 495300"/>
                  <a:gd name="connsiteY274" fmla="*/ 15335 h 466725"/>
                  <a:gd name="connsiteX275" fmla="*/ 167450 w 495300"/>
                  <a:gd name="connsiteY275" fmla="*/ 13621 h 466725"/>
                  <a:gd name="connsiteX276" fmla="*/ 163163 w 495300"/>
                  <a:gd name="connsiteY276" fmla="*/ 13621 h 466725"/>
                  <a:gd name="connsiteX277" fmla="*/ 160592 w 495300"/>
                  <a:gd name="connsiteY277" fmla="*/ 13621 h 466725"/>
                  <a:gd name="connsiteX278" fmla="*/ 160592 w 495300"/>
                  <a:gd name="connsiteY278" fmla="*/ 13621 h 466725"/>
                  <a:gd name="connsiteX279" fmla="*/ 156401 w 495300"/>
                  <a:gd name="connsiteY279" fmla="*/ 11906 h 466725"/>
                  <a:gd name="connsiteX280" fmla="*/ 149638 w 495300"/>
                  <a:gd name="connsiteY280" fmla="*/ 9334 h 466725"/>
                  <a:gd name="connsiteX281" fmla="*/ 147923 w 495300"/>
                  <a:gd name="connsiteY281" fmla="*/ 8477 h 466725"/>
                  <a:gd name="connsiteX282" fmla="*/ 146304 w 495300"/>
                  <a:gd name="connsiteY282" fmla="*/ 9334 h 466725"/>
                  <a:gd name="connsiteX283" fmla="*/ 144590 w 495300"/>
                  <a:gd name="connsiteY283" fmla="*/ 9334 h 466725"/>
                  <a:gd name="connsiteX284" fmla="*/ 143732 w 495300"/>
                  <a:gd name="connsiteY284" fmla="*/ 9334 h 466725"/>
                  <a:gd name="connsiteX285" fmla="*/ 142875 w 495300"/>
                  <a:gd name="connsiteY285" fmla="*/ 8477 h 466725"/>
                  <a:gd name="connsiteX286" fmla="*/ 141161 w 495300"/>
                  <a:gd name="connsiteY286" fmla="*/ 8477 h 466725"/>
                  <a:gd name="connsiteX287" fmla="*/ 140303 w 495300"/>
                  <a:gd name="connsiteY287" fmla="*/ 8477 h 466725"/>
                  <a:gd name="connsiteX288" fmla="*/ 139541 w 495300"/>
                  <a:gd name="connsiteY288" fmla="*/ 8477 h 466725"/>
                  <a:gd name="connsiteX289" fmla="*/ 139541 w 495300"/>
                  <a:gd name="connsiteY289" fmla="*/ 8477 h 466725"/>
                  <a:gd name="connsiteX290" fmla="*/ 138684 w 495300"/>
                  <a:gd name="connsiteY290" fmla="*/ 8477 h 466725"/>
                  <a:gd name="connsiteX291" fmla="*/ 137827 w 495300"/>
                  <a:gd name="connsiteY291" fmla="*/ 8477 h 466725"/>
                  <a:gd name="connsiteX292" fmla="*/ 136970 w 495300"/>
                  <a:gd name="connsiteY292" fmla="*/ 9334 h 466725"/>
                  <a:gd name="connsiteX293" fmla="*/ 136970 w 495300"/>
                  <a:gd name="connsiteY293" fmla="*/ 9334 h 466725"/>
                  <a:gd name="connsiteX294" fmla="*/ 136970 w 495300"/>
                  <a:gd name="connsiteY294" fmla="*/ 9334 h 466725"/>
                  <a:gd name="connsiteX295" fmla="*/ 136112 w 495300"/>
                  <a:gd name="connsiteY295" fmla="*/ 10192 h 466725"/>
                  <a:gd name="connsiteX296" fmla="*/ 136112 w 495300"/>
                  <a:gd name="connsiteY296" fmla="*/ 11049 h 466725"/>
                  <a:gd name="connsiteX297" fmla="*/ 135255 w 495300"/>
                  <a:gd name="connsiteY297" fmla="*/ 11049 h 466725"/>
                  <a:gd name="connsiteX298" fmla="*/ 134398 w 495300"/>
                  <a:gd name="connsiteY298" fmla="*/ 11049 h 466725"/>
                  <a:gd name="connsiteX299" fmla="*/ 127635 w 495300"/>
                  <a:gd name="connsiteY299" fmla="*/ 8477 h 466725"/>
                  <a:gd name="connsiteX300" fmla="*/ 126778 w 495300"/>
                  <a:gd name="connsiteY300" fmla="*/ 7620 h 466725"/>
                  <a:gd name="connsiteX301" fmla="*/ 126778 w 495300"/>
                  <a:gd name="connsiteY301" fmla="*/ 7620 h 466725"/>
                  <a:gd name="connsiteX302" fmla="*/ 126016 w 495300"/>
                  <a:gd name="connsiteY302" fmla="*/ 6858 h 466725"/>
                  <a:gd name="connsiteX303" fmla="*/ 125159 w 495300"/>
                  <a:gd name="connsiteY303" fmla="*/ 4286 h 466725"/>
                  <a:gd name="connsiteX304" fmla="*/ 124301 w 495300"/>
                  <a:gd name="connsiteY304" fmla="*/ 3429 h 466725"/>
                  <a:gd name="connsiteX305" fmla="*/ 124301 w 495300"/>
                  <a:gd name="connsiteY305" fmla="*/ 3429 h 466725"/>
                  <a:gd name="connsiteX306" fmla="*/ 122587 w 495300"/>
                  <a:gd name="connsiteY306" fmla="*/ 1715 h 466725"/>
                  <a:gd name="connsiteX307" fmla="*/ 118396 w 495300"/>
                  <a:gd name="connsiteY307" fmla="*/ 0 h 466725"/>
                  <a:gd name="connsiteX308" fmla="*/ 117539 w 495300"/>
                  <a:gd name="connsiteY308" fmla="*/ 3429 h 466725"/>
                  <a:gd name="connsiteX309" fmla="*/ 118396 w 495300"/>
                  <a:gd name="connsiteY309" fmla="*/ 6858 h 466725"/>
                  <a:gd name="connsiteX310" fmla="*/ 121730 w 495300"/>
                  <a:gd name="connsiteY310" fmla="*/ 15335 h 466725"/>
                  <a:gd name="connsiteX311" fmla="*/ 122587 w 495300"/>
                  <a:gd name="connsiteY311" fmla="*/ 16954 h 466725"/>
                  <a:gd name="connsiteX312" fmla="*/ 124301 w 495300"/>
                  <a:gd name="connsiteY312" fmla="*/ 16954 h 466725"/>
                  <a:gd name="connsiteX313" fmla="*/ 125159 w 495300"/>
                  <a:gd name="connsiteY313" fmla="*/ 16954 h 466725"/>
                  <a:gd name="connsiteX314" fmla="*/ 126016 w 495300"/>
                  <a:gd name="connsiteY314" fmla="*/ 18669 h 466725"/>
                  <a:gd name="connsiteX315" fmla="*/ 126016 w 495300"/>
                  <a:gd name="connsiteY315" fmla="*/ 19526 h 466725"/>
                  <a:gd name="connsiteX316" fmla="*/ 126016 w 495300"/>
                  <a:gd name="connsiteY316" fmla="*/ 20383 h 466725"/>
                  <a:gd name="connsiteX317" fmla="*/ 126016 w 495300"/>
                  <a:gd name="connsiteY317" fmla="*/ 21241 h 466725"/>
                  <a:gd name="connsiteX318" fmla="*/ 125159 w 495300"/>
                  <a:gd name="connsiteY318" fmla="*/ 22955 h 466725"/>
                  <a:gd name="connsiteX319" fmla="*/ 125159 w 495300"/>
                  <a:gd name="connsiteY319" fmla="*/ 23813 h 466725"/>
                  <a:gd name="connsiteX320" fmla="*/ 124301 w 495300"/>
                  <a:gd name="connsiteY320" fmla="*/ 24575 h 466725"/>
                  <a:gd name="connsiteX321" fmla="*/ 120872 w 495300"/>
                  <a:gd name="connsiteY321" fmla="*/ 26289 h 466725"/>
                  <a:gd name="connsiteX322" fmla="*/ 119253 w 495300"/>
                  <a:gd name="connsiteY322" fmla="*/ 28004 h 466725"/>
                  <a:gd name="connsiteX323" fmla="*/ 118396 w 495300"/>
                  <a:gd name="connsiteY323" fmla="*/ 28861 h 466725"/>
                  <a:gd name="connsiteX324" fmla="*/ 118396 w 495300"/>
                  <a:gd name="connsiteY324" fmla="*/ 32290 h 466725"/>
                  <a:gd name="connsiteX325" fmla="*/ 115824 w 495300"/>
                  <a:gd name="connsiteY325" fmla="*/ 35624 h 466725"/>
                  <a:gd name="connsiteX326" fmla="*/ 115824 w 495300"/>
                  <a:gd name="connsiteY326" fmla="*/ 37338 h 466725"/>
                  <a:gd name="connsiteX327" fmla="*/ 114967 w 495300"/>
                  <a:gd name="connsiteY327" fmla="*/ 39910 h 466725"/>
                  <a:gd name="connsiteX328" fmla="*/ 115824 w 495300"/>
                  <a:gd name="connsiteY328" fmla="*/ 45815 h 466725"/>
                  <a:gd name="connsiteX329" fmla="*/ 115824 w 495300"/>
                  <a:gd name="connsiteY329" fmla="*/ 46673 h 466725"/>
                  <a:gd name="connsiteX330" fmla="*/ 114967 w 495300"/>
                  <a:gd name="connsiteY330" fmla="*/ 48387 h 466725"/>
                  <a:gd name="connsiteX331" fmla="*/ 114967 w 495300"/>
                  <a:gd name="connsiteY331" fmla="*/ 49244 h 466725"/>
                  <a:gd name="connsiteX332" fmla="*/ 114110 w 495300"/>
                  <a:gd name="connsiteY332" fmla="*/ 49244 h 466725"/>
                  <a:gd name="connsiteX333" fmla="*/ 112395 w 495300"/>
                  <a:gd name="connsiteY333" fmla="*/ 50102 h 466725"/>
                  <a:gd name="connsiteX334" fmla="*/ 108204 w 495300"/>
                  <a:gd name="connsiteY334" fmla="*/ 50863 h 466725"/>
                  <a:gd name="connsiteX335" fmla="*/ 107347 w 495300"/>
                  <a:gd name="connsiteY335" fmla="*/ 50863 h 466725"/>
                  <a:gd name="connsiteX336" fmla="*/ 106490 w 495300"/>
                  <a:gd name="connsiteY336" fmla="*/ 51721 h 466725"/>
                  <a:gd name="connsiteX337" fmla="*/ 104870 w 495300"/>
                  <a:gd name="connsiteY337" fmla="*/ 52578 h 466725"/>
                  <a:gd name="connsiteX338" fmla="*/ 104013 w 495300"/>
                  <a:gd name="connsiteY338" fmla="*/ 54292 h 466725"/>
                  <a:gd name="connsiteX339" fmla="*/ 103156 w 495300"/>
                  <a:gd name="connsiteY339" fmla="*/ 57721 h 466725"/>
                  <a:gd name="connsiteX340" fmla="*/ 102299 w 495300"/>
                  <a:gd name="connsiteY340" fmla="*/ 58579 h 466725"/>
                  <a:gd name="connsiteX341" fmla="*/ 101441 w 495300"/>
                  <a:gd name="connsiteY341" fmla="*/ 59436 h 466725"/>
                  <a:gd name="connsiteX342" fmla="*/ 101441 w 495300"/>
                  <a:gd name="connsiteY342" fmla="*/ 60198 h 466725"/>
                  <a:gd name="connsiteX343" fmla="*/ 100584 w 495300"/>
                  <a:gd name="connsiteY343" fmla="*/ 61913 h 466725"/>
                  <a:gd name="connsiteX344" fmla="*/ 100584 w 495300"/>
                  <a:gd name="connsiteY344" fmla="*/ 62770 h 466725"/>
                  <a:gd name="connsiteX345" fmla="*/ 101441 w 495300"/>
                  <a:gd name="connsiteY345" fmla="*/ 67913 h 466725"/>
                  <a:gd name="connsiteX346" fmla="*/ 101441 w 495300"/>
                  <a:gd name="connsiteY346" fmla="*/ 69533 h 466725"/>
                  <a:gd name="connsiteX347" fmla="*/ 101441 w 495300"/>
                  <a:gd name="connsiteY347" fmla="*/ 72104 h 466725"/>
                  <a:gd name="connsiteX348" fmla="*/ 101441 w 495300"/>
                  <a:gd name="connsiteY348" fmla="*/ 72962 h 466725"/>
                  <a:gd name="connsiteX349" fmla="*/ 100584 w 495300"/>
                  <a:gd name="connsiteY349" fmla="*/ 73819 h 466725"/>
                  <a:gd name="connsiteX350" fmla="*/ 98870 w 495300"/>
                  <a:gd name="connsiteY350" fmla="*/ 73819 h 466725"/>
                  <a:gd name="connsiteX351" fmla="*/ 96393 w 495300"/>
                  <a:gd name="connsiteY351" fmla="*/ 73819 h 466725"/>
                  <a:gd name="connsiteX352" fmla="*/ 94679 w 495300"/>
                  <a:gd name="connsiteY352" fmla="*/ 73819 h 466725"/>
                  <a:gd name="connsiteX353" fmla="*/ 93821 w 495300"/>
                  <a:gd name="connsiteY353" fmla="*/ 72962 h 466725"/>
                  <a:gd name="connsiteX354" fmla="*/ 92964 w 495300"/>
                  <a:gd name="connsiteY354" fmla="*/ 72962 h 466725"/>
                  <a:gd name="connsiteX355" fmla="*/ 92107 w 495300"/>
                  <a:gd name="connsiteY355" fmla="*/ 72962 h 466725"/>
                  <a:gd name="connsiteX356" fmla="*/ 90488 w 495300"/>
                  <a:gd name="connsiteY356" fmla="*/ 72962 h 466725"/>
                  <a:gd name="connsiteX357" fmla="*/ 88773 w 495300"/>
                  <a:gd name="connsiteY357" fmla="*/ 73819 h 466725"/>
                  <a:gd name="connsiteX358" fmla="*/ 87916 w 495300"/>
                  <a:gd name="connsiteY358" fmla="*/ 72962 h 466725"/>
                  <a:gd name="connsiteX359" fmla="*/ 86201 w 495300"/>
                  <a:gd name="connsiteY359" fmla="*/ 72962 h 466725"/>
                  <a:gd name="connsiteX360" fmla="*/ 84582 w 495300"/>
                  <a:gd name="connsiteY360" fmla="*/ 72104 h 466725"/>
                  <a:gd name="connsiteX361" fmla="*/ 83725 w 495300"/>
                  <a:gd name="connsiteY361" fmla="*/ 70390 h 466725"/>
                  <a:gd name="connsiteX362" fmla="*/ 81153 w 495300"/>
                  <a:gd name="connsiteY362" fmla="*/ 66199 h 466725"/>
                  <a:gd name="connsiteX363" fmla="*/ 80296 w 495300"/>
                  <a:gd name="connsiteY363" fmla="*/ 66199 h 466725"/>
                  <a:gd name="connsiteX364" fmla="*/ 80296 w 495300"/>
                  <a:gd name="connsiteY364" fmla="*/ 66199 h 466725"/>
                  <a:gd name="connsiteX365" fmla="*/ 77819 w 495300"/>
                  <a:gd name="connsiteY365" fmla="*/ 67056 h 466725"/>
                  <a:gd name="connsiteX366" fmla="*/ 76962 w 495300"/>
                  <a:gd name="connsiteY366" fmla="*/ 66199 h 466725"/>
                  <a:gd name="connsiteX367" fmla="*/ 74390 w 495300"/>
                  <a:gd name="connsiteY367" fmla="*/ 66199 h 466725"/>
                  <a:gd name="connsiteX368" fmla="*/ 73533 w 495300"/>
                  <a:gd name="connsiteY368" fmla="*/ 65342 h 466725"/>
                  <a:gd name="connsiteX369" fmla="*/ 72676 w 495300"/>
                  <a:gd name="connsiteY369" fmla="*/ 65342 h 466725"/>
                  <a:gd name="connsiteX370" fmla="*/ 71819 w 495300"/>
                  <a:gd name="connsiteY370" fmla="*/ 65342 h 466725"/>
                  <a:gd name="connsiteX371" fmla="*/ 71057 w 495300"/>
                  <a:gd name="connsiteY371" fmla="*/ 66199 h 466725"/>
                  <a:gd name="connsiteX372" fmla="*/ 70199 w 495300"/>
                  <a:gd name="connsiteY372" fmla="*/ 67056 h 466725"/>
                  <a:gd name="connsiteX373" fmla="*/ 69342 w 495300"/>
                  <a:gd name="connsiteY373" fmla="*/ 67056 h 466725"/>
                  <a:gd name="connsiteX374" fmla="*/ 67628 w 495300"/>
                  <a:gd name="connsiteY374" fmla="*/ 68675 h 466725"/>
                  <a:gd name="connsiteX375" fmla="*/ 66770 w 495300"/>
                  <a:gd name="connsiteY375" fmla="*/ 69533 h 466725"/>
                  <a:gd name="connsiteX376" fmla="*/ 66770 w 495300"/>
                  <a:gd name="connsiteY376" fmla="*/ 70390 h 466725"/>
                  <a:gd name="connsiteX377" fmla="*/ 67628 w 495300"/>
                  <a:gd name="connsiteY377" fmla="*/ 70390 h 466725"/>
                  <a:gd name="connsiteX378" fmla="*/ 69342 w 495300"/>
                  <a:gd name="connsiteY378" fmla="*/ 71247 h 466725"/>
                  <a:gd name="connsiteX379" fmla="*/ 70199 w 495300"/>
                  <a:gd name="connsiteY379" fmla="*/ 72104 h 466725"/>
                  <a:gd name="connsiteX380" fmla="*/ 70199 w 495300"/>
                  <a:gd name="connsiteY380" fmla="*/ 72962 h 466725"/>
                  <a:gd name="connsiteX381" fmla="*/ 67628 w 495300"/>
                  <a:gd name="connsiteY381" fmla="*/ 75533 h 466725"/>
                  <a:gd name="connsiteX382" fmla="*/ 66770 w 495300"/>
                  <a:gd name="connsiteY382" fmla="*/ 76391 h 466725"/>
                  <a:gd name="connsiteX383" fmla="*/ 65913 w 495300"/>
                  <a:gd name="connsiteY383" fmla="*/ 77153 h 466725"/>
                  <a:gd name="connsiteX384" fmla="*/ 65056 w 495300"/>
                  <a:gd name="connsiteY384" fmla="*/ 81439 h 466725"/>
                  <a:gd name="connsiteX385" fmla="*/ 63437 w 495300"/>
                  <a:gd name="connsiteY385" fmla="*/ 84011 h 466725"/>
                  <a:gd name="connsiteX386" fmla="*/ 63437 w 495300"/>
                  <a:gd name="connsiteY386" fmla="*/ 85725 h 466725"/>
                  <a:gd name="connsiteX387" fmla="*/ 63437 w 495300"/>
                  <a:gd name="connsiteY387" fmla="*/ 86487 h 466725"/>
                  <a:gd name="connsiteX388" fmla="*/ 63437 w 495300"/>
                  <a:gd name="connsiteY388" fmla="*/ 87344 h 466725"/>
                  <a:gd name="connsiteX389" fmla="*/ 63437 w 495300"/>
                  <a:gd name="connsiteY389" fmla="*/ 88202 h 466725"/>
                  <a:gd name="connsiteX390" fmla="*/ 63437 w 495300"/>
                  <a:gd name="connsiteY390" fmla="*/ 89059 h 466725"/>
                  <a:gd name="connsiteX391" fmla="*/ 63437 w 495300"/>
                  <a:gd name="connsiteY391" fmla="*/ 89916 h 466725"/>
                  <a:gd name="connsiteX392" fmla="*/ 62579 w 495300"/>
                  <a:gd name="connsiteY392" fmla="*/ 90773 h 466725"/>
                  <a:gd name="connsiteX393" fmla="*/ 61722 w 495300"/>
                  <a:gd name="connsiteY393" fmla="*/ 90773 h 466725"/>
                  <a:gd name="connsiteX394" fmla="*/ 60865 w 495300"/>
                  <a:gd name="connsiteY394" fmla="*/ 91630 h 466725"/>
                  <a:gd name="connsiteX395" fmla="*/ 60008 w 495300"/>
                  <a:gd name="connsiteY395" fmla="*/ 92488 h 466725"/>
                  <a:gd name="connsiteX396" fmla="*/ 58293 w 495300"/>
                  <a:gd name="connsiteY396" fmla="*/ 94202 h 466725"/>
                  <a:gd name="connsiteX397" fmla="*/ 57436 w 495300"/>
                  <a:gd name="connsiteY397" fmla="*/ 95821 h 466725"/>
                  <a:gd name="connsiteX398" fmla="*/ 55817 w 495300"/>
                  <a:gd name="connsiteY398" fmla="*/ 96679 h 466725"/>
                  <a:gd name="connsiteX399" fmla="*/ 54959 w 495300"/>
                  <a:gd name="connsiteY399" fmla="*/ 97536 h 466725"/>
                  <a:gd name="connsiteX400" fmla="*/ 54102 w 495300"/>
                  <a:gd name="connsiteY400" fmla="*/ 97536 h 466725"/>
                  <a:gd name="connsiteX401" fmla="*/ 54102 w 495300"/>
                  <a:gd name="connsiteY401" fmla="*/ 99250 h 466725"/>
                  <a:gd name="connsiteX402" fmla="*/ 54959 w 495300"/>
                  <a:gd name="connsiteY402" fmla="*/ 100965 h 466725"/>
                  <a:gd name="connsiteX403" fmla="*/ 55817 w 495300"/>
                  <a:gd name="connsiteY403" fmla="*/ 101822 h 466725"/>
                  <a:gd name="connsiteX404" fmla="*/ 55817 w 495300"/>
                  <a:gd name="connsiteY404" fmla="*/ 103442 h 466725"/>
                  <a:gd name="connsiteX405" fmla="*/ 55817 w 495300"/>
                  <a:gd name="connsiteY405" fmla="*/ 104299 h 466725"/>
                  <a:gd name="connsiteX406" fmla="*/ 55817 w 495300"/>
                  <a:gd name="connsiteY406" fmla="*/ 105156 h 466725"/>
                  <a:gd name="connsiteX407" fmla="*/ 55817 w 495300"/>
                  <a:gd name="connsiteY407" fmla="*/ 105156 h 466725"/>
                  <a:gd name="connsiteX408" fmla="*/ 56674 w 495300"/>
                  <a:gd name="connsiteY408" fmla="*/ 106013 h 466725"/>
                  <a:gd name="connsiteX409" fmla="*/ 57436 w 495300"/>
                  <a:gd name="connsiteY409" fmla="*/ 106013 h 466725"/>
                  <a:gd name="connsiteX410" fmla="*/ 58293 w 495300"/>
                  <a:gd name="connsiteY410" fmla="*/ 105156 h 466725"/>
                  <a:gd name="connsiteX411" fmla="*/ 59150 w 495300"/>
                  <a:gd name="connsiteY411" fmla="*/ 106013 h 466725"/>
                  <a:gd name="connsiteX412" fmla="*/ 60008 w 495300"/>
                  <a:gd name="connsiteY412" fmla="*/ 106013 h 466725"/>
                  <a:gd name="connsiteX413" fmla="*/ 60008 w 495300"/>
                  <a:gd name="connsiteY413" fmla="*/ 106871 h 466725"/>
                  <a:gd name="connsiteX414" fmla="*/ 60008 w 495300"/>
                  <a:gd name="connsiteY414" fmla="*/ 106871 h 466725"/>
                  <a:gd name="connsiteX415" fmla="*/ 60008 w 495300"/>
                  <a:gd name="connsiteY415" fmla="*/ 108585 h 466725"/>
                  <a:gd name="connsiteX416" fmla="*/ 60008 w 495300"/>
                  <a:gd name="connsiteY416" fmla="*/ 108585 h 466725"/>
                  <a:gd name="connsiteX417" fmla="*/ 60865 w 495300"/>
                  <a:gd name="connsiteY417" fmla="*/ 109442 h 466725"/>
                  <a:gd name="connsiteX418" fmla="*/ 60865 w 495300"/>
                  <a:gd name="connsiteY418" fmla="*/ 109442 h 466725"/>
                  <a:gd name="connsiteX419" fmla="*/ 61722 w 495300"/>
                  <a:gd name="connsiteY419" fmla="*/ 109442 h 466725"/>
                  <a:gd name="connsiteX420" fmla="*/ 62579 w 495300"/>
                  <a:gd name="connsiteY420" fmla="*/ 109442 h 466725"/>
                  <a:gd name="connsiteX421" fmla="*/ 63437 w 495300"/>
                  <a:gd name="connsiteY421" fmla="*/ 109442 h 466725"/>
                  <a:gd name="connsiteX422" fmla="*/ 64294 w 495300"/>
                  <a:gd name="connsiteY422" fmla="*/ 110300 h 466725"/>
                  <a:gd name="connsiteX423" fmla="*/ 64294 w 495300"/>
                  <a:gd name="connsiteY423" fmla="*/ 111157 h 466725"/>
                  <a:gd name="connsiteX424" fmla="*/ 64294 w 495300"/>
                  <a:gd name="connsiteY424" fmla="*/ 112776 h 466725"/>
                  <a:gd name="connsiteX425" fmla="*/ 64294 w 495300"/>
                  <a:gd name="connsiteY425" fmla="*/ 113633 h 466725"/>
                  <a:gd name="connsiteX426" fmla="*/ 64294 w 495300"/>
                  <a:gd name="connsiteY426" fmla="*/ 114491 h 466725"/>
                  <a:gd name="connsiteX427" fmla="*/ 65913 w 495300"/>
                  <a:gd name="connsiteY427" fmla="*/ 116205 h 466725"/>
                  <a:gd name="connsiteX428" fmla="*/ 70199 w 495300"/>
                  <a:gd name="connsiteY428" fmla="*/ 119634 h 466725"/>
                  <a:gd name="connsiteX429" fmla="*/ 71057 w 495300"/>
                  <a:gd name="connsiteY429" fmla="*/ 120491 h 466725"/>
                  <a:gd name="connsiteX430" fmla="*/ 71819 w 495300"/>
                  <a:gd name="connsiteY430" fmla="*/ 121253 h 466725"/>
                  <a:gd name="connsiteX431" fmla="*/ 71819 w 495300"/>
                  <a:gd name="connsiteY431" fmla="*/ 122111 h 466725"/>
                  <a:gd name="connsiteX432" fmla="*/ 71819 w 495300"/>
                  <a:gd name="connsiteY432" fmla="*/ 122968 h 466725"/>
                  <a:gd name="connsiteX433" fmla="*/ 71819 w 495300"/>
                  <a:gd name="connsiteY433" fmla="*/ 123825 h 466725"/>
                  <a:gd name="connsiteX434" fmla="*/ 69342 w 495300"/>
                  <a:gd name="connsiteY434" fmla="*/ 123825 h 466725"/>
                  <a:gd name="connsiteX435" fmla="*/ 67628 w 495300"/>
                  <a:gd name="connsiteY435" fmla="*/ 123825 h 466725"/>
                  <a:gd name="connsiteX436" fmla="*/ 66770 w 495300"/>
                  <a:gd name="connsiteY436" fmla="*/ 124682 h 466725"/>
                  <a:gd name="connsiteX437" fmla="*/ 65056 w 495300"/>
                  <a:gd name="connsiteY437" fmla="*/ 125540 h 466725"/>
                  <a:gd name="connsiteX438" fmla="*/ 64294 w 495300"/>
                  <a:gd name="connsiteY438" fmla="*/ 126397 h 466725"/>
                  <a:gd name="connsiteX439" fmla="*/ 63437 w 495300"/>
                  <a:gd name="connsiteY439" fmla="*/ 128111 h 466725"/>
                  <a:gd name="connsiteX440" fmla="*/ 61722 w 495300"/>
                  <a:gd name="connsiteY440" fmla="*/ 129730 h 466725"/>
                  <a:gd name="connsiteX441" fmla="*/ 58293 w 495300"/>
                  <a:gd name="connsiteY441" fmla="*/ 137446 h 466725"/>
                  <a:gd name="connsiteX442" fmla="*/ 57436 w 495300"/>
                  <a:gd name="connsiteY442" fmla="*/ 139065 h 466725"/>
                  <a:gd name="connsiteX443" fmla="*/ 57436 w 495300"/>
                  <a:gd name="connsiteY443" fmla="*/ 139065 h 466725"/>
                  <a:gd name="connsiteX444" fmla="*/ 56674 w 495300"/>
                  <a:gd name="connsiteY444" fmla="*/ 139065 h 466725"/>
                  <a:gd name="connsiteX445" fmla="*/ 54102 w 495300"/>
                  <a:gd name="connsiteY445" fmla="*/ 138208 h 466725"/>
                  <a:gd name="connsiteX446" fmla="*/ 52388 w 495300"/>
                  <a:gd name="connsiteY446" fmla="*/ 138208 h 466725"/>
                  <a:gd name="connsiteX447" fmla="*/ 51530 w 495300"/>
                  <a:gd name="connsiteY447" fmla="*/ 139065 h 466725"/>
                  <a:gd name="connsiteX448" fmla="*/ 49911 w 495300"/>
                  <a:gd name="connsiteY448" fmla="*/ 139922 h 466725"/>
                  <a:gd name="connsiteX449" fmla="*/ 49911 w 495300"/>
                  <a:gd name="connsiteY449" fmla="*/ 141637 h 466725"/>
                  <a:gd name="connsiteX450" fmla="*/ 49054 w 495300"/>
                  <a:gd name="connsiteY450" fmla="*/ 142494 h 466725"/>
                  <a:gd name="connsiteX451" fmla="*/ 49054 w 495300"/>
                  <a:gd name="connsiteY451" fmla="*/ 144209 h 466725"/>
                  <a:gd name="connsiteX452" fmla="*/ 49911 w 495300"/>
                  <a:gd name="connsiteY452" fmla="*/ 145066 h 466725"/>
                  <a:gd name="connsiteX453" fmla="*/ 49911 w 495300"/>
                  <a:gd name="connsiteY453" fmla="*/ 145923 h 466725"/>
                  <a:gd name="connsiteX454" fmla="*/ 49911 w 495300"/>
                  <a:gd name="connsiteY454" fmla="*/ 147542 h 466725"/>
                  <a:gd name="connsiteX455" fmla="*/ 49054 w 495300"/>
                  <a:gd name="connsiteY455" fmla="*/ 150971 h 466725"/>
                  <a:gd name="connsiteX456" fmla="*/ 48197 w 495300"/>
                  <a:gd name="connsiteY456" fmla="*/ 152686 h 466725"/>
                  <a:gd name="connsiteX457" fmla="*/ 47339 w 495300"/>
                  <a:gd name="connsiteY457" fmla="*/ 153543 h 466725"/>
                  <a:gd name="connsiteX458" fmla="*/ 46482 w 495300"/>
                  <a:gd name="connsiteY458" fmla="*/ 154400 h 466725"/>
                  <a:gd name="connsiteX459" fmla="*/ 45625 w 495300"/>
                  <a:gd name="connsiteY459" fmla="*/ 154400 h 466725"/>
                  <a:gd name="connsiteX460" fmla="*/ 43910 w 495300"/>
                  <a:gd name="connsiteY460" fmla="*/ 154400 h 466725"/>
                  <a:gd name="connsiteX461" fmla="*/ 39719 w 495300"/>
                  <a:gd name="connsiteY461" fmla="*/ 155258 h 466725"/>
                  <a:gd name="connsiteX462" fmla="*/ 38862 w 495300"/>
                  <a:gd name="connsiteY462" fmla="*/ 155258 h 466725"/>
                  <a:gd name="connsiteX463" fmla="*/ 38005 w 495300"/>
                  <a:gd name="connsiteY463" fmla="*/ 156020 h 466725"/>
                  <a:gd name="connsiteX464" fmla="*/ 37148 w 495300"/>
                  <a:gd name="connsiteY464" fmla="*/ 156877 h 466725"/>
                  <a:gd name="connsiteX465" fmla="*/ 36386 w 495300"/>
                  <a:gd name="connsiteY465" fmla="*/ 157734 h 466725"/>
                  <a:gd name="connsiteX466" fmla="*/ 35528 w 495300"/>
                  <a:gd name="connsiteY466" fmla="*/ 158591 h 466725"/>
                  <a:gd name="connsiteX467" fmla="*/ 34671 w 495300"/>
                  <a:gd name="connsiteY467" fmla="*/ 159449 h 466725"/>
                  <a:gd name="connsiteX468" fmla="*/ 32957 w 495300"/>
                  <a:gd name="connsiteY468" fmla="*/ 161163 h 466725"/>
                  <a:gd name="connsiteX469" fmla="*/ 32957 w 495300"/>
                  <a:gd name="connsiteY469" fmla="*/ 162020 h 466725"/>
                  <a:gd name="connsiteX470" fmla="*/ 32957 w 495300"/>
                  <a:gd name="connsiteY470" fmla="*/ 162878 h 466725"/>
                  <a:gd name="connsiteX471" fmla="*/ 32957 w 495300"/>
                  <a:gd name="connsiteY471" fmla="*/ 163735 h 466725"/>
                  <a:gd name="connsiteX472" fmla="*/ 32957 w 495300"/>
                  <a:gd name="connsiteY472" fmla="*/ 164497 h 466725"/>
                  <a:gd name="connsiteX473" fmla="*/ 32099 w 495300"/>
                  <a:gd name="connsiteY473" fmla="*/ 165354 h 466725"/>
                  <a:gd name="connsiteX474" fmla="*/ 32099 w 495300"/>
                  <a:gd name="connsiteY474" fmla="*/ 166211 h 466725"/>
                  <a:gd name="connsiteX475" fmla="*/ 32099 w 495300"/>
                  <a:gd name="connsiteY475" fmla="*/ 168783 h 466725"/>
                  <a:gd name="connsiteX476" fmla="*/ 31242 w 495300"/>
                  <a:gd name="connsiteY476" fmla="*/ 170498 h 466725"/>
                  <a:gd name="connsiteX477" fmla="*/ 31242 w 495300"/>
                  <a:gd name="connsiteY477" fmla="*/ 172212 h 466725"/>
                  <a:gd name="connsiteX478" fmla="*/ 30385 w 495300"/>
                  <a:gd name="connsiteY478" fmla="*/ 173069 h 466725"/>
                  <a:gd name="connsiteX479" fmla="*/ 28766 w 495300"/>
                  <a:gd name="connsiteY479" fmla="*/ 173069 h 466725"/>
                  <a:gd name="connsiteX480" fmla="*/ 27908 w 495300"/>
                  <a:gd name="connsiteY480" fmla="*/ 174688 h 466725"/>
                  <a:gd name="connsiteX481" fmla="*/ 27051 w 495300"/>
                  <a:gd name="connsiteY481" fmla="*/ 174688 h 466725"/>
                  <a:gd name="connsiteX482" fmla="*/ 27051 w 495300"/>
                  <a:gd name="connsiteY482" fmla="*/ 175546 h 466725"/>
                  <a:gd name="connsiteX483" fmla="*/ 32099 w 495300"/>
                  <a:gd name="connsiteY483" fmla="*/ 179832 h 466725"/>
                  <a:gd name="connsiteX484" fmla="*/ 32099 w 495300"/>
                  <a:gd name="connsiteY484" fmla="*/ 179832 h 466725"/>
                  <a:gd name="connsiteX485" fmla="*/ 32957 w 495300"/>
                  <a:gd name="connsiteY485" fmla="*/ 181546 h 466725"/>
                  <a:gd name="connsiteX486" fmla="*/ 32957 w 495300"/>
                  <a:gd name="connsiteY486" fmla="*/ 182309 h 466725"/>
                  <a:gd name="connsiteX487" fmla="*/ 32099 w 495300"/>
                  <a:gd name="connsiteY487" fmla="*/ 184880 h 466725"/>
                  <a:gd name="connsiteX488" fmla="*/ 35528 w 495300"/>
                  <a:gd name="connsiteY488" fmla="*/ 186595 h 466725"/>
                  <a:gd name="connsiteX489" fmla="*/ 35528 w 495300"/>
                  <a:gd name="connsiteY489" fmla="*/ 187452 h 466725"/>
                  <a:gd name="connsiteX490" fmla="*/ 35528 w 495300"/>
                  <a:gd name="connsiteY490" fmla="*/ 188309 h 466725"/>
                  <a:gd name="connsiteX491" fmla="*/ 34671 w 495300"/>
                  <a:gd name="connsiteY491" fmla="*/ 190024 h 466725"/>
                  <a:gd name="connsiteX492" fmla="*/ 34671 w 495300"/>
                  <a:gd name="connsiteY492" fmla="*/ 191643 h 466725"/>
                  <a:gd name="connsiteX493" fmla="*/ 33814 w 495300"/>
                  <a:gd name="connsiteY493" fmla="*/ 193358 h 466725"/>
                  <a:gd name="connsiteX494" fmla="*/ 34671 w 495300"/>
                  <a:gd name="connsiteY494" fmla="*/ 194215 h 466725"/>
                  <a:gd name="connsiteX495" fmla="*/ 37148 w 495300"/>
                  <a:gd name="connsiteY495" fmla="*/ 200120 h 466725"/>
                  <a:gd name="connsiteX496" fmla="*/ 38005 w 495300"/>
                  <a:gd name="connsiteY496" fmla="*/ 206121 h 466725"/>
                  <a:gd name="connsiteX497" fmla="*/ 38005 w 495300"/>
                  <a:gd name="connsiteY497" fmla="*/ 206978 h 466725"/>
                  <a:gd name="connsiteX498" fmla="*/ 37148 w 495300"/>
                  <a:gd name="connsiteY498" fmla="*/ 206978 h 466725"/>
                  <a:gd name="connsiteX499" fmla="*/ 37148 w 495300"/>
                  <a:gd name="connsiteY499" fmla="*/ 207836 h 466725"/>
                  <a:gd name="connsiteX500" fmla="*/ 36386 w 495300"/>
                  <a:gd name="connsiteY500" fmla="*/ 207836 h 466725"/>
                  <a:gd name="connsiteX501" fmla="*/ 34671 w 495300"/>
                  <a:gd name="connsiteY501" fmla="*/ 207836 h 466725"/>
                  <a:gd name="connsiteX502" fmla="*/ 33814 w 495300"/>
                  <a:gd name="connsiteY502" fmla="*/ 208598 h 466725"/>
                  <a:gd name="connsiteX503" fmla="*/ 33814 w 495300"/>
                  <a:gd name="connsiteY503" fmla="*/ 209455 h 466725"/>
                  <a:gd name="connsiteX504" fmla="*/ 32957 w 495300"/>
                  <a:gd name="connsiteY504" fmla="*/ 210312 h 466725"/>
                  <a:gd name="connsiteX505" fmla="*/ 32957 w 495300"/>
                  <a:gd name="connsiteY505" fmla="*/ 211169 h 466725"/>
                  <a:gd name="connsiteX506" fmla="*/ 33814 w 495300"/>
                  <a:gd name="connsiteY506" fmla="*/ 212027 h 466725"/>
                  <a:gd name="connsiteX507" fmla="*/ 37148 w 495300"/>
                  <a:gd name="connsiteY507" fmla="*/ 214598 h 466725"/>
                  <a:gd name="connsiteX508" fmla="*/ 38005 w 495300"/>
                  <a:gd name="connsiteY508" fmla="*/ 216313 h 466725"/>
                  <a:gd name="connsiteX509" fmla="*/ 38862 w 495300"/>
                  <a:gd name="connsiteY509" fmla="*/ 217932 h 466725"/>
                  <a:gd name="connsiteX510" fmla="*/ 39719 w 495300"/>
                  <a:gd name="connsiteY510" fmla="*/ 221361 h 466725"/>
                  <a:gd name="connsiteX511" fmla="*/ 40577 w 495300"/>
                  <a:gd name="connsiteY511" fmla="*/ 224790 h 466725"/>
                  <a:gd name="connsiteX512" fmla="*/ 40577 w 495300"/>
                  <a:gd name="connsiteY512" fmla="*/ 226409 h 466725"/>
                  <a:gd name="connsiteX513" fmla="*/ 40577 w 495300"/>
                  <a:gd name="connsiteY513" fmla="*/ 228124 h 466725"/>
                  <a:gd name="connsiteX514" fmla="*/ 39719 w 495300"/>
                  <a:gd name="connsiteY514" fmla="*/ 228981 h 466725"/>
                  <a:gd name="connsiteX515" fmla="*/ 32957 w 495300"/>
                  <a:gd name="connsiteY515" fmla="*/ 234887 h 466725"/>
                  <a:gd name="connsiteX516" fmla="*/ 32099 w 495300"/>
                  <a:gd name="connsiteY516" fmla="*/ 235744 h 466725"/>
                  <a:gd name="connsiteX517" fmla="*/ 31242 w 495300"/>
                  <a:gd name="connsiteY517" fmla="*/ 236601 h 466725"/>
                  <a:gd name="connsiteX518" fmla="*/ 30385 w 495300"/>
                  <a:gd name="connsiteY518" fmla="*/ 236601 h 466725"/>
                  <a:gd name="connsiteX519" fmla="*/ 29623 w 495300"/>
                  <a:gd name="connsiteY519" fmla="*/ 237458 h 466725"/>
                  <a:gd name="connsiteX520" fmla="*/ 28766 w 495300"/>
                  <a:gd name="connsiteY520" fmla="*/ 238316 h 466725"/>
                  <a:gd name="connsiteX521" fmla="*/ 27908 w 495300"/>
                  <a:gd name="connsiteY521" fmla="*/ 239173 h 466725"/>
                  <a:gd name="connsiteX522" fmla="*/ 27051 w 495300"/>
                  <a:gd name="connsiteY522" fmla="*/ 240887 h 466725"/>
                  <a:gd name="connsiteX523" fmla="*/ 27051 w 495300"/>
                  <a:gd name="connsiteY523" fmla="*/ 241745 h 466725"/>
                  <a:gd name="connsiteX524" fmla="*/ 27051 w 495300"/>
                  <a:gd name="connsiteY524" fmla="*/ 241745 h 466725"/>
                  <a:gd name="connsiteX525" fmla="*/ 27051 w 495300"/>
                  <a:gd name="connsiteY525" fmla="*/ 241745 h 466725"/>
                  <a:gd name="connsiteX526" fmla="*/ 27908 w 495300"/>
                  <a:gd name="connsiteY526" fmla="*/ 242602 h 466725"/>
                  <a:gd name="connsiteX527" fmla="*/ 28766 w 495300"/>
                  <a:gd name="connsiteY527" fmla="*/ 244221 h 466725"/>
                  <a:gd name="connsiteX528" fmla="*/ 29623 w 495300"/>
                  <a:gd name="connsiteY528" fmla="*/ 245078 h 466725"/>
                  <a:gd name="connsiteX529" fmla="*/ 30385 w 495300"/>
                  <a:gd name="connsiteY529" fmla="*/ 245936 h 466725"/>
                  <a:gd name="connsiteX530" fmla="*/ 30385 w 495300"/>
                  <a:gd name="connsiteY530" fmla="*/ 247650 h 466725"/>
                  <a:gd name="connsiteX531" fmla="*/ 30385 w 495300"/>
                  <a:gd name="connsiteY531" fmla="*/ 248507 h 466725"/>
                  <a:gd name="connsiteX532" fmla="*/ 29623 w 495300"/>
                  <a:gd name="connsiteY532" fmla="*/ 249365 h 466725"/>
                  <a:gd name="connsiteX533" fmla="*/ 28766 w 495300"/>
                  <a:gd name="connsiteY533" fmla="*/ 250222 h 466725"/>
                  <a:gd name="connsiteX534" fmla="*/ 24479 w 495300"/>
                  <a:gd name="connsiteY534" fmla="*/ 251936 h 466725"/>
                  <a:gd name="connsiteX535" fmla="*/ 23622 w 495300"/>
                  <a:gd name="connsiteY535" fmla="*/ 252698 h 466725"/>
                  <a:gd name="connsiteX536" fmla="*/ 22860 w 495300"/>
                  <a:gd name="connsiteY536" fmla="*/ 253555 h 466725"/>
                  <a:gd name="connsiteX537" fmla="*/ 21146 w 495300"/>
                  <a:gd name="connsiteY537" fmla="*/ 256127 h 466725"/>
                  <a:gd name="connsiteX538" fmla="*/ 18574 w 495300"/>
                  <a:gd name="connsiteY538" fmla="*/ 260413 h 466725"/>
                  <a:gd name="connsiteX539" fmla="*/ 16859 w 495300"/>
                  <a:gd name="connsiteY539" fmla="*/ 262890 h 466725"/>
                  <a:gd name="connsiteX540" fmla="*/ 18574 w 495300"/>
                  <a:gd name="connsiteY540" fmla="*/ 264605 h 466725"/>
                  <a:gd name="connsiteX541" fmla="*/ 22003 w 495300"/>
                  <a:gd name="connsiteY541" fmla="*/ 266319 h 466725"/>
                  <a:gd name="connsiteX542" fmla="*/ 23622 w 495300"/>
                  <a:gd name="connsiteY542" fmla="*/ 267176 h 466725"/>
                  <a:gd name="connsiteX543" fmla="*/ 25337 w 495300"/>
                  <a:gd name="connsiteY543" fmla="*/ 268891 h 466725"/>
                  <a:gd name="connsiteX544" fmla="*/ 26194 w 495300"/>
                  <a:gd name="connsiteY544" fmla="*/ 268891 h 466725"/>
                  <a:gd name="connsiteX545" fmla="*/ 27051 w 495300"/>
                  <a:gd name="connsiteY545" fmla="*/ 268891 h 466725"/>
                  <a:gd name="connsiteX546" fmla="*/ 28766 w 495300"/>
                  <a:gd name="connsiteY546" fmla="*/ 268891 h 466725"/>
                  <a:gd name="connsiteX547" fmla="*/ 30385 w 495300"/>
                  <a:gd name="connsiteY547" fmla="*/ 268891 h 466725"/>
                  <a:gd name="connsiteX548" fmla="*/ 32099 w 495300"/>
                  <a:gd name="connsiteY548" fmla="*/ 268891 h 466725"/>
                  <a:gd name="connsiteX549" fmla="*/ 35528 w 495300"/>
                  <a:gd name="connsiteY549" fmla="*/ 268891 h 466725"/>
                  <a:gd name="connsiteX550" fmla="*/ 36386 w 495300"/>
                  <a:gd name="connsiteY550" fmla="*/ 271367 h 466725"/>
                  <a:gd name="connsiteX551" fmla="*/ 37148 w 495300"/>
                  <a:gd name="connsiteY551" fmla="*/ 272225 h 466725"/>
                  <a:gd name="connsiteX552" fmla="*/ 38005 w 495300"/>
                  <a:gd name="connsiteY552" fmla="*/ 272225 h 466725"/>
                  <a:gd name="connsiteX553" fmla="*/ 38862 w 495300"/>
                  <a:gd name="connsiteY553" fmla="*/ 272225 h 466725"/>
                  <a:gd name="connsiteX554" fmla="*/ 39719 w 495300"/>
                  <a:gd name="connsiteY554" fmla="*/ 272225 h 466725"/>
                  <a:gd name="connsiteX555" fmla="*/ 42291 w 495300"/>
                  <a:gd name="connsiteY555" fmla="*/ 270510 h 466725"/>
                  <a:gd name="connsiteX556" fmla="*/ 43910 w 495300"/>
                  <a:gd name="connsiteY556" fmla="*/ 269653 h 466725"/>
                  <a:gd name="connsiteX557" fmla="*/ 45625 w 495300"/>
                  <a:gd name="connsiteY557" fmla="*/ 268891 h 466725"/>
                  <a:gd name="connsiteX558" fmla="*/ 47339 w 495300"/>
                  <a:gd name="connsiteY558" fmla="*/ 268891 h 466725"/>
                  <a:gd name="connsiteX559" fmla="*/ 47339 w 495300"/>
                  <a:gd name="connsiteY559" fmla="*/ 269653 h 466725"/>
                  <a:gd name="connsiteX560" fmla="*/ 46482 w 495300"/>
                  <a:gd name="connsiteY560" fmla="*/ 271367 h 466725"/>
                  <a:gd name="connsiteX561" fmla="*/ 43910 w 495300"/>
                  <a:gd name="connsiteY561" fmla="*/ 278130 h 466725"/>
                  <a:gd name="connsiteX562" fmla="*/ 43148 w 495300"/>
                  <a:gd name="connsiteY562" fmla="*/ 278130 h 466725"/>
                  <a:gd name="connsiteX563" fmla="*/ 43148 w 495300"/>
                  <a:gd name="connsiteY563" fmla="*/ 278130 h 466725"/>
                  <a:gd name="connsiteX564" fmla="*/ 38005 w 495300"/>
                  <a:gd name="connsiteY564" fmla="*/ 278987 h 466725"/>
                  <a:gd name="connsiteX565" fmla="*/ 36386 w 495300"/>
                  <a:gd name="connsiteY565" fmla="*/ 279845 h 466725"/>
                  <a:gd name="connsiteX566" fmla="*/ 35528 w 495300"/>
                  <a:gd name="connsiteY566" fmla="*/ 280702 h 466725"/>
                  <a:gd name="connsiteX567" fmla="*/ 35528 w 495300"/>
                  <a:gd name="connsiteY567" fmla="*/ 283274 h 466725"/>
                  <a:gd name="connsiteX568" fmla="*/ 34671 w 495300"/>
                  <a:gd name="connsiteY568" fmla="*/ 284131 h 466725"/>
                  <a:gd name="connsiteX569" fmla="*/ 33814 w 495300"/>
                  <a:gd name="connsiteY569" fmla="*/ 284988 h 466725"/>
                  <a:gd name="connsiteX570" fmla="*/ 32099 w 495300"/>
                  <a:gd name="connsiteY570" fmla="*/ 284988 h 466725"/>
                  <a:gd name="connsiteX571" fmla="*/ 30385 w 495300"/>
                  <a:gd name="connsiteY571" fmla="*/ 285845 h 466725"/>
                  <a:gd name="connsiteX572" fmla="*/ 29623 w 495300"/>
                  <a:gd name="connsiteY572" fmla="*/ 285845 h 466725"/>
                  <a:gd name="connsiteX573" fmla="*/ 28766 w 495300"/>
                  <a:gd name="connsiteY573" fmla="*/ 287464 h 466725"/>
                  <a:gd name="connsiteX574" fmla="*/ 27908 w 495300"/>
                  <a:gd name="connsiteY574" fmla="*/ 290036 h 466725"/>
                  <a:gd name="connsiteX575" fmla="*/ 26194 w 495300"/>
                  <a:gd name="connsiteY575" fmla="*/ 292608 h 466725"/>
                  <a:gd name="connsiteX576" fmla="*/ 12668 w 495300"/>
                  <a:gd name="connsiteY576" fmla="*/ 309563 h 466725"/>
                  <a:gd name="connsiteX577" fmla="*/ 11811 w 495300"/>
                  <a:gd name="connsiteY577" fmla="*/ 312992 h 466725"/>
                  <a:gd name="connsiteX578" fmla="*/ 11811 w 495300"/>
                  <a:gd name="connsiteY578" fmla="*/ 314611 h 466725"/>
                  <a:gd name="connsiteX579" fmla="*/ 12668 w 495300"/>
                  <a:gd name="connsiteY579" fmla="*/ 316325 h 466725"/>
                  <a:gd name="connsiteX580" fmla="*/ 13526 w 495300"/>
                  <a:gd name="connsiteY580" fmla="*/ 317182 h 466725"/>
                  <a:gd name="connsiteX581" fmla="*/ 14383 w 495300"/>
                  <a:gd name="connsiteY581" fmla="*/ 317182 h 466725"/>
                  <a:gd name="connsiteX582" fmla="*/ 16859 w 495300"/>
                  <a:gd name="connsiteY582" fmla="*/ 318040 h 466725"/>
                  <a:gd name="connsiteX583" fmla="*/ 17717 w 495300"/>
                  <a:gd name="connsiteY583" fmla="*/ 318040 h 466725"/>
                  <a:gd name="connsiteX584" fmla="*/ 18574 w 495300"/>
                  <a:gd name="connsiteY584" fmla="*/ 318897 h 466725"/>
                  <a:gd name="connsiteX585" fmla="*/ 18574 w 495300"/>
                  <a:gd name="connsiteY585" fmla="*/ 319754 h 466725"/>
                  <a:gd name="connsiteX586" fmla="*/ 19431 w 495300"/>
                  <a:gd name="connsiteY586" fmla="*/ 323945 h 466725"/>
                  <a:gd name="connsiteX587" fmla="*/ 20288 w 495300"/>
                  <a:gd name="connsiteY587" fmla="*/ 326517 h 466725"/>
                  <a:gd name="connsiteX588" fmla="*/ 22860 w 495300"/>
                  <a:gd name="connsiteY588" fmla="*/ 330708 h 466725"/>
                  <a:gd name="connsiteX589" fmla="*/ 22860 w 495300"/>
                  <a:gd name="connsiteY589" fmla="*/ 332422 h 466725"/>
                  <a:gd name="connsiteX590" fmla="*/ 22860 w 495300"/>
                  <a:gd name="connsiteY590" fmla="*/ 334137 h 466725"/>
                  <a:gd name="connsiteX591" fmla="*/ 21146 w 495300"/>
                  <a:gd name="connsiteY591" fmla="*/ 335852 h 466725"/>
                  <a:gd name="connsiteX592" fmla="*/ 20288 w 495300"/>
                  <a:gd name="connsiteY592" fmla="*/ 338423 h 466725"/>
                  <a:gd name="connsiteX593" fmla="*/ 19431 w 495300"/>
                  <a:gd name="connsiteY593" fmla="*/ 340900 h 466725"/>
                  <a:gd name="connsiteX594" fmla="*/ 19431 w 495300"/>
                  <a:gd name="connsiteY594" fmla="*/ 342614 h 466725"/>
                  <a:gd name="connsiteX595" fmla="*/ 19431 w 495300"/>
                  <a:gd name="connsiteY595" fmla="*/ 356997 h 466725"/>
                  <a:gd name="connsiteX596" fmla="*/ 19431 w 495300"/>
                  <a:gd name="connsiteY596" fmla="*/ 358712 h 466725"/>
                  <a:gd name="connsiteX597" fmla="*/ 18574 w 495300"/>
                  <a:gd name="connsiteY597" fmla="*/ 358712 h 466725"/>
                  <a:gd name="connsiteX598" fmla="*/ 17717 w 495300"/>
                  <a:gd name="connsiteY598" fmla="*/ 359569 h 466725"/>
                  <a:gd name="connsiteX599" fmla="*/ 17717 w 495300"/>
                  <a:gd name="connsiteY599" fmla="*/ 360426 h 466725"/>
                  <a:gd name="connsiteX600" fmla="*/ 16859 w 495300"/>
                  <a:gd name="connsiteY600" fmla="*/ 365570 h 466725"/>
                  <a:gd name="connsiteX601" fmla="*/ 16859 w 495300"/>
                  <a:gd name="connsiteY601" fmla="*/ 367189 h 466725"/>
                  <a:gd name="connsiteX602" fmla="*/ 16859 w 495300"/>
                  <a:gd name="connsiteY602" fmla="*/ 367189 h 466725"/>
                  <a:gd name="connsiteX603" fmla="*/ 17717 w 495300"/>
                  <a:gd name="connsiteY603" fmla="*/ 368046 h 466725"/>
                  <a:gd name="connsiteX604" fmla="*/ 19431 w 495300"/>
                  <a:gd name="connsiteY604" fmla="*/ 368903 h 466725"/>
                  <a:gd name="connsiteX605" fmla="*/ 20288 w 495300"/>
                  <a:gd name="connsiteY605" fmla="*/ 370618 h 466725"/>
                  <a:gd name="connsiteX606" fmla="*/ 21146 w 495300"/>
                  <a:gd name="connsiteY606" fmla="*/ 370618 h 466725"/>
                  <a:gd name="connsiteX607" fmla="*/ 20288 w 495300"/>
                  <a:gd name="connsiteY607" fmla="*/ 371475 h 466725"/>
                  <a:gd name="connsiteX608" fmla="*/ 18574 w 495300"/>
                  <a:gd name="connsiteY608" fmla="*/ 373189 h 466725"/>
                  <a:gd name="connsiteX609" fmla="*/ 17717 w 495300"/>
                  <a:gd name="connsiteY609" fmla="*/ 374047 h 466725"/>
                  <a:gd name="connsiteX610" fmla="*/ 16859 w 495300"/>
                  <a:gd name="connsiteY610" fmla="*/ 374809 h 466725"/>
                  <a:gd name="connsiteX611" fmla="*/ 16859 w 495300"/>
                  <a:gd name="connsiteY611" fmla="*/ 375666 h 466725"/>
                  <a:gd name="connsiteX612" fmla="*/ 16859 w 495300"/>
                  <a:gd name="connsiteY612" fmla="*/ 375666 h 466725"/>
                  <a:gd name="connsiteX613" fmla="*/ 18574 w 495300"/>
                  <a:gd name="connsiteY613" fmla="*/ 375666 h 466725"/>
                  <a:gd name="connsiteX614" fmla="*/ 19431 w 495300"/>
                  <a:gd name="connsiteY614" fmla="*/ 375666 h 466725"/>
                  <a:gd name="connsiteX615" fmla="*/ 20288 w 495300"/>
                  <a:gd name="connsiteY615" fmla="*/ 375666 h 466725"/>
                  <a:gd name="connsiteX616" fmla="*/ 21146 w 495300"/>
                  <a:gd name="connsiteY616" fmla="*/ 375666 h 466725"/>
                  <a:gd name="connsiteX617" fmla="*/ 21146 w 495300"/>
                  <a:gd name="connsiteY617" fmla="*/ 376523 h 466725"/>
                  <a:gd name="connsiteX618" fmla="*/ 20288 w 495300"/>
                  <a:gd name="connsiteY618" fmla="*/ 377380 h 466725"/>
                  <a:gd name="connsiteX619" fmla="*/ 20288 w 495300"/>
                  <a:gd name="connsiteY619" fmla="*/ 379095 h 466725"/>
                  <a:gd name="connsiteX620" fmla="*/ 19431 w 495300"/>
                  <a:gd name="connsiteY620" fmla="*/ 380810 h 466725"/>
                  <a:gd name="connsiteX621" fmla="*/ 19431 w 495300"/>
                  <a:gd name="connsiteY621" fmla="*/ 382524 h 466725"/>
                  <a:gd name="connsiteX622" fmla="*/ 18574 w 495300"/>
                  <a:gd name="connsiteY622" fmla="*/ 383286 h 466725"/>
                  <a:gd name="connsiteX623" fmla="*/ 17717 w 495300"/>
                  <a:gd name="connsiteY623" fmla="*/ 383286 h 466725"/>
                  <a:gd name="connsiteX624" fmla="*/ 15240 w 495300"/>
                  <a:gd name="connsiteY624" fmla="*/ 384143 h 466725"/>
                  <a:gd name="connsiteX625" fmla="*/ 14383 w 495300"/>
                  <a:gd name="connsiteY625" fmla="*/ 385001 h 466725"/>
                  <a:gd name="connsiteX626" fmla="*/ 13526 w 495300"/>
                  <a:gd name="connsiteY626" fmla="*/ 386715 h 466725"/>
                  <a:gd name="connsiteX627" fmla="*/ 13526 w 495300"/>
                  <a:gd name="connsiteY627" fmla="*/ 387572 h 466725"/>
                  <a:gd name="connsiteX628" fmla="*/ 13526 w 495300"/>
                  <a:gd name="connsiteY628" fmla="*/ 389287 h 466725"/>
                  <a:gd name="connsiteX629" fmla="*/ 12668 w 495300"/>
                  <a:gd name="connsiteY629" fmla="*/ 390144 h 466725"/>
                  <a:gd name="connsiteX630" fmla="*/ 9335 w 495300"/>
                  <a:gd name="connsiteY630" fmla="*/ 391859 h 466725"/>
                  <a:gd name="connsiteX631" fmla="*/ 5906 w 495300"/>
                  <a:gd name="connsiteY631" fmla="*/ 394335 h 466725"/>
                  <a:gd name="connsiteX632" fmla="*/ 1715 w 495300"/>
                  <a:gd name="connsiteY632" fmla="*/ 396907 h 466725"/>
                  <a:gd name="connsiteX633" fmla="*/ 0 w 495300"/>
                  <a:gd name="connsiteY633" fmla="*/ 397764 h 466725"/>
                  <a:gd name="connsiteX634" fmla="*/ 0 w 495300"/>
                  <a:gd name="connsiteY634" fmla="*/ 398621 h 466725"/>
                  <a:gd name="connsiteX635" fmla="*/ 3334 w 495300"/>
                  <a:gd name="connsiteY635" fmla="*/ 402812 h 466725"/>
                  <a:gd name="connsiteX636" fmla="*/ 4191 w 495300"/>
                  <a:gd name="connsiteY636" fmla="*/ 403670 h 466725"/>
                  <a:gd name="connsiteX637" fmla="*/ 15240 w 495300"/>
                  <a:gd name="connsiteY637" fmla="*/ 406241 h 466725"/>
                  <a:gd name="connsiteX638" fmla="*/ 16859 w 495300"/>
                  <a:gd name="connsiteY638" fmla="*/ 407098 h 466725"/>
                  <a:gd name="connsiteX639" fmla="*/ 23622 w 495300"/>
                  <a:gd name="connsiteY639" fmla="*/ 406241 h 466725"/>
                  <a:gd name="connsiteX640" fmla="*/ 26194 w 495300"/>
                  <a:gd name="connsiteY640" fmla="*/ 407098 h 466725"/>
                  <a:gd name="connsiteX641" fmla="*/ 30385 w 495300"/>
                  <a:gd name="connsiteY641" fmla="*/ 408813 h 466725"/>
                  <a:gd name="connsiteX642" fmla="*/ 31242 w 495300"/>
                  <a:gd name="connsiteY642" fmla="*/ 409575 h 466725"/>
                  <a:gd name="connsiteX643" fmla="*/ 32099 w 495300"/>
                  <a:gd name="connsiteY643" fmla="*/ 410432 h 466725"/>
                  <a:gd name="connsiteX644" fmla="*/ 32099 w 495300"/>
                  <a:gd name="connsiteY644" fmla="*/ 412147 h 466725"/>
                  <a:gd name="connsiteX645" fmla="*/ 32099 w 495300"/>
                  <a:gd name="connsiteY645" fmla="*/ 413861 h 466725"/>
                  <a:gd name="connsiteX646" fmla="*/ 32099 w 495300"/>
                  <a:gd name="connsiteY646" fmla="*/ 414719 h 466725"/>
                  <a:gd name="connsiteX647" fmla="*/ 31242 w 495300"/>
                  <a:gd name="connsiteY647" fmla="*/ 415576 h 466725"/>
                  <a:gd name="connsiteX648" fmla="*/ 30385 w 495300"/>
                  <a:gd name="connsiteY648" fmla="*/ 416433 h 466725"/>
                  <a:gd name="connsiteX649" fmla="*/ 27051 w 495300"/>
                  <a:gd name="connsiteY649" fmla="*/ 418910 h 466725"/>
                  <a:gd name="connsiteX650" fmla="*/ 26194 w 495300"/>
                  <a:gd name="connsiteY650" fmla="*/ 418910 h 466725"/>
                  <a:gd name="connsiteX651" fmla="*/ 25337 w 495300"/>
                  <a:gd name="connsiteY651" fmla="*/ 419767 h 466725"/>
                  <a:gd name="connsiteX652" fmla="*/ 25337 w 495300"/>
                  <a:gd name="connsiteY652" fmla="*/ 421481 h 466725"/>
                  <a:gd name="connsiteX653" fmla="*/ 25337 w 495300"/>
                  <a:gd name="connsiteY653" fmla="*/ 424910 h 466725"/>
                  <a:gd name="connsiteX654" fmla="*/ 25337 w 495300"/>
                  <a:gd name="connsiteY654" fmla="*/ 425768 h 466725"/>
                  <a:gd name="connsiteX655" fmla="*/ 24479 w 495300"/>
                  <a:gd name="connsiteY655" fmla="*/ 427387 h 466725"/>
                  <a:gd name="connsiteX656" fmla="*/ 24479 w 495300"/>
                  <a:gd name="connsiteY656" fmla="*/ 429101 h 466725"/>
                  <a:gd name="connsiteX657" fmla="*/ 24479 w 495300"/>
                  <a:gd name="connsiteY657" fmla="*/ 431673 h 466725"/>
                  <a:gd name="connsiteX658" fmla="*/ 25337 w 495300"/>
                  <a:gd name="connsiteY658" fmla="*/ 437579 h 466725"/>
                  <a:gd name="connsiteX659" fmla="*/ 25337 w 495300"/>
                  <a:gd name="connsiteY659" fmla="*/ 439293 h 466725"/>
                  <a:gd name="connsiteX660" fmla="*/ 24479 w 495300"/>
                  <a:gd name="connsiteY660" fmla="*/ 441865 h 466725"/>
                  <a:gd name="connsiteX661" fmla="*/ 24479 w 495300"/>
                  <a:gd name="connsiteY661" fmla="*/ 445198 h 466725"/>
                  <a:gd name="connsiteX662" fmla="*/ 24479 w 495300"/>
                  <a:gd name="connsiteY662" fmla="*/ 449485 h 466725"/>
                  <a:gd name="connsiteX663" fmla="*/ 24479 w 495300"/>
                  <a:gd name="connsiteY663" fmla="*/ 451199 h 466725"/>
                  <a:gd name="connsiteX664" fmla="*/ 23622 w 495300"/>
                  <a:gd name="connsiteY664" fmla="*/ 452056 h 466725"/>
                  <a:gd name="connsiteX665" fmla="*/ 22003 w 495300"/>
                  <a:gd name="connsiteY665" fmla="*/ 453676 h 466725"/>
                  <a:gd name="connsiteX666" fmla="*/ 21146 w 495300"/>
                  <a:gd name="connsiteY666" fmla="*/ 455390 h 466725"/>
                  <a:gd name="connsiteX667" fmla="*/ 21146 w 495300"/>
                  <a:gd name="connsiteY667" fmla="*/ 455390 h 466725"/>
                  <a:gd name="connsiteX668" fmla="*/ 25337 w 495300"/>
                  <a:gd name="connsiteY668" fmla="*/ 457962 h 466725"/>
                  <a:gd name="connsiteX669" fmla="*/ 30385 w 495300"/>
                  <a:gd name="connsiteY669" fmla="*/ 459677 h 466725"/>
                  <a:gd name="connsiteX670" fmla="*/ 32957 w 495300"/>
                  <a:gd name="connsiteY670" fmla="*/ 460534 h 466725"/>
                  <a:gd name="connsiteX671" fmla="*/ 35528 w 495300"/>
                  <a:gd name="connsiteY671" fmla="*/ 460534 h 466725"/>
                  <a:gd name="connsiteX672" fmla="*/ 36386 w 495300"/>
                  <a:gd name="connsiteY672" fmla="*/ 460534 h 466725"/>
                  <a:gd name="connsiteX673" fmla="*/ 38005 w 495300"/>
                  <a:gd name="connsiteY673" fmla="*/ 460534 h 466725"/>
                  <a:gd name="connsiteX674" fmla="*/ 38862 w 495300"/>
                  <a:gd name="connsiteY674" fmla="*/ 460534 h 466725"/>
                  <a:gd name="connsiteX675" fmla="*/ 39719 w 495300"/>
                  <a:gd name="connsiteY675" fmla="*/ 460534 h 466725"/>
                  <a:gd name="connsiteX676" fmla="*/ 39719 w 495300"/>
                  <a:gd name="connsiteY676" fmla="*/ 461391 h 466725"/>
                  <a:gd name="connsiteX677" fmla="*/ 40577 w 495300"/>
                  <a:gd name="connsiteY677" fmla="*/ 461391 h 466725"/>
                  <a:gd name="connsiteX678" fmla="*/ 41434 w 495300"/>
                  <a:gd name="connsiteY678" fmla="*/ 462153 h 466725"/>
                  <a:gd name="connsiteX679" fmla="*/ 42291 w 495300"/>
                  <a:gd name="connsiteY679" fmla="*/ 463010 h 466725"/>
                  <a:gd name="connsiteX680" fmla="*/ 43148 w 495300"/>
                  <a:gd name="connsiteY680" fmla="*/ 463868 h 466725"/>
                  <a:gd name="connsiteX681" fmla="*/ 43910 w 495300"/>
                  <a:gd name="connsiteY681" fmla="*/ 463868 h 466725"/>
                  <a:gd name="connsiteX682" fmla="*/ 47339 w 495300"/>
                  <a:gd name="connsiteY682" fmla="*/ 464725 h 466725"/>
                  <a:gd name="connsiteX683" fmla="*/ 48197 w 495300"/>
                  <a:gd name="connsiteY683" fmla="*/ 464725 h 466725"/>
                  <a:gd name="connsiteX684" fmla="*/ 49054 w 495300"/>
                  <a:gd name="connsiteY684" fmla="*/ 463868 h 466725"/>
                  <a:gd name="connsiteX685" fmla="*/ 49911 w 495300"/>
                  <a:gd name="connsiteY685" fmla="*/ 463010 h 466725"/>
                  <a:gd name="connsiteX686" fmla="*/ 50673 w 495300"/>
                  <a:gd name="connsiteY686" fmla="*/ 463010 h 466725"/>
                  <a:gd name="connsiteX687" fmla="*/ 51530 w 495300"/>
                  <a:gd name="connsiteY687" fmla="*/ 463010 h 466725"/>
                  <a:gd name="connsiteX688" fmla="*/ 52388 w 495300"/>
                  <a:gd name="connsiteY688" fmla="*/ 463868 h 466725"/>
                  <a:gd name="connsiteX689" fmla="*/ 53245 w 495300"/>
                  <a:gd name="connsiteY689" fmla="*/ 463868 h 466725"/>
                  <a:gd name="connsiteX690" fmla="*/ 54102 w 495300"/>
                  <a:gd name="connsiteY690" fmla="*/ 463868 h 466725"/>
                  <a:gd name="connsiteX691" fmla="*/ 54959 w 495300"/>
                  <a:gd name="connsiteY691" fmla="*/ 463868 h 466725"/>
                  <a:gd name="connsiteX692" fmla="*/ 56674 w 495300"/>
                  <a:gd name="connsiteY692" fmla="*/ 464725 h 466725"/>
                  <a:gd name="connsiteX693" fmla="*/ 57436 w 495300"/>
                  <a:gd name="connsiteY693" fmla="*/ 464725 h 466725"/>
                  <a:gd name="connsiteX694" fmla="*/ 58293 w 495300"/>
                  <a:gd name="connsiteY694" fmla="*/ 465582 h 466725"/>
                  <a:gd name="connsiteX695" fmla="*/ 60008 w 495300"/>
                  <a:gd name="connsiteY695" fmla="*/ 465582 h 466725"/>
                  <a:gd name="connsiteX696" fmla="*/ 60865 w 495300"/>
                  <a:gd name="connsiteY696" fmla="*/ 465582 h 466725"/>
                  <a:gd name="connsiteX697" fmla="*/ 61722 w 495300"/>
                  <a:gd name="connsiteY697" fmla="*/ 464725 h 466725"/>
                  <a:gd name="connsiteX698" fmla="*/ 62579 w 495300"/>
                  <a:gd name="connsiteY698" fmla="*/ 464725 h 466725"/>
                  <a:gd name="connsiteX699" fmla="*/ 63437 w 495300"/>
                  <a:gd name="connsiteY699" fmla="*/ 464725 h 466725"/>
                  <a:gd name="connsiteX700" fmla="*/ 64294 w 495300"/>
                  <a:gd name="connsiteY700" fmla="*/ 464725 h 466725"/>
                  <a:gd name="connsiteX701" fmla="*/ 65056 w 495300"/>
                  <a:gd name="connsiteY701" fmla="*/ 464725 h 466725"/>
                  <a:gd name="connsiteX702" fmla="*/ 65913 w 495300"/>
                  <a:gd name="connsiteY702" fmla="*/ 463868 h 466725"/>
                  <a:gd name="connsiteX703" fmla="*/ 67628 w 495300"/>
                  <a:gd name="connsiteY703" fmla="*/ 462153 h 466725"/>
                  <a:gd name="connsiteX704" fmla="*/ 68485 w 495300"/>
                  <a:gd name="connsiteY704" fmla="*/ 462153 h 466725"/>
                  <a:gd name="connsiteX705" fmla="*/ 69342 w 495300"/>
                  <a:gd name="connsiteY705" fmla="*/ 462153 h 466725"/>
                  <a:gd name="connsiteX706" fmla="*/ 71819 w 495300"/>
                  <a:gd name="connsiteY706" fmla="*/ 463010 h 466725"/>
                  <a:gd name="connsiteX707" fmla="*/ 73533 w 495300"/>
                  <a:gd name="connsiteY707" fmla="*/ 463868 h 466725"/>
                  <a:gd name="connsiteX708" fmla="*/ 75248 w 495300"/>
                  <a:gd name="connsiteY708" fmla="*/ 464725 h 466725"/>
                  <a:gd name="connsiteX709" fmla="*/ 77819 w 495300"/>
                  <a:gd name="connsiteY709" fmla="*/ 463868 h 466725"/>
                  <a:gd name="connsiteX710" fmla="*/ 78581 w 495300"/>
                  <a:gd name="connsiteY710" fmla="*/ 464725 h 466725"/>
                  <a:gd name="connsiteX711" fmla="*/ 81153 w 495300"/>
                  <a:gd name="connsiteY711" fmla="*/ 465582 h 466725"/>
                  <a:gd name="connsiteX712" fmla="*/ 82010 w 495300"/>
                  <a:gd name="connsiteY712" fmla="*/ 466439 h 466725"/>
                  <a:gd name="connsiteX713" fmla="*/ 82868 w 495300"/>
                  <a:gd name="connsiteY713" fmla="*/ 464725 h 466725"/>
                  <a:gd name="connsiteX714" fmla="*/ 83725 w 495300"/>
                  <a:gd name="connsiteY714" fmla="*/ 463010 h 466725"/>
                  <a:gd name="connsiteX715" fmla="*/ 83725 w 495300"/>
                  <a:gd name="connsiteY715" fmla="*/ 462153 h 466725"/>
                  <a:gd name="connsiteX716" fmla="*/ 84582 w 495300"/>
                  <a:gd name="connsiteY716" fmla="*/ 461391 h 466725"/>
                  <a:gd name="connsiteX717" fmla="*/ 84582 w 495300"/>
                  <a:gd name="connsiteY717" fmla="*/ 461391 h 466725"/>
                  <a:gd name="connsiteX718" fmla="*/ 85344 w 495300"/>
                  <a:gd name="connsiteY718" fmla="*/ 461391 h 466725"/>
                  <a:gd name="connsiteX719" fmla="*/ 86201 w 495300"/>
                  <a:gd name="connsiteY719" fmla="*/ 462153 h 466725"/>
                  <a:gd name="connsiteX720" fmla="*/ 86201 w 495300"/>
                  <a:gd name="connsiteY720" fmla="*/ 464725 h 466725"/>
                  <a:gd name="connsiteX721" fmla="*/ 87059 w 495300"/>
                  <a:gd name="connsiteY721" fmla="*/ 464725 h 466725"/>
                  <a:gd name="connsiteX722" fmla="*/ 88773 w 495300"/>
                  <a:gd name="connsiteY722" fmla="*/ 467296 h 466725"/>
                  <a:gd name="connsiteX723" fmla="*/ 88773 w 495300"/>
                  <a:gd name="connsiteY723" fmla="*/ 468154 h 466725"/>
                  <a:gd name="connsiteX724" fmla="*/ 92964 w 495300"/>
                  <a:gd name="connsiteY724" fmla="*/ 469868 h 466725"/>
                  <a:gd name="connsiteX725" fmla="*/ 93821 w 495300"/>
                  <a:gd name="connsiteY725" fmla="*/ 469868 h 466725"/>
                  <a:gd name="connsiteX726" fmla="*/ 94679 w 495300"/>
                  <a:gd name="connsiteY726" fmla="*/ 469868 h 466725"/>
                  <a:gd name="connsiteX727" fmla="*/ 95536 w 495300"/>
                  <a:gd name="connsiteY727" fmla="*/ 469011 h 466725"/>
                  <a:gd name="connsiteX728" fmla="*/ 95536 w 495300"/>
                  <a:gd name="connsiteY728" fmla="*/ 467296 h 466725"/>
                  <a:gd name="connsiteX729" fmla="*/ 97250 w 495300"/>
                  <a:gd name="connsiteY729" fmla="*/ 467296 h 466725"/>
                  <a:gd name="connsiteX730" fmla="*/ 98108 w 495300"/>
                  <a:gd name="connsiteY730" fmla="*/ 467296 h 466725"/>
                  <a:gd name="connsiteX731" fmla="*/ 98870 w 495300"/>
                  <a:gd name="connsiteY731" fmla="*/ 467296 h 466725"/>
                  <a:gd name="connsiteX732" fmla="*/ 99727 w 495300"/>
                  <a:gd name="connsiteY732" fmla="*/ 467296 h 466725"/>
                  <a:gd name="connsiteX733" fmla="*/ 100584 w 495300"/>
                  <a:gd name="connsiteY733" fmla="*/ 466439 h 466725"/>
                  <a:gd name="connsiteX734" fmla="*/ 100584 w 495300"/>
                  <a:gd name="connsiteY734" fmla="*/ 465582 h 466725"/>
                  <a:gd name="connsiteX735" fmla="*/ 100584 w 495300"/>
                  <a:gd name="connsiteY735" fmla="*/ 464725 h 466725"/>
                  <a:gd name="connsiteX736" fmla="*/ 101441 w 495300"/>
                  <a:gd name="connsiteY736" fmla="*/ 463868 h 466725"/>
                  <a:gd name="connsiteX737" fmla="*/ 101441 w 495300"/>
                  <a:gd name="connsiteY737" fmla="*/ 463010 h 466725"/>
                  <a:gd name="connsiteX738" fmla="*/ 101441 w 495300"/>
                  <a:gd name="connsiteY738" fmla="*/ 462153 h 466725"/>
                  <a:gd name="connsiteX739" fmla="*/ 101441 w 495300"/>
                  <a:gd name="connsiteY739" fmla="*/ 461391 h 466725"/>
                  <a:gd name="connsiteX740" fmla="*/ 103156 w 495300"/>
                  <a:gd name="connsiteY740" fmla="*/ 460534 h 466725"/>
                  <a:gd name="connsiteX741" fmla="*/ 104870 w 495300"/>
                  <a:gd name="connsiteY741" fmla="*/ 459677 h 466725"/>
                  <a:gd name="connsiteX742" fmla="*/ 106490 w 495300"/>
                  <a:gd name="connsiteY742" fmla="*/ 458819 h 466725"/>
                  <a:gd name="connsiteX743" fmla="*/ 108204 w 495300"/>
                  <a:gd name="connsiteY743" fmla="*/ 457962 h 466725"/>
                  <a:gd name="connsiteX744" fmla="*/ 109061 w 495300"/>
                  <a:gd name="connsiteY744" fmla="*/ 457105 h 466725"/>
                  <a:gd name="connsiteX745" fmla="*/ 109061 w 495300"/>
                  <a:gd name="connsiteY745" fmla="*/ 456247 h 466725"/>
                  <a:gd name="connsiteX746" fmla="*/ 109061 w 495300"/>
                  <a:gd name="connsiteY746" fmla="*/ 454533 h 466725"/>
                  <a:gd name="connsiteX747" fmla="*/ 109061 w 495300"/>
                  <a:gd name="connsiteY747" fmla="*/ 453676 h 466725"/>
                  <a:gd name="connsiteX748" fmla="*/ 109919 w 495300"/>
                  <a:gd name="connsiteY748" fmla="*/ 453676 h 466725"/>
                  <a:gd name="connsiteX749" fmla="*/ 109919 w 495300"/>
                  <a:gd name="connsiteY749" fmla="*/ 452914 h 466725"/>
                  <a:gd name="connsiteX750" fmla="*/ 110776 w 495300"/>
                  <a:gd name="connsiteY750" fmla="*/ 450342 h 466725"/>
                  <a:gd name="connsiteX751" fmla="*/ 110776 w 495300"/>
                  <a:gd name="connsiteY751" fmla="*/ 449485 h 466725"/>
                  <a:gd name="connsiteX752" fmla="*/ 109919 w 495300"/>
                  <a:gd name="connsiteY752" fmla="*/ 446913 h 466725"/>
                  <a:gd name="connsiteX753" fmla="*/ 109919 w 495300"/>
                  <a:gd name="connsiteY753" fmla="*/ 446913 h 466725"/>
                  <a:gd name="connsiteX754" fmla="*/ 111633 w 495300"/>
                  <a:gd name="connsiteY754" fmla="*/ 446056 h 466725"/>
                  <a:gd name="connsiteX755" fmla="*/ 112395 w 495300"/>
                  <a:gd name="connsiteY755" fmla="*/ 446056 h 466725"/>
                  <a:gd name="connsiteX756" fmla="*/ 114110 w 495300"/>
                  <a:gd name="connsiteY756" fmla="*/ 446913 h 466725"/>
                  <a:gd name="connsiteX757" fmla="*/ 116681 w 495300"/>
                  <a:gd name="connsiteY757" fmla="*/ 446913 h 466725"/>
                  <a:gd name="connsiteX758" fmla="*/ 117539 w 495300"/>
                  <a:gd name="connsiteY758" fmla="*/ 446056 h 466725"/>
                  <a:gd name="connsiteX759" fmla="*/ 118396 w 495300"/>
                  <a:gd name="connsiteY759" fmla="*/ 444341 h 466725"/>
                  <a:gd name="connsiteX760" fmla="*/ 119253 w 495300"/>
                  <a:gd name="connsiteY760" fmla="*/ 444341 h 466725"/>
                  <a:gd name="connsiteX761" fmla="*/ 120872 w 495300"/>
                  <a:gd name="connsiteY761" fmla="*/ 444341 h 466725"/>
                  <a:gd name="connsiteX762" fmla="*/ 122587 w 495300"/>
                  <a:gd name="connsiteY762" fmla="*/ 443579 h 466725"/>
                  <a:gd name="connsiteX763" fmla="*/ 124301 w 495300"/>
                  <a:gd name="connsiteY763" fmla="*/ 441865 h 466725"/>
                  <a:gd name="connsiteX764" fmla="*/ 126778 w 495300"/>
                  <a:gd name="connsiteY764" fmla="*/ 441007 h 466725"/>
                  <a:gd name="connsiteX765" fmla="*/ 128492 w 495300"/>
                  <a:gd name="connsiteY765" fmla="*/ 440150 h 466725"/>
                  <a:gd name="connsiteX766" fmla="*/ 131921 w 495300"/>
                  <a:gd name="connsiteY766" fmla="*/ 441007 h 466725"/>
                  <a:gd name="connsiteX767" fmla="*/ 136112 w 495300"/>
                  <a:gd name="connsiteY767" fmla="*/ 441865 h 466725"/>
                  <a:gd name="connsiteX768" fmla="*/ 139541 w 495300"/>
                  <a:gd name="connsiteY768" fmla="*/ 442722 h 466725"/>
                  <a:gd name="connsiteX769" fmla="*/ 140303 w 495300"/>
                  <a:gd name="connsiteY769" fmla="*/ 442722 h 466725"/>
                  <a:gd name="connsiteX770" fmla="*/ 142018 w 495300"/>
                  <a:gd name="connsiteY770" fmla="*/ 443579 h 466725"/>
                  <a:gd name="connsiteX771" fmla="*/ 143732 w 495300"/>
                  <a:gd name="connsiteY771" fmla="*/ 443579 h 466725"/>
                  <a:gd name="connsiteX772" fmla="*/ 144590 w 495300"/>
                  <a:gd name="connsiteY772" fmla="*/ 442722 h 466725"/>
                  <a:gd name="connsiteX773" fmla="*/ 145447 w 495300"/>
                  <a:gd name="connsiteY773" fmla="*/ 441865 h 466725"/>
                  <a:gd name="connsiteX774" fmla="*/ 147066 w 495300"/>
                  <a:gd name="connsiteY774" fmla="*/ 440150 h 466725"/>
                  <a:gd name="connsiteX775" fmla="*/ 148781 w 495300"/>
                  <a:gd name="connsiteY775" fmla="*/ 439293 h 466725"/>
                  <a:gd name="connsiteX776" fmla="*/ 149638 w 495300"/>
                  <a:gd name="connsiteY776" fmla="*/ 438436 h 466725"/>
                  <a:gd name="connsiteX777" fmla="*/ 152210 w 495300"/>
                  <a:gd name="connsiteY777" fmla="*/ 439293 h 466725"/>
                  <a:gd name="connsiteX778" fmla="*/ 153067 w 495300"/>
                  <a:gd name="connsiteY778" fmla="*/ 441007 h 466725"/>
                  <a:gd name="connsiteX779" fmla="*/ 153829 w 495300"/>
                  <a:gd name="connsiteY779" fmla="*/ 441865 h 466725"/>
                  <a:gd name="connsiteX780" fmla="*/ 155543 w 495300"/>
                  <a:gd name="connsiteY780" fmla="*/ 443579 h 466725"/>
                  <a:gd name="connsiteX781" fmla="*/ 156401 w 495300"/>
                  <a:gd name="connsiteY781" fmla="*/ 444341 h 466725"/>
                  <a:gd name="connsiteX782" fmla="*/ 157258 w 495300"/>
                  <a:gd name="connsiteY782" fmla="*/ 445198 h 466725"/>
                  <a:gd name="connsiteX783" fmla="*/ 160592 w 495300"/>
                  <a:gd name="connsiteY783" fmla="*/ 446913 h 466725"/>
                  <a:gd name="connsiteX784" fmla="*/ 161449 w 495300"/>
                  <a:gd name="connsiteY784" fmla="*/ 447770 h 466725"/>
                  <a:gd name="connsiteX785" fmla="*/ 163163 w 495300"/>
                  <a:gd name="connsiteY785" fmla="*/ 447770 h 466725"/>
                  <a:gd name="connsiteX786" fmla="*/ 164878 w 495300"/>
                  <a:gd name="connsiteY786" fmla="*/ 447770 h 466725"/>
                  <a:gd name="connsiteX787" fmla="*/ 167450 w 495300"/>
                  <a:gd name="connsiteY787" fmla="*/ 447770 h 466725"/>
                  <a:gd name="connsiteX788" fmla="*/ 169069 w 495300"/>
                  <a:gd name="connsiteY788" fmla="*/ 446056 h 466725"/>
                  <a:gd name="connsiteX789" fmla="*/ 170783 w 495300"/>
                  <a:gd name="connsiteY789" fmla="*/ 445198 h 466725"/>
                  <a:gd name="connsiteX790" fmla="*/ 171641 w 495300"/>
                  <a:gd name="connsiteY790" fmla="*/ 444341 h 466725"/>
                  <a:gd name="connsiteX791" fmla="*/ 172498 w 495300"/>
                  <a:gd name="connsiteY791" fmla="*/ 442722 h 466725"/>
                  <a:gd name="connsiteX792" fmla="*/ 174212 w 495300"/>
                  <a:gd name="connsiteY792" fmla="*/ 440150 h 466725"/>
                  <a:gd name="connsiteX793" fmla="*/ 174212 w 495300"/>
                  <a:gd name="connsiteY793" fmla="*/ 439293 h 466725"/>
                  <a:gd name="connsiteX794" fmla="*/ 174212 w 495300"/>
                  <a:gd name="connsiteY794" fmla="*/ 438436 h 466725"/>
                  <a:gd name="connsiteX795" fmla="*/ 174212 w 495300"/>
                  <a:gd name="connsiteY795" fmla="*/ 437579 h 466725"/>
                  <a:gd name="connsiteX796" fmla="*/ 173355 w 495300"/>
                  <a:gd name="connsiteY796" fmla="*/ 436721 h 466725"/>
                  <a:gd name="connsiteX797" fmla="*/ 173355 w 495300"/>
                  <a:gd name="connsiteY797" fmla="*/ 435102 h 466725"/>
                  <a:gd name="connsiteX798" fmla="*/ 173355 w 495300"/>
                  <a:gd name="connsiteY798" fmla="*/ 434245 h 466725"/>
                  <a:gd name="connsiteX799" fmla="*/ 173355 w 495300"/>
                  <a:gd name="connsiteY799" fmla="*/ 432530 h 466725"/>
                  <a:gd name="connsiteX800" fmla="*/ 174212 w 495300"/>
                  <a:gd name="connsiteY800" fmla="*/ 432530 h 466725"/>
                  <a:gd name="connsiteX801" fmla="*/ 174974 w 495300"/>
                  <a:gd name="connsiteY801" fmla="*/ 431673 h 466725"/>
                  <a:gd name="connsiteX802" fmla="*/ 175832 w 495300"/>
                  <a:gd name="connsiteY802" fmla="*/ 431673 h 466725"/>
                  <a:gd name="connsiteX803" fmla="*/ 176689 w 495300"/>
                  <a:gd name="connsiteY803" fmla="*/ 432530 h 466725"/>
                  <a:gd name="connsiteX804" fmla="*/ 177546 w 495300"/>
                  <a:gd name="connsiteY804" fmla="*/ 433388 h 466725"/>
                  <a:gd name="connsiteX805" fmla="*/ 177546 w 495300"/>
                  <a:gd name="connsiteY805" fmla="*/ 435102 h 466725"/>
                  <a:gd name="connsiteX806" fmla="*/ 177546 w 495300"/>
                  <a:gd name="connsiteY806" fmla="*/ 435864 h 466725"/>
                  <a:gd name="connsiteX807" fmla="*/ 177546 w 495300"/>
                  <a:gd name="connsiteY807" fmla="*/ 437579 h 466725"/>
                  <a:gd name="connsiteX808" fmla="*/ 180118 w 495300"/>
                  <a:gd name="connsiteY808" fmla="*/ 438436 h 466725"/>
                  <a:gd name="connsiteX809" fmla="*/ 180975 w 495300"/>
                  <a:gd name="connsiteY809" fmla="*/ 439293 h 466725"/>
                  <a:gd name="connsiteX810" fmla="*/ 181737 w 495300"/>
                  <a:gd name="connsiteY810" fmla="*/ 438436 h 466725"/>
                  <a:gd name="connsiteX811" fmla="*/ 182594 w 495300"/>
                  <a:gd name="connsiteY811" fmla="*/ 437579 h 466725"/>
                  <a:gd name="connsiteX812" fmla="*/ 182594 w 495300"/>
                  <a:gd name="connsiteY812" fmla="*/ 436721 h 466725"/>
                  <a:gd name="connsiteX813" fmla="*/ 183452 w 495300"/>
                  <a:gd name="connsiteY813" fmla="*/ 435864 h 466725"/>
                  <a:gd name="connsiteX814" fmla="*/ 183452 w 495300"/>
                  <a:gd name="connsiteY814" fmla="*/ 435102 h 466725"/>
                  <a:gd name="connsiteX815" fmla="*/ 181737 w 495300"/>
                  <a:gd name="connsiteY815" fmla="*/ 431673 h 466725"/>
                  <a:gd name="connsiteX816" fmla="*/ 181737 w 495300"/>
                  <a:gd name="connsiteY816" fmla="*/ 429101 h 466725"/>
                  <a:gd name="connsiteX817" fmla="*/ 181737 w 495300"/>
                  <a:gd name="connsiteY817" fmla="*/ 428244 h 466725"/>
                  <a:gd name="connsiteX818" fmla="*/ 183452 w 495300"/>
                  <a:gd name="connsiteY818" fmla="*/ 426625 h 466725"/>
                  <a:gd name="connsiteX819" fmla="*/ 185166 w 495300"/>
                  <a:gd name="connsiteY819" fmla="*/ 425768 h 466725"/>
                  <a:gd name="connsiteX820" fmla="*/ 187738 w 495300"/>
                  <a:gd name="connsiteY820" fmla="*/ 424910 h 466725"/>
                  <a:gd name="connsiteX821" fmla="*/ 189357 w 495300"/>
                  <a:gd name="connsiteY821" fmla="*/ 424910 h 466725"/>
                  <a:gd name="connsiteX822" fmla="*/ 191072 w 495300"/>
                  <a:gd name="connsiteY822" fmla="*/ 424053 h 466725"/>
                  <a:gd name="connsiteX823" fmla="*/ 192786 w 495300"/>
                  <a:gd name="connsiteY823" fmla="*/ 422338 h 466725"/>
                  <a:gd name="connsiteX824" fmla="*/ 194501 w 495300"/>
                  <a:gd name="connsiteY824" fmla="*/ 422338 h 466725"/>
                  <a:gd name="connsiteX825" fmla="*/ 195263 w 495300"/>
                  <a:gd name="connsiteY825" fmla="*/ 422338 h 466725"/>
                  <a:gd name="connsiteX826" fmla="*/ 196977 w 495300"/>
                  <a:gd name="connsiteY826" fmla="*/ 422338 h 466725"/>
                  <a:gd name="connsiteX827" fmla="*/ 197834 w 495300"/>
                  <a:gd name="connsiteY827" fmla="*/ 422338 h 466725"/>
                  <a:gd name="connsiteX828" fmla="*/ 199549 w 495300"/>
                  <a:gd name="connsiteY828" fmla="*/ 423196 h 466725"/>
                  <a:gd name="connsiteX829" fmla="*/ 205454 w 495300"/>
                  <a:gd name="connsiteY829" fmla="*/ 423196 h 466725"/>
                  <a:gd name="connsiteX830" fmla="*/ 206312 w 495300"/>
                  <a:gd name="connsiteY830" fmla="*/ 423196 h 466725"/>
                  <a:gd name="connsiteX831" fmla="*/ 208026 w 495300"/>
                  <a:gd name="connsiteY831" fmla="*/ 424053 h 466725"/>
                  <a:gd name="connsiteX832" fmla="*/ 208788 w 495300"/>
                  <a:gd name="connsiteY832" fmla="*/ 424053 h 466725"/>
                  <a:gd name="connsiteX833" fmla="*/ 209645 w 495300"/>
                  <a:gd name="connsiteY833" fmla="*/ 424910 h 466725"/>
                  <a:gd name="connsiteX834" fmla="*/ 211360 w 495300"/>
                  <a:gd name="connsiteY834" fmla="*/ 424910 h 466725"/>
                  <a:gd name="connsiteX835" fmla="*/ 213074 w 495300"/>
                  <a:gd name="connsiteY835" fmla="*/ 424910 h 466725"/>
                  <a:gd name="connsiteX836" fmla="*/ 214789 w 495300"/>
                  <a:gd name="connsiteY836" fmla="*/ 424053 h 466725"/>
                  <a:gd name="connsiteX837" fmla="*/ 216408 w 495300"/>
                  <a:gd name="connsiteY837" fmla="*/ 422338 h 466725"/>
                  <a:gd name="connsiteX838" fmla="*/ 216408 w 495300"/>
                  <a:gd name="connsiteY838" fmla="*/ 421481 h 466725"/>
                  <a:gd name="connsiteX839" fmla="*/ 217265 w 495300"/>
                  <a:gd name="connsiteY839" fmla="*/ 415576 h 466725"/>
                  <a:gd name="connsiteX840" fmla="*/ 217265 w 495300"/>
                  <a:gd name="connsiteY840" fmla="*/ 411289 h 466725"/>
                  <a:gd name="connsiteX841" fmla="*/ 216408 w 495300"/>
                  <a:gd name="connsiteY841" fmla="*/ 409575 h 466725"/>
                  <a:gd name="connsiteX842" fmla="*/ 215551 w 495300"/>
                  <a:gd name="connsiteY842" fmla="*/ 408813 h 466725"/>
                  <a:gd name="connsiteX843" fmla="*/ 215551 w 495300"/>
                  <a:gd name="connsiteY843" fmla="*/ 407098 h 466725"/>
                  <a:gd name="connsiteX844" fmla="*/ 215551 w 495300"/>
                  <a:gd name="connsiteY844" fmla="*/ 405384 h 466725"/>
                  <a:gd name="connsiteX845" fmla="*/ 215551 w 495300"/>
                  <a:gd name="connsiteY845" fmla="*/ 401955 h 466725"/>
                  <a:gd name="connsiteX846" fmla="*/ 216408 w 495300"/>
                  <a:gd name="connsiteY846" fmla="*/ 400336 h 466725"/>
                  <a:gd name="connsiteX847" fmla="*/ 217265 w 495300"/>
                  <a:gd name="connsiteY847" fmla="*/ 398621 h 466725"/>
                  <a:gd name="connsiteX848" fmla="*/ 218123 w 495300"/>
                  <a:gd name="connsiteY848" fmla="*/ 397764 h 466725"/>
                  <a:gd name="connsiteX849" fmla="*/ 218123 w 495300"/>
                  <a:gd name="connsiteY849" fmla="*/ 396050 h 466725"/>
                  <a:gd name="connsiteX850" fmla="*/ 217265 w 495300"/>
                  <a:gd name="connsiteY850" fmla="*/ 395192 h 466725"/>
                  <a:gd name="connsiteX851" fmla="*/ 216408 w 495300"/>
                  <a:gd name="connsiteY851" fmla="*/ 393478 h 466725"/>
                  <a:gd name="connsiteX852" fmla="*/ 216408 w 495300"/>
                  <a:gd name="connsiteY852" fmla="*/ 391859 h 466725"/>
                  <a:gd name="connsiteX853" fmla="*/ 217265 w 495300"/>
                  <a:gd name="connsiteY853" fmla="*/ 391001 h 466725"/>
                  <a:gd name="connsiteX854" fmla="*/ 220694 w 495300"/>
                  <a:gd name="connsiteY854" fmla="*/ 387572 h 466725"/>
                  <a:gd name="connsiteX855" fmla="*/ 221552 w 495300"/>
                  <a:gd name="connsiteY855" fmla="*/ 385858 h 466725"/>
                  <a:gd name="connsiteX856" fmla="*/ 223171 w 495300"/>
                  <a:gd name="connsiteY856" fmla="*/ 385001 h 466725"/>
                  <a:gd name="connsiteX857" fmla="*/ 224885 w 495300"/>
                  <a:gd name="connsiteY857" fmla="*/ 385001 h 466725"/>
                  <a:gd name="connsiteX858" fmla="*/ 227457 w 495300"/>
                  <a:gd name="connsiteY858" fmla="*/ 384143 h 466725"/>
                  <a:gd name="connsiteX859" fmla="*/ 228314 w 495300"/>
                  <a:gd name="connsiteY859" fmla="*/ 384143 h 466725"/>
                  <a:gd name="connsiteX860" fmla="*/ 229934 w 495300"/>
                  <a:gd name="connsiteY860" fmla="*/ 383286 h 466725"/>
                  <a:gd name="connsiteX861" fmla="*/ 236696 w 495300"/>
                  <a:gd name="connsiteY861" fmla="*/ 383286 h 466725"/>
                  <a:gd name="connsiteX862" fmla="*/ 239268 w 495300"/>
                  <a:gd name="connsiteY862" fmla="*/ 383286 h 466725"/>
                  <a:gd name="connsiteX863" fmla="*/ 240125 w 495300"/>
                  <a:gd name="connsiteY863" fmla="*/ 383286 h 466725"/>
                  <a:gd name="connsiteX864" fmla="*/ 240983 w 495300"/>
                  <a:gd name="connsiteY864" fmla="*/ 382524 h 466725"/>
                  <a:gd name="connsiteX865" fmla="*/ 241840 w 495300"/>
                  <a:gd name="connsiteY865" fmla="*/ 380810 h 466725"/>
                  <a:gd name="connsiteX866" fmla="*/ 243459 w 495300"/>
                  <a:gd name="connsiteY866" fmla="*/ 379095 h 466725"/>
                  <a:gd name="connsiteX867" fmla="*/ 246888 w 495300"/>
                  <a:gd name="connsiteY867" fmla="*/ 378238 h 466725"/>
                  <a:gd name="connsiteX868" fmla="*/ 248603 w 495300"/>
                  <a:gd name="connsiteY868" fmla="*/ 377380 h 466725"/>
                  <a:gd name="connsiteX869" fmla="*/ 251079 w 495300"/>
                  <a:gd name="connsiteY869" fmla="*/ 378238 h 466725"/>
                  <a:gd name="connsiteX870" fmla="*/ 252794 w 495300"/>
                  <a:gd name="connsiteY870" fmla="*/ 377380 h 466725"/>
                  <a:gd name="connsiteX871" fmla="*/ 254508 w 495300"/>
                  <a:gd name="connsiteY871" fmla="*/ 377380 h 466725"/>
                  <a:gd name="connsiteX872" fmla="*/ 255365 w 495300"/>
                  <a:gd name="connsiteY872" fmla="*/ 376523 h 466725"/>
                  <a:gd name="connsiteX873" fmla="*/ 256223 w 495300"/>
                  <a:gd name="connsiteY873" fmla="*/ 375666 h 466725"/>
                  <a:gd name="connsiteX874" fmla="*/ 257842 w 495300"/>
                  <a:gd name="connsiteY874" fmla="*/ 374047 h 466725"/>
                  <a:gd name="connsiteX875" fmla="*/ 259556 w 495300"/>
                  <a:gd name="connsiteY875" fmla="*/ 374047 h 466725"/>
                  <a:gd name="connsiteX876" fmla="*/ 262128 w 495300"/>
                  <a:gd name="connsiteY876" fmla="*/ 374047 h 466725"/>
                  <a:gd name="connsiteX877" fmla="*/ 263747 w 495300"/>
                  <a:gd name="connsiteY877" fmla="*/ 374047 h 466725"/>
                  <a:gd name="connsiteX878" fmla="*/ 264605 w 495300"/>
                  <a:gd name="connsiteY878" fmla="*/ 373189 h 466725"/>
                  <a:gd name="connsiteX879" fmla="*/ 265462 w 495300"/>
                  <a:gd name="connsiteY879" fmla="*/ 371475 h 466725"/>
                  <a:gd name="connsiteX880" fmla="*/ 267176 w 495300"/>
                  <a:gd name="connsiteY880" fmla="*/ 370618 h 466725"/>
                  <a:gd name="connsiteX881" fmla="*/ 271367 w 495300"/>
                  <a:gd name="connsiteY881" fmla="*/ 370618 h 466725"/>
                  <a:gd name="connsiteX882" fmla="*/ 273082 w 495300"/>
                  <a:gd name="connsiteY882" fmla="*/ 369761 h 466725"/>
                  <a:gd name="connsiteX883" fmla="*/ 274796 w 495300"/>
                  <a:gd name="connsiteY883" fmla="*/ 367189 h 466725"/>
                  <a:gd name="connsiteX884" fmla="*/ 276511 w 495300"/>
                  <a:gd name="connsiteY884" fmla="*/ 367189 h 466725"/>
                  <a:gd name="connsiteX885" fmla="*/ 277368 w 495300"/>
                  <a:gd name="connsiteY885" fmla="*/ 366331 h 466725"/>
                  <a:gd name="connsiteX886" fmla="*/ 278130 w 495300"/>
                  <a:gd name="connsiteY886" fmla="*/ 367189 h 466725"/>
                  <a:gd name="connsiteX887" fmla="*/ 281559 w 495300"/>
                  <a:gd name="connsiteY887" fmla="*/ 370618 h 466725"/>
                  <a:gd name="connsiteX888" fmla="*/ 283274 w 495300"/>
                  <a:gd name="connsiteY888" fmla="*/ 370618 h 466725"/>
                  <a:gd name="connsiteX889" fmla="*/ 284893 w 495300"/>
                  <a:gd name="connsiteY889" fmla="*/ 370618 h 466725"/>
                  <a:gd name="connsiteX890" fmla="*/ 286607 w 495300"/>
                  <a:gd name="connsiteY890" fmla="*/ 369761 h 466725"/>
                  <a:gd name="connsiteX891" fmla="*/ 288322 w 495300"/>
                  <a:gd name="connsiteY891" fmla="*/ 371475 h 466725"/>
                  <a:gd name="connsiteX892" fmla="*/ 289179 w 495300"/>
                  <a:gd name="connsiteY892" fmla="*/ 372332 h 466725"/>
                  <a:gd name="connsiteX893" fmla="*/ 290036 w 495300"/>
                  <a:gd name="connsiteY893" fmla="*/ 375666 h 466725"/>
                  <a:gd name="connsiteX894" fmla="*/ 291656 w 495300"/>
                  <a:gd name="connsiteY894" fmla="*/ 377380 h 466725"/>
                  <a:gd name="connsiteX895" fmla="*/ 292513 w 495300"/>
                  <a:gd name="connsiteY895" fmla="*/ 377380 h 466725"/>
                  <a:gd name="connsiteX896" fmla="*/ 293370 w 495300"/>
                  <a:gd name="connsiteY896" fmla="*/ 378238 h 466725"/>
                  <a:gd name="connsiteX897" fmla="*/ 295942 w 495300"/>
                  <a:gd name="connsiteY897" fmla="*/ 377380 h 466725"/>
                  <a:gd name="connsiteX898" fmla="*/ 297656 w 495300"/>
                  <a:gd name="connsiteY898" fmla="*/ 376523 h 466725"/>
                  <a:gd name="connsiteX899" fmla="*/ 299275 w 495300"/>
                  <a:gd name="connsiteY899" fmla="*/ 374809 h 466725"/>
                  <a:gd name="connsiteX900" fmla="*/ 300990 w 495300"/>
                  <a:gd name="connsiteY900" fmla="*/ 370618 h 466725"/>
                  <a:gd name="connsiteX901" fmla="*/ 301847 w 495300"/>
                  <a:gd name="connsiteY901" fmla="*/ 370618 h 466725"/>
                  <a:gd name="connsiteX902" fmla="*/ 302705 w 495300"/>
                  <a:gd name="connsiteY902" fmla="*/ 369761 h 466725"/>
                  <a:gd name="connsiteX903" fmla="*/ 304419 w 495300"/>
                  <a:gd name="connsiteY903" fmla="*/ 368903 h 466725"/>
                  <a:gd name="connsiteX904" fmla="*/ 304419 w 495300"/>
                  <a:gd name="connsiteY904" fmla="*/ 368046 h 466725"/>
                  <a:gd name="connsiteX905" fmla="*/ 306038 w 495300"/>
                  <a:gd name="connsiteY905" fmla="*/ 366331 h 466725"/>
                  <a:gd name="connsiteX906" fmla="*/ 306896 w 495300"/>
                  <a:gd name="connsiteY906" fmla="*/ 365570 h 466725"/>
                  <a:gd name="connsiteX907" fmla="*/ 307753 w 495300"/>
                  <a:gd name="connsiteY907" fmla="*/ 364712 h 466725"/>
                  <a:gd name="connsiteX908" fmla="*/ 307753 w 495300"/>
                  <a:gd name="connsiteY908" fmla="*/ 361283 h 466725"/>
                  <a:gd name="connsiteX909" fmla="*/ 308610 w 495300"/>
                  <a:gd name="connsiteY909" fmla="*/ 360426 h 466725"/>
                  <a:gd name="connsiteX910" fmla="*/ 309467 w 495300"/>
                  <a:gd name="connsiteY910" fmla="*/ 357854 h 466725"/>
                  <a:gd name="connsiteX911" fmla="*/ 309467 w 495300"/>
                  <a:gd name="connsiteY911" fmla="*/ 356997 h 466725"/>
                  <a:gd name="connsiteX912" fmla="*/ 306896 w 495300"/>
                  <a:gd name="connsiteY912" fmla="*/ 355378 h 466725"/>
                  <a:gd name="connsiteX913" fmla="*/ 306038 w 495300"/>
                  <a:gd name="connsiteY913" fmla="*/ 354521 h 466725"/>
                  <a:gd name="connsiteX914" fmla="*/ 306038 w 495300"/>
                  <a:gd name="connsiteY914" fmla="*/ 353663 h 466725"/>
                  <a:gd name="connsiteX915" fmla="*/ 306038 w 495300"/>
                  <a:gd name="connsiteY915" fmla="*/ 352806 h 466725"/>
                  <a:gd name="connsiteX916" fmla="*/ 306038 w 495300"/>
                  <a:gd name="connsiteY916" fmla="*/ 352806 h 466725"/>
                  <a:gd name="connsiteX917" fmla="*/ 303562 w 495300"/>
                  <a:gd name="connsiteY917" fmla="*/ 352806 h 466725"/>
                  <a:gd name="connsiteX918" fmla="*/ 301847 w 495300"/>
                  <a:gd name="connsiteY918" fmla="*/ 351092 h 466725"/>
                  <a:gd name="connsiteX919" fmla="*/ 300990 w 495300"/>
                  <a:gd name="connsiteY919" fmla="*/ 351092 h 466725"/>
                  <a:gd name="connsiteX920" fmla="*/ 301847 w 495300"/>
                  <a:gd name="connsiteY920" fmla="*/ 349377 h 466725"/>
                  <a:gd name="connsiteX921" fmla="*/ 302705 w 495300"/>
                  <a:gd name="connsiteY921" fmla="*/ 347758 h 466725"/>
                  <a:gd name="connsiteX922" fmla="*/ 303562 w 495300"/>
                  <a:gd name="connsiteY922" fmla="*/ 346043 h 466725"/>
                  <a:gd name="connsiteX923" fmla="*/ 304419 w 495300"/>
                  <a:gd name="connsiteY923" fmla="*/ 344329 h 466725"/>
                  <a:gd name="connsiteX924" fmla="*/ 305181 w 495300"/>
                  <a:gd name="connsiteY924" fmla="*/ 343471 h 466725"/>
                  <a:gd name="connsiteX925" fmla="*/ 306038 w 495300"/>
                  <a:gd name="connsiteY925" fmla="*/ 342614 h 466725"/>
                  <a:gd name="connsiteX926" fmla="*/ 306896 w 495300"/>
                  <a:gd name="connsiteY926" fmla="*/ 339280 h 466725"/>
                  <a:gd name="connsiteX927" fmla="*/ 311182 w 495300"/>
                  <a:gd name="connsiteY927" fmla="*/ 340043 h 466725"/>
                  <a:gd name="connsiteX928" fmla="*/ 311182 w 495300"/>
                  <a:gd name="connsiteY928" fmla="*/ 338423 h 466725"/>
                  <a:gd name="connsiteX929" fmla="*/ 311944 w 495300"/>
                  <a:gd name="connsiteY929" fmla="*/ 336709 h 466725"/>
                  <a:gd name="connsiteX930" fmla="*/ 312801 w 495300"/>
                  <a:gd name="connsiteY930" fmla="*/ 337566 h 466725"/>
                  <a:gd name="connsiteX931" fmla="*/ 313658 w 495300"/>
                  <a:gd name="connsiteY931" fmla="*/ 337566 h 466725"/>
                  <a:gd name="connsiteX932" fmla="*/ 314516 w 495300"/>
                  <a:gd name="connsiteY932" fmla="*/ 337566 h 466725"/>
                  <a:gd name="connsiteX933" fmla="*/ 314516 w 495300"/>
                  <a:gd name="connsiteY933" fmla="*/ 337566 h 466725"/>
                  <a:gd name="connsiteX934" fmla="*/ 315373 w 495300"/>
                  <a:gd name="connsiteY934" fmla="*/ 336709 h 466725"/>
                  <a:gd name="connsiteX935" fmla="*/ 316230 w 495300"/>
                  <a:gd name="connsiteY935" fmla="*/ 337566 h 466725"/>
                  <a:gd name="connsiteX936" fmla="*/ 317087 w 495300"/>
                  <a:gd name="connsiteY936" fmla="*/ 337566 h 466725"/>
                  <a:gd name="connsiteX937" fmla="*/ 317945 w 495300"/>
                  <a:gd name="connsiteY937" fmla="*/ 335852 h 466725"/>
                  <a:gd name="connsiteX938" fmla="*/ 317945 w 495300"/>
                  <a:gd name="connsiteY938" fmla="*/ 334994 h 466725"/>
                  <a:gd name="connsiteX939" fmla="*/ 318707 w 495300"/>
                  <a:gd name="connsiteY939" fmla="*/ 334137 h 466725"/>
                  <a:gd name="connsiteX940" fmla="*/ 320421 w 495300"/>
                  <a:gd name="connsiteY940" fmla="*/ 332422 h 466725"/>
                  <a:gd name="connsiteX941" fmla="*/ 320421 w 495300"/>
                  <a:gd name="connsiteY941" fmla="*/ 331565 h 466725"/>
                  <a:gd name="connsiteX942" fmla="*/ 322136 w 495300"/>
                  <a:gd name="connsiteY942" fmla="*/ 329946 h 466725"/>
                  <a:gd name="connsiteX943" fmla="*/ 323850 w 495300"/>
                  <a:gd name="connsiteY943" fmla="*/ 330708 h 466725"/>
                  <a:gd name="connsiteX944" fmla="*/ 323850 w 495300"/>
                  <a:gd name="connsiteY944" fmla="*/ 332422 h 466725"/>
                  <a:gd name="connsiteX945" fmla="*/ 323850 w 495300"/>
                  <a:gd name="connsiteY945" fmla="*/ 333280 h 466725"/>
                  <a:gd name="connsiteX946" fmla="*/ 324707 w 495300"/>
                  <a:gd name="connsiteY946" fmla="*/ 334137 h 466725"/>
                  <a:gd name="connsiteX947" fmla="*/ 325565 w 495300"/>
                  <a:gd name="connsiteY947" fmla="*/ 333280 h 466725"/>
                  <a:gd name="connsiteX948" fmla="*/ 326327 w 495300"/>
                  <a:gd name="connsiteY948" fmla="*/ 333280 h 466725"/>
                  <a:gd name="connsiteX949" fmla="*/ 328041 w 495300"/>
                  <a:gd name="connsiteY949" fmla="*/ 334994 h 466725"/>
                  <a:gd name="connsiteX950" fmla="*/ 328041 w 495300"/>
                  <a:gd name="connsiteY950" fmla="*/ 334994 h 466725"/>
                  <a:gd name="connsiteX951" fmla="*/ 328898 w 495300"/>
                  <a:gd name="connsiteY951" fmla="*/ 334994 h 466725"/>
                  <a:gd name="connsiteX952" fmla="*/ 329756 w 495300"/>
                  <a:gd name="connsiteY952" fmla="*/ 334137 h 466725"/>
                  <a:gd name="connsiteX953" fmla="*/ 330613 w 495300"/>
                  <a:gd name="connsiteY953" fmla="*/ 334137 h 466725"/>
                  <a:gd name="connsiteX954" fmla="*/ 332327 w 495300"/>
                  <a:gd name="connsiteY954" fmla="*/ 335852 h 466725"/>
                  <a:gd name="connsiteX955" fmla="*/ 333946 w 495300"/>
                  <a:gd name="connsiteY955" fmla="*/ 338423 h 466725"/>
                  <a:gd name="connsiteX956" fmla="*/ 335661 w 495300"/>
                  <a:gd name="connsiteY956" fmla="*/ 340900 h 466725"/>
                  <a:gd name="connsiteX957" fmla="*/ 335661 w 495300"/>
                  <a:gd name="connsiteY957" fmla="*/ 342614 h 466725"/>
                  <a:gd name="connsiteX958" fmla="*/ 336518 w 495300"/>
                  <a:gd name="connsiteY958" fmla="*/ 344329 h 466725"/>
                  <a:gd name="connsiteX959" fmla="*/ 336518 w 495300"/>
                  <a:gd name="connsiteY959" fmla="*/ 345186 h 466725"/>
                  <a:gd name="connsiteX960" fmla="*/ 336518 w 495300"/>
                  <a:gd name="connsiteY960" fmla="*/ 345186 h 466725"/>
                  <a:gd name="connsiteX961" fmla="*/ 337375 w 495300"/>
                  <a:gd name="connsiteY961" fmla="*/ 347758 h 466725"/>
                  <a:gd name="connsiteX962" fmla="*/ 337375 w 495300"/>
                  <a:gd name="connsiteY962" fmla="*/ 348520 h 466725"/>
                  <a:gd name="connsiteX963" fmla="*/ 337375 w 495300"/>
                  <a:gd name="connsiteY963" fmla="*/ 349377 h 466725"/>
                  <a:gd name="connsiteX964" fmla="*/ 337375 w 495300"/>
                  <a:gd name="connsiteY964" fmla="*/ 350234 h 466725"/>
                  <a:gd name="connsiteX965" fmla="*/ 338233 w 495300"/>
                  <a:gd name="connsiteY965" fmla="*/ 350234 h 466725"/>
                  <a:gd name="connsiteX966" fmla="*/ 339090 w 495300"/>
                  <a:gd name="connsiteY966" fmla="*/ 351092 h 466725"/>
                  <a:gd name="connsiteX967" fmla="*/ 339090 w 495300"/>
                  <a:gd name="connsiteY967" fmla="*/ 351949 h 466725"/>
                  <a:gd name="connsiteX968" fmla="*/ 340709 w 495300"/>
                  <a:gd name="connsiteY968" fmla="*/ 351949 h 466725"/>
                  <a:gd name="connsiteX969" fmla="*/ 341567 w 495300"/>
                  <a:gd name="connsiteY969" fmla="*/ 351949 h 466725"/>
                  <a:gd name="connsiteX970" fmla="*/ 342424 w 495300"/>
                  <a:gd name="connsiteY970" fmla="*/ 352806 h 466725"/>
                  <a:gd name="connsiteX971" fmla="*/ 342424 w 495300"/>
                  <a:gd name="connsiteY971" fmla="*/ 353663 h 466725"/>
                  <a:gd name="connsiteX972" fmla="*/ 342424 w 495300"/>
                  <a:gd name="connsiteY972" fmla="*/ 355378 h 466725"/>
                  <a:gd name="connsiteX973" fmla="*/ 343281 w 495300"/>
                  <a:gd name="connsiteY973" fmla="*/ 356997 h 466725"/>
                  <a:gd name="connsiteX974" fmla="*/ 343281 w 495300"/>
                  <a:gd name="connsiteY974" fmla="*/ 356997 h 466725"/>
                  <a:gd name="connsiteX975" fmla="*/ 344138 w 495300"/>
                  <a:gd name="connsiteY975" fmla="*/ 356997 h 466725"/>
                  <a:gd name="connsiteX976" fmla="*/ 344138 w 495300"/>
                  <a:gd name="connsiteY976" fmla="*/ 356235 h 466725"/>
                  <a:gd name="connsiteX977" fmla="*/ 345853 w 495300"/>
                  <a:gd name="connsiteY977" fmla="*/ 355378 h 466725"/>
                  <a:gd name="connsiteX978" fmla="*/ 345853 w 495300"/>
                  <a:gd name="connsiteY978" fmla="*/ 354521 h 466725"/>
                  <a:gd name="connsiteX979" fmla="*/ 346615 w 495300"/>
                  <a:gd name="connsiteY979" fmla="*/ 354521 h 466725"/>
                  <a:gd name="connsiteX980" fmla="*/ 345853 w 495300"/>
                  <a:gd name="connsiteY980" fmla="*/ 352806 h 466725"/>
                  <a:gd name="connsiteX981" fmla="*/ 348329 w 495300"/>
                  <a:gd name="connsiteY981" fmla="*/ 353663 h 466725"/>
                  <a:gd name="connsiteX982" fmla="*/ 348329 w 495300"/>
                  <a:gd name="connsiteY982" fmla="*/ 354521 h 466725"/>
                  <a:gd name="connsiteX983" fmla="*/ 348329 w 495300"/>
                  <a:gd name="connsiteY983" fmla="*/ 355378 h 466725"/>
                  <a:gd name="connsiteX984" fmla="*/ 350044 w 495300"/>
                  <a:gd name="connsiteY984" fmla="*/ 355378 h 466725"/>
                  <a:gd name="connsiteX985" fmla="*/ 350044 w 495300"/>
                  <a:gd name="connsiteY985" fmla="*/ 355378 h 466725"/>
                  <a:gd name="connsiteX986" fmla="*/ 350901 w 495300"/>
                  <a:gd name="connsiteY986" fmla="*/ 356235 h 466725"/>
                  <a:gd name="connsiteX987" fmla="*/ 351758 w 495300"/>
                  <a:gd name="connsiteY987" fmla="*/ 356997 h 466725"/>
                  <a:gd name="connsiteX988" fmla="*/ 352616 w 495300"/>
                  <a:gd name="connsiteY988" fmla="*/ 357854 h 466725"/>
                  <a:gd name="connsiteX989" fmla="*/ 352616 w 495300"/>
                  <a:gd name="connsiteY989" fmla="*/ 359569 h 466725"/>
                  <a:gd name="connsiteX990" fmla="*/ 354235 w 495300"/>
                  <a:gd name="connsiteY990" fmla="*/ 359569 h 466725"/>
                  <a:gd name="connsiteX991" fmla="*/ 355092 w 495300"/>
                  <a:gd name="connsiteY991" fmla="*/ 360426 h 466725"/>
                  <a:gd name="connsiteX992" fmla="*/ 355949 w 495300"/>
                  <a:gd name="connsiteY992" fmla="*/ 360426 h 466725"/>
                  <a:gd name="connsiteX993" fmla="*/ 355949 w 495300"/>
                  <a:gd name="connsiteY993" fmla="*/ 361283 h 466725"/>
                  <a:gd name="connsiteX994" fmla="*/ 358521 w 495300"/>
                  <a:gd name="connsiteY994" fmla="*/ 362140 h 466725"/>
                  <a:gd name="connsiteX995" fmla="*/ 359378 w 495300"/>
                  <a:gd name="connsiteY995" fmla="*/ 362140 h 466725"/>
                  <a:gd name="connsiteX996" fmla="*/ 360140 w 495300"/>
                  <a:gd name="connsiteY996" fmla="*/ 362140 h 466725"/>
                  <a:gd name="connsiteX997" fmla="*/ 362712 w 495300"/>
                  <a:gd name="connsiteY997" fmla="*/ 362140 h 466725"/>
                  <a:gd name="connsiteX998" fmla="*/ 364427 w 495300"/>
                  <a:gd name="connsiteY998" fmla="*/ 362998 h 466725"/>
                  <a:gd name="connsiteX999" fmla="*/ 365284 w 495300"/>
                  <a:gd name="connsiteY999" fmla="*/ 361283 h 466725"/>
                  <a:gd name="connsiteX1000" fmla="*/ 367760 w 495300"/>
                  <a:gd name="connsiteY1000" fmla="*/ 360426 h 466725"/>
                  <a:gd name="connsiteX1001" fmla="*/ 368617 w 495300"/>
                  <a:gd name="connsiteY1001" fmla="*/ 359569 h 466725"/>
                  <a:gd name="connsiteX1002" fmla="*/ 367760 w 495300"/>
                  <a:gd name="connsiteY1002" fmla="*/ 359569 h 466725"/>
                  <a:gd name="connsiteX1003" fmla="*/ 367760 w 495300"/>
                  <a:gd name="connsiteY1003" fmla="*/ 358712 h 466725"/>
                  <a:gd name="connsiteX1004" fmla="*/ 366903 w 495300"/>
                  <a:gd name="connsiteY1004" fmla="*/ 357854 h 466725"/>
                  <a:gd name="connsiteX1005" fmla="*/ 365284 w 495300"/>
                  <a:gd name="connsiteY1005" fmla="*/ 356997 h 466725"/>
                  <a:gd name="connsiteX1006" fmla="*/ 364427 w 495300"/>
                  <a:gd name="connsiteY1006" fmla="*/ 356235 h 466725"/>
                  <a:gd name="connsiteX1007" fmla="*/ 364427 w 495300"/>
                  <a:gd name="connsiteY1007" fmla="*/ 356235 h 466725"/>
                  <a:gd name="connsiteX1008" fmla="*/ 363569 w 495300"/>
                  <a:gd name="connsiteY1008" fmla="*/ 356235 h 466725"/>
                  <a:gd name="connsiteX1009" fmla="*/ 363569 w 495300"/>
                  <a:gd name="connsiteY1009" fmla="*/ 355378 h 466725"/>
                  <a:gd name="connsiteX1010" fmla="*/ 364427 w 495300"/>
                  <a:gd name="connsiteY1010" fmla="*/ 354521 h 466725"/>
                  <a:gd name="connsiteX1011" fmla="*/ 364427 w 495300"/>
                  <a:gd name="connsiteY1011" fmla="*/ 353663 h 466725"/>
                  <a:gd name="connsiteX1012" fmla="*/ 364427 w 495300"/>
                  <a:gd name="connsiteY1012" fmla="*/ 352806 h 466725"/>
                  <a:gd name="connsiteX1013" fmla="*/ 364427 w 495300"/>
                  <a:gd name="connsiteY1013" fmla="*/ 350234 h 466725"/>
                  <a:gd name="connsiteX1014" fmla="*/ 366141 w 495300"/>
                  <a:gd name="connsiteY1014" fmla="*/ 350234 h 466725"/>
                  <a:gd name="connsiteX1015" fmla="*/ 366903 w 495300"/>
                  <a:gd name="connsiteY1015" fmla="*/ 349377 h 466725"/>
                  <a:gd name="connsiteX1016" fmla="*/ 366903 w 495300"/>
                  <a:gd name="connsiteY1016" fmla="*/ 348520 h 466725"/>
                  <a:gd name="connsiteX1017" fmla="*/ 366141 w 495300"/>
                  <a:gd name="connsiteY1017" fmla="*/ 347758 h 466725"/>
                  <a:gd name="connsiteX1018" fmla="*/ 366141 w 495300"/>
                  <a:gd name="connsiteY1018" fmla="*/ 346901 h 466725"/>
                  <a:gd name="connsiteX1019" fmla="*/ 366141 w 495300"/>
                  <a:gd name="connsiteY1019" fmla="*/ 346901 h 466725"/>
                  <a:gd name="connsiteX1020" fmla="*/ 366903 w 495300"/>
                  <a:gd name="connsiteY1020" fmla="*/ 346043 h 466725"/>
                  <a:gd name="connsiteX1021" fmla="*/ 366903 w 495300"/>
                  <a:gd name="connsiteY1021" fmla="*/ 346043 h 466725"/>
                  <a:gd name="connsiteX1022" fmla="*/ 366903 w 495300"/>
                  <a:gd name="connsiteY1022" fmla="*/ 345186 h 466725"/>
                  <a:gd name="connsiteX1023" fmla="*/ 366903 w 495300"/>
                  <a:gd name="connsiteY1023" fmla="*/ 345186 h 466725"/>
                  <a:gd name="connsiteX1024" fmla="*/ 366903 w 495300"/>
                  <a:gd name="connsiteY1024" fmla="*/ 343471 h 466725"/>
                  <a:gd name="connsiteX1025" fmla="*/ 365284 w 495300"/>
                  <a:gd name="connsiteY1025" fmla="*/ 343471 h 466725"/>
                  <a:gd name="connsiteX1026" fmla="*/ 360998 w 495300"/>
                  <a:gd name="connsiteY1026" fmla="*/ 340900 h 466725"/>
                  <a:gd name="connsiteX1027" fmla="*/ 359378 w 495300"/>
                  <a:gd name="connsiteY1027" fmla="*/ 342614 h 466725"/>
                  <a:gd name="connsiteX1028" fmla="*/ 358521 w 495300"/>
                  <a:gd name="connsiteY1028" fmla="*/ 341757 h 466725"/>
                  <a:gd name="connsiteX1029" fmla="*/ 355949 w 495300"/>
                  <a:gd name="connsiteY1029" fmla="*/ 341757 h 466725"/>
                  <a:gd name="connsiteX1030" fmla="*/ 355949 w 495300"/>
                  <a:gd name="connsiteY1030" fmla="*/ 342614 h 466725"/>
                  <a:gd name="connsiteX1031" fmla="*/ 355949 w 495300"/>
                  <a:gd name="connsiteY1031" fmla="*/ 343471 h 466725"/>
                  <a:gd name="connsiteX1032" fmla="*/ 355949 w 495300"/>
                  <a:gd name="connsiteY1032" fmla="*/ 345186 h 466725"/>
                  <a:gd name="connsiteX1033" fmla="*/ 355092 w 495300"/>
                  <a:gd name="connsiteY1033" fmla="*/ 344329 h 466725"/>
                  <a:gd name="connsiteX1034" fmla="*/ 354235 w 495300"/>
                  <a:gd name="connsiteY1034" fmla="*/ 343471 h 466725"/>
                  <a:gd name="connsiteX1035" fmla="*/ 353378 w 495300"/>
                  <a:gd name="connsiteY1035" fmla="*/ 343471 h 466725"/>
                  <a:gd name="connsiteX1036" fmla="*/ 352616 w 495300"/>
                  <a:gd name="connsiteY1036" fmla="*/ 342614 h 466725"/>
                  <a:gd name="connsiteX1037" fmla="*/ 350901 w 495300"/>
                  <a:gd name="connsiteY1037" fmla="*/ 341757 h 466725"/>
                  <a:gd name="connsiteX1038" fmla="*/ 347472 w 495300"/>
                  <a:gd name="connsiteY1038" fmla="*/ 340900 h 466725"/>
                  <a:gd name="connsiteX1039" fmla="*/ 345853 w 495300"/>
                  <a:gd name="connsiteY1039" fmla="*/ 340043 h 466725"/>
                  <a:gd name="connsiteX1040" fmla="*/ 344138 w 495300"/>
                  <a:gd name="connsiteY1040" fmla="*/ 340043 h 466725"/>
                  <a:gd name="connsiteX1041" fmla="*/ 341567 w 495300"/>
                  <a:gd name="connsiteY1041" fmla="*/ 339280 h 466725"/>
                  <a:gd name="connsiteX1042" fmla="*/ 341567 w 495300"/>
                  <a:gd name="connsiteY1042" fmla="*/ 339280 h 466725"/>
                  <a:gd name="connsiteX1043" fmla="*/ 342424 w 495300"/>
                  <a:gd name="connsiteY1043" fmla="*/ 338423 h 466725"/>
                  <a:gd name="connsiteX1044" fmla="*/ 343281 w 495300"/>
                  <a:gd name="connsiteY1044" fmla="*/ 337566 h 466725"/>
                  <a:gd name="connsiteX1045" fmla="*/ 343281 w 495300"/>
                  <a:gd name="connsiteY1045" fmla="*/ 336709 h 466725"/>
                  <a:gd name="connsiteX1046" fmla="*/ 343281 w 495300"/>
                  <a:gd name="connsiteY1046" fmla="*/ 335852 h 466725"/>
                  <a:gd name="connsiteX1047" fmla="*/ 343281 w 495300"/>
                  <a:gd name="connsiteY1047" fmla="*/ 335852 h 466725"/>
                  <a:gd name="connsiteX1048" fmla="*/ 344138 w 495300"/>
                  <a:gd name="connsiteY1048" fmla="*/ 334994 h 466725"/>
                  <a:gd name="connsiteX1049" fmla="*/ 344996 w 495300"/>
                  <a:gd name="connsiteY1049" fmla="*/ 334994 h 466725"/>
                  <a:gd name="connsiteX1050" fmla="*/ 344996 w 495300"/>
                  <a:gd name="connsiteY1050" fmla="*/ 334137 h 466725"/>
                  <a:gd name="connsiteX1051" fmla="*/ 344996 w 495300"/>
                  <a:gd name="connsiteY1051" fmla="*/ 334137 h 466725"/>
                  <a:gd name="connsiteX1052" fmla="*/ 344138 w 495300"/>
                  <a:gd name="connsiteY1052" fmla="*/ 333280 h 466725"/>
                  <a:gd name="connsiteX1053" fmla="*/ 344138 w 495300"/>
                  <a:gd name="connsiteY1053" fmla="*/ 332422 h 466725"/>
                  <a:gd name="connsiteX1054" fmla="*/ 344138 w 495300"/>
                  <a:gd name="connsiteY1054" fmla="*/ 332422 h 466725"/>
                  <a:gd name="connsiteX1055" fmla="*/ 344138 w 495300"/>
                  <a:gd name="connsiteY1055" fmla="*/ 331565 h 466725"/>
                  <a:gd name="connsiteX1056" fmla="*/ 343281 w 495300"/>
                  <a:gd name="connsiteY1056" fmla="*/ 329946 h 466725"/>
                  <a:gd name="connsiteX1057" fmla="*/ 342424 w 495300"/>
                  <a:gd name="connsiteY1057" fmla="*/ 329089 h 466725"/>
                  <a:gd name="connsiteX1058" fmla="*/ 342424 w 495300"/>
                  <a:gd name="connsiteY1058" fmla="*/ 329089 h 466725"/>
                  <a:gd name="connsiteX1059" fmla="*/ 343281 w 495300"/>
                  <a:gd name="connsiteY1059" fmla="*/ 328231 h 466725"/>
                  <a:gd name="connsiteX1060" fmla="*/ 344138 w 495300"/>
                  <a:gd name="connsiteY1060" fmla="*/ 328231 h 466725"/>
                  <a:gd name="connsiteX1061" fmla="*/ 344996 w 495300"/>
                  <a:gd name="connsiteY1061" fmla="*/ 326517 h 466725"/>
                  <a:gd name="connsiteX1062" fmla="*/ 345853 w 495300"/>
                  <a:gd name="connsiteY1062" fmla="*/ 326517 h 466725"/>
                  <a:gd name="connsiteX1063" fmla="*/ 345853 w 495300"/>
                  <a:gd name="connsiteY1063" fmla="*/ 326517 h 466725"/>
                  <a:gd name="connsiteX1064" fmla="*/ 345853 w 495300"/>
                  <a:gd name="connsiteY1064" fmla="*/ 327374 h 466725"/>
                  <a:gd name="connsiteX1065" fmla="*/ 345853 w 495300"/>
                  <a:gd name="connsiteY1065" fmla="*/ 328231 h 466725"/>
                  <a:gd name="connsiteX1066" fmla="*/ 345853 w 495300"/>
                  <a:gd name="connsiteY1066" fmla="*/ 328231 h 466725"/>
                  <a:gd name="connsiteX1067" fmla="*/ 346615 w 495300"/>
                  <a:gd name="connsiteY1067" fmla="*/ 329089 h 466725"/>
                  <a:gd name="connsiteX1068" fmla="*/ 347472 w 495300"/>
                  <a:gd name="connsiteY1068" fmla="*/ 330708 h 466725"/>
                  <a:gd name="connsiteX1069" fmla="*/ 348329 w 495300"/>
                  <a:gd name="connsiteY1069" fmla="*/ 332422 h 466725"/>
                  <a:gd name="connsiteX1070" fmla="*/ 348329 w 495300"/>
                  <a:gd name="connsiteY1070" fmla="*/ 332422 h 466725"/>
                  <a:gd name="connsiteX1071" fmla="*/ 350044 w 495300"/>
                  <a:gd name="connsiteY1071" fmla="*/ 333280 h 466725"/>
                  <a:gd name="connsiteX1072" fmla="*/ 350901 w 495300"/>
                  <a:gd name="connsiteY1072" fmla="*/ 333280 h 466725"/>
                  <a:gd name="connsiteX1073" fmla="*/ 352616 w 495300"/>
                  <a:gd name="connsiteY1073" fmla="*/ 330708 h 466725"/>
                  <a:gd name="connsiteX1074" fmla="*/ 353378 w 495300"/>
                  <a:gd name="connsiteY1074" fmla="*/ 330708 h 466725"/>
                  <a:gd name="connsiteX1075" fmla="*/ 354235 w 495300"/>
                  <a:gd name="connsiteY1075" fmla="*/ 330708 h 466725"/>
                  <a:gd name="connsiteX1076" fmla="*/ 354235 w 495300"/>
                  <a:gd name="connsiteY1076" fmla="*/ 330708 h 466725"/>
                  <a:gd name="connsiteX1077" fmla="*/ 355092 w 495300"/>
                  <a:gd name="connsiteY1077" fmla="*/ 329946 h 466725"/>
                  <a:gd name="connsiteX1078" fmla="*/ 355949 w 495300"/>
                  <a:gd name="connsiteY1078" fmla="*/ 329089 h 466725"/>
                  <a:gd name="connsiteX1079" fmla="*/ 355949 w 495300"/>
                  <a:gd name="connsiteY1079" fmla="*/ 327374 h 466725"/>
                  <a:gd name="connsiteX1080" fmla="*/ 355949 w 495300"/>
                  <a:gd name="connsiteY1080" fmla="*/ 325660 h 466725"/>
                  <a:gd name="connsiteX1081" fmla="*/ 355949 w 495300"/>
                  <a:gd name="connsiteY1081" fmla="*/ 325660 h 466725"/>
                  <a:gd name="connsiteX1082" fmla="*/ 356807 w 495300"/>
                  <a:gd name="connsiteY1082" fmla="*/ 324803 h 466725"/>
                  <a:gd name="connsiteX1083" fmla="*/ 356807 w 495300"/>
                  <a:gd name="connsiteY1083" fmla="*/ 323945 h 466725"/>
                  <a:gd name="connsiteX1084" fmla="*/ 356807 w 495300"/>
                  <a:gd name="connsiteY1084" fmla="*/ 323088 h 466725"/>
                  <a:gd name="connsiteX1085" fmla="*/ 358521 w 495300"/>
                  <a:gd name="connsiteY1085" fmla="*/ 323088 h 466725"/>
                  <a:gd name="connsiteX1086" fmla="*/ 359378 w 495300"/>
                  <a:gd name="connsiteY1086" fmla="*/ 323088 h 466725"/>
                  <a:gd name="connsiteX1087" fmla="*/ 360140 w 495300"/>
                  <a:gd name="connsiteY1087" fmla="*/ 322231 h 466725"/>
                  <a:gd name="connsiteX1088" fmla="*/ 360998 w 495300"/>
                  <a:gd name="connsiteY1088" fmla="*/ 321469 h 466725"/>
                  <a:gd name="connsiteX1089" fmla="*/ 361855 w 495300"/>
                  <a:gd name="connsiteY1089" fmla="*/ 321469 h 466725"/>
                  <a:gd name="connsiteX1090" fmla="*/ 362712 w 495300"/>
                  <a:gd name="connsiteY1090" fmla="*/ 321469 h 466725"/>
                  <a:gd name="connsiteX1091" fmla="*/ 363569 w 495300"/>
                  <a:gd name="connsiteY1091" fmla="*/ 319754 h 466725"/>
                  <a:gd name="connsiteX1092" fmla="*/ 365284 w 495300"/>
                  <a:gd name="connsiteY1092" fmla="*/ 319754 h 466725"/>
                  <a:gd name="connsiteX1093" fmla="*/ 366141 w 495300"/>
                  <a:gd name="connsiteY1093" fmla="*/ 320612 h 466725"/>
                  <a:gd name="connsiteX1094" fmla="*/ 367760 w 495300"/>
                  <a:gd name="connsiteY1094" fmla="*/ 321469 h 466725"/>
                  <a:gd name="connsiteX1095" fmla="*/ 368617 w 495300"/>
                  <a:gd name="connsiteY1095" fmla="*/ 322231 h 466725"/>
                  <a:gd name="connsiteX1096" fmla="*/ 369475 w 495300"/>
                  <a:gd name="connsiteY1096" fmla="*/ 322231 h 466725"/>
                  <a:gd name="connsiteX1097" fmla="*/ 370332 w 495300"/>
                  <a:gd name="connsiteY1097" fmla="*/ 322231 h 466725"/>
                  <a:gd name="connsiteX1098" fmla="*/ 371189 w 495300"/>
                  <a:gd name="connsiteY1098" fmla="*/ 322231 h 466725"/>
                  <a:gd name="connsiteX1099" fmla="*/ 371189 w 495300"/>
                  <a:gd name="connsiteY1099" fmla="*/ 322231 h 466725"/>
                  <a:gd name="connsiteX1100" fmla="*/ 371189 w 495300"/>
                  <a:gd name="connsiteY1100" fmla="*/ 323945 h 466725"/>
                  <a:gd name="connsiteX1101" fmla="*/ 372046 w 495300"/>
                  <a:gd name="connsiteY1101" fmla="*/ 323945 h 466725"/>
                  <a:gd name="connsiteX1102" fmla="*/ 373666 w 495300"/>
                  <a:gd name="connsiteY1102" fmla="*/ 324803 h 466725"/>
                  <a:gd name="connsiteX1103" fmla="*/ 374523 w 495300"/>
                  <a:gd name="connsiteY1103" fmla="*/ 325660 h 466725"/>
                  <a:gd name="connsiteX1104" fmla="*/ 374523 w 495300"/>
                  <a:gd name="connsiteY1104" fmla="*/ 325660 h 466725"/>
                  <a:gd name="connsiteX1105" fmla="*/ 372904 w 495300"/>
                  <a:gd name="connsiteY1105" fmla="*/ 326517 h 466725"/>
                  <a:gd name="connsiteX1106" fmla="*/ 372904 w 495300"/>
                  <a:gd name="connsiteY1106" fmla="*/ 327374 h 466725"/>
                  <a:gd name="connsiteX1107" fmla="*/ 372904 w 495300"/>
                  <a:gd name="connsiteY1107" fmla="*/ 328231 h 466725"/>
                  <a:gd name="connsiteX1108" fmla="*/ 372046 w 495300"/>
                  <a:gd name="connsiteY1108" fmla="*/ 329089 h 466725"/>
                  <a:gd name="connsiteX1109" fmla="*/ 372904 w 495300"/>
                  <a:gd name="connsiteY1109" fmla="*/ 329089 h 466725"/>
                  <a:gd name="connsiteX1110" fmla="*/ 373666 w 495300"/>
                  <a:gd name="connsiteY1110" fmla="*/ 329089 h 466725"/>
                  <a:gd name="connsiteX1111" fmla="*/ 375380 w 495300"/>
                  <a:gd name="connsiteY1111" fmla="*/ 329089 h 466725"/>
                  <a:gd name="connsiteX1112" fmla="*/ 375380 w 495300"/>
                  <a:gd name="connsiteY1112" fmla="*/ 328231 h 466725"/>
                  <a:gd name="connsiteX1113" fmla="*/ 376238 w 495300"/>
                  <a:gd name="connsiteY1113" fmla="*/ 328231 h 466725"/>
                  <a:gd name="connsiteX1114" fmla="*/ 377095 w 495300"/>
                  <a:gd name="connsiteY1114" fmla="*/ 328231 h 466725"/>
                  <a:gd name="connsiteX1115" fmla="*/ 377952 w 495300"/>
                  <a:gd name="connsiteY1115" fmla="*/ 327374 h 466725"/>
                  <a:gd name="connsiteX1116" fmla="*/ 378809 w 495300"/>
                  <a:gd name="connsiteY1116" fmla="*/ 327374 h 466725"/>
                  <a:gd name="connsiteX1117" fmla="*/ 380524 w 495300"/>
                  <a:gd name="connsiteY1117" fmla="*/ 328231 h 466725"/>
                  <a:gd name="connsiteX1118" fmla="*/ 382143 w 495300"/>
                  <a:gd name="connsiteY1118" fmla="*/ 328231 h 466725"/>
                  <a:gd name="connsiteX1119" fmla="*/ 384715 w 495300"/>
                  <a:gd name="connsiteY1119" fmla="*/ 329089 h 466725"/>
                  <a:gd name="connsiteX1120" fmla="*/ 386429 w 495300"/>
                  <a:gd name="connsiteY1120" fmla="*/ 329946 h 466725"/>
                  <a:gd name="connsiteX1121" fmla="*/ 388049 w 495300"/>
                  <a:gd name="connsiteY1121" fmla="*/ 329946 h 466725"/>
                  <a:gd name="connsiteX1122" fmla="*/ 388906 w 495300"/>
                  <a:gd name="connsiteY1122" fmla="*/ 329946 h 466725"/>
                  <a:gd name="connsiteX1123" fmla="*/ 389763 w 495300"/>
                  <a:gd name="connsiteY1123" fmla="*/ 330708 h 466725"/>
                  <a:gd name="connsiteX1124" fmla="*/ 390620 w 495300"/>
                  <a:gd name="connsiteY1124" fmla="*/ 330708 h 466725"/>
                  <a:gd name="connsiteX1125" fmla="*/ 393192 w 495300"/>
                  <a:gd name="connsiteY1125" fmla="*/ 330708 h 466725"/>
                  <a:gd name="connsiteX1126" fmla="*/ 394049 w 495300"/>
                  <a:gd name="connsiteY1126" fmla="*/ 331565 h 466725"/>
                  <a:gd name="connsiteX1127" fmla="*/ 394049 w 495300"/>
                  <a:gd name="connsiteY1127" fmla="*/ 332422 h 466725"/>
                  <a:gd name="connsiteX1128" fmla="*/ 395669 w 495300"/>
                  <a:gd name="connsiteY1128" fmla="*/ 331565 h 466725"/>
                  <a:gd name="connsiteX1129" fmla="*/ 395669 w 495300"/>
                  <a:gd name="connsiteY1129" fmla="*/ 330708 h 466725"/>
                  <a:gd name="connsiteX1130" fmla="*/ 396526 w 495300"/>
                  <a:gd name="connsiteY1130" fmla="*/ 330708 h 466725"/>
                  <a:gd name="connsiteX1131" fmla="*/ 396526 w 495300"/>
                  <a:gd name="connsiteY1131" fmla="*/ 329946 h 466725"/>
                  <a:gd name="connsiteX1132" fmla="*/ 396526 w 495300"/>
                  <a:gd name="connsiteY1132" fmla="*/ 327374 h 466725"/>
                  <a:gd name="connsiteX1133" fmla="*/ 397383 w 495300"/>
                  <a:gd name="connsiteY1133" fmla="*/ 326517 h 466725"/>
                  <a:gd name="connsiteX1134" fmla="*/ 397383 w 495300"/>
                  <a:gd name="connsiteY1134" fmla="*/ 325660 h 466725"/>
                  <a:gd name="connsiteX1135" fmla="*/ 397383 w 495300"/>
                  <a:gd name="connsiteY1135" fmla="*/ 324803 h 466725"/>
                  <a:gd name="connsiteX1136" fmla="*/ 396526 w 495300"/>
                  <a:gd name="connsiteY1136" fmla="*/ 322231 h 466725"/>
                  <a:gd name="connsiteX1137" fmla="*/ 397383 w 495300"/>
                  <a:gd name="connsiteY1137" fmla="*/ 321469 h 466725"/>
                  <a:gd name="connsiteX1138" fmla="*/ 397383 w 495300"/>
                  <a:gd name="connsiteY1138" fmla="*/ 321469 h 466725"/>
                  <a:gd name="connsiteX1139" fmla="*/ 398240 w 495300"/>
                  <a:gd name="connsiteY1139" fmla="*/ 318897 h 466725"/>
                  <a:gd name="connsiteX1140" fmla="*/ 399098 w 495300"/>
                  <a:gd name="connsiteY1140" fmla="*/ 318897 h 466725"/>
                  <a:gd name="connsiteX1141" fmla="*/ 399955 w 495300"/>
                  <a:gd name="connsiteY1141" fmla="*/ 318897 h 466725"/>
                  <a:gd name="connsiteX1142" fmla="*/ 400812 w 495300"/>
                  <a:gd name="connsiteY1142" fmla="*/ 318897 h 466725"/>
                  <a:gd name="connsiteX1143" fmla="*/ 401574 w 495300"/>
                  <a:gd name="connsiteY1143" fmla="*/ 318897 h 466725"/>
                  <a:gd name="connsiteX1144" fmla="*/ 402431 w 495300"/>
                  <a:gd name="connsiteY1144" fmla="*/ 318897 h 466725"/>
                  <a:gd name="connsiteX1145" fmla="*/ 403288 w 495300"/>
                  <a:gd name="connsiteY1145" fmla="*/ 318897 h 466725"/>
                  <a:gd name="connsiteX1146" fmla="*/ 402431 w 495300"/>
                  <a:gd name="connsiteY1146" fmla="*/ 318040 h 466725"/>
                  <a:gd name="connsiteX1147" fmla="*/ 403288 w 495300"/>
                  <a:gd name="connsiteY1147" fmla="*/ 317182 h 466725"/>
                  <a:gd name="connsiteX1148" fmla="*/ 403288 w 495300"/>
                  <a:gd name="connsiteY1148" fmla="*/ 315468 h 466725"/>
                  <a:gd name="connsiteX1149" fmla="*/ 402431 w 495300"/>
                  <a:gd name="connsiteY1149" fmla="*/ 315468 h 466725"/>
                  <a:gd name="connsiteX1150" fmla="*/ 402431 w 495300"/>
                  <a:gd name="connsiteY1150" fmla="*/ 314611 h 466725"/>
                  <a:gd name="connsiteX1151" fmla="*/ 401574 w 495300"/>
                  <a:gd name="connsiteY1151" fmla="*/ 314611 h 466725"/>
                  <a:gd name="connsiteX1152" fmla="*/ 402431 w 495300"/>
                  <a:gd name="connsiteY1152" fmla="*/ 312992 h 466725"/>
                  <a:gd name="connsiteX1153" fmla="*/ 401574 w 495300"/>
                  <a:gd name="connsiteY1153" fmla="*/ 312134 h 466725"/>
                  <a:gd name="connsiteX1154" fmla="*/ 403288 w 495300"/>
                  <a:gd name="connsiteY1154" fmla="*/ 312134 h 466725"/>
                  <a:gd name="connsiteX1155" fmla="*/ 403288 w 495300"/>
                  <a:gd name="connsiteY1155" fmla="*/ 312134 h 466725"/>
                  <a:gd name="connsiteX1156" fmla="*/ 405003 w 495300"/>
                  <a:gd name="connsiteY1156" fmla="*/ 312134 h 466725"/>
                  <a:gd name="connsiteX1157" fmla="*/ 405860 w 495300"/>
                  <a:gd name="connsiteY1157" fmla="*/ 312134 h 466725"/>
                  <a:gd name="connsiteX1158" fmla="*/ 406717 w 495300"/>
                  <a:gd name="connsiteY1158" fmla="*/ 312992 h 466725"/>
                  <a:gd name="connsiteX1159" fmla="*/ 407575 w 495300"/>
                  <a:gd name="connsiteY1159" fmla="*/ 313754 h 466725"/>
                  <a:gd name="connsiteX1160" fmla="*/ 408337 w 495300"/>
                  <a:gd name="connsiteY1160" fmla="*/ 314611 h 466725"/>
                  <a:gd name="connsiteX1161" fmla="*/ 410909 w 495300"/>
                  <a:gd name="connsiteY1161" fmla="*/ 314611 h 466725"/>
                  <a:gd name="connsiteX1162" fmla="*/ 410909 w 495300"/>
                  <a:gd name="connsiteY1162" fmla="*/ 314611 h 466725"/>
                  <a:gd name="connsiteX1163" fmla="*/ 411766 w 495300"/>
                  <a:gd name="connsiteY1163" fmla="*/ 314611 h 466725"/>
                  <a:gd name="connsiteX1164" fmla="*/ 413480 w 495300"/>
                  <a:gd name="connsiteY1164" fmla="*/ 314611 h 466725"/>
                  <a:gd name="connsiteX1165" fmla="*/ 415100 w 495300"/>
                  <a:gd name="connsiteY1165" fmla="*/ 313754 h 466725"/>
                  <a:gd name="connsiteX1166" fmla="*/ 415957 w 495300"/>
                  <a:gd name="connsiteY1166" fmla="*/ 312992 h 466725"/>
                  <a:gd name="connsiteX1167" fmla="*/ 415957 w 495300"/>
                  <a:gd name="connsiteY1167" fmla="*/ 312992 h 466725"/>
                  <a:gd name="connsiteX1168" fmla="*/ 416814 w 495300"/>
                  <a:gd name="connsiteY1168" fmla="*/ 312134 h 466725"/>
                  <a:gd name="connsiteX1169" fmla="*/ 416814 w 495300"/>
                  <a:gd name="connsiteY1169" fmla="*/ 312134 h 466725"/>
                  <a:gd name="connsiteX1170" fmla="*/ 417671 w 495300"/>
                  <a:gd name="connsiteY1170" fmla="*/ 311277 h 466725"/>
                  <a:gd name="connsiteX1171" fmla="*/ 418529 w 495300"/>
                  <a:gd name="connsiteY1171" fmla="*/ 311277 h 466725"/>
                  <a:gd name="connsiteX1172" fmla="*/ 419386 w 495300"/>
                  <a:gd name="connsiteY1172" fmla="*/ 312134 h 466725"/>
                  <a:gd name="connsiteX1173" fmla="*/ 421862 w 495300"/>
                  <a:gd name="connsiteY1173" fmla="*/ 311277 h 466725"/>
                  <a:gd name="connsiteX1174" fmla="*/ 425291 w 495300"/>
                  <a:gd name="connsiteY1174" fmla="*/ 309563 h 466725"/>
                  <a:gd name="connsiteX1175" fmla="*/ 428625 w 495300"/>
                  <a:gd name="connsiteY1175" fmla="*/ 308705 h 466725"/>
                  <a:gd name="connsiteX1176" fmla="*/ 430340 w 495300"/>
                  <a:gd name="connsiteY1176" fmla="*/ 308705 h 466725"/>
                  <a:gd name="connsiteX1177" fmla="*/ 431197 w 495300"/>
                  <a:gd name="connsiteY1177" fmla="*/ 307848 h 466725"/>
                  <a:gd name="connsiteX1178" fmla="*/ 432054 w 495300"/>
                  <a:gd name="connsiteY1178" fmla="*/ 306134 h 466725"/>
                  <a:gd name="connsiteX1179" fmla="*/ 431197 w 495300"/>
                  <a:gd name="connsiteY1179" fmla="*/ 305276 h 466725"/>
                  <a:gd name="connsiteX1180" fmla="*/ 431197 w 495300"/>
                  <a:gd name="connsiteY1180" fmla="*/ 304419 h 466725"/>
                  <a:gd name="connsiteX1181" fmla="*/ 431197 w 495300"/>
                  <a:gd name="connsiteY1181" fmla="*/ 301085 h 466725"/>
                  <a:gd name="connsiteX1182" fmla="*/ 431197 w 495300"/>
                  <a:gd name="connsiteY1182" fmla="*/ 300228 h 466725"/>
                  <a:gd name="connsiteX1183" fmla="*/ 432054 w 495300"/>
                  <a:gd name="connsiteY1183" fmla="*/ 299371 h 466725"/>
                  <a:gd name="connsiteX1184" fmla="*/ 432054 w 495300"/>
                  <a:gd name="connsiteY1184" fmla="*/ 298513 h 466725"/>
                  <a:gd name="connsiteX1185" fmla="*/ 432911 w 495300"/>
                  <a:gd name="connsiteY1185" fmla="*/ 297656 h 466725"/>
                  <a:gd name="connsiteX1186" fmla="*/ 436245 w 495300"/>
                  <a:gd name="connsiteY1186" fmla="*/ 298513 h 466725"/>
                  <a:gd name="connsiteX1187" fmla="*/ 437960 w 495300"/>
                  <a:gd name="connsiteY1187" fmla="*/ 298513 h 466725"/>
                  <a:gd name="connsiteX1188" fmla="*/ 440531 w 495300"/>
                  <a:gd name="connsiteY1188" fmla="*/ 298513 h 466725"/>
                  <a:gd name="connsiteX1189" fmla="*/ 441388 w 495300"/>
                  <a:gd name="connsiteY1189" fmla="*/ 298513 h 466725"/>
                  <a:gd name="connsiteX1190" fmla="*/ 441388 w 495300"/>
                  <a:gd name="connsiteY1190" fmla="*/ 298513 h 466725"/>
                  <a:gd name="connsiteX1191" fmla="*/ 443008 w 495300"/>
                  <a:gd name="connsiteY1191" fmla="*/ 297656 h 466725"/>
                  <a:gd name="connsiteX1192" fmla="*/ 443865 w 495300"/>
                  <a:gd name="connsiteY1192" fmla="*/ 296799 h 466725"/>
                  <a:gd name="connsiteX1193" fmla="*/ 445580 w 495300"/>
                  <a:gd name="connsiteY1193" fmla="*/ 295180 h 466725"/>
                  <a:gd name="connsiteX1194" fmla="*/ 445580 w 495300"/>
                  <a:gd name="connsiteY1194" fmla="*/ 294322 h 466725"/>
                  <a:gd name="connsiteX1195" fmla="*/ 446437 w 495300"/>
                  <a:gd name="connsiteY1195" fmla="*/ 292608 h 466725"/>
                  <a:gd name="connsiteX1196" fmla="*/ 448151 w 495300"/>
                  <a:gd name="connsiteY1196" fmla="*/ 290894 h 466725"/>
                  <a:gd name="connsiteX1197" fmla="*/ 448151 w 495300"/>
                  <a:gd name="connsiteY1197" fmla="*/ 290036 h 466725"/>
                  <a:gd name="connsiteX1198" fmla="*/ 449009 w 495300"/>
                  <a:gd name="connsiteY1198" fmla="*/ 290036 h 466725"/>
                  <a:gd name="connsiteX1199" fmla="*/ 449771 w 495300"/>
                  <a:gd name="connsiteY1199" fmla="*/ 290894 h 466725"/>
                  <a:gd name="connsiteX1200" fmla="*/ 449771 w 495300"/>
                  <a:gd name="connsiteY1200" fmla="*/ 290894 h 466725"/>
                  <a:gd name="connsiteX1201" fmla="*/ 449771 w 495300"/>
                  <a:gd name="connsiteY1201" fmla="*/ 291751 h 466725"/>
                  <a:gd name="connsiteX1202" fmla="*/ 450628 w 495300"/>
                  <a:gd name="connsiteY1202" fmla="*/ 292608 h 466725"/>
                  <a:gd name="connsiteX1203" fmla="*/ 452342 w 495300"/>
                  <a:gd name="connsiteY1203" fmla="*/ 294322 h 466725"/>
                  <a:gd name="connsiteX1204" fmla="*/ 453200 w 495300"/>
                  <a:gd name="connsiteY1204" fmla="*/ 294322 h 466725"/>
                  <a:gd name="connsiteX1205" fmla="*/ 454057 w 495300"/>
                  <a:gd name="connsiteY1205" fmla="*/ 294322 h 466725"/>
                  <a:gd name="connsiteX1206" fmla="*/ 454914 w 495300"/>
                  <a:gd name="connsiteY1206" fmla="*/ 294322 h 466725"/>
                  <a:gd name="connsiteX1207" fmla="*/ 457391 w 495300"/>
                  <a:gd name="connsiteY1207" fmla="*/ 293465 h 466725"/>
                  <a:gd name="connsiteX1208" fmla="*/ 458248 w 495300"/>
                  <a:gd name="connsiteY1208" fmla="*/ 293465 h 466725"/>
                  <a:gd name="connsiteX1209" fmla="*/ 458248 w 495300"/>
                  <a:gd name="connsiteY1209" fmla="*/ 293465 h 466725"/>
                  <a:gd name="connsiteX1210" fmla="*/ 458248 w 495300"/>
                  <a:gd name="connsiteY1210" fmla="*/ 292608 h 466725"/>
                  <a:gd name="connsiteX1211" fmla="*/ 459962 w 495300"/>
                  <a:gd name="connsiteY1211" fmla="*/ 292608 h 466725"/>
                  <a:gd name="connsiteX1212" fmla="*/ 460820 w 495300"/>
                  <a:gd name="connsiteY1212" fmla="*/ 291751 h 466725"/>
                  <a:gd name="connsiteX1213" fmla="*/ 461677 w 495300"/>
                  <a:gd name="connsiteY1213" fmla="*/ 290036 h 466725"/>
                  <a:gd name="connsiteX1214" fmla="*/ 461677 w 495300"/>
                  <a:gd name="connsiteY1214" fmla="*/ 289179 h 466725"/>
                  <a:gd name="connsiteX1215" fmla="*/ 462534 w 495300"/>
                  <a:gd name="connsiteY1215" fmla="*/ 289179 h 466725"/>
                  <a:gd name="connsiteX1216" fmla="*/ 464153 w 495300"/>
                  <a:gd name="connsiteY1216" fmla="*/ 287464 h 466725"/>
                  <a:gd name="connsiteX1217" fmla="*/ 465868 w 495300"/>
                  <a:gd name="connsiteY1217" fmla="*/ 285845 h 466725"/>
                  <a:gd name="connsiteX1218" fmla="*/ 466725 w 495300"/>
                  <a:gd name="connsiteY1218" fmla="*/ 283274 h 466725"/>
                  <a:gd name="connsiteX1219" fmla="*/ 466725 w 495300"/>
                  <a:gd name="connsiteY1219" fmla="*/ 283274 h 466725"/>
                  <a:gd name="connsiteX1220" fmla="*/ 466725 w 495300"/>
                  <a:gd name="connsiteY1220" fmla="*/ 282416 h 466725"/>
                  <a:gd name="connsiteX1221" fmla="*/ 466725 w 495300"/>
                  <a:gd name="connsiteY1221" fmla="*/ 281559 h 466725"/>
                  <a:gd name="connsiteX1222" fmla="*/ 466725 w 495300"/>
                  <a:gd name="connsiteY1222" fmla="*/ 280702 h 466725"/>
                  <a:gd name="connsiteX1223" fmla="*/ 467582 w 495300"/>
                  <a:gd name="connsiteY1223" fmla="*/ 278987 h 466725"/>
                  <a:gd name="connsiteX1224" fmla="*/ 467582 w 495300"/>
                  <a:gd name="connsiteY1224" fmla="*/ 277368 h 466725"/>
                  <a:gd name="connsiteX1225" fmla="*/ 467582 w 495300"/>
                  <a:gd name="connsiteY1225" fmla="*/ 276511 h 466725"/>
                  <a:gd name="connsiteX1226" fmla="*/ 467582 w 495300"/>
                  <a:gd name="connsiteY1226" fmla="*/ 273939 h 466725"/>
                  <a:gd name="connsiteX1227" fmla="*/ 467582 w 495300"/>
                  <a:gd name="connsiteY1227" fmla="*/ 273082 h 466725"/>
                  <a:gd name="connsiteX1228" fmla="*/ 468440 w 495300"/>
                  <a:gd name="connsiteY1228" fmla="*/ 272225 h 466725"/>
                  <a:gd name="connsiteX1229" fmla="*/ 469297 w 495300"/>
                  <a:gd name="connsiteY1229" fmla="*/ 271367 h 466725"/>
                  <a:gd name="connsiteX1230" fmla="*/ 469297 w 495300"/>
                  <a:gd name="connsiteY1230" fmla="*/ 270510 h 466725"/>
                  <a:gd name="connsiteX1231" fmla="*/ 470059 w 495300"/>
                  <a:gd name="connsiteY1231" fmla="*/ 269653 h 466725"/>
                  <a:gd name="connsiteX1232" fmla="*/ 470059 w 495300"/>
                  <a:gd name="connsiteY1232" fmla="*/ 269653 h 466725"/>
                  <a:gd name="connsiteX1233" fmla="*/ 470059 w 495300"/>
                  <a:gd name="connsiteY1233" fmla="*/ 268891 h 466725"/>
                  <a:gd name="connsiteX1234" fmla="*/ 468440 w 495300"/>
                  <a:gd name="connsiteY1234" fmla="*/ 268034 h 466725"/>
                  <a:gd name="connsiteX1235" fmla="*/ 467582 w 495300"/>
                  <a:gd name="connsiteY1235" fmla="*/ 267176 h 466725"/>
                  <a:gd name="connsiteX1236" fmla="*/ 468440 w 495300"/>
                  <a:gd name="connsiteY1236" fmla="*/ 267176 h 466725"/>
                  <a:gd name="connsiteX1237" fmla="*/ 468440 w 495300"/>
                  <a:gd name="connsiteY1237" fmla="*/ 266319 h 466725"/>
                  <a:gd name="connsiteX1238" fmla="*/ 468440 w 495300"/>
                  <a:gd name="connsiteY1238" fmla="*/ 266319 h 466725"/>
                  <a:gd name="connsiteX1239" fmla="*/ 468440 w 495300"/>
                  <a:gd name="connsiteY1239" fmla="*/ 265462 h 466725"/>
                  <a:gd name="connsiteX1240" fmla="*/ 469297 w 495300"/>
                  <a:gd name="connsiteY1240" fmla="*/ 263747 h 466725"/>
                  <a:gd name="connsiteX1241" fmla="*/ 470916 w 495300"/>
                  <a:gd name="connsiteY1241" fmla="*/ 262890 h 466725"/>
                  <a:gd name="connsiteX1242" fmla="*/ 472631 w 495300"/>
                  <a:gd name="connsiteY1242" fmla="*/ 261175 h 466725"/>
                  <a:gd name="connsiteX1243" fmla="*/ 472631 w 495300"/>
                  <a:gd name="connsiteY1243" fmla="*/ 260413 h 466725"/>
                  <a:gd name="connsiteX1244" fmla="*/ 473488 w 495300"/>
                  <a:gd name="connsiteY1244" fmla="*/ 258699 h 466725"/>
                  <a:gd name="connsiteX1245" fmla="*/ 474345 w 495300"/>
                  <a:gd name="connsiteY1245" fmla="*/ 256984 h 466725"/>
                  <a:gd name="connsiteX1246" fmla="*/ 475202 w 495300"/>
                  <a:gd name="connsiteY1246" fmla="*/ 256984 h 466725"/>
                  <a:gd name="connsiteX1247" fmla="*/ 475202 w 495300"/>
                  <a:gd name="connsiteY1247" fmla="*/ 256127 h 466725"/>
                  <a:gd name="connsiteX1248" fmla="*/ 475202 w 495300"/>
                  <a:gd name="connsiteY1248" fmla="*/ 254413 h 466725"/>
                  <a:gd name="connsiteX1249" fmla="*/ 475202 w 495300"/>
                  <a:gd name="connsiteY1249" fmla="*/ 253555 h 466725"/>
                  <a:gd name="connsiteX1250" fmla="*/ 475202 w 495300"/>
                  <a:gd name="connsiteY1250" fmla="*/ 252698 h 466725"/>
                  <a:gd name="connsiteX1251" fmla="*/ 476060 w 495300"/>
                  <a:gd name="connsiteY1251" fmla="*/ 251936 h 466725"/>
                  <a:gd name="connsiteX1252" fmla="*/ 476821 w 495300"/>
                  <a:gd name="connsiteY1252" fmla="*/ 251079 h 466725"/>
                  <a:gd name="connsiteX1253" fmla="*/ 479393 w 495300"/>
                  <a:gd name="connsiteY1253" fmla="*/ 250222 h 466725"/>
                  <a:gd name="connsiteX1254" fmla="*/ 480250 w 495300"/>
                  <a:gd name="connsiteY1254" fmla="*/ 249365 h 466725"/>
                  <a:gd name="connsiteX1255" fmla="*/ 480250 w 495300"/>
                  <a:gd name="connsiteY1255" fmla="*/ 247650 h 466725"/>
                  <a:gd name="connsiteX1256" fmla="*/ 481108 w 495300"/>
                  <a:gd name="connsiteY1256" fmla="*/ 247650 h 466725"/>
                  <a:gd name="connsiteX1257" fmla="*/ 482822 w 495300"/>
                  <a:gd name="connsiteY1257" fmla="*/ 247650 h 466725"/>
                  <a:gd name="connsiteX1258" fmla="*/ 484442 w 495300"/>
                  <a:gd name="connsiteY1258" fmla="*/ 247650 h 466725"/>
                  <a:gd name="connsiteX1259" fmla="*/ 487013 w 495300"/>
                  <a:gd name="connsiteY1259" fmla="*/ 246793 h 466725"/>
                  <a:gd name="connsiteX1260" fmla="*/ 487871 w 495300"/>
                  <a:gd name="connsiteY1260" fmla="*/ 246793 h 466725"/>
                  <a:gd name="connsiteX1261" fmla="*/ 488728 w 495300"/>
                  <a:gd name="connsiteY1261" fmla="*/ 245936 h 466725"/>
                  <a:gd name="connsiteX1262" fmla="*/ 489585 w 495300"/>
                  <a:gd name="connsiteY1262" fmla="*/ 245078 h 466725"/>
                  <a:gd name="connsiteX1263" fmla="*/ 489585 w 495300"/>
                  <a:gd name="connsiteY1263" fmla="*/ 243364 h 466725"/>
                  <a:gd name="connsiteX1264" fmla="*/ 490442 w 495300"/>
                  <a:gd name="connsiteY1264" fmla="*/ 242602 h 466725"/>
                  <a:gd name="connsiteX1265" fmla="*/ 492062 w 495300"/>
                  <a:gd name="connsiteY1265" fmla="*/ 241745 h 466725"/>
                  <a:gd name="connsiteX1266" fmla="*/ 492919 w 495300"/>
                  <a:gd name="connsiteY1266" fmla="*/ 240887 h 466725"/>
                  <a:gd name="connsiteX1267" fmla="*/ 493776 w 495300"/>
                  <a:gd name="connsiteY1267" fmla="*/ 240887 h 466725"/>
                  <a:gd name="connsiteX1268" fmla="*/ 495491 w 495300"/>
                  <a:gd name="connsiteY1268" fmla="*/ 240887 h 466725"/>
                  <a:gd name="connsiteX1269" fmla="*/ 496348 w 495300"/>
                  <a:gd name="connsiteY1269" fmla="*/ 240030 h 466725"/>
                  <a:gd name="connsiteX1270" fmla="*/ 498824 w 495300"/>
                  <a:gd name="connsiteY1270" fmla="*/ 239173 h 466725"/>
                  <a:gd name="connsiteX1271" fmla="*/ 498824 w 495300"/>
                  <a:gd name="connsiteY1271" fmla="*/ 238316 h 466725"/>
                  <a:gd name="connsiteX1272" fmla="*/ 499682 w 495300"/>
                  <a:gd name="connsiteY1272" fmla="*/ 238316 h 466725"/>
                  <a:gd name="connsiteX1273" fmla="*/ 499682 w 495300"/>
                  <a:gd name="connsiteY1273" fmla="*/ 237458 h 466725"/>
                  <a:gd name="connsiteX1274" fmla="*/ 499682 w 495300"/>
                  <a:gd name="connsiteY1274" fmla="*/ 237458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</a:cxnLst>
                <a:rect l="l" t="t" r="r" b="b"/>
                <a:pathLst>
                  <a:path w="495300" h="466725">
                    <a:moveTo>
                      <a:pt x="499682" y="237458"/>
                    </a:moveTo>
                    <a:lnTo>
                      <a:pt x="498824" y="235744"/>
                    </a:lnTo>
                    <a:lnTo>
                      <a:pt x="498824" y="234887"/>
                    </a:lnTo>
                    <a:lnTo>
                      <a:pt x="497205" y="234125"/>
                    </a:lnTo>
                    <a:lnTo>
                      <a:pt x="496348" y="233267"/>
                    </a:lnTo>
                    <a:lnTo>
                      <a:pt x="496348" y="230696"/>
                    </a:lnTo>
                    <a:lnTo>
                      <a:pt x="496348" y="230696"/>
                    </a:lnTo>
                    <a:lnTo>
                      <a:pt x="496348" y="230696"/>
                    </a:lnTo>
                    <a:lnTo>
                      <a:pt x="493776" y="232410"/>
                    </a:lnTo>
                    <a:lnTo>
                      <a:pt x="492062" y="233267"/>
                    </a:lnTo>
                    <a:lnTo>
                      <a:pt x="491204" y="234887"/>
                    </a:lnTo>
                    <a:lnTo>
                      <a:pt x="489585" y="236601"/>
                    </a:lnTo>
                    <a:lnTo>
                      <a:pt x="488728" y="236601"/>
                    </a:lnTo>
                    <a:lnTo>
                      <a:pt x="484442" y="237458"/>
                    </a:lnTo>
                    <a:lnTo>
                      <a:pt x="482822" y="238316"/>
                    </a:lnTo>
                    <a:lnTo>
                      <a:pt x="481108" y="240030"/>
                    </a:lnTo>
                    <a:lnTo>
                      <a:pt x="479393" y="241745"/>
                    </a:lnTo>
                    <a:lnTo>
                      <a:pt x="476060" y="243364"/>
                    </a:lnTo>
                    <a:lnTo>
                      <a:pt x="473488" y="242602"/>
                    </a:lnTo>
                    <a:lnTo>
                      <a:pt x="470059" y="240887"/>
                    </a:lnTo>
                    <a:lnTo>
                      <a:pt x="468440" y="240030"/>
                    </a:lnTo>
                    <a:lnTo>
                      <a:pt x="467582" y="240030"/>
                    </a:lnTo>
                    <a:lnTo>
                      <a:pt x="467582" y="240887"/>
                    </a:lnTo>
                    <a:lnTo>
                      <a:pt x="466725" y="243364"/>
                    </a:lnTo>
                    <a:lnTo>
                      <a:pt x="465868" y="244221"/>
                    </a:lnTo>
                    <a:lnTo>
                      <a:pt x="465011" y="245078"/>
                    </a:lnTo>
                    <a:lnTo>
                      <a:pt x="464153" y="245078"/>
                    </a:lnTo>
                    <a:lnTo>
                      <a:pt x="463296" y="244221"/>
                    </a:lnTo>
                    <a:lnTo>
                      <a:pt x="461677" y="243364"/>
                    </a:lnTo>
                    <a:lnTo>
                      <a:pt x="455771" y="242602"/>
                    </a:lnTo>
                    <a:lnTo>
                      <a:pt x="447294" y="241745"/>
                    </a:lnTo>
                    <a:lnTo>
                      <a:pt x="442246" y="242602"/>
                    </a:lnTo>
                    <a:lnTo>
                      <a:pt x="439674" y="242602"/>
                    </a:lnTo>
                    <a:lnTo>
                      <a:pt x="437102" y="242602"/>
                    </a:lnTo>
                    <a:lnTo>
                      <a:pt x="434626" y="240887"/>
                    </a:lnTo>
                    <a:lnTo>
                      <a:pt x="432054" y="239173"/>
                    </a:lnTo>
                    <a:lnTo>
                      <a:pt x="430340" y="239173"/>
                    </a:lnTo>
                    <a:lnTo>
                      <a:pt x="429482" y="239173"/>
                    </a:lnTo>
                    <a:lnTo>
                      <a:pt x="428625" y="239173"/>
                    </a:lnTo>
                    <a:lnTo>
                      <a:pt x="427006" y="240030"/>
                    </a:lnTo>
                    <a:lnTo>
                      <a:pt x="424434" y="241745"/>
                    </a:lnTo>
                    <a:lnTo>
                      <a:pt x="421100" y="243364"/>
                    </a:lnTo>
                    <a:lnTo>
                      <a:pt x="418529" y="245078"/>
                    </a:lnTo>
                    <a:lnTo>
                      <a:pt x="417671" y="245936"/>
                    </a:lnTo>
                    <a:lnTo>
                      <a:pt x="415957" y="245936"/>
                    </a:lnTo>
                    <a:lnTo>
                      <a:pt x="414338" y="245078"/>
                    </a:lnTo>
                    <a:lnTo>
                      <a:pt x="412623" y="242602"/>
                    </a:lnTo>
                    <a:lnTo>
                      <a:pt x="410909" y="238316"/>
                    </a:lnTo>
                    <a:lnTo>
                      <a:pt x="410051" y="223933"/>
                    </a:lnTo>
                    <a:lnTo>
                      <a:pt x="409194" y="222218"/>
                    </a:lnTo>
                    <a:lnTo>
                      <a:pt x="407575" y="218789"/>
                    </a:lnTo>
                    <a:lnTo>
                      <a:pt x="406717" y="217075"/>
                    </a:lnTo>
                    <a:lnTo>
                      <a:pt x="405860" y="214598"/>
                    </a:lnTo>
                    <a:lnTo>
                      <a:pt x="405860" y="212884"/>
                    </a:lnTo>
                    <a:lnTo>
                      <a:pt x="405860" y="210312"/>
                    </a:lnTo>
                    <a:lnTo>
                      <a:pt x="405860" y="208598"/>
                    </a:lnTo>
                    <a:lnTo>
                      <a:pt x="406717" y="206978"/>
                    </a:lnTo>
                    <a:lnTo>
                      <a:pt x="407575" y="205264"/>
                    </a:lnTo>
                    <a:lnTo>
                      <a:pt x="408337" y="203549"/>
                    </a:lnTo>
                    <a:lnTo>
                      <a:pt x="407575" y="202692"/>
                    </a:lnTo>
                    <a:lnTo>
                      <a:pt x="406717" y="202692"/>
                    </a:lnTo>
                    <a:lnTo>
                      <a:pt x="405003" y="201835"/>
                    </a:lnTo>
                    <a:lnTo>
                      <a:pt x="404146" y="202692"/>
                    </a:lnTo>
                    <a:lnTo>
                      <a:pt x="400812" y="203549"/>
                    </a:lnTo>
                    <a:lnTo>
                      <a:pt x="399955" y="204407"/>
                    </a:lnTo>
                    <a:lnTo>
                      <a:pt x="398240" y="204407"/>
                    </a:lnTo>
                    <a:lnTo>
                      <a:pt x="397383" y="203549"/>
                    </a:lnTo>
                    <a:lnTo>
                      <a:pt x="396526" y="201835"/>
                    </a:lnTo>
                    <a:lnTo>
                      <a:pt x="396526" y="200120"/>
                    </a:lnTo>
                    <a:lnTo>
                      <a:pt x="396526" y="199358"/>
                    </a:lnTo>
                    <a:lnTo>
                      <a:pt x="395669" y="197644"/>
                    </a:lnTo>
                    <a:lnTo>
                      <a:pt x="395669" y="195929"/>
                    </a:lnTo>
                    <a:lnTo>
                      <a:pt x="394049" y="195072"/>
                    </a:lnTo>
                    <a:lnTo>
                      <a:pt x="393192" y="195072"/>
                    </a:lnTo>
                    <a:lnTo>
                      <a:pt x="392335" y="195929"/>
                    </a:lnTo>
                    <a:lnTo>
                      <a:pt x="392335" y="195929"/>
                    </a:lnTo>
                    <a:lnTo>
                      <a:pt x="391478" y="196787"/>
                    </a:lnTo>
                    <a:lnTo>
                      <a:pt x="391478" y="199358"/>
                    </a:lnTo>
                    <a:lnTo>
                      <a:pt x="390620" y="199358"/>
                    </a:lnTo>
                    <a:lnTo>
                      <a:pt x="390620" y="200120"/>
                    </a:lnTo>
                    <a:lnTo>
                      <a:pt x="389763" y="200120"/>
                    </a:lnTo>
                    <a:lnTo>
                      <a:pt x="388906" y="200978"/>
                    </a:lnTo>
                    <a:lnTo>
                      <a:pt x="388049" y="200978"/>
                    </a:lnTo>
                    <a:lnTo>
                      <a:pt x="385572" y="200978"/>
                    </a:lnTo>
                    <a:lnTo>
                      <a:pt x="383858" y="200978"/>
                    </a:lnTo>
                    <a:lnTo>
                      <a:pt x="383000" y="200120"/>
                    </a:lnTo>
                    <a:lnTo>
                      <a:pt x="383000" y="198501"/>
                    </a:lnTo>
                    <a:lnTo>
                      <a:pt x="383000" y="197644"/>
                    </a:lnTo>
                    <a:lnTo>
                      <a:pt x="383000" y="195929"/>
                    </a:lnTo>
                    <a:lnTo>
                      <a:pt x="383858" y="195072"/>
                    </a:lnTo>
                    <a:lnTo>
                      <a:pt x="384715" y="195072"/>
                    </a:lnTo>
                    <a:lnTo>
                      <a:pt x="386429" y="194215"/>
                    </a:lnTo>
                    <a:lnTo>
                      <a:pt x="387287" y="193358"/>
                    </a:lnTo>
                    <a:lnTo>
                      <a:pt x="387287" y="192500"/>
                    </a:lnTo>
                    <a:lnTo>
                      <a:pt x="387287" y="191643"/>
                    </a:lnTo>
                    <a:lnTo>
                      <a:pt x="387287" y="190024"/>
                    </a:lnTo>
                    <a:lnTo>
                      <a:pt x="384715" y="185738"/>
                    </a:lnTo>
                    <a:lnTo>
                      <a:pt x="381286" y="179832"/>
                    </a:lnTo>
                    <a:lnTo>
                      <a:pt x="380524" y="175546"/>
                    </a:lnTo>
                    <a:lnTo>
                      <a:pt x="379667" y="173831"/>
                    </a:lnTo>
                    <a:lnTo>
                      <a:pt x="378809" y="172212"/>
                    </a:lnTo>
                    <a:lnTo>
                      <a:pt x="377095" y="170498"/>
                    </a:lnTo>
                    <a:lnTo>
                      <a:pt x="375380" y="167926"/>
                    </a:lnTo>
                    <a:lnTo>
                      <a:pt x="372904" y="165354"/>
                    </a:lnTo>
                    <a:lnTo>
                      <a:pt x="371189" y="162878"/>
                    </a:lnTo>
                    <a:lnTo>
                      <a:pt x="366141" y="157734"/>
                    </a:lnTo>
                    <a:lnTo>
                      <a:pt x="364427" y="155258"/>
                    </a:lnTo>
                    <a:lnTo>
                      <a:pt x="362712" y="154400"/>
                    </a:lnTo>
                    <a:lnTo>
                      <a:pt x="360140" y="153543"/>
                    </a:lnTo>
                    <a:lnTo>
                      <a:pt x="359378" y="152686"/>
                    </a:lnTo>
                    <a:lnTo>
                      <a:pt x="357664" y="150971"/>
                    </a:lnTo>
                    <a:lnTo>
                      <a:pt x="355949" y="150114"/>
                    </a:lnTo>
                    <a:lnTo>
                      <a:pt x="353378" y="150114"/>
                    </a:lnTo>
                    <a:lnTo>
                      <a:pt x="349187" y="150971"/>
                    </a:lnTo>
                    <a:lnTo>
                      <a:pt x="347472" y="151829"/>
                    </a:lnTo>
                    <a:lnTo>
                      <a:pt x="345853" y="151829"/>
                    </a:lnTo>
                    <a:lnTo>
                      <a:pt x="344996" y="150114"/>
                    </a:lnTo>
                    <a:lnTo>
                      <a:pt x="344138" y="149257"/>
                    </a:lnTo>
                    <a:lnTo>
                      <a:pt x="343281" y="148400"/>
                    </a:lnTo>
                    <a:lnTo>
                      <a:pt x="343281" y="149257"/>
                    </a:lnTo>
                    <a:lnTo>
                      <a:pt x="342424" y="150971"/>
                    </a:lnTo>
                    <a:lnTo>
                      <a:pt x="340709" y="151829"/>
                    </a:lnTo>
                    <a:lnTo>
                      <a:pt x="340709" y="150971"/>
                    </a:lnTo>
                    <a:lnTo>
                      <a:pt x="339852" y="149257"/>
                    </a:lnTo>
                    <a:lnTo>
                      <a:pt x="339090" y="148400"/>
                    </a:lnTo>
                    <a:lnTo>
                      <a:pt x="338233" y="146780"/>
                    </a:lnTo>
                    <a:lnTo>
                      <a:pt x="337375" y="145923"/>
                    </a:lnTo>
                    <a:lnTo>
                      <a:pt x="337375" y="144209"/>
                    </a:lnTo>
                    <a:lnTo>
                      <a:pt x="337375" y="142494"/>
                    </a:lnTo>
                    <a:lnTo>
                      <a:pt x="336518" y="140779"/>
                    </a:lnTo>
                    <a:lnTo>
                      <a:pt x="336518" y="139922"/>
                    </a:lnTo>
                    <a:lnTo>
                      <a:pt x="335661" y="138208"/>
                    </a:lnTo>
                    <a:lnTo>
                      <a:pt x="334804" y="137446"/>
                    </a:lnTo>
                    <a:lnTo>
                      <a:pt x="333089" y="137446"/>
                    </a:lnTo>
                    <a:lnTo>
                      <a:pt x="332327" y="137446"/>
                    </a:lnTo>
                    <a:lnTo>
                      <a:pt x="329756" y="139065"/>
                    </a:lnTo>
                    <a:lnTo>
                      <a:pt x="328898" y="139065"/>
                    </a:lnTo>
                    <a:lnTo>
                      <a:pt x="320421" y="139922"/>
                    </a:lnTo>
                    <a:lnTo>
                      <a:pt x="311944" y="139065"/>
                    </a:lnTo>
                    <a:lnTo>
                      <a:pt x="311182" y="139065"/>
                    </a:lnTo>
                    <a:lnTo>
                      <a:pt x="309467" y="135731"/>
                    </a:lnTo>
                    <a:lnTo>
                      <a:pt x="308610" y="134874"/>
                    </a:lnTo>
                    <a:lnTo>
                      <a:pt x="306896" y="133159"/>
                    </a:lnTo>
                    <a:lnTo>
                      <a:pt x="302705" y="128969"/>
                    </a:lnTo>
                    <a:lnTo>
                      <a:pt x="298418" y="128111"/>
                    </a:lnTo>
                    <a:lnTo>
                      <a:pt x="293370" y="124682"/>
                    </a:lnTo>
                    <a:lnTo>
                      <a:pt x="293370" y="123825"/>
                    </a:lnTo>
                    <a:lnTo>
                      <a:pt x="296799" y="121253"/>
                    </a:lnTo>
                    <a:lnTo>
                      <a:pt x="297656" y="119634"/>
                    </a:lnTo>
                    <a:lnTo>
                      <a:pt x="298418" y="117920"/>
                    </a:lnTo>
                    <a:lnTo>
                      <a:pt x="298418" y="112014"/>
                    </a:lnTo>
                    <a:lnTo>
                      <a:pt x="296799" y="107728"/>
                    </a:lnTo>
                    <a:lnTo>
                      <a:pt x="295942" y="100108"/>
                    </a:lnTo>
                    <a:lnTo>
                      <a:pt x="295085" y="97536"/>
                    </a:lnTo>
                    <a:lnTo>
                      <a:pt x="289179" y="99250"/>
                    </a:lnTo>
                    <a:lnTo>
                      <a:pt x="287465" y="98393"/>
                    </a:lnTo>
                    <a:lnTo>
                      <a:pt x="286607" y="94964"/>
                    </a:lnTo>
                    <a:lnTo>
                      <a:pt x="288322" y="91630"/>
                    </a:lnTo>
                    <a:lnTo>
                      <a:pt x="290036" y="88202"/>
                    </a:lnTo>
                    <a:lnTo>
                      <a:pt x="293370" y="85725"/>
                    </a:lnTo>
                    <a:lnTo>
                      <a:pt x="295942" y="84011"/>
                    </a:lnTo>
                    <a:lnTo>
                      <a:pt x="295085" y="81439"/>
                    </a:lnTo>
                    <a:lnTo>
                      <a:pt x="294227" y="79724"/>
                    </a:lnTo>
                    <a:lnTo>
                      <a:pt x="294227" y="77153"/>
                    </a:lnTo>
                    <a:lnTo>
                      <a:pt x="294227" y="75533"/>
                    </a:lnTo>
                    <a:lnTo>
                      <a:pt x="294227" y="73819"/>
                    </a:lnTo>
                    <a:lnTo>
                      <a:pt x="294227" y="73819"/>
                    </a:lnTo>
                    <a:lnTo>
                      <a:pt x="294227" y="72962"/>
                    </a:lnTo>
                    <a:lnTo>
                      <a:pt x="295085" y="72104"/>
                    </a:lnTo>
                    <a:lnTo>
                      <a:pt x="295942" y="71247"/>
                    </a:lnTo>
                    <a:lnTo>
                      <a:pt x="296799" y="70390"/>
                    </a:lnTo>
                    <a:lnTo>
                      <a:pt x="296799" y="69533"/>
                    </a:lnTo>
                    <a:lnTo>
                      <a:pt x="297656" y="67913"/>
                    </a:lnTo>
                    <a:lnTo>
                      <a:pt x="297656" y="65342"/>
                    </a:lnTo>
                    <a:lnTo>
                      <a:pt x="297656" y="63627"/>
                    </a:lnTo>
                    <a:lnTo>
                      <a:pt x="297656" y="61913"/>
                    </a:lnTo>
                    <a:lnTo>
                      <a:pt x="298418" y="57721"/>
                    </a:lnTo>
                    <a:lnTo>
                      <a:pt x="298418" y="56007"/>
                    </a:lnTo>
                    <a:lnTo>
                      <a:pt x="298418" y="54292"/>
                    </a:lnTo>
                    <a:lnTo>
                      <a:pt x="297656" y="52578"/>
                    </a:lnTo>
                    <a:lnTo>
                      <a:pt x="296799" y="51721"/>
                    </a:lnTo>
                    <a:lnTo>
                      <a:pt x="296799" y="50863"/>
                    </a:lnTo>
                    <a:lnTo>
                      <a:pt x="295942" y="50102"/>
                    </a:lnTo>
                    <a:lnTo>
                      <a:pt x="294227" y="48387"/>
                    </a:lnTo>
                    <a:lnTo>
                      <a:pt x="294227" y="47530"/>
                    </a:lnTo>
                    <a:lnTo>
                      <a:pt x="293370" y="47530"/>
                    </a:lnTo>
                    <a:lnTo>
                      <a:pt x="293370" y="47530"/>
                    </a:lnTo>
                    <a:lnTo>
                      <a:pt x="292513" y="46673"/>
                    </a:lnTo>
                    <a:lnTo>
                      <a:pt x="290036" y="45815"/>
                    </a:lnTo>
                    <a:lnTo>
                      <a:pt x="288322" y="45815"/>
                    </a:lnTo>
                    <a:lnTo>
                      <a:pt x="287465" y="44958"/>
                    </a:lnTo>
                    <a:lnTo>
                      <a:pt x="287465" y="44958"/>
                    </a:lnTo>
                    <a:lnTo>
                      <a:pt x="286607" y="44101"/>
                    </a:lnTo>
                    <a:lnTo>
                      <a:pt x="285750" y="43244"/>
                    </a:lnTo>
                    <a:lnTo>
                      <a:pt x="284893" y="40767"/>
                    </a:lnTo>
                    <a:lnTo>
                      <a:pt x="284131" y="39910"/>
                    </a:lnTo>
                    <a:lnTo>
                      <a:pt x="281559" y="37338"/>
                    </a:lnTo>
                    <a:lnTo>
                      <a:pt x="280702" y="36481"/>
                    </a:lnTo>
                    <a:lnTo>
                      <a:pt x="279845" y="34766"/>
                    </a:lnTo>
                    <a:lnTo>
                      <a:pt x="273082" y="33909"/>
                    </a:lnTo>
                    <a:lnTo>
                      <a:pt x="271367" y="34766"/>
                    </a:lnTo>
                    <a:lnTo>
                      <a:pt x="270510" y="34766"/>
                    </a:lnTo>
                    <a:lnTo>
                      <a:pt x="269748" y="35624"/>
                    </a:lnTo>
                    <a:lnTo>
                      <a:pt x="262128" y="38195"/>
                    </a:lnTo>
                    <a:lnTo>
                      <a:pt x="260413" y="39053"/>
                    </a:lnTo>
                    <a:lnTo>
                      <a:pt x="259556" y="39053"/>
                    </a:lnTo>
                    <a:lnTo>
                      <a:pt x="258699" y="39910"/>
                    </a:lnTo>
                    <a:lnTo>
                      <a:pt x="258699" y="40767"/>
                    </a:lnTo>
                    <a:lnTo>
                      <a:pt x="258699" y="42386"/>
                    </a:lnTo>
                    <a:lnTo>
                      <a:pt x="258699" y="43244"/>
                    </a:lnTo>
                    <a:lnTo>
                      <a:pt x="257842" y="43244"/>
                    </a:lnTo>
                    <a:lnTo>
                      <a:pt x="256985" y="44958"/>
                    </a:lnTo>
                    <a:lnTo>
                      <a:pt x="256223" y="44958"/>
                    </a:lnTo>
                    <a:lnTo>
                      <a:pt x="255365" y="44958"/>
                    </a:lnTo>
                    <a:lnTo>
                      <a:pt x="255365" y="44958"/>
                    </a:lnTo>
                    <a:lnTo>
                      <a:pt x="253651" y="44101"/>
                    </a:lnTo>
                    <a:lnTo>
                      <a:pt x="253651" y="44101"/>
                    </a:lnTo>
                    <a:lnTo>
                      <a:pt x="252794" y="43244"/>
                    </a:lnTo>
                    <a:lnTo>
                      <a:pt x="252794" y="42386"/>
                    </a:lnTo>
                    <a:lnTo>
                      <a:pt x="251936" y="42386"/>
                    </a:lnTo>
                    <a:lnTo>
                      <a:pt x="251079" y="41624"/>
                    </a:lnTo>
                    <a:lnTo>
                      <a:pt x="248603" y="41624"/>
                    </a:lnTo>
                    <a:lnTo>
                      <a:pt x="247745" y="41624"/>
                    </a:lnTo>
                    <a:lnTo>
                      <a:pt x="246888" y="41624"/>
                    </a:lnTo>
                    <a:lnTo>
                      <a:pt x="238411" y="41624"/>
                    </a:lnTo>
                    <a:lnTo>
                      <a:pt x="236696" y="41624"/>
                    </a:lnTo>
                    <a:lnTo>
                      <a:pt x="235934" y="41624"/>
                    </a:lnTo>
                    <a:lnTo>
                      <a:pt x="235077" y="40767"/>
                    </a:lnTo>
                    <a:lnTo>
                      <a:pt x="234220" y="39910"/>
                    </a:lnTo>
                    <a:lnTo>
                      <a:pt x="232505" y="38195"/>
                    </a:lnTo>
                    <a:lnTo>
                      <a:pt x="232505" y="37338"/>
                    </a:lnTo>
                    <a:lnTo>
                      <a:pt x="230791" y="36481"/>
                    </a:lnTo>
                    <a:lnTo>
                      <a:pt x="221552" y="35624"/>
                    </a:lnTo>
                    <a:lnTo>
                      <a:pt x="219837" y="34766"/>
                    </a:lnTo>
                    <a:lnTo>
                      <a:pt x="218980" y="34766"/>
                    </a:lnTo>
                    <a:lnTo>
                      <a:pt x="218123" y="33909"/>
                    </a:lnTo>
                    <a:lnTo>
                      <a:pt x="217265" y="31433"/>
                    </a:lnTo>
                    <a:lnTo>
                      <a:pt x="216408" y="30575"/>
                    </a:lnTo>
                    <a:lnTo>
                      <a:pt x="215551" y="29718"/>
                    </a:lnTo>
                    <a:lnTo>
                      <a:pt x="213074" y="28861"/>
                    </a:lnTo>
                    <a:lnTo>
                      <a:pt x="212217" y="28861"/>
                    </a:lnTo>
                    <a:lnTo>
                      <a:pt x="210503" y="28861"/>
                    </a:lnTo>
                    <a:lnTo>
                      <a:pt x="203740" y="29718"/>
                    </a:lnTo>
                    <a:lnTo>
                      <a:pt x="199549" y="32290"/>
                    </a:lnTo>
                    <a:lnTo>
                      <a:pt x="198692" y="33147"/>
                    </a:lnTo>
                    <a:lnTo>
                      <a:pt x="197834" y="33147"/>
                    </a:lnTo>
                    <a:lnTo>
                      <a:pt x="196977" y="35624"/>
                    </a:lnTo>
                    <a:lnTo>
                      <a:pt x="196120" y="36481"/>
                    </a:lnTo>
                    <a:lnTo>
                      <a:pt x="194501" y="37338"/>
                    </a:lnTo>
                    <a:lnTo>
                      <a:pt x="191929" y="37338"/>
                    </a:lnTo>
                    <a:lnTo>
                      <a:pt x="191072" y="37338"/>
                    </a:lnTo>
                    <a:lnTo>
                      <a:pt x="190214" y="37338"/>
                    </a:lnTo>
                    <a:lnTo>
                      <a:pt x="189357" y="37338"/>
                    </a:lnTo>
                    <a:lnTo>
                      <a:pt x="189357" y="36481"/>
                    </a:lnTo>
                    <a:lnTo>
                      <a:pt x="189357" y="36481"/>
                    </a:lnTo>
                    <a:lnTo>
                      <a:pt x="187738" y="35624"/>
                    </a:lnTo>
                    <a:lnTo>
                      <a:pt x="186023" y="34766"/>
                    </a:lnTo>
                    <a:lnTo>
                      <a:pt x="185166" y="34766"/>
                    </a:lnTo>
                    <a:lnTo>
                      <a:pt x="184309" y="33909"/>
                    </a:lnTo>
                    <a:lnTo>
                      <a:pt x="183452" y="33147"/>
                    </a:lnTo>
                    <a:lnTo>
                      <a:pt x="183452" y="32290"/>
                    </a:lnTo>
                    <a:lnTo>
                      <a:pt x="183452" y="31433"/>
                    </a:lnTo>
                    <a:lnTo>
                      <a:pt x="182594" y="30575"/>
                    </a:lnTo>
                    <a:lnTo>
                      <a:pt x="180118" y="29718"/>
                    </a:lnTo>
                    <a:lnTo>
                      <a:pt x="179261" y="29718"/>
                    </a:lnTo>
                    <a:lnTo>
                      <a:pt x="178403" y="28861"/>
                    </a:lnTo>
                    <a:lnTo>
                      <a:pt x="177546" y="28004"/>
                    </a:lnTo>
                    <a:lnTo>
                      <a:pt x="174974" y="19526"/>
                    </a:lnTo>
                    <a:lnTo>
                      <a:pt x="174974" y="19526"/>
                    </a:lnTo>
                    <a:lnTo>
                      <a:pt x="174974" y="18669"/>
                    </a:lnTo>
                    <a:lnTo>
                      <a:pt x="174212" y="17812"/>
                    </a:lnTo>
                    <a:lnTo>
                      <a:pt x="173355" y="17812"/>
                    </a:lnTo>
                    <a:lnTo>
                      <a:pt x="173355" y="16954"/>
                    </a:lnTo>
                    <a:lnTo>
                      <a:pt x="171641" y="16097"/>
                    </a:lnTo>
                    <a:lnTo>
                      <a:pt x="170783" y="15335"/>
                    </a:lnTo>
                    <a:lnTo>
                      <a:pt x="167450" y="13621"/>
                    </a:lnTo>
                    <a:lnTo>
                      <a:pt x="163163" y="13621"/>
                    </a:lnTo>
                    <a:lnTo>
                      <a:pt x="160592" y="13621"/>
                    </a:lnTo>
                    <a:lnTo>
                      <a:pt x="160592" y="13621"/>
                    </a:lnTo>
                    <a:lnTo>
                      <a:pt x="156401" y="11906"/>
                    </a:lnTo>
                    <a:lnTo>
                      <a:pt x="149638" y="9334"/>
                    </a:lnTo>
                    <a:lnTo>
                      <a:pt x="147923" y="8477"/>
                    </a:lnTo>
                    <a:lnTo>
                      <a:pt x="146304" y="9334"/>
                    </a:lnTo>
                    <a:lnTo>
                      <a:pt x="144590" y="9334"/>
                    </a:lnTo>
                    <a:lnTo>
                      <a:pt x="143732" y="9334"/>
                    </a:lnTo>
                    <a:lnTo>
                      <a:pt x="142875" y="8477"/>
                    </a:lnTo>
                    <a:lnTo>
                      <a:pt x="141161" y="8477"/>
                    </a:lnTo>
                    <a:lnTo>
                      <a:pt x="140303" y="8477"/>
                    </a:lnTo>
                    <a:lnTo>
                      <a:pt x="139541" y="8477"/>
                    </a:lnTo>
                    <a:lnTo>
                      <a:pt x="139541" y="8477"/>
                    </a:lnTo>
                    <a:lnTo>
                      <a:pt x="138684" y="8477"/>
                    </a:lnTo>
                    <a:lnTo>
                      <a:pt x="137827" y="8477"/>
                    </a:lnTo>
                    <a:lnTo>
                      <a:pt x="136970" y="9334"/>
                    </a:lnTo>
                    <a:lnTo>
                      <a:pt x="136970" y="9334"/>
                    </a:lnTo>
                    <a:lnTo>
                      <a:pt x="136970" y="9334"/>
                    </a:lnTo>
                    <a:lnTo>
                      <a:pt x="136112" y="10192"/>
                    </a:lnTo>
                    <a:lnTo>
                      <a:pt x="136112" y="11049"/>
                    </a:lnTo>
                    <a:lnTo>
                      <a:pt x="135255" y="11049"/>
                    </a:lnTo>
                    <a:lnTo>
                      <a:pt x="134398" y="11049"/>
                    </a:lnTo>
                    <a:lnTo>
                      <a:pt x="127635" y="8477"/>
                    </a:lnTo>
                    <a:lnTo>
                      <a:pt x="126778" y="7620"/>
                    </a:lnTo>
                    <a:lnTo>
                      <a:pt x="126778" y="7620"/>
                    </a:lnTo>
                    <a:lnTo>
                      <a:pt x="126016" y="6858"/>
                    </a:lnTo>
                    <a:lnTo>
                      <a:pt x="125159" y="4286"/>
                    </a:lnTo>
                    <a:lnTo>
                      <a:pt x="124301" y="3429"/>
                    </a:lnTo>
                    <a:lnTo>
                      <a:pt x="124301" y="3429"/>
                    </a:lnTo>
                    <a:lnTo>
                      <a:pt x="122587" y="1715"/>
                    </a:lnTo>
                    <a:lnTo>
                      <a:pt x="118396" y="0"/>
                    </a:lnTo>
                    <a:lnTo>
                      <a:pt x="117539" y="3429"/>
                    </a:lnTo>
                    <a:lnTo>
                      <a:pt x="118396" y="6858"/>
                    </a:lnTo>
                    <a:lnTo>
                      <a:pt x="121730" y="15335"/>
                    </a:lnTo>
                    <a:lnTo>
                      <a:pt x="122587" y="16954"/>
                    </a:lnTo>
                    <a:lnTo>
                      <a:pt x="124301" y="16954"/>
                    </a:lnTo>
                    <a:lnTo>
                      <a:pt x="125159" y="16954"/>
                    </a:lnTo>
                    <a:lnTo>
                      <a:pt x="126016" y="18669"/>
                    </a:lnTo>
                    <a:lnTo>
                      <a:pt x="126016" y="19526"/>
                    </a:lnTo>
                    <a:lnTo>
                      <a:pt x="126016" y="20383"/>
                    </a:lnTo>
                    <a:lnTo>
                      <a:pt x="126016" y="21241"/>
                    </a:lnTo>
                    <a:lnTo>
                      <a:pt x="125159" y="22955"/>
                    </a:lnTo>
                    <a:lnTo>
                      <a:pt x="125159" y="23813"/>
                    </a:lnTo>
                    <a:lnTo>
                      <a:pt x="124301" y="24575"/>
                    </a:lnTo>
                    <a:lnTo>
                      <a:pt x="120872" y="26289"/>
                    </a:lnTo>
                    <a:lnTo>
                      <a:pt x="119253" y="28004"/>
                    </a:lnTo>
                    <a:lnTo>
                      <a:pt x="118396" y="28861"/>
                    </a:lnTo>
                    <a:lnTo>
                      <a:pt x="118396" y="32290"/>
                    </a:lnTo>
                    <a:lnTo>
                      <a:pt x="115824" y="35624"/>
                    </a:lnTo>
                    <a:lnTo>
                      <a:pt x="115824" y="37338"/>
                    </a:lnTo>
                    <a:lnTo>
                      <a:pt x="114967" y="39910"/>
                    </a:lnTo>
                    <a:lnTo>
                      <a:pt x="115824" y="45815"/>
                    </a:lnTo>
                    <a:lnTo>
                      <a:pt x="115824" y="46673"/>
                    </a:lnTo>
                    <a:lnTo>
                      <a:pt x="114967" y="48387"/>
                    </a:lnTo>
                    <a:lnTo>
                      <a:pt x="114967" y="49244"/>
                    </a:lnTo>
                    <a:lnTo>
                      <a:pt x="114110" y="49244"/>
                    </a:lnTo>
                    <a:lnTo>
                      <a:pt x="112395" y="50102"/>
                    </a:lnTo>
                    <a:lnTo>
                      <a:pt x="108204" y="50863"/>
                    </a:lnTo>
                    <a:lnTo>
                      <a:pt x="107347" y="50863"/>
                    </a:lnTo>
                    <a:lnTo>
                      <a:pt x="106490" y="51721"/>
                    </a:lnTo>
                    <a:lnTo>
                      <a:pt x="104870" y="52578"/>
                    </a:lnTo>
                    <a:lnTo>
                      <a:pt x="104013" y="54292"/>
                    </a:lnTo>
                    <a:lnTo>
                      <a:pt x="103156" y="57721"/>
                    </a:lnTo>
                    <a:lnTo>
                      <a:pt x="102299" y="58579"/>
                    </a:lnTo>
                    <a:lnTo>
                      <a:pt x="101441" y="59436"/>
                    </a:lnTo>
                    <a:lnTo>
                      <a:pt x="101441" y="60198"/>
                    </a:lnTo>
                    <a:lnTo>
                      <a:pt x="100584" y="61913"/>
                    </a:lnTo>
                    <a:lnTo>
                      <a:pt x="100584" y="62770"/>
                    </a:lnTo>
                    <a:lnTo>
                      <a:pt x="101441" y="67913"/>
                    </a:lnTo>
                    <a:lnTo>
                      <a:pt x="101441" y="69533"/>
                    </a:lnTo>
                    <a:lnTo>
                      <a:pt x="101441" y="72104"/>
                    </a:lnTo>
                    <a:lnTo>
                      <a:pt x="101441" y="72962"/>
                    </a:lnTo>
                    <a:lnTo>
                      <a:pt x="100584" y="73819"/>
                    </a:lnTo>
                    <a:lnTo>
                      <a:pt x="98870" y="73819"/>
                    </a:lnTo>
                    <a:lnTo>
                      <a:pt x="96393" y="73819"/>
                    </a:lnTo>
                    <a:lnTo>
                      <a:pt x="94679" y="73819"/>
                    </a:lnTo>
                    <a:lnTo>
                      <a:pt x="93821" y="72962"/>
                    </a:lnTo>
                    <a:lnTo>
                      <a:pt x="92964" y="72962"/>
                    </a:lnTo>
                    <a:lnTo>
                      <a:pt x="92107" y="72962"/>
                    </a:lnTo>
                    <a:lnTo>
                      <a:pt x="90488" y="72962"/>
                    </a:lnTo>
                    <a:lnTo>
                      <a:pt x="88773" y="73819"/>
                    </a:lnTo>
                    <a:lnTo>
                      <a:pt x="87916" y="72962"/>
                    </a:lnTo>
                    <a:lnTo>
                      <a:pt x="86201" y="72962"/>
                    </a:lnTo>
                    <a:lnTo>
                      <a:pt x="84582" y="72104"/>
                    </a:lnTo>
                    <a:lnTo>
                      <a:pt x="83725" y="70390"/>
                    </a:lnTo>
                    <a:lnTo>
                      <a:pt x="81153" y="66199"/>
                    </a:lnTo>
                    <a:lnTo>
                      <a:pt x="80296" y="66199"/>
                    </a:lnTo>
                    <a:lnTo>
                      <a:pt x="80296" y="66199"/>
                    </a:lnTo>
                    <a:lnTo>
                      <a:pt x="77819" y="67056"/>
                    </a:lnTo>
                    <a:lnTo>
                      <a:pt x="76962" y="66199"/>
                    </a:lnTo>
                    <a:lnTo>
                      <a:pt x="74390" y="66199"/>
                    </a:lnTo>
                    <a:lnTo>
                      <a:pt x="73533" y="65342"/>
                    </a:lnTo>
                    <a:lnTo>
                      <a:pt x="72676" y="65342"/>
                    </a:lnTo>
                    <a:lnTo>
                      <a:pt x="71819" y="65342"/>
                    </a:lnTo>
                    <a:lnTo>
                      <a:pt x="71057" y="66199"/>
                    </a:lnTo>
                    <a:lnTo>
                      <a:pt x="70199" y="67056"/>
                    </a:lnTo>
                    <a:lnTo>
                      <a:pt x="69342" y="67056"/>
                    </a:lnTo>
                    <a:lnTo>
                      <a:pt x="67628" y="68675"/>
                    </a:lnTo>
                    <a:lnTo>
                      <a:pt x="66770" y="69533"/>
                    </a:lnTo>
                    <a:lnTo>
                      <a:pt x="66770" y="70390"/>
                    </a:lnTo>
                    <a:lnTo>
                      <a:pt x="67628" y="70390"/>
                    </a:lnTo>
                    <a:lnTo>
                      <a:pt x="69342" y="71247"/>
                    </a:lnTo>
                    <a:lnTo>
                      <a:pt x="70199" y="72104"/>
                    </a:lnTo>
                    <a:lnTo>
                      <a:pt x="70199" y="72962"/>
                    </a:lnTo>
                    <a:lnTo>
                      <a:pt x="67628" y="75533"/>
                    </a:lnTo>
                    <a:lnTo>
                      <a:pt x="66770" y="76391"/>
                    </a:lnTo>
                    <a:lnTo>
                      <a:pt x="65913" y="77153"/>
                    </a:lnTo>
                    <a:lnTo>
                      <a:pt x="65056" y="81439"/>
                    </a:lnTo>
                    <a:lnTo>
                      <a:pt x="63437" y="84011"/>
                    </a:lnTo>
                    <a:lnTo>
                      <a:pt x="63437" y="85725"/>
                    </a:lnTo>
                    <a:lnTo>
                      <a:pt x="63437" y="86487"/>
                    </a:lnTo>
                    <a:lnTo>
                      <a:pt x="63437" y="87344"/>
                    </a:lnTo>
                    <a:lnTo>
                      <a:pt x="63437" y="88202"/>
                    </a:lnTo>
                    <a:lnTo>
                      <a:pt x="63437" y="89059"/>
                    </a:lnTo>
                    <a:lnTo>
                      <a:pt x="63437" y="89916"/>
                    </a:lnTo>
                    <a:lnTo>
                      <a:pt x="62579" y="90773"/>
                    </a:lnTo>
                    <a:lnTo>
                      <a:pt x="61722" y="90773"/>
                    </a:lnTo>
                    <a:lnTo>
                      <a:pt x="60865" y="91630"/>
                    </a:lnTo>
                    <a:lnTo>
                      <a:pt x="60008" y="92488"/>
                    </a:lnTo>
                    <a:lnTo>
                      <a:pt x="58293" y="94202"/>
                    </a:lnTo>
                    <a:lnTo>
                      <a:pt x="57436" y="95821"/>
                    </a:lnTo>
                    <a:lnTo>
                      <a:pt x="55817" y="96679"/>
                    </a:lnTo>
                    <a:lnTo>
                      <a:pt x="54959" y="97536"/>
                    </a:lnTo>
                    <a:lnTo>
                      <a:pt x="54102" y="97536"/>
                    </a:lnTo>
                    <a:lnTo>
                      <a:pt x="54102" y="99250"/>
                    </a:lnTo>
                    <a:lnTo>
                      <a:pt x="54959" y="100965"/>
                    </a:lnTo>
                    <a:lnTo>
                      <a:pt x="55817" y="101822"/>
                    </a:lnTo>
                    <a:lnTo>
                      <a:pt x="55817" y="103442"/>
                    </a:lnTo>
                    <a:lnTo>
                      <a:pt x="55817" y="104299"/>
                    </a:lnTo>
                    <a:lnTo>
                      <a:pt x="55817" y="105156"/>
                    </a:lnTo>
                    <a:lnTo>
                      <a:pt x="55817" y="105156"/>
                    </a:lnTo>
                    <a:lnTo>
                      <a:pt x="56674" y="106013"/>
                    </a:lnTo>
                    <a:lnTo>
                      <a:pt x="57436" y="106013"/>
                    </a:lnTo>
                    <a:lnTo>
                      <a:pt x="58293" y="105156"/>
                    </a:lnTo>
                    <a:lnTo>
                      <a:pt x="59150" y="106013"/>
                    </a:lnTo>
                    <a:lnTo>
                      <a:pt x="60008" y="106013"/>
                    </a:lnTo>
                    <a:lnTo>
                      <a:pt x="60008" y="106871"/>
                    </a:lnTo>
                    <a:lnTo>
                      <a:pt x="60008" y="106871"/>
                    </a:lnTo>
                    <a:lnTo>
                      <a:pt x="60008" y="108585"/>
                    </a:lnTo>
                    <a:lnTo>
                      <a:pt x="60008" y="108585"/>
                    </a:lnTo>
                    <a:lnTo>
                      <a:pt x="60865" y="109442"/>
                    </a:lnTo>
                    <a:lnTo>
                      <a:pt x="60865" y="109442"/>
                    </a:lnTo>
                    <a:lnTo>
                      <a:pt x="61722" y="109442"/>
                    </a:lnTo>
                    <a:lnTo>
                      <a:pt x="62579" y="109442"/>
                    </a:lnTo>
                    <a:lnTo>
                      <a:pt x="63437" y="109442"/>
                    </a:lnTo>
                    <a:lnTo>
                      <a:pt x="64294" y="110300"/>
                    </a:lnTo>
                    <a:lnTo>
                      <a:pt x="64294" y="111157"/>
                    </a:lnTo>
                    <a:lnTo>
                      <a:pt x="64294" y="112776"/>
                    </a:lnTo>
                    <a:lnTo>
                      <a:pt x="64294" y="113633"/>
                    </a:lnTo>
                    <a:lnTo>
                      <a:pt x="64294" y="114491"/>
                    </a:lnTo>
                    <a:lnTo>
                      <a:pt x="65913" y="116205"/>
                    </a:lnTo>
                    <a:lnTo>
                      <a:pt x="70199" y="119634"/>
                    </a:lnTo>
                    <a:lnTo>
                      <a:pt x="71057" y="120491"/>
                    </a:lnTo>
                    <a:lnTo>
                      <a:pt x="71819" y="121253"/>
                    </a:lnTo>
                    <a:lnTo>
                      <a:pt x="71819" y="122111"/>
                    </a:lnTo>
                    <a:lnTo>
                      <a:pt x="71819" y="122968"/>
                    </a:lnTo>
                    <a:lnTo>
                      <a:pt x="71819" y="123825"/>
                    </a:lnTo>
                    <a:lnTo>
                      <a:pt x="69342" y="123825"/>
                    </a:lnTo>
                    <a:lnTo>
                      <a:pt x="67628" y="123825"/>
                    </a:lnTo>
                    <a:lnTo>
                      <a:pt x="66770" y="124682"/>
                    </a:lnTo>
                    <a:lnTo>
                      <a:pt x="65056" y="125540"/>
                    </a:lnTo>
                    <a:lnTo>
                      <a:pt x="64294" y="126397"/>
                    </a:lnTo>
                    <a:lnTo>
                      <a:pt x="63437" y="128111"/>
                    </a:lnTo>
                    <a:lnTo>
                      <a:pt x="61722" y="129730"/>
                    </a:lnTo>
                    <a:lnTo>
                      <a:pt x="58293" y="137446"/>
                    </a:lnTo>
                    <a:lnTo>
                      <a:pt x="57436" y="139065"/>
                    </a:lnTo>
                    <a:lnTo>
                      <a:pt x="57436" y="139065"/>
                    </a:lnTo>
                    <a:lnTo>
                      <a:pt x="56674" y="139065"/>
                    </a:lnTo>
                    <a:lnTo>
                      <a:pt x="54102" y="138208"/>
                    </a:lnTo>
                    <a:lnTo>
                      <a:pt x="52388" y="138208"/>
                    </a:lnTo>
                    <a:lnTo>
                      <a:pt x="51530" y="139065"/>
                    </a:lnTo>
                    <a:lnTo>
                      <a:pt x="49911" y="139922"/>
                    </a:lnTo>
                    <a:lnTo>
                      <a:pt x="49911" y="141637"/>
                    </a:lnTo>
                    <a:lnTo>
                      <a:pt x="49054" y="142494"/>
                    </a:lnTo>
                    <a:lnTo>
                      <a:pt x="49054" y="144209"/>
                    </a:lnTo>
                    <a:lnTo>
                      <a:pt x="49911" y="145066"/>
                    </a:lnTo>
                    <a:lnTo>
                      <a:pt x="49911" y="145923"/>
                    </a:lnTo>
                    <a:lnTo>
                      <a:pt x="49911" y="147542"/>
                    </a:lnTo>
                    <a:lnTo>
                      <a:pt x="49054" y="150971"/>
                    </a:lnTo>
                    <a:lnTo>
                      <a:pt x="48197" y="152686"/>
                    </a:lnTo>
                    <a:lnTo>
                      <a:pt x="47339" y="153543"/>
                    </a:lnTo>
                    <a:lnTo>
                      <a:pt x="46482" y="154400"/>
                    </a:lnTo>
                    <a:lnTo>
                      <a:pt x="45625" y="154400"/>
                    </a:lnTo>
                    <a:lnTo>
                      <a:pt x="43910" y="154400"/>
                    </a:lnTo>
                    <a:lnTo>
                      <a:pt x="39719" y="155258"/>
                    </a:lnTo>
                    <a:lnTo>
                      <a:pt x="38862" y="155258"/>
                    </a:lnTo>
                    <a:lnTo>
                      <a:pt x="38005" y="156020"/>
                    </a:lnTo>
                    <a:lnTo>
                      <a:pt x="37148" y="156877"/>
                    </a:lnTo>
                    <a:lnTo>
                      <a:pt x="36386" y="157734"/>
                    </a:lnTo>
                    <a:lnTo>
                      <a:pt x="35528" y="158591"/>
                    </a:lnTo>
                    <a:lnTo>
                      <a:pt x="34671" y="159449"/>
                    </a:lnTo>
                    <a:lnTo>
                      <a:pt x="32957" y="161163"/>
                    </a:lnTo>
                    <a:lnTo>
                      <a:pt x="32957" y="162020"/>
                    </a:lnTo>
                    <a:lnTo>
                      <a:pt x="32957" y="162878"/>
                    </a:lnTo>
                    <a:lnTo>
                      <a:pt x="32957" y="163735"/>
                    </a:lnTo>
                    <a:lnTo>
                      <a:pt x="32957" y="164497"/>
                    </a:lnTo>
                    <a:lnTo>
                      <a:pt x="32099" y="165354"/>
                    </a:lnTo>
                    <a:lnTo>
                      <a:pt x="32099" y="166211"/>
                    </a:lnTo>
                    <a:lnTo>
                      <a:pt x="32099" y="168783"/>
                    </a:lnTo>
                    <a:lnTo>
                      <a:pt x="31242" y="170498"/>
                    </a:lnTo>
                    <a:lnTo>
                      <a:pt x="31242" y="172212"/>
                    </a:lnTo>
                    <a:lnTo>
                      <a:pt x="30385" y="173069"/>
                    </a:lnTo>
                    <a:lnTo>
                      <a:pt x="28766" y="173069"/>
                    </a:lnTo>
                    <a:lnTo>
                      <a:pt x="27908" y="174688"/>
                    </a:lnTo>
                    <a:lnTo>
                      <a:pt x="27051" y="174688"/>
                    </a:lnTo>
                    <a:lnTo>
                      <a:pt x="27051" y="175546"/>
                    </a:lnTo>
                    <a:lnTo>
                      <a:pt x="32099" y="179832"/>
                    </a:lnTo>
                    <a:lnTo>
                      <a:pt x="32099" y="179832"/>
                    </a:lnTo>
                    <a:lnTo>
                      <a:pt x="32957" y="181546"/>
                    </a:lnTo>
                    <a:lnTo>
                      <a:pt x="32957" y="182309"/>
                    </a:lnTo>
                    <a:lnTo>
                      <a:pt x="32099" y="184880"/>
                    </a:lnTo>
                    <a:lnTo>
                      <a:pt x="35528" y="186595"/>
                    </a:lnTo>
                    <a:lnTo>
                      <a:pt x="35528" y="187452"/>
                    </a:lnTo>
                    <a:lnTo>
                      <a:pt x="35528" y="188309"/>
                    </a:lnTo>
                    <a:lnTo>
                      <a:pt x="34671" y="190024"/>
                    </a:lnTo>
                    <a:lnTo>
                      <a:pt x="34671" y="191643"/>
                    </a:lnTo>
                    <a:lnTo>
                      <a:pt x="33814" y="193358"/>
                    </a:lnTo>
                    <a:lnTo>
                      <a:pt x="34671" y="194215"/>
                    </a:lnTo>
                    <a:lnTo>
                      <a:pt x="37148" y="200120"/>
                    </a:lnTo>
                    <a:lnTo>
                      <a:pt x="38005" y="206121"/>
                    </a:lnTo>
                    <a:lnTo>
                      <a:pt x="38005" y="206978"/>
                    </a:lnTo>
                    <a:lnTo>
                      <a:pt x="37148" y="206978"/>
                    </a:lnTo>
                    <a:lnTo>
                      <a:pt x="37148" y="207836"/>
                    </a:lnTo>
                    <a:lnTo>
                      <a:pt x="36386" y="207836"/>
                    </a:lnTo>
                    <a:lnTo>
                      <a:pt x="34671" y="207836"/>
                    </a:lnTo>
                    <a:lnTo>
                      <a:pt x="33814" y="208598"/>
                    </a:lnTo>
                    <a:lnTo>
                      <a:pt x="33814" y="209455"/>
                    </a:lnTo>
                    <a:lnTo>
                      <a:pt x="32957" y="210312"/>
                    </a:lnTo>
                    <a:lnTo>
                      <a:pt x="32957" y="211169"/>
                    </a:lnTo>
                    <a:lnTo>
                      <a:pt x="33814" y="212027"/>
                    </a:lnTo>
                    <a:lnTo>
                      <a:pt x="37148" y="214598"/>
                    </a:lnTo>
                    <a:lnTo>
                      <a:pt x="38005" y="216313"/>
                    </a:lnTo>
                    <a:lnTo>
                      <a:pt x="38862" y="217932"/>
                    </a:lnTo>
                    <a:lnTo>
                      <a:pt x="39719" y="221361"/>
                    </a:lnTo>
                    <a:lnTo>
                      <a:pt x="40577" y="224790"/>
                    </a:lnTo>
                    <a:lnTo>
                      <a:pt x="40577" y="226409"/>
                    </a:lnTo>
                    <a:lnTo>
                      <a:pt x="40577" y="228124"/>
                    </a:lnTo>
                    <a:lnTo>
                      <a:pt x="39719" y="228981"/>
                    </a:lnTo>
                    <a:lnTo>
                      <a:pt x="32957" y="234887"/>
                    </a:lnTo>
                    <a:lnTo>
                      <a:pt x="32099" y="235744"/>
                    </a:lnTo>
                    <a:lnTo>
                      <a:pt x="31242" y="236601"/>
                    </a:lnTo>
                    <a:lnTo>
                      <a:pt x="30385" y="236601"/>
                    </a:lnTo>
                    <a:lnTo>
                      <a:pt x="29623" y="237458"/>
                    </a:lnTo>
                    <a:lnTo>
                      <a:pt x="28766" y="238316"/>
                    </a:lnTo>
                    <a:lnTo>
                      <a:pt x="27908" y="239173"/>
                    </a:lnTo>
                    <a:lnTo>
                      <a:pt x="27051" y="240887"/>
                    </a:lnTo>
                    <a:lnTo>
                      <a:pt x="27051" y="241745"/>
                    </a:lnTo>
                    <a:lnTo>
                      <a:pt x="27051" y="241745"/>
                    </a:lnTo>
                    <a:lnTo>
                      <a:pt x="27051" y="241745"/>
                    </a:lnTo>
                    <a:lnTo>
                      <a:pt x="27908" y="242602"/>
                    </a:lnTo>
                    <a:lnTo>
                      <a:pt x="28766" y="244221"/>
                    </a:lnTo>
                    <a:lnTo>
                      <a:pt x="29623" y="245078"/>
                    </a:lnTo>
                    <a:lnTo>
                      <a:pt x="30385" y="245936"/>
                    </a:lnTo>
                    <a:lnTo>
                      <a:pt x="30385" y="247650"/>
                    </a:lnTo>
                    <a:lnTo>
                      <a:pt x="30385" y="248507"/>
                    </a:lnTo>
                    <a:lnTo>
                      <a:pt x="29623" y="249365"/>
                    </a:lnTo>
                    <a:lnTo>
                      <a:pt x="28766" y="250222"/>
                    </a:lnTo>
                    <a:lnTo>
                      <a:pt x="24479" y="251936"/>
                    </a:lnTo>
                    <a:lnTo>
                      <a:pt x="23622" y="252698"/>
                    </a:lnTo>
                    <a:lnTo>
                      <a:pt x="22860" y="253555"/>
                    </a:lnTo>
                    <a:lnTo>
                      <a:pt x="21146" y="256127"/>
                    </a:lnTo>
                    <a:lnTo>
                      <a:pt x="18574" y="260413"/>
                    </a:lnTo>
                    <a:lnTo>
                      <a:pt x="16859" y="262890"/>
                    </a:lnTo>
                    <a:lnTo>
                      <a:pt x="18574" y="264605"/>
                    </a:lnTo>
                    <a:lnTo>
                      <a:pt x="22003" y="266319"/>
                    </a:lnTo>
                    <a:lnTo>
                      <a:pt x="23622" y="267176"/>
                    </a:lnTo>
                    <a:lnTo>
                      <a:pt x="25337" y="268891"/>
                    </a:lnTo>
                    <a:lnTo>
                      <a:pt x="26194" y="268891"/>
                    </a:lnTo>
                    <a:lnTo>
                      <a:pt x="27051" y="268891"/>
                    </a:lnTo>
                    <a:lnTo>
                      <a:pt x="28766" y="268891"/>
                    </a:lnTo>
                    <a:lnTo>
                      <a:pt x="30385" y="268891"/>
                    </a:lnTo>
                    <a:lnTo>
                      <a:pt x="32099" y="268891"/>
                    </a:lnTo>
                    <a:lnTo>
                      <a:pt x="35528" y="268891"/>
                    </a:lnTo>
                    <a:lnTo>
                      <a:pt x="36386" y="271367"/>
                    </a:lnTo>
                    <a:lnTo>
                      <a:pt x="37148" y="272225"/>
                    </a:lnTo>
                    <a:lnTo>
                      <a:pt x="38005" y="272225"/>
                    </a:lnTo>
                    <a:lnTo>
                      <a:pt x="38862" y="272225"/>
                    </a:lnTo>
                    <a:lnTo>
                      <a:pt x="39719" y="272225"/>
                    </a:lnTo>
                    <a:lnTo>
                      <a:pt x="42291" y="270510"/>
                    </a:lnTo>
                    <a:lnTo>
                      <a:pt x="43910" y="269653"/>
                    </a:lnTo>
                    <a:lnTo>
                      <a:pt x="45625" y="268891"/>
                    </a:lnTo>
                    <a:lnTo>
                      <a:pt x="47339" y="268891"/>
                    </a:lnTo>
                    <a:lnTo>
                      <a:pt x="47339" y="269653"/>
                    </a:lnTo>
                    <a:lnTo>
                      <a:pt x="46482" y="271367"/>
                    </a:lnTo>
                    <a:lnTo>
                      <a:pt x="43910" y="278130"/>
                    </a:lnTo>
                    <a:lnTo>
                      <a:pt x="43148" y="278130"/>
                    </a:lnTo>
                    <a:lnTo>
                      <a:pt x="43148" y="278130"/>
                    </a:lnTo>
                    <a:lnTo>
                      <a:pt x="38005" y="278987"/>
                    </a:lnTo>
                    <a:lnTo>
                      <a:pt x="36386" y="279845"/>
                    </a:lnTo>
                    <a:lnTo>
                      <a:pt x="35528" y="280702"/>
                    </a:lnTo>
                    <a:lnTo>
                      <a:pt x="35528" y="283274"/>
                    </a:lnTo>
                    <a:lnTo>
                      <a:pt x="34671" y="284131"/>
                    </a:lnTo>
                    <a:lnTo>
                      <a:pt x="33814" y="284988"/>
                    </a:lnTo>
                    <a:lnTo>
                      <a:pt x="32099" y="284988"/>
                    </a:lnTo>
                    <a:lnTo>
                      <a:pt x="30385" y="285845"/>
                    </a:lnTo>
                    <a:lnTo>
                      <a:pt x="29623" y="285845"/>
                    </a:lnTo>
                    <a:lnTo>
                      <a:pt x="28766" y="287464"/>
                    </a:lnTo>
                    <a:lnTo>
                      <a:pt x="27908" y="290036"/>
                    </a:lnTo>
                    <a:lnTo>
                      <a:pt x="26194" y="292608"/>
                    </a:lnTo>
                    <a:lnTo>
                      <a:pt x="12668" y="309563"/>
                    </a:lnTo>
                    <a:lnTo>
                      <a:pt x="11811" y="312992"/>
                    </a:lnTo>
                    <a:lnTo>
                      <a:pt x="11811" y="314611"/>
                    </a:lnTo>
                    <a:lnTo>
                      <a:pt x="12668" y="316325"/>
                    </a:lnTo>
                    <a:lnTo>
                      <a:pt x="13526" y="317182"/>
                    </a:lnTo>
                    <a:lnTo>
                      <a:pt x="14383" y="317182"/>
                    </a:lnTo>
                    <a:lnTo>
                      <a:pt x="16859" y="318040"/>
                    </a:lnTo>
                    <a:lnTo>
                      <a:pt x="17717" y="318040"/>
                    </a:lnTo>
                    <a:lnTo>
                      <a:pt x="18574" y="318897"/>
                    </a:lnTo>
                    <a:lnTo>
                      <a:pt x="18574" y="319754"/>
                    </a:lnTo>
                    <a:lnTo>
                      <a:pt x="19431" y="323945"/>
                    </a:lnTo>
                    <a:lnTo>
                      <a:pt x="20288" y="326517"/>
                    </a:lnTo>
                    <a:lnTo>
                      <a:pt x="22860" y="330708"/>
                    </a:lnTo>
                    <a:lnTo>
                      <a:pt x="22860" y="332422"/>
                    </a:lnTo>
                    <a:lnTo>
                      <a:pt x="22860" y="334137"/>
                    </a:lnTo>
                    <a:lnTo>
                      <a:pt x="21146" y="335852"/>
                    </a:lnTo>
                    <a:lnTo>
                      <a:pt x="20288" y="338423"/>
                    </a:lnTo>
                    <a:lnTo>
                      <a:pt x="19431" y="340900"/>
                    </a:lnTo>
                    <a:lnTo>
                      <a:pt x="19431" y="342614"/>
                    </a:lnTo>
                    <a:lnTo>
                      <a:pt x="19431" y="356997"/>
                    </a:lnTo>
                    <a:lnTo>
                      <a:pt x="19431" y="358712"/>
                    </a:lnTo>
                    <a:lnTo>
                      <a:pt x="18574" y="358712"/>
                    </a:lnTo>
                    <a:lnTo>
                      <a:pt x="17717" y="359569"/>
                    </a:lnTo>
                    <a:lnTo>
                      <a:pt x="17717" y="360426"/>
                    </a:lnTo>
                    <a:lnTo>
                      <a:pt x="16859" y="365570"/>
                    </a:lnTo>
                    <a:lnTo>
                      <a:pt x="16859" y="367189"/>
                    </a:lnTo>
                    <a:lnTo>
                      <a:pt x="16859" y="367189"/>
                    </a:lnTo>
                    <a:lnTo>
                      <a:pt x="17717" y="368046"/>
                    </a:lnTo>
                    <a:lnTo>
                      <a:pt x="19431" y="368903"/>
                    </a:lnTo>
                    <a:lnTo>
                      <a:pt x="20288" y="370618"/>
                    </a:lnTo>
                    <a:lnTo>
                      <a:pt x="21146" y="370618"/>
                    </a:lnTo>
                    <a:lnTo>
                      <a:pt x="20288" y="371475"/>
                    </a:lnTo>
                    <a:lnTo>
                      <a:pt x="18574" y="373189"/>
                    </a:lnTo>
                    <a:lnTo>
                      <a:pt x="17717" y="374047"/>
                    </a:lnTo>
                    <a:lnTo>
                      <a:pt x="16859" y="374809"/>
                    </a:lnTo>
                    <a:lnTo>
                      <a:pt x="16859" y="375666"/>
                    </a:lnTo>
                    <a:lnTo>
                      <a:pt x="16859" y="375666"/>
                    </a:lnTo>
                    <a:lnTo>
                      <a:pt x="18574" y="375666"/>
                    </a:lnTo>
                    <a:lnTo>
                      <a:pt x="19431" y="375666"/>
                    </a:lnTo>
                    <a:lnTo>
                      <a:pt x="20288" y="375666"/>
                    </a:lnTo>
                    <a:lnTo>
                      <a:pt x="21146" y="375666"/>
                    </a:lnTo>
                    <a:lnTo>
                      <a:pt x="21146" y="376523"/>
                    </a:lnTo>
                    <a:lnTo>
                      <a:pt x="20288" y="377380"/>
                    </a:lnTo>
                    <a:lnTo>
                      <a:pt x="20288" y="379095"/>
                    </a:lnTo>
                    <a:lnTo>
                      <a:pt x="19431" y="380810"/>
                    </a:lnTo>
                    <a:lnTo>
                      <a:pt x="19431" y="382524"/>
                    </a:lnTo>
                    <a:lnTo>
                      <a:pt x="18574" y="383286"/>
                    </a:lnTo>
                    <a:lnTo>
                      <a:pt x="17717" y="383286"/>
                    </a:lnTo>
                    <a:lnTo>
                      <a:pt x="15240" y="384143"/>
                    </a:lnTo>
                    <a:lnTo>
                      <a:pt x="14383" y="385001"/>
                    </a:lnTo>
                    <a:lnTo>
                      <a:pt x="13526" y="386715"/>
                    </a:lnTo>
                    <a:lnTo>
                      <a:pt x="13526" y="387572"/>
                    </a:lnTo>
                    <a:lnTo>
                      <a:pt x="13526" y="389287"/>
                    </a:lnTo>
                    <a:lnTo>
                      <a:pt x="12668" y="390144"/>
                    </a:lnTo>
                    <a:lnTo>
                      <a:pt x="9335" y="391859"/>
                    </a:lnTo>
                    <a:lnTo>
                      <a:pt x="5906" y="394335"/>
                    </a:lnTo>
                    <a:lnTo>
                      <a:pt x="1715" y="396907"/>
                    </a:lnTo>
                    <a:lnTo>
                      <a:pt x="0" y="397764"/>
                    </a:lnTo>
                    <a:lnTo>
                      <a:pt x="0" y="398621"/>
                    </a:lnTo>
                    <a:lnTo>
                      <a:pt x="3334" y="402812"/>
                    </a:lnTo>
                    <a:lnTo>
                      <a:pt x="4191" y="403670"/>
                    </a:lnTo>
                    <a:lnTo>
                      <a:pt x="15240" y="406241"/>
                    </a:lnTo>
                    <a:lnTo>
                      <a:pt x="16859" y="407098"/>
                    </a:lnTo>
                    <a:lnTo>
                      <a:pt x="23622" y="406241"/>
                    </a:lnTo>
                    <a:lnTo>
                      <a:pt x="26194" y="407098"/>
                    </a:lnTo>
                    <a:lnTo>
                      <a:pt x="30385" y="408813"/>
                    </a:lnTo>
                    <a:lnTo>
                      <a:pt x="31242" y="409575"/>
                    </a:lnTo>
                    <a:lnTo>
                      <a:pt x="32099" y="410432"/>
                    </a:lnTo>
                    <a:lnTo>
                      <a:pt x="32099" y="412147"/>
                    </a:lnTo>
                    <a:lnTo>
                      <a:pt x="32099" y="413861"/>
                    </a:lnTo>
                    <a:lnTo>
                      <a:pt x="32099" y="414719"/>
                    </a:lnTo>
                    <a:lnTo>
                      <a:pt x="31242" y="415576"/>
                    </a:lnTo>
                    <a:lnTo>
                      <a:pt x="30385" y="416433"/>
                    </a:lnTo>
                    <a:lnTo>
                      <a:pt x="27051" y="418910"/>
                    </a:lnTo>
                    <a:lnTo>
                      <a:pt x="26194" y="418910"/>
                    </a:lnTo>
                    <a:lnTo>
                      <a:pt x="25337" y="419767"/>
                    </a:lnTo>
                    <a:lnTo>
                      <a:pt x="25337" y="421481"/>
                    </a:lnTo>
                    <a:lnTo>
                      <a:pt x="25337" y="424910"/>
                    </a:lnTo>
                    <a:lnTo>
                      <a:pt x="25337" y="425768"/>
                    </a:lnTo>
                    <a:lnTo>
                      <a:pt x="24479" y="427387"/>
                    </a:lnTo>
                    <a:lnTo>
                      <a:pt x="24479" y="429101"/>
                    </a:lnTo>
                    <a:lnTo>
                      <a:pt x="24479" y="431673"/>
                    </a:lnTo>
                    <a:lnTo>
                      <a:pt x="25337" y="437579"/>
                    </a:lnTo>
                    <a:lnTo>
                      <a:pt x="25337" y="439293"/>
                    </a:lnTo>
                    <a:lnTo>
                      <a:pt x="24479" y="441865"/>
                    </a:lnTo>
                    <a:lnTo>
                      <a:pt x="24479" y="445198"/>
                    </a:lnTo>
                    <a:lnTo>
                      <a:pt x="24479" y="449485"/>
                    </a:lnTo>
                    <a:lnTo>
                      <a:pt x="24479" y="451199"/>
                    </a:lnTo>
                    <a:lnTo>
                      <a:pt x="23622" y="452056"/>
                    </a:lnTo>
                    <a:lnTo>
                      <a:pt x="22003" y="453676"/>
                    </a:lnTo>
                    <a:lnTo>
                      <a:pt x="21146" y="455390"/>
                    </a:lnTo>
                    <a:lnTo>
                      <a:pt x="21146" y="455390"/>
                    </a:lnTo>
                    <a:lnTo>
                      <a:pt x="25337" y="457962"/>
                    </a:lnTo>
                    <a:lnTo>
                      <a:pt x="30385" y="459677"/>
                    </a:lnTo>
                    <a:lnTo>
                      <a:pt x="32957" y="460534"/>
                    </a:lnTo>
                    <a:lnTo>
                      <a:pt x="35528" y="460534"/>
                    </a:lnTo>
                    <a:lnTo>
                      <a:pt x="36386" y="460534"/>
                    </a:lnTo>
                    <a:lnTo>
                      <a:pt x="38005" y="460534"/>
                    </a:lnTo>
                    <a:lnTo>
                      <a:pt x="38862" y="460534"/>
                    </a:lnTo>
                    <a:lnTo>
                      <a:pt x="39719" y="460534"/>
                    </a:lnTo>
                    <a:lnTo>
                      <a:pt x="39719" y="461391"/>
                    </a:lnTo>
                    <a:lnTo>
                      <a:pt x="40577" y="461391"/>
                    </a:lnTo>
                    <a:lnTo>
                      <a:pt x="41434" y="462153"/>
                    </a:lnTo>
                    <a:lnTo>
                      <a:pt x="42291" y="463010"/>
                    </a:lnTo>
                    <a:lnTo>
                      <a:pt x="43148" y="463868"/>
                    </a:lnTo>
                    <a:lnTo>
                      <a:pt x="43910" y="463868"/>
                    </a:lnTo>
                    <a:lnTo>
                      <a:pt x="47339" y="464725"/>
                    </a:lnTo>
                    <a:lnTo>
                      <a:pt x="48197" y="464725"/>
                    </a:lnTo>
                    <a:lnTo>
                      <a:pt x="49054" y="463868"/>
                    </a:lnTo>
                    <a:lnTo>
                      <a:pt x="49911" y="463010"/>
                    </a:lnTo>
                    <a:lnTo>
                      <a:pt x="50673" y="463010"/>
                    </a:lnTo>
                    <a:lnTo>
                      <a:pt x="51530" y="463010"/>
                    </a:lnTo>
                    <a:lnTo>
                      <a:pt x="52388" y="463868"/>
                    </a:lnTo>
                    <a:lnTo>
                      <a:pt x="53245" y="463868"/>
                    </a:lnTo>
                    <a:lnTo>
                      <a:pt x="54102" y="463868"/>
                    </a:lnTo>
                    <a:lnTo>
                      <a:pt x="54959" y="463868"/>
                    </a:lnTo>
                    <a:lnTo>
                      <a:pt x="56674" y="464725"/>
                    </a:lnTo>
                    <a:lnTo>
                      <a:pt x="57436" y="464725"/>
                    </a:lnTo>
                    <a:lnTo>
                      <a:pt x="58293" y="465582"/>
                    </a:lnTo>
                    <a:lnTo>
                      <a:pt x="60008" y="465582"/>
                    </a:lnTo>
                    <a:lnTo>
                      <a:pt x="60865" y="465582"/>
                    </a:lnTo>
                    <a:lnTo>
                      <a:pt x="61722" y="464725"/>
                    </a:lnTo>
                    <a:lnTo>
                      <a:pt x="62579" y="464725"/>
                    </a:lnTo>
                    <a:lnTo>
                      <a:pt x="63437" y="464725"/>
                    </a:lnTo>
                    <a:lnTo>
                      <a:pt x="64294" y="464725"/>
                    </a:lnTo>
                    <a:lnTo>
                      <a:pt x="65056" y="464725"/>
                    </a:lnTo>
                    <a:lnTo>
                      <a:pt x="65913" y="463868"/>
                    </a:lnTo>
                    <a:lnTo>
                      <a:pt x="67628" y="462153"/>
                    </a:lnTo>
                    <a:lnTo>
                      <a:pt x="68485" y="462153"/>
                    </a:lnTo>
                    <a:lnTo>
                      <a:pt x="69342" y="462153"/>
                    </a:lnTo>
                    <a:lnTo>
                      <a:pt x="71819" y="463010"/>
                    </a:lnTo>
                    <a:lnTo>
                      <a:pt x="73533" y="463868"/>
                    </a:lnTo>
                    <a:lnTo>
                      <a:pt x="75248" y="464725"/>
                    </a:lnTo>
                    <a:lnTo>
                      <a:pt x="77819" y="463868"/>
                    </a:lnTo>
                    <a:lnTo>
                      <a:pt x="78581" y="464725"/>
                    </a:lnTo>
                    <a:lnTo>
                      <a:pt x="81153" y="465582"/>
                    </a:lnTo>
                    <a:lnTo>
                      <a:pt x="82010" y="466439"/>
                    </a:lnTo>
                    <a:lnTo>
                      <a:pt x="82868" y="464725"/>
                    </a:lnTo>
                    <a:lnTo>
                      <a:pt x="83725" y="463010"/>
                    </a:lnTo>
                    <a:lnTo>
                      <a:pt x="83725" y="462153"/>
                    </a:lnTo>
                    <a:lnTo>
                      <a:pt x="84582" y="461391"/>
                    </a:lnTo>
                    <a:lnTo>
                      <a:pt x="84582" y="461391"/>
                    </a:lnTo>
                    <a:lnTo>
                      <a:pt x="85344" y="461391"/>
                    </a:lnTo>
                    <a:lnTo>
                      <a:pt x="86201" y="462153"/>
                    </a:lnTo>
                    <a:lnTo>
                      <a:pt x="86201" y="464725"/>
                    </a:lnTo>
                    <a:lnTo>
                      <a:pt x="87059" y="464725"/>
                    </a:lnTo>
                    <a:lnTo>
                      <a:pt x="88773" y="467296"/>
                    </a:lnTo>
                    <a:lnTo>
                      <a:pt x="88773" y="468154"/>
                    </a:lnTo>
                    <a:lnTo>
                      <a:pt x="92964" y="469868"/>
                    </a:lnTo>
                    <a:lnTo>
                      <a:pt x="93821" y="469868"/>
                    </a:lnTo>
                    <a:lnTo>
                      <a:pt x="94679" y="469868"/>
                    </a:lnTo>
                    <a:lnTo>
                      <a:pt x="95536" y="469011"/>
                    </a:lnTo>
                    <a:lnTo>
                      <a:pt x="95536" y="467296"/>
                    </a:lnTo>
                    <a:lnTo>
                      <a:pt x="97250" y="467296"/>
                    </a:lnTo>
                    <a:lnTo>
                      <a:pt x="98108" y="467296"/>
                    </a:lnTo>
                    <a:lnTo>
                      <a:pt x="98870" y="467296"/>
                    </a:lnTo>
                    <a:lnTo>
                      <a:pt x="99727" y="467296"/>
                    </a:lnTo>
                    <a:lnTo>
                      <a:pt x="100584" y="466439"/>
                    </a:lnTo>
                    <a:lnTo>
                      <a:pt x="100584" y="465582"/>
                    </a:lnTo>
                    <a:lnTo>
                      <a:pt x="100584" y="464725"/>
                    </a:lnTo>
                    <a:lnTo>
                      <a:pt x="101441" y="463868"/>
                    </a:lnTo>
                    <a:lnTo>
                      <a:pt x="101441" y="463010"/>
                    </a:lnTo>
                    <a:lnTo>
                      <a:pt x="101441" y="462153"/>
                    </a:lnTo>
                    <a:lnTo>
                      <a:pt x="101441" y="461391"/>
                    </a:lnTo>
                    <a:lnTo>
                      <a:pt x="103156" y="460534"/>
                    </a:lnTo>
                    <a:lnTo>
                      <a:pt x="104870" y="459677"/>
                    </a:lnTo>
                    <a:lnTo>
                      <a:pt x="106490" y="458819"/>
                    </a:lnTo>
                    <a:lnTo>
                      <a:pt x="108204" y="457962"/>
                    </a:lnTo>
                    <a:lnTo>
                      <a:pt x="109061" y="457105"/>
                    </a:lnTo>
                    <a:lnTo>
                      <a:pt x="109061" y="456247"/>
                    </a:lnTo>
                    <a:lnTo>
                      <a:pt x="109061" y="454533"/>
                    </a:lnTo>
                    <a:lnTo>
                      <a:pt x="109061" y="453676"/>
                    </a:lnTo>
                    <a:lnTo>
                      <a:pt x="109919" y="453676"/>
                    </a:lnTo>
                    <a:lnTo>
                      <a:pt x="109919" y="452914"/>
                    </a:lnTo>
                    <a:lnTo>
                      <a:pt x="110776" y="450342"/>
                    </a:lnTo>
                    <a:lnTo>
                      <a:pt x="110776" y="449485"/>
                    </a:lnTo>
                    <a:lnTo>
                      <a:pt x="109919" y="446913"/>
                    </a:lnTo>
                    <a:lnTo>
                      <a:pt x="109919" y="446913"/>
                    </a:lnTo>
                    <a:lnTo>
                      <a:pt x="111633" y="446056"/>
                    </a:lnTo>
                    <a:lnTo>
                      <a:pt x="112395" y="446056"/>
                    </a:lnTo>
                    <a:lnTo>
                      <a:pt x="114110" y="446913"/>
                    </a:lnTo>
                    <a:lnTo>
                      <a:pt x="116681" y="446913"/>
                    </a:lnTo>
                    <a:lnTo>
                      <a:pt x="117539" y="446056"/>
                    </a:lnTo>
                    <a:lnTo>
                      <a:pt x="118396" y="444341"/>
                    </a:lnTo>
                    <a:lnTo>
                      <a:pt x="119253" y="444341"/>
                    </a:lnTo>
                    <a:lnTo>
                      <a:pt x="120872" y="444341"/>
                    </a:lnTo>
                    <a:lnTo>
                      <a:pt x="122587" y="443579"/>
                    </a:lnTo>
                    <a:lnTo>
                      <a:pt x="124301" y="441865"/>
                    </a:lnTo>
                    <a:lnTo>
                      <a:pt x="126778" y="441007"/>
                    </a:lnTo>
                    <a:lnTo>
                      <a:pt x="128492" y="440150"/>
                    </a:lnTo>
                    <a:lnTo>
                      <a:pt x="131921" y="441007"/>
                    </a:lnTo>
                    <a:lnTo>
                      <a:pt x="136112" y="441865"/>
                    </a:lnTo>
                    <a:lnTo>
                      <a:pt x="139541" y="442722"/>
                    </a:lnTo>
                    <a:lnTo>
                      <a:pt x="140303" y="442722"/>
                    </a:lnTo>
                    <a:lnTo>
                      <a:pt x="142018" y="443579"/>
                    </a:lnTo>
                    <a:lnTo>
                      <a:pt x="143732" y="443579"/>
                    </a:lnTo>
                    <a:lnTo>
                      <a:pt x="144590" y="442722"/>
                    </a:lnTo>
                    <a:lnTo>
                      <a:pt x="145447" y="441865"/>
                    </a:lnTo>
                    <a:lnTo>
                      <a:pt x="147066" y="440150"/>
                    </a:lnTo>
                    <a:lnTo>
                      <a:pt x="148781" y="439293"/>
                    </a:lnTo>
                    <a:lnTo>
                      <a:pt x="149638" y="438436"/>
                    </a:lnTo>
                    <a:lnTo>
                      <a:pt x="152210" y="439293"/>
                    </a:lnTo>
                    <a:lnTo>
                      <a:pt x="153067" y="441007"/>
                    </a:lnTo>
                    <a:lnTo>
                      <a:pt x="153829" y="441865"/>
                    </a:lnTo>
                    <a:lnTo>
                      <a:pt x="155543" y="443579"/>
                    </a:lnTo>
                    <a:lnTo>
                      <a:pt x="156401" y="444341"/>
                    </a:lnTo>
                    <a:lnTo>
                      <a:pt x="157258" y="445198"/>
                    </a:lnTo>
                    <a:lnTo>
                      <a:pt x="160592" y="446913"/>
                    </a:lnTo>
                    <a:lnTo>
                      <a:pt x="161449" y="447770"/>
                    </a:lnTo>
                    <a:lnTo>
                      <a:pt x="163163" y="447770"/>
                    </a:lnTo>
                    <a:lnTo>
                      <a:pt x="164878" y="447770"/>
                    </a:lnTo>
                    <a:lnTo>
                      <a:pt x="167450" y="447770"/>
                    </a:lnTo>
                    <a:lnTo>
                      <a:pt x="169069" y="446056"/>
                    </a:lnTo>
                    <a:lnTo>
                      <a:pt x="170783" y="445198"/>
                    </a:lnTo>
                    <a:lnTo>
                      <a:pt x="171641" y="444341"/>
                    </a:lnTo>
                    <a:lnTo>
                      <a:pt x="172498" y="442722"/>
                    </a:lnTo>
                    <a:lnTo>
                      <a:pt x="174212" y="440150"/>
                    </a:lnTo>
                    <a:lnTo>
                      <a:pt x="174212" y="439293"/>
                    </a:lnTo>
                    <a:lnTo>
                      <a:pt x="174212" y="438436"/>
                    </a:lnTo>
                    <a:lnTo>
                      <a:pt x="174212" y="437579"/>
                    </a:lnTo>
                    <a:lnTo>
                      <a:pt x="173355" y="436721"/>
                    </a:lnTo>
                    <a:lnTo>
                      <a:pt x="173355" y="435102"/>
                    </a:lnTo>
                    <a:lnTo>
                      <a:pt x="173355" y="434245"/>
                    </a:lnTo>
                    <a:lnTo>
                      <a:pt x="173355" y="432530"/>
                    </a:lnTo>
                    <a:lnTo>
                      <a:pt x="174212" y="432530"/>
                    </a:lnTo>
                    <a:lnTo>
                      <a:pt x="174974" y="431673"/>
                    </a:lnTo>
                    <a:lnTo>
                      <a:pt x="175832" y="431673"/>
                    </a:lnTo>
                    <a:lnTo>
                      <a:pt x="176689" y="432530"/>
                    </a:lnTo>
                    <a:lnTo>
                      <a:pt x="177546" y="433388"/>
                    </a:lnTo>
                    <a:lnTo>
                      <a:pt x="177546" y="435102"/>
                    </a:lnTo>
                    <a:lnTo>
                      <a:pt x="177546" y="435864"/>
                    </a:lnTo>
                    <a:lnTo>
                      <a:pt x="177546" y="437579"/>
                    </a:lnTo>
                    <a:lnTo>
                      <a:pt x="180118" y="438436"/>
                    </a:lnTo>
                    <a:lnTo>
                      <a:pt x="180975" y="439293"/>
                    </a:lnTo>
                    <a:lnTo>
                      <a:pt x="181737" y="438436"/>
                    </a:lnTo>
                    <a:lnTo>
                      <a:pt x="182594" y="437579"/>
                    </a:lnTo>
                    <a:lnTo>
                      <a:pt x="182594" y="436721"/>
                    </a:lnTo>
                    <a:lnTo>
                      <a:pt x="183452" y="435864"/>
                    </a:lnTo>
                    <a:lnTo>
                      <a:pt x="183452" y="435102"/>
                    </a:lnTo>
                    <a:lnTo>
                      <a:pt x="181737" y="431673"/>
                    </a:lnTo>
                    <a:lnTo>
                      <a:pt x="181737" y="429101"/>
                    </a:lnTo>
                    <a:lnTo>
                      <a:pt x="181737" y="428244"/>
                    </a:lnTo>
                    <a:lnTo>
                      <a:pt x="183452" y="426625"/>
                    </a:lnTo>
                    <a:lnTo>
                      <a:pt x="185166" y="425768"/>
                    </a:lnTo>
                    <a:lnTo>
                      <a:pt x="187738" y="424910"/>
                    </a:lnTo>
                    <a:lnTo>
                      <a:pt x="189357" y="424910"/>
                    </a:lnTo>
                    <a:lnTo>
                      <a:pt x="191072" y="424053"/>
                    </a:lnTo>
                    <a:lnTo>
                      <a:pt x="192786" y="422338"/>
                    </a:lnTo>
                    <a:lnTo>
                      <a:pt x="194501" y="422338"/>
                    </a:lnTo>
                    <a:lnTo>
                      <a:pt x="195263" y="422338"/>
                    </a:lnTo>
                    <a:lnTo>
                      <a:pt x="196977" y="422338"/>
                    </a:lnTo>
                    <a:lnTo>
                      <a:pt x="197834" y="422338"/>
                    </a:lnTo>
                    <a:lnTo>
                      <a:pt x="199549" y="423196"/>
                    </a:lnTo>
                    <a:lnTo>
                      <a:pt x="205454" y="423196"/>
                    </a:lnTo>
                    <a:lnTo>
                      <a:pt x="206312" y="423196"/>
                    </a:lnTo>
                    <a:lnTo>
                      <a:pt x="208026" y="424053"/>
                    </a:lnTo>
                    <a:lnTo>
                      <a:pt x="208788" y="424053"/>
                    </a:lnTo>
                    <a:lnTo>
                      <a:pt x="209645" y="424910"/>
                    </a:lnTo>
                    <a:lnTo>
                      <a:pt x="211360" y="424910"/>
                    </a:lnTo>
                    <a:lnTo>
                      <a:pt x="213074" y="424910"/>
                    </a:lnTo>
                    <a:lnTo>
                      <a:pt x="214789" y="424053"/>
                    </a:lnTo>
                    <a:lnTo>
                      <a:pt x="216408" y="422338"/>
                    </a:lnTo>
                    <a:lnTo>
                      <a:pt x="216408" y="421481"/>
                    </a:lnTo>
                    <a:lnTo>
                      <a:pt x="217265" y="415576"/>
                    </a:lnTo>
                    <a:lnTo>
                      <a:pt x="217265" y="411289"/>
                    </a:lnTo>
                    <a:lnTo>
                      <a:pt x="216408" y="409575"/>
                    </a:lnTo>
                    <a:lnTo>
                      <a:pt x="215551" y="408813"/>
                    </a:lnTo>
                    <a:lnTo>
                      <a:pt x="215551" y="407098"/>
                    </a:lnTo>
                    <a:lnTo>
                      <a:pt x="215551" y="405384"/>
                    </a:lnTo>
                    <a:lnTo>
                      <a:pt x="215551" y="401955"/>
                    </a:lnTo>
                    <a:lnTo>
                      <a:pt x="216408" y="400336"/>
                    </a:lnTo>
                    <a:lnTo>
                      <a:pt x="217265" y="398621"/>
                    </a:lnTo>
                    <a:lnTo>
                      <a:pt x="218123" y="397764"/>
                    </a:lnTo>
                    <a:lnTo>
                      <a:pt x="218123" y="396050"/>
                    </a:lnTo>
                    <a:lnTo>
                      <a:pt x="217265" y="395192"/>
                    </a:lnTo>
                    <a:lnTo>
                      <a:pt x="216408" y="393478"/>
                    </a:lnTo>
                    <a:lnTo>
                      <a:pt x="216408" y="391859"/>
                    </a:lnTo>
                    <a:lnTo>
                      <a:pt x="217265" y="391001"/>
                    </a:lnTo>
                    <a:lnTo>
                      <a:pt x="220694" y="387572"/>
                    </a:lnTo>
                    <a:lnTo>
                      <a:pt x="221552" y="385858"/>
                    </a:lnTo>
                    <a:lnTo>
                      <a:pt x="223171" y="385001"/>
                    </a:lnTo>
                    <a:lnTo>
                      <a:pt x="224885" y="385001"/>
                    </a:lnTo>
                    <a:lnTo>
                      <a:pt x="227457" y="384143"/>
                    </a:lnTo>
                    <a:lnTo>
                      <a:pt x="228314" y="384143"/>
                    </a:lnTo>
                    <a:lnTo>
                      <a:pt x="229934" y="383286"/>
                    </a:lnTo>
                    <a:lnTo>
                      <a:pt x="236696" y="383286"/>
                    </a:lnTo>
                    <a:lnTo>
                      <a:pt x="239268" y="383286"/>
                    </a:lnTo>
                    <a:lnTo>
                      <a:pt x="240125" y="383286"/>
                    </a:lnTo>
                    <a:lnTo>
                      <a:pt x="240983" y="382524"/>
                    </a:lnTo>
                    <a:lnTo>
                      <a:pt x="241840" y="380810"/>
                    </a:lnTo>
                    <a:lnTo>
                      <a:pt x="243459" y="379095"/>
                    </a:lnTo>
                    <a:lnTo>
                      <a:pt x="246888" y="378238"/>
                    </a:lnTo>
                    <a:lnTo>
                      <a:pt x="248603" y="377380"/>
                    </a:lnTo>
                    <a:lnTo>
                      <a:pt x="251079" y="378238"/>
                    </a:lnTo>
                    <a:lnTo>
                      <a:pt x="252794" y="377380"/>
                    </a:lnTo>
                    <a:lnTo>
                      <a:pt x="254508" y="377380"/>
                    </a:lnTo>
                    <a:lnTo>
                      <a:pt x="255365" y="376523"/>
                    </a:lnTo>
                    <a:lnTo>
                      <a:pt x="256223" y="375666"/>
                    </a:lnTo>
                    <a:lnTo>
                      <a:pt x="257842" y="374047"/>
                    </a:lnTo>
                    <a:lnTo>
                      <a:pt x="259556" y="374047"/>
                    </a:lnTo>
                    <a:lnTo>
                      <a:pt x="262128" y="374047"/>
                    </a:lnTo>
                    <a:lnTo>
                      <a:pt x="263747" y="374047"/>
                    </a:lnTo>
                    <a:lnTo>
                      <a:pt x="264605" y="373189"/>
                    </a:lnTo>
                    <a:lnTo>
                      <a:pt x="265462" y="371475"/>
                    </a:lnTo>
                    <a:lnTo>
                      <a:pt x="267176" y="370618"/>
                    </a:lnTo>
                    <a:lnTo>
                      <a:pt x="271367" y="370618"/>
                    </a:lnTo>
                    <a:lnTo>
                      <a:pt x="273082" y="369761"/>
                    </a:lnTo>
                    <a:lnTo>
                      <a:pt x="274796" y="367189"/>
                    </a:lnTo>
                    <a:lnTo>
                      <a:pt x="276511" y="367189"/>
                    </a:lnTo>
                    <a:lnTo>
                      <a:pt x="277368" y="366331"/>
                    </a:lnTo>
                    <a:lnTo>
                      <a:pt x="278130" y="367189"/>
                    </a:lnTo>
                    <a:lnTo>
                      <a:pt x="281559" y="370618"/>
                    </a:lnTo>
                    <a:lnTo>
                      <a:pt x="283274" y="370618"/>
                    </a:lnTo>
                    <a:lnTo>
                      <a:pt x="284893" y="370618"/>
                    </a:lnTo>
                    <a:lnTo>
                      <a:pt x="286607" y="369761"/>
                    </a:lnTo>
                    <a:lnTo>
                      <a:pt x="288322" y="371475"/>
                    </a:lnTo>
                    <a:lnTo>
                      <a:pt x="289179" y="372332"/>
                    </a:lnTo>
                    <a:lnTo>
                      <a:pt x="290036" y="375666"/>
                    </a:lnTo>
                    <a:lnTo>
                      <a:pt x="291656" y="377380"/>
                    </a:lnTo>
                    <a:lnTo>
                      <a:pt x="292513" y="377380"/>
                    </a:lnTo>
                    <a:lnTo>
                      <a:pt x="293370" y="378238"/>
                    </a:lnTo>
                    <a:lnTo>
                      <a:pt x="295942" y="377380"/>
                    </a:lnTo>
                    <a:lnTo>
                      <a:pt x="297656" y="376523"/>
                    </a:lnTo>
                    <a:lnTo>
                      <a:pt x="299275" y="374809"/>
                    </a:lnTo>
                    <a:lnTo>
                      <a:pt x="300990" y="370618"/>
                    </a:lnTo>
                    <a:lnTo>
                      <a:pt x="301847" y="370618"/>
                    </a:lnTo>
                    <a:lnTo>
                      <a:pt x="302705" y="369761"/>
                    </a:lnTo>
                    <a:lnTo>
                      <a:pt x="304419" y="368903"/>
                    </a:lnTo>
                    <a:lnTo>
                      <a:pt x="304419" y="368046"/>
                    </a:lnTo>
                    <a:lnTo>
                      <a:pt x="306038" y="366331"/>
                    </a:lnTo>
                    <a:lnTo>
                      <a:pt x="306896" y="365570"/>
                    </a:lnTo>
                    <a:lnTo>
                      <a:pt x="307753" y="364712"/>
                    </a:lnTo>
                    <a:lnTo>
                      <a:pt x="307753" y="361283"/>
                    </a:lnTo>
                    <a:lnTo>
                      <a:pt x="308610" y="360426"/>
                    </a:lnTo>
                    <a:lnTo>
                      <a:pt x="309467" y="357854"/>
                    </a:lnTo>
                    <a:lnTo>
                      <a:pt x="309467" y="356997"/>
                    </a:lnTo>
                    <a:lnTo>
                      <a:pt x="306896" y="355378"/>
                    </a:lnTo>
                    <a:lnTo>
                      <a:pt x="306038" y="354521"/>
                    </a:lnTo>
                    <a:lnTo>
                      <a:pt x="306038" y="353663"/>
                    </a:lnTo>
                    <a:lnTo>
                      <a:pt x="306038" y="352806"/>
                    </a:lnTo>
                    <a:lnTo>
                      <a:pt x="306038" y="352806"/>
                    </a:lnTo>
                    <a:lnTo>
                      <a:pt x="303562" y="352806"/>
                    </a:lnTo>
                    <a:lnTo>
                      <a:pt x="301847" y="351092"/>
                    </a:lnTo>
                    <a:lnTo>
                      <a:pt x="300990" y="351092"/>
                    </a:lnTo>
                    <a:lnTo>
                      <a:pt x="301847" y="349377"/>
                    </a:lnTo>
                    <a:lnTo>
                      <a:pt x="302705" y="347758"/>
                    </a:lnTo>
                    <a:lnTo>
                      <a:pt x="303562" y="346043"/>
                    </a:lnTo>
                    <a:lnTo>
                      <a:pt x="304419" y="344329"/>
                    </a:lnTo>
                    <a:lnTo>
                      <a:pt x="305181" y="343471"/>
                    </a:lnTo>
                    <a:lnTo>
                      <a:pt x="306038" y="342614"/>
                    </a:lnTo>
                    <a:lnTo>
                      <a:pt x="306896" y="339280"/>
                    </a:lnTo>
                    <a:lnTo>
                      <a:pt x="311182" y="340043"/>
                    </a:lnTo>
                    <a:lnTo>
                      <a:pt x="311182" y="338423"/>
                    </a:lnTo>
                    <a:lnTo>
                      <a:pt x="311944" y="336709"/>
                    </a:lnTo>
                    <a:lnTo>
                      <a:pt x="312801" y="337566"/>
                    </a:lnTo>
                    <a:lnTo>
                      <a:pt x="313658" y="337566"/>
                    </a:lnTo>
                    <a:lnTo>
                      <a:pt x="314516" y="337566"/>
                    </a:lnTo>
                    <a:lnTo>
                      <a:pt x="314516" y="337566"/>
                    </a:lnTo>
                    <a:lnTo>
                      <a:pt x="315373" y="336709"/>
                    </a:lnTo>
                    <a:lnTo>
                      <a:pt x="316230" y="337566"/>
                    </a:lnTo>
                    <a:lnTo>
                      <a:pt x="317087" y="337566"/>
                    </a:lnTo>
                    <a:lnTo>
                      <a:pt x="317945" y="335852"/>
                    </a:lnTo>
                    <a:lnTo>
                      <a:pt x="317945" y="334994"/>
                    </a:lnTo>
                    <a:lnTo>
                      <a:pt x="318707" y="334137"/>
                    </a:lnTo>
                    <a:lnTo>
                      <a:pt x="320421" y="332422"/>
                    </a:lnTo>
                    <a:lnTo>
                      <a:pt x="320421" y="331565"/>
                    </a:lnTo>
                    <a:lnTo>
                      <a:pt x="322136" y="329946"/>
                    </a:lnTo>
                    <a:lnTo>
                      <a:pt x="323850" y="330708"/>
                    </a:lnTo>
                    <a:lnTo>
                      <a:pt x="323850" y="332422"/>
                    </a:lnTo>
                    <a:lnTo>
                      <a:pt x="323850" y="333280"/>
                    </a:lnTo>
                    <a:lnTo>
                      <a:pt x="324707" y="334137"/>
                    </a:lnTo>
                    <a:lnTo>
                      <a:pt x="325565" y="333280"/>
                    </a:lnTo>
                    <a:lnTo>
                      <a:pt x="326327" y="333280"/>
                    </a:lnTo>
                    <a:lnTo>
                      <a:pt x="328041" y="334994"/>
                    </a:lnTo>
                    <a:lnTo>
                      <a:pt x="328041" y="334994"/>
                    </a:lnTo>
                    <a:lnTo>
                      <a:pt x="328898" y="334994"/>
                    </a:lnTo>
                    <a:lnTo>
                      <a:pt x="329756" y="334137"/>
                    </a:lnTo>
                    <a:lnTo>
                      <a:pt x="330613" y="334137"/>
                    </a:lnTo>
                    <a:lnTo>
                      <a:pt x="332327" y="335852"/>
                    </a:lnTo>
                    <a:lnTo>
                      <a:pt x="333946" y="338423"/>
                    </a:lnTo>
                    <a:lnTo>
                      <a:pt x="335661" y="340900"/>
                    </a:lnTo>
                    <a:lnTo>
                      <a:pt x="335661" y="342614"/>
                    </a:lnTo>
                    <a:lnTo>
                      <a:pt x="336518" y="344329"/>
                    </a:lnTo>
                    <a:lnTo>
                      <a:pt x="336518" y="345186"/>
                    </a:lnTo>
                    <a:lnTo>
                      <a:pt x="336518" y="345186"/>
                    </a:lnTo>
                    <a:lnTo>
                      <a:pt x="337375" y="347758"/>
                    </a:lnTo>
                    <a:lnTo>
                      <a:pt x="337375" y="348520"/>
                    </a:lnTo>
                    <a:lnTo>
                      <a:pt x="337375" y="349377"/>
                    </a:lnTo>
                    <a:lnTo>
                      <a:pt x="337375" y="350234"/>
                    </a:lnTo>
                    <a:lnTo>
                      <a:pt x="338233" y="350234"/>
                    </a:lnTo>
                    <a:lnTo>
                      <a:pt x="339090" y="351092"/>
                    </a:lnTo>
                    <a:lnTo>
                      <a:pt x="339090" y="351949"/>
                    </a:lnTo>
                    <a:lnTo>
                      <a:pt x="340709" y="351949"/>
                    </a:lnTo>
                    <a:lnTo>
                      <a:pt x="341567" y="351949"/>
                    </a:lnTo>
                    <a:lnTo>
                      <a:pt x="342424" y="352806"/>
                    </a:lnTo>
                    <a:lnTo>
                      <a:pt x="342424" y="353663"/>
                    </a:lnTo>
                    <a:lnTo>
                      <a:pt x="342424" y="355378"/>
                    </a:lnTo>
                    <a:lnTo>
                      <a:pt x="343281" y="356997"/>
                    </a:lnTo>
                    <a:lnTo>
                      <a:pt x="343281" y="356997"/>
                    </a:lnTo>
                    <a:lnTo>
                      <a:pt x="344138" y="356997"/>
                    </a:lnTo>
                    <a:lnTo>
                      <a:pt x="344138" y="356235"/>
                    </a:lnTo>
                    <a:lnTo>
                      <a:pt x="345853" y="355378"/>
                    </a:lnTo>
                    <a:lnTo>
                      <a:pt x="345853" y="354521"/>
                    </a:lnTo>
                    <a:lnTo>
                      <a:pt x="346615" y="354521"/>
                    </a:lnTo>
                    <a:lnTo>
                      <a:pt x="345853" y="352806"/>
                    </a:lnTo>
                    <a:lnTo>
                      <a:pt x="348329" y="353663"/>
                    </a:lnTo>
                    <a:lnTo>
                      <a:pt x="348329" y="354521"/>
                    </a:lnTo>
                    <a:lnTo>
                      <a:pt x="348329" y="355378"/>
                    </a:lnTo>
                    <a:lnTo>
                      <a:pt x="350044" y="355378"/>
                    </a:lnTo>
                    <a:lnTo>
                      <a:pt x="350044" y="355378"/>
                    </a:lnTo>
                    <a:lnTo>
                      <a:pt x="350901" y="356235"/>
                    </a:lnTo>
                    <a:lnTo>
                      <a:pt x="351758" y="356997"/>
                    </a:lnTo>
                    <a:lnTo>
                      <a:pt x="352616" y="357854"/>
                    </a:lnTo>
                    <a:lnTo>
                      <a:pt x="352616" y="359569"/>
                    </a:lnTo>
                    <a:lnTo>
                      <a:pt x="354235" y="359569"/>
                    </a:lnTo>
                    <a:lnTo>
                      <a:pt x="355092" y="360426"/>
                    </a:lnTo>
                    <a:lnTo>
                      <a:pt x="355949" y="360426"/>
                    </a:lnTo>
                    <a:lnTo>
                      <a:pt x="355949" y="361283"/>
                    </a:lnTo>
                    <a:lnTo>
                      <a:pt x="358521" y="362140"/>
                    </a:lnTo>
                    <a:lnTo>
                      <a:pt x="359378" y="362140"/>
                    </a:lnTo>
                    <a:lnTo>
                      <a:pt x="360140" y="362140"/>
                    </a:lnTo>
                    <a:lnTo>
                      <a:pt x="362712" y="362140"/>
                    </a:lnTo>
                    <a:lnTo>
                      <a:pt x="364427" y="362998"/>
                    </a:lnTo>
                    <a:lnTo>
                      <a:pt x="365284" y="361283"/>
                    </a:lnTo>
                    <a:lnTo>
                      <a:pt x="367760" y="360426"/>
                    </a:lnTo>
                    <a:lnTo>
                      <a:pt x="368617" y="359569"/>
                    </a:lnTo>
                    <a:lnTo>
                      <a:pt x="367760" y="359569"/>
                    </a:lnTo>
                    <a:lnTo>
                      <a:pt x="367760" y="358712"/>
                    </a:lnTo>
                    <a:lnTo>
                      <a:pt x="366903" y="357854"/>
                    </a:lnTo>
                    <a:lnTo>
                      <a:pt x="365284" y="356997"/>
                    </a:lnTo>
                    <a:lnTo>
                      <a:pt x="364427" y="356235"/>
                    </a:lnTo>
                    <a:lnTo>
                      <a:pt x="364427" y="356235"/>
                    </a:lnTo>
                    <a:lnTo>
                      <a:pt x="363569" y="356235"/>
                    </a:lnTo>
                    <a:lnTo>
                      <a:pt x="363569" y="355378"/>
                    </a:lnTo>
                    <a:lnTo>
                      <a:pt x="364427" y="354521"/>
                    </a:lnTo>
                    <a:lnTo>
                      <a:pt x="364427" y="353663"/>
                    </a:lnTo>
                    <a:lnTo>
                      <a:pt x="364427" y="352806"/>
                    </a:lnTo>
                    <a:lnTo>
                      <a:pt x="364427" y="350234"/>
                    </a:lnTo>
                    <a:lnTo>
                      <a:pt x="366141" y="350234"/>
                    </a:lnTo>
                    <a:lnTo>
                      <a:pt x="366903" y="349377"/>
                    </a:lnTo>
                    <a:lnTo>
                      <a:pt x="366903" y="348520"/>
                    </a:lnTo>
                    <a:lnTo>
                      <a:pt x="366141" y="347758"/>
                    </a:lnTo>
                    <a:lnTo>
                      <a:pt x="366141" y="346901"/>
                    </a:lnTo>
                    <a:lnTo>
                      <a:pt x="366141" y="346901"/>
                    </a:lnTo>
                    <a:lnTo>
                      <a:pt x="366903" y="346043"/>
                    </a:lnTo>
                    <a:lnTo>
                      <a:pt x="366903" y="346043"/>
                    </a:lnTo>
                    <a:lnTo>
                      <a:pt x="366903" y="345186"/>
                    </a:lnTo>
                    <a:lnTo>
                      <a:pt x="366903" y="345186"/>
                    </a:lnTo>
                    <a:lnTo>
                      <a:pt x="366903" y="343471"/>
                    </a:lnTo>
                    <a:lnTo>
                      <a:pt x="365284" y="343471"/>
                    </a:lnTo>
                    <a:lnTo>
                      <a:pt x="360998" y="340900"/>
                    </a:lnTo>
                    <a:lnTo>
                      <a:pt x="359378" y="342614"/>
                    </a:lnTo>
                    <a:lnTo>
                      <a:pt x="358521" y="341757"/>
                    </a:lnTo>
                    <a:lnTo>
                      <a:pt x="355949" y="341757"/>
                    </a:lnTo>
                    <a:lnTo>
                      <a:pt x="355949" y="342614"/>
                    </a:lnTo>
                    <a:lnTo>
                      <a:pt x="355949" y="343471"/>
                    </a:lnTo>
                    <a:lnTo>
                      <a:pt x="355949" y="345186"/>
                    </a:lnTo>
                    <a:lnTo>
                      <a:pt x="355092" y="344329"/>
                    </a:lnTo>
                    <a:lnTo>
                      <a:pt x="354235" y="343471"/>
                    </a:lnTo>
                    <a:lnTo>
                      <a:pt x="353378" y="343471"/>
                    </a:lnTo>
                    <a:lnTo>
                      <a:pt x="352616" y="342614"/>
                    </a:lnTo>
                    <a:lnTo>
                      <a:pt x="350901" y="341757"/>
                    </a:lnTo>
                    <a:lnTo>
                      <a:pt x="347472" y="340900"/>
                    </a:lnTo>
                    <a:lnTo>
                      <a:pt x="345853" y="340043"/>
                    </a:lnTo>
                    <a:lnTo>
                      <a:pt x="344138" y="340043"/>
                    </a:lnTo>
                    <a:lnTo>
                      <a:pt x="341567" y="339280"/>
                    </a:lnTo>
                    <a:lnTo>
                      <a:pt x="341567" y="339280"/>
                    </a:lnTo>
                    <a:lnTo>
                      <a:pt x="342424" y="338423"/>
                    </a:lnTo>
                    <a:lnTo>
                      <a:pt x="343281" y="337566"/>
                    </a:lnTo>
                    <a:lnTo>
                      <a:pt x="343281" y="336709"/>
                    </a:lnTo>
                    <a:lnTo>
                      <a:pt x="343281" y="335852"/>
                    </a:lnTo>
                    <a:lnTo>
                      <a:pt x="343281" y="335852"/>
                    </a:lnTo>
                    <a:lnTo>
                      <a:pt x="344138" y="334994"/>
                    </a:lnTo>
                    <a:lnTo>
                      <a:pt x="344996" y="334994"/>
                    </a:lnTo>
                    <a:lnTo>
                      <a:pt x="344996" y="334137"/>
                    </a:lnTo>
                    <a:lnTo>
                      <a:pt x="344996" y="334137"/>
                    </a:lnTo>
                    <a:lnTo>
                      <a:pt x="344138" y="333280"/>
                    </a:lnTo>
                    <a:lnTo>
                      <a:pt x="344138" y="332422"/>
                    </a:lnTo>
                    <a:lnTo>
                      <a:pt x="344138" y="332422"/>
                    </a:lnTo>
                    <a:lnTo>
                      <a:pt x="344138" y="331565"/>
                    </a:lnTo>
                    <a:lnTo>
                      <a:pt x="343281" y="329946"/>
                    </a:lnTo>
                    <a:lnTo>
                      <a:pt x="342424" y="329089"/>
                    </a:lnTo>
                    <a:lnTo>
                      <a:pt x="342424" y="329089"/>
                    </a:lnTo>
                    <a:lnTo>
                      <a:pt x="343281" y="328231"/>
                    </a:lnTo>
                    <a:lnTo>
                      <a:pt x="344138" y="328231"/>
                    </a:lnTo>
                    <a:lnTo>
                      <a:pt x="344996" y="326517"/>
                    </a:lnTo>
                    <a:lnTo>
                      <a:pt x="345853" y="326517"/>
                    </a:lnTo>
                    <a:lnTo>
                      <a:pt x="345853" y="326517"/>
                    </a:lnTo>
                    <a:lnTo>
                      <a:pt x="345853" y="327374"/>
                    </a:lnTo>
                    <a:lnTo>
                      <a:pt x="345853" y="328231"/>
                    </a:lnTo>
                    <a:lnTo>
                      <a:pt x="345853" y="328231"/>
                    </a:lnTo>
                    <a:lnTo>
                      <a:pt x="346615" y="329089"/>
                    </a:lnTo>
                    <a:lnTo>
                      <a:pt x="347472" y="330708"/>
                    </a:lnTo>
                    <a:lnTo>
                      <a:pt x="348329" y="332422"/>
                    </a:lnTo>
                    <a:lnTo>
                      <a:pt x="348329" y="332422"/>
                    </a:lnTo>
                    <a:lnTo>
                      <a:pt x="350044" y="333280"/>
                    </a:lnTo>
                    <a:lnTo>
                      <a:pt x="350901" y="333280"/>
                    </a:lnTo>
                    <a:lnTo>
                      <a:pt x="352616" y="330708"/>
                    </a:lnTo>
                    <a:lnTo>
                      <a:pt x="353378" y="330708"/>
                    </a:lnTo>
                    <a:lnTo>
                      <a:pt x="354235" y="330708"/>
                    </a:lnTo>
                    <a:lnTo>
                      <a:pt x="354235" y="330708"/>
                    </a:lnTo>
                    <a:lnTo>
                      <a:pt x="355092" y="329946"/>
                    </a:lnTo>
                    <a:lnTo>
                      <a:pt x="355949" y="329089"/>
                    </a:lnTo>
                    <a:lnTo>
                      <a:pt x="355949" y="327374"/>
                    </a:lnTo>
                    <a:lnTo>
                      <a:pt x="355949" y="325660"/>
                    </a:lnTo>
                    <a:lnTo>
                      <a:pt x="355949" y="325660"/>
                    </a:lnTo>
                    <a:lnTo>
                      <a:pt x="356807" y="324803"/>
                    </a:lnTo>
                    <a:lnTo>
                      <a:pt x="356807" y="323945"/>
                    </a:lnTo>
                    <a:lnTo>
                      <a:pt x="356807" y="323088"/>
                    </a:lnTo>
                    <a:lnTo>
                      <a:pt x="358521" y="323088"/>
                    </a:lnTo>
                    <a:lnTo>
                      <a:pt x="359378" y="323088"/>
                    </a:lnTo>
                    <a:lnTo>
                      <a:pt x="360140" y="322231"/>
                    </a:lnTo>
                    <a:lnTo>
                      <a:pt x="360998" y="321469"/>
                    </a:lnTo>
                    <a:lnTo>
                      <a:pt x="361855" y="321469"/>
                    </a:lnTo>
                    <a:lnTo>
                      <a:pt x="362712" y="321469"/>
                    </a:lnTo>
                    <a:lnTo>
                      <a:pt x="363569" y="319754"/>
                    </a:lnTo>
                    <a:lnTo>
                      <a:pt x="365284" y="319754"/>
                    </a:lnTo>
                    <a:lnTo>
                      <a:pt x="366141" y="320612"/>
                    </a:lnTo>
                    <a:lnTo>
                      <a:pt x="367760" y="321469"/>
                    </a:lnTo>
                    <a:lnTo>
                      <a:pt x="368617" y="322231"/>
                    </a:lnTo>
                    <a:lnTo>
                      <a:pt x="369475" y="322231"/>
                    </a:lnTo>
                    <a:lnTo>
                      <a:pt x="370332" y="322231"/>
                    </a:lnTo>
                    <a:lnTo>
                      <a:pt x="371189" y="322231"/>
                    </a:lnTo>
                    <a:lnTo>
                      <a:pt x="371189" y="322231"/>
                    </a:lnTo>
                    <a:lnTo>
                      <a:pt x="371189" y="323945"/>
                    </a:lnTo>
                    <a:lnTo>
                      <a:pt x="372046" y="323945"/>
                    </a:lnTo>
                    <a:lnTo>
                      <a:pt x="373666" y="324803"/>
                    </a:lnTo>
                    <a:lnTo>
                      <a:pt x="374523" y="325660"/>
                    </a:lnTo>
                    <a:lnTo>
                      <a:pt x="374523" y="325660"/>
                    </a:lnTo>
                    <a:lnTo>
                      <a:pt x="372904" y="326517"/>
                    </a:lnTo>
                    <a:lnTo>
                      <a:pt x="372904" y="327374"/>
                    </a:lnTo>
                    <a:lnTo>
                      <a:pt x="372904" y="328231"/>
                    </a:lnTo>
                    <a:lnTo>
                      <a:pt x="372046" y="329089"/>
                    </a:lnTo>
                    <a:lnTo>
                      <a:pt x="372904" y="329089"/>
                    </a:lnTo>
                    <a:lnTo>
                      <a:pt x="373666" y="329089"/>
                    </a:lnTo>
                    <a:lnTo>
                      <a:pt x="375380" y="329089"/>
                    </a:lnTo>
                    <a:lnTo>
                      <a:pt x="375380" y="328231"/>
                    </a:lnTo>
                    <a:lnTo>
                      <a:pt x="376238" y="328231"/>
                    </a:lnTo>
                    <a:lnTo>
                      <a:pt x="377095" y="328231"/>
                    </a:lnTo>
                    <a:lnTo>
                      <a:pt x="377952" y="327374"/>
                    </a:lnTo>
                    <a:lnTo>
                      <a:pt x="378809" y="327374"/>
                    </a:lnTo>
                    <a:lnTo>
                      <a:pt x="380524" y="328231"/>
                    </a:lnTo>
                    <a:lnTo>
                      <a:pt x="382143" y="328231"/>
                    </a:lnTo>
                    <a:lnTo>
                      <a:pt x="384715" y="329089"/>
                    </a:lnTo>
                    <a:lnTo>
                      <a:pt x="386429" y="329946"/>
                    </a:lnTo>
                    <a:lnTo>
                      <a:pt x="388049" y="329946"/>
                    </a:lnTo>
                    <a:lnTo>
                      <a:pt x="388906" y="329946"/>
                    </a:lnTo>
                    <a:lnTo>
                      <a:pt x="389763" y="330708"/>
                    </a:lnTo>
                    <a:lnTo>
                      <a:pt x="390620" y="330708"/>
                    </a:lnTo>
                    <a:lnTo>
                      <a:pt x="393192" y="330708"/>
                    </a:lnTo>
                    <a:lnTo>
                      <a:pt x="394049" y="331565"/>
                    </a:lnTo>
                    <a:lnTo>
                      <a:pt x="394049" y="332422"/>
                    </a:lnTo>
                    <a:lnTo>
                      <a:pt x="395669" y="331565"/>
                    </a:lnTo>
                    <a:lnTo>
                      <a:pt x="395669" y="330708"/>
                    </a:lnTo>
                    <a:lnTo>
                      <a:pt x="396526" y="330708"/>
                    </a:lnTo>
                    <a:lnTo>
                      <a:pt x="396526" y="329946"/>
                    </a:lnTo>
                    <a:lnTo>
                      <a:pt x="396526" y="327374"/>
                    </a:lnTo>
                    <a:lnTo>
                      <a:pt x="397383" y="326517"/>
                    </a:lnTo>
                    <a:lnTo>
                      <a:pt x="397383" y="325660"/>
                    </a:lnTo>
                    <a:lnTo>
                      <a:pt x="397383" y="324803"/>
                    </a:lnTo>
                    <a:lnTo>
                      <a:pt x="396526" y="322231"/>
                    </a:lnTo>
                    <a:lnTo>
                      <a:pt x="397383" y="321469"/>
                    </a:lnTo>
                    <a:lnTo>
                      <a:pt x="397383" y="321469"/>
                    </a:lnTo>
                    <a:lnTo>
                      <a:pt x="398240" y="318897"/>
                    </a:lnTo>
                    <a:lnTo>
                      <a:pt x="399098" y="318897"/>
                    </a:lnTo>
                    <a:lnTo>
                      <a:pt x="399955" y="318897"/>
                    </a:lnTo>
                    <a:lnTo>
                      <a:pt x="400812" y="318897"/>
                    </a:lnTo>
                    <a:lnTo>
                      <a:pt x="401574" y="318897"/>
                    </a:lnTo>
                    <a:lnTo>
                      <a:pt x="402431" y="318897"/>
                    </a:lnTo>
                    <a:lnTo>
                      <a:pt x="403288" y="318897"/>
                    </a:lnTo>
                    <a:lnTo>
                      <a:pt x="402431" y="318040"/>
                    </a:lnTo>
                    <a:lnTo>
                      <a:pt x="403288" y="317182"/>
                    </a:lnTo>
                    <a:lnTo>
                      <a:pt x="403288" y="315468"/>
                    </a:lnTo>
                    <a:lnTo>
                      <a:pt x="402431" y="315468"/>
                    </a:lnTo>
                    <a:lnTo>
                      <a:pt x="402431" y="314611"/>
                    </a:lnTo>
                    <a:lnTo>
                      <a:pt x="401574" y="314611"/>
                    </a:lnTo>
                    <a:lnTo>
                      <a:pt x="402431" y="312992"/>
                    </a:lnTo>
                    <a:lnTo>
                      <a:pt x="401574" y="312134"/>
                    </a:lnTo>
                    <a:lnTo>
                      <a:pt x="403288" y="312134"/>
                    </a:lnTo>
                    <a:lnTo>
                      <a:pt x="403288" y="312134"/>
                    </a:lnTo>
                    <a:lnTo>
                      <a:pt x="405003" y="312134"/>
                    </a:lnTo>
                    <a:lnTo>
                      <a:pt x="405860" y="312134"/>
                    </a:lnTo>
                    <a:lnTo>
                      <a:pt x="406717" y="312992"/>
                    </a:lnTo>
                    <a:lnTo>
                      <a:pt x="407575" y="313754"/>
                    </a:lnTo>
                    <a:lnTo>
                      <a:pt x="408337" y="314611"/>
                    </a:lnTo>
                    <a:lnTo>
                      <a:pt x="410909" y="314611"/>
                    </a:lnTo>
                    <a:lnTo>
                      <a:pt x="410909" y="314611"/>
                    </a:lnTo>
                    <a:lnTo>
                      <a:pt x="411766" y="314611"/>
                    </a:lnTo>
                    <a:lnTo>
                      <a:pt x="413480" y="314611"/>
                    </a:lnTo>
                    <a:lnTo>
                      <a:pt x="415100" y="313754"/>
                    </a:lnTo>
                    <a:lnTo>
                      <a:pt x="415957" y="312992"/>
                    </a:lnTo>
                    <a:lnTo>
                      <a:pt x="415957" y="312992"/>
                    </a:lnTo>
                    <a:lnTo>
                      <a:pt x="416814" y="312134"/>
                    </a:lnTo>
                    <a:lnTo>
                      <a:pt x="416814" y="312134"/>
                    </a:lnTo>
                    <a:lnTo>
                      <a:pt x="417671" y="311277"/>
                    </a:lnTo>
                    <a:lnTo>
                      <a:pt x="418529" y="311277"/>
                    </a:lnTo>
                    <a:lnTo>
                      <a:pt x="419386" y="312134"/>
                    </a:lnTo>
                    <a:lnTo>
                      <a:pt x="421862" y="311277"/>
                    </a:lnTo>
                    <a:lnTo>
                      <a:pt x="425291" y="309563"/>
                    </a:lnTo>
                    <a:lnTo>
                      <a:pt x="428625" y="308705"/>
                    </a:lnTo>
                    <a:lnTo>
                      <a:pt x="430340" y="308705"/>
                    </a:lnTo>
                    <a:lnTo>
                      <a:pt x="431197" y="307848"/>
                    </a:lnTo>
                    <a:lnTo>
                      <a:pt x="432054" y="306134"/>
                    </a:lnTo>
                    <a:lnTo>
                      <a:pt x="431197" y="305276"/>
                    </a:lnTo>
                    <a:lnTo>
                      <a:pt x="431197" y="304419"/>
                    </a:lnTo>
                    <a:lnTo>
                      <a:pt x="431197" y="301085"/>
                    </a:lnTo>
                    <a:lnTo>
                      <a:pt x="431197" y="300228"/>
                    </a:lnTo>
                    <a:lnTo>
                      <a:pt x="432054" y="299371"/>
                    </a:lnTo>
                    <a:lnTo>
                      <a:pt x="432054" y="298513"/>
                    </a:lnTo>
                    <a:lnTo>
                      <a:pt x="432911" y="297656"/>
                    </a:lnTo>
                    <a:lnTo>
                      <a:pt x="436245" y="298513"/>
                    </a:lnTo>
                    <a:lnTo>
                      <a:pt x="437960" y="298513"/>
                    </a:lnTo>
                    <a:lnTo>
                      <a:pt x="440531" y="298513"/>
                    </a:lnTo>
                    <a:lnTo>
                      <a:pt x="441388" y="298513"/>
                    </a:lnTo>
                    <a:lnTo>
                      <a:pt x="441388" y="298513"/>
                    </a:lnTo>
                    <a:lnTo>
                      <a:pt x="443008" y="297656"/>
                    </a:lnTo>
                    <a:lnTo>
                      <a:pt x="443865" y="296799"/>
                    </a:lnTo>
                    <a:lnTo>
                      <a:pt x="445580" y="295180"/>
                    </a:lnTo>
                    <a:lnTo>
                      <a:pt x="445580" y="294322"/>
                    </a:lnTo>
                    <a:lnTo>
                      <a:pt x="446437" y="292608"/>
                    </a:lnTo>
                    <a:lnTo>
                      <a:pt x="448151" y="290894"/>
                    </a:lnTo>
                    <a:lnTo>
                      <a:pt x="448151" y="290036"/>
                    </a:lnTo>
                    <a:lnTo>
                      <a:pt x="449009" y="290036"/>
                    </a:lnTo>
                    <a:lnTo>
                      <a:pt x="449771" y="290894"/>
                    </a:lnTo>
                    <a:lnTo>
                      <a:pt x="449771" y="290894"/>
                    </a:lnTo>
                    <a:lnTo>
                      <a:pt x="449771" y="291751"/>
                    </a:lnTo>
                    <a:lnTo>
                      <a:pt x="450628" y="292608"/>
                    </a:lnTo>
                    <a:lnTo>
                      <a:pt x="452342" y="294322"/>
                    </a:lnTo>
                    <a:lnTo>
                      <a:pt x="453200" y="294322"/>
                    </a:lnTo>
                    <a:lnTo>
                      <a:pt x="454057" y="294322"/>
                    </a:lnTo>
                    <a:lnTo>
                      <a:pt x="454914" y="294322"/>
                    </a:lnTo>
                    <a:lnTo>
                      <a:pt x="457391" y="293465"/>
                    </a:lnTo>
                    <a:lnTo>
                      <a:pt x="458248" y="293465"/>
                    </a:lnTo>
                    <a:lnTo>
                      <a:pt x="458248" y="293465"/>
                    </a:lnTo>
                    <a:lnTo>
                      <a:pt x="458248" y="292608"/>
                    </a:lnTo>
                    <a:lnTo>
                      <a:pt x="459962" y="292608"/>
                    </a:lnTo>
                    <a:lnTo>
                      <a:pt x="460820" y="291751"/>
                    </a:lnTo>
                    <a:lnTo>
                      <a:pt x="461677" y="290036"/>
                    </a:lnTo>
                    <a:lnTo>
                      <a:pt x="461677" y="289179"/>
                    </a:lnTo>
                    <a:lnTo>
                      <a:pt x="462534" y="289179"/>
                    </a:lnTo>
                    <a:lnTo>
                      <a:pt x="464153" y="287464"/>
                    </a:lnTo>
                    <a:lnTo>
                      <a:pt x="465868" y="285845"/>
                    </a:lnTo>
                    <a:lnTo>
                      <a:pt x="466725" y="283274"/>
                    </a:lnTo>
                    <a:lnTo>
                      <a:pt x="466725" y="283274"/>
                    </a:lnTo>
                    <a:lnTo>
                      <a:pt x="466725" y="282416"/>
                    </a:lnTo>
                    <a:lnTo>
                      <a:pt x="466725" y="281559"/>
                    </a:lnTo>
                    <a:lnTo>
                      <a:pt x="466725" y="280702"/>
                    </a:lnTo>
                    <a:lnTo>
                      <a:pt x="467582" y="278987"/>
                    </a:lnTo>
                    <a:lnTo>
                      <a:pt x="467582" y="277368"/>
                    </a:lnTo>
                    <a:lnTo>
                      <a:pt x="467582" y="276511"/>
                    </a:lnTo>
                    <a:lnTo>
                      <a:pt x="467582" y="273939"/>
                    </a:lnTo>
                    <a:lnTo>
                      <a:pt x="467582" y="273082"/>
                    </a:lnTo>
                    <a:lnTo>
                      <a:pt x="468440" y="272225"/>
                    </a:lnTo>
                    <a:lnTo>
                      <a:pt x="469297" y="271367"/>
                    </a:lnTo>
                    <a:lnTo>
                      <a:pt x="469297" y="270510"/>
                    </a:lnTo>
                    <a:lnTo>
                      <a:pt x="470059" y="269653"/>
                    </a:lnTo>
                    <a:lnTo>
                      <a:pt x="470059" y="269653"/>
                    </a:lnTo>
                    <a:lnTo>
                      <a:pt x="470059" y="268891"/>
                    </a:lnTo>
                    <a:lnTo>
                      <a:pt x="468440" y="268034"/>
                    </a:lnTo>
                    <a:lnTo>
                      <a:pt x="467582" y="267176"/>
                    </a:lnTo>
                    <a:lnTo>
                      <a:pt x="468440" y="267176"/>
                    </a:lnTo>
                    <a:lnTo>
                      <a:pt x="468440" y="266319"/>
                    </a:lnTo>
                    <a:lnTo>
                      <a:pt x="468440" y="266319"/>
                    </a:lnTo>
                    <a:lnTo>
                      <a:pt x="468440" y="265462"/>
                    </a:lnTo>
                    <a:lnTo>
                      <a:pt x="469297" y="263747"/>
                    </a:lnTo>
                    <a:lnTo>
                      <a:pt x="470916" y="262890"/>
                    </a:lnTo>
                    <a:lnTo>
                      <a:pt x="472631" y="261175"/>
                    </a:lnTo>
                    <a:lnTo>
                      <a:pt x="472631" y="260413"/>
                    </a:lnTo>
                    <a:lnTo>
                      <a:pt x="473488" y="258699"/>
                    </a:lnTo>
                    <a:lnTo>
                      <a:pt x="474345" y="256984"/>
                    </a:lnTo>
                    <a:lnTo>
                      <a:pt x="475202" y="256984"/>
                    </a:lnTo>
                    <a:lnTo>
                      <a:pt x="475202" y="256127"/>
                    </a:lnTo>
                    <a:lnTo>
                      <a:pt x="475202" y="254413"/>
                    </a:lnTo>
                    <a:lnTo>
                      <a:pt x="475202" y="253555"/>
                    </a:lnTo>
                    <a:lnTo>
                      <a:pt x="475202" y="252698"/>
                    </a:lnTo>
                    <a:lnTo>
                      <a:pt x="476060" y="251936"/>
                    </a:lnTo>
                    <a:lnTo>
                      <a:pt x="476821" y="251079"/>
                    </a:lnTo>
                    <a:lnTo>
                      <a:pt x="479393" y="250222"/>
                    </a:lnTo>
                    <a:lnTo>
                      <a:pt x="480250" y="249365"/>
                    </a:lnTo>
                    <a:lnTo>
                      <a:pt x="480250" y="247650"/>
                    </a:lnTo>
                    <a:lnTo>
                      <a:pt x="481108" y="247650"/>
                    </a:lnTo>
                    <a:lnTo>
                      <a:pt x="482822" y="247650"/>
                    </a:lnTo>
                    <a:lnTo>
                      <a:pt x="484442" y="247650"/>
                    </a:lnTo>
                    <a:lnTo>
                      <a:pt x="487013" y="246793"/>
                    </a:lnTo>
                    <a:lnTo>
                      <a:pt x="487871" y="246793"/>
                    </a:lnTo>
                    <a:lnTo>
                      <a:pt x="488728" y="245936"/>
                    </a:lnTo>
                    <a:lnTo>
                      <a:pt x="489585" y="245078"/>
                    </a:lnTo>
                    <a:lnTo>
                      <a:pt x="489585" y="243364"/>
                    </a:lnTo>
                    <a:lnTo>
                      <a:pt x="490442" y="242602"/>
                    </a:lnTo>
                    <a:lnTo>
                      <a:pt x="492062" y="241745"/>
                    </a:lnTo>
                    <a:lnTo>
                      <a:pt x="492919" y="240887"/>
                    </a:lnTo>
                    <a:lnTo>
                      <a:pt x="493776" y="240887"/>
                    </a:lnTo>
                    <a:lnTo>
                      <a:pt x="495491" y="240887"/>
                    </a:lnTo>
                    <a:lnTo>
                      <a:pt x="496348" y="240030"/>
                    </a:lnTo>
                    <a:lnTo>
                      <a:pt x="498824" y="239173"/>
                    </a:lnTo>
                    <a:lnTo>
                      <a:pt x="498824" y="238316"/>
                    </a:lnTo>
                    <a:lnTo>
                      <a:pt x="499682" y="238316"/>
                    </a:lnTo>
                    <a:lnTo>
                      <a:pt x="499682" y="237458"/>
                    </a:lnTo>
                    <a:lnTo>
                      <a:pt x="499682" y="237458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29" name="Freeform: Shape 133">
                <a:extLst>
                  <a:ext uri="{FF2B5EF4-FFF2-40B4-BE49-F238E27FC236}">
                    <a16:creationId xmlns:a16="http://schemas.microsoft.com/office/drawing/2014/main" id="{8F6FA3AB-95E0-4609-A9F5-95A36D088480}"/>
                  </a:ext>
                </a:extLst>
              </p:cNvPr>
              <p:cNvSpPr/>
              <p:nvPr/>
            </p:nvSpPr>
            <p:spPr>
              <a:xfrm>
                <a:off x="5372576" y="4484084"/>
                <a:ext cx="447675" cy="609600"/>
              </a:xfrm>
              <a:custGeom>
                <a:avLst/>
                <a:gdLst>
                  <a:gd name="connsiteX0" fmla="*/ 450913 w 447675"/>
                  <a:gd name="connsiteY0" fmla="*/ 11240 h 609600"/>
                  <a:gd name="connsiteX1" fmla="*/ 451771 w 447675"/>
                  <a:gd name="connsiteY1" fmla="*/ 11240 h 609600"/>
                  <a:gd name="connsiteX2" fmla="*/ 451771 w 447675"/>
                  <a:gd name="connsiteY2" fmla="*/ 6953 h 609600"/>
                  <a:gd name="connsiteX3" fmla="*/ 449199 w 447675"/>
                  <a:gd name="connsiteY3" fmla="*/ 953 h 609600"/>
                  <a:gd name="connsiteX4" fmla="*/ 449199 w 447675"/>
                  <a:gd name="connsiteY4" fmla="*/ 1810 h 609600"/>
                  <a:gd name="connsiteX5" fmla="*/ 448342 w 447675"/>
                  <a:gd name="connsiteY5" fmla="*/ 2667 h 609600"/>
                  <a:gd name="connsiteX6" fmla="*/ 448342 w 447675"/>
                  <a:gd name="connsiteY6" fmla="*/ 2667 h 609600"/>
                  <a:gd name="connsiteX7" fmla="*/ 448342 w 447675"/>
                  <a:gd name="connsiteY7" fmla="*/ 2667 h 609600"/>
                  <a:gd name="connsiteX8" fmla="*/ 450913 w 447675"/>
                  <a:gd name="connsiteY8" fmla="*/ 11240 h 609600"/>
                  <a:gd name="connsiteX9" fmla="*/ 450913 w 447675"/>
                  <a:gd name="connsiteY9" fmla="*/ 11240 h 609600"/>
                  <a:gd name="connsiteX10" fmla="*/ 450913 w 447675"/>
                  <a:gd name="connsiteY10" fmla="*/ 11240 h 609600"/>
                  <a:gd name="connsiteX11" fmla="*/ 455105 w 447675"/>
                  <a:gd name="connsiteY11" fmla="*/ 18002 h 609600"/>
                  <a:gd name="connsiteX12" fmla="*/ 454247 w 447675"/>
                  <a:gd name="connsiteY12" fmla="*/ 14573 h 609600"/>
                  <a:gd name="connsiteX13" fmla="*/ 453390 w 447675"/>
                  <a:gd name="connsiteY13" fmla="*/ 12002 h 609600"/>
                  <a:gd name="connsiteX14" fmla="*/ 451675 w 447675"/>
                  <a:gd name="connsiteY14" fmla="*/ 12859 h 609600"/>
                  <a:gd name="connsiteX15" fmla="*/ 451675 w 447675"/>
                  <a:gd name="connsiteY15" fmla="*/ 12859 h 609600"/>
                  <a:gd name="connsiteX16" fmla="*/ 450818 w 447675"/>
                  <a:gd name="connsiteY16" fmla="*/ 14573 h 609600"/>
                  <a:gd name="connsiteX17" fmla="*/ 449961 w 447675"/>
                  <a:gd name="connsiteY17" fmla="*/ 12002 h 609600"/>
                  <a:gd name="connsiteX18" fmla="*/ 447389 w 447675"/>
                  <a:gd name="connsiteY18" fmla="*/ 11144 h 609600"/>
                  <a:gd name="connsiteX19" fmla="*/ 445675 w 447675"/>
                  <a:gd name="connsiteY19" fmla="*/ 10287 h 609600"/>
                  <a:gd name="connsiteX20" fmla="*/ 446532 w 447675"/>
                  <a:gd name="connsiteY20" fmla="*/ 7715 h 609600"/>
                  <a:gd name="connsiteX21" fmla="*/ 445675 w 447675"/>
                  <a:gd name="connsiteY21" fmla="*/ 7715 h 609600"/>
                  <a:gd name="connsiteX22" fmla="*/ 445675 w 447675"/>
                  <a:gd name="connsiteY22" fmla="*/ 7715 h 609600"/>
                  <a:gd name="connsiteX23" fmla="*/ 445675 w 447675"/>
                  <a:gd name="connsiteY23" fmla="*/ 7715 h 609600"/>
                  <a:gd name="connsiteX24" fmla="*/ 445675 w 447675"/>
                  <a:gd name="connsiteY24" fmla="*/ 7715 h 609600"/>
                  <a:gd name="connsiteX25" fmla="*/ 445675 w 447675"/>
                  <a:gd name="connsiteY25" fmla="*/ 8573 h 609600"/>
                  <a:gd name="connsiteX26" fmla="*/ 442341 w 447675"/>
                  <a:gd name="connsiteY26" fmla="*/ 10287 h 609600"/>
                  <a:gd name="connsiteX27" fmla="*/ 439769 w 447675"/>
                  <a:gd name="connsiteY27" fmla="*/ 10287 h 609600"/>
                  <a:gd name="connsiteX28" fmla="*/ 433864 w 447675"/>
                  <a:gd name="connsiteY28" fmla="*/ 8573 h 609600"/>
                  <a:gd name="connsiteX29" fmla="*/ 432149 w 447675"/>
                  <a:gd name="connsiteY29" fmla="*/ 8573 h 609600"/>
                  <a:gd name="connsiteX30" fmla="*/ 429577 w 447675"/>
                  <a:gd name="connsiteY30" fmla="*/ 9430 h 609600"/>
                  <a:gd name="connsiteX31" fmla="*/ 428720 w 447675"/>
                  <a:gd name="connsiteY31" fmla="*/ 8573 h 609600"/>
                  <a:gd name="connsiteX32" fmla="*/ 427863 w 447675"/>
                  <a:gd name="connsiteY32" fmla="*/ 8573 h 609600"/>
                  <a:gd name="connsiteX33" fmla="*/ 427863 w 447675"/>
                  <a:gd name="connsiteY33" fmla="*/ 7715 h 609600"/>
                  <a:gd name="connsiteX34" fmla="*/ 427863 w 447675"/>
                  <a:gd name="connsiteY34" fmla="*/ 6858 h 609600"/>
                  <a:gd name="connsiteX35" fmla="*/ 428720 w 447675"/>
                  <a:gd name="connsiteY35" fmla="*/ 6858 h 609600"/>
                  <a:gd name="connsiteX36" fmla="*/ 428720 w 447675"/>
                  <a:gd name="connsiteY36" fmla="*/ 6001 h 609600"/>
                  <a:gd name="connsiteX37" fmla="*/ 429577 w 447675"/>
                  <a:gd name="connsiteY37" fmla="*/ 5144 h 609600"/>
                  <a:gd name="connsiteX38" fmla="*/ 429577 w 447675"/>
                  <a:gd name="connsiteY38" fmla="*/ 4286 h 609600"/>
                  <a:gd name="connsiteX39" fmla="*/ 429577 w 447675"/>
                  <a:gd name="connsiteY39" fmla="*/ 3429 h 609600"/>
                  <a:gd name="connsiteX40" fmla="*/ 429577 w 447675"/>
                  <a:gd name="connsiteY40" fmla="*/ 2572 h 609600"/>
                  <a:gd name="connsiteX41" fmla="*/ 427006 w 447675"/>
                  <a:gd name="connsiteY41" fmla="*/ 2572 h 609600"/>
                  <a:gd name="connsiteX42" fmla="*/ 424434 w 447675"/>
                  <a:gd name="connsiteY42" fmla="*/ 1715 h 609600"/>
                  <a:gd name="connsiteX43" fmla="*/ 422719 w 447675"/>
                  <a:gd name="connsiteY43" fmla="*/ 0 h 609600"/>
                  <a:gd name="connsiteX44" fmla="*/ 421862 w 447675"/>
                  <a:gd name="connsiteY44" fmla="*/ 0 h 609600"/>
                  <a:gd name="connsiteX45" fmla="*/ 421005 w 447675"/>
                  <a:gd name="connsiteY45" fmla="*/ 0 h 609600"/>
                  <a:gd name="connsiteX46" fmla="*/ 420148 w 447675"/>
                  <a:gd name="connsiteY46" fmla="*/ 857 h 609600"/>
                  <a:gd name="connsiteX47" fmla="*/ 420148 w 447675"/>
                  <a:gd name="connsiteY47" fmla="*/ 1715 h 609600"/>
                  <a:gd name="connsiteX48" fmla="*/ 420148 w 447675"/>
                  <a:gd name="connsiteY48" fmla="*/ 1715 h 609600"/>
                  <a:gd name="connsiteX49" fmla="*/ 421005 w 447675"/>
                  <a:gd name="connsiteY49" fmla="*/ 2572 h 609600"/>
                  <a:gd name="connsiteX50" fmla="*/ 421862 w 447675"/>
                  <a:gd name="connsiteY50" fmla="*/ 3429 h 609600"/>
                  <a:gd name="connsiteX51" fmla="*/ 422719 w 447675"/>
                  <a:gd name="connsiteY51" fmla="*/ 4286 h 609600"/>
                  <a:gd name="connsiteX52" fmla="*/ 422719 w 447675"/>
                  <a:gd name="connsiteY52" fmla="*/ 4286 h 609600"/>
                  <a:gd name="connsiteX53" fmla="*/ 422719 w 447675"/>
                  <a:gd name="connsiteY53" fmla="*/ 5144 h 609600"/>
                  <a:gd name="connsiteX54" fmla="*/ 422719 w 447675"/>
                  <a:gd name="connsiteY54" fmla="*/ 6001 h 609600"/>
                  <a:gd name="connsiteX55" fmla="*/ 422719 w 447675"/>
                  <a:gd name="connsiteY55" fmla="*/ 6858 h 609600"/>
                  <a:gd name="connsiteX56" fmla="*/ 421862 w 447675"/>
                  <a:gd name="connsiteY56" fmla="*/ 7715 h 609600"/>
                  <a:gd name="connsiteX57" fmla="*/ 419291 w 447675"/>
                  <a:gd name="connsiteY57" fmla="*/ 8573 h 609600"/>
                  <a:gd name="connsiteX58" fmla="*/ 416719 w 447675"/>
                  <a:gd name="connsiteY58" fmla="*/ 9430 h 609600"/>
                  <a:gd name="connsiteX59" fmla="*/ 415004 w 447675"/>
                  <a:gd name="connsiteY59" fmla="*/ 11144 h 609600"/>
                  <a:gd name="connsiteX60" fmla="*/ 413290 w 447675"/>
                  <a:gd name="connsiteY60" fmla="*/ 12859 h 609600"/>
                  <a:gd name="connsiteX61" fmla="*/ 412433 w 447675"/>
                  <a:gd name="connsiteY61" fmla="*/ 13716 h 609600"/>
                  <a:gd name="connsiteX62" fmla="*/ 412433 w 447675"/>
                  <a:gd name="connsiteY62" fmla="*/ 14573 h 609600"/>
                  <a:gd name="connsiteX63" fmla="*/ 412433 w 447675"/>
                  <a:gd name="connsiteY63" fmla="*/ 15431 h 609600"/>
                  <a:gd name="connsiteX64" fmla="*/ 413290 w 447675"/>
                  <a:gd name="connsiteY64" fmla="*/ 16288 h 609600"/>
                  <a:gd name="connsiteX65" fmla="*/ 413290 w 447675"/>
                  <a:gd name="connsiteY65" fmla="*/ 17145 h 609600"/>
                  <a:gd name="connsiteX66" fmla="*/ 413290 w 447675"/>
                  <a:gd name="connsiteY66" fmla="*/ 18002 h 609600"/>
                  <a:gd name="connsiteX67" fmla="*/ 412433 w 447675"/>
                  <a:gd name="connsiteY67" fmla="*/ 19717 h 609600"/>
                  <a:gd name="connsiteX68" fmla="*/ 403193 w 447675"/>
                  <a:gd name="connsiteY68" fmla="*/ 24860 h 609600"/>
                  <a:gd name="connsiteX69" fmla="*/ 397288 w 447675"/>
                  <a:gd name="connsiteY69" fmla="*/ 27432 h 609600"/>
                  <a:gd name="connsiteX70" fmla="*/ 394716 w 447675"/>
                  <a:gd name="connsiteY70" fmla="*/ 28289 h 609600"/>
                  <a:gd name="connsiteX71" fmla="*/ 393001 w 447675"/>
                  <a:gd name="connsiteY71" fmla="*/ 27432 h 609600"/>
                  <a:gd name="connsiteX72" fmla="*/ 392144 w 447675"/>
                  <a:gd name="connsiteY72" fmla="*/ 27432 h 609600"/>
                  <a:gd name="connsiteX73" fmla="*/ 391287 w 447675"/>
                  <a:gd name="connsiteY73" fmla="*/ 27432 h 609600"/>
                  <a:gd name="connsiteX74" fmla="*/ 390430 w 447675"/>
                  <a:gd name="connsiteY74" fmla="*/ 27432 h 609600"/>
                  <a:gd name="connsiteX75" fmla="*/ 389572 w 447675"/>
                  <a:gd name="connsiteY75" fmla="*/ 29146 h 609600"/>
                  <a:gd name="connsiteX76" fmla="*/ 389572 w 447675"/>
                  <a:gd name="connsiteY76" fmla="*/ 30004 h 609600"/>
                  <a:gd name="connsiteX77" fmla="*/ 390430 w 447675"/>
                  <a:gd name="connsiteY77" fmla="*/ 30861 h 609600"/>
                  <a:gd name="connsiteX78" fmla="*/ 390430 w 447675"/>
                  <a:gd name="connsiteY78" fmla="*/ 30861 h 609600"/>
                  <a:gd name="connsiteX79" fmla="*/ 391287 w 447675"/>
                  <a:gd name="connsiteY79" fmla="*/ 31718 h 609600"/>
                  <a:gd name="connsiteX80" fmla="*/ 392144 w 447675"/>
                  <a:gd name="connsiteY80" fmla="*/ 31718 h 609600"/>
                  <a:gd name="connsiteX81" fmla="*/ 393001 w 447675"/>
                  <a:gd name="connsiteY81" fmla="*/ 32576 h 609600"/>
                  <a:gd name="connsiteX82" fmla="*/ 393859 w 447675"/>
                  <a:gd name="connsiteY82" fmla="*/ 33433 h 609600"/>
                  <a:gd name="connsiteX83" fmla="*/ 393859 w 447675"/>
                  <a:gd name="connsiteY83" fmla="*/ 33433 h 609600"/>
                  <a:gd name="connsiteX84" fmla="*/ 393859 w 447675"/>
                  <a:gd name="connsiteY84" fmla="*/ 34290 h 609600"/>
                  <a:gd name="connsiteX85" fmla="*/ 393001 w 447675"/>
                  <a:gd name="connsiteY85" fmla="*/ 36004 h 609600"/>
                  <a:gd name="connsiteX86" fmla="*/ 392144 w 447675"/>
                  <a:gd name="connsiteY86" fmla="*/ 36004 h 609600"/>
                  <a:gd name="connsiteX87" fmla="*/ 391287 w 447675"/>
                  <a:gd name="connsiteY87" fmla="*/ 36004 h 609600"/>
                  <a:gd name="connsiteX88" fmla="*/ 390430 w 447675"/>
                  <a:gd name="connsiteY88" fmla="*/ 36004 h 609600"/>
                  <a:gd name="connsiteX89" fmla="*/ 387858 w 447675"/>
                  <a:gd name="connsiteY89" fmla="*/ 36004 h 609600"/>
                  <a:gd name="connsiteX90" fmla="*/ 386143 w 447675"/>
                  <a:gd name="connsiteY90" fmla="*/ 36004 h 609600"/>
                  <a:gd name="connsiteX91" fmla="*/ 383572 w 447675"/>
                  <a:gd name="connsiteY91" fmla="*/ 34290 h 609600"/>
                  <a:gd name="connsiteX92" fmla="*/ 382714 w 447675"/>
                  <a:gd name="connsiteY92" fmla="*/ 33433 h 609600"/>
                  <a:gd name="connsiteX93" fmla="*/ 382714 w 447675"/>
                  <a:gd name="connsiteY93" fmla="*/ 32576 h 609600"/>
                  <a:gd name="connsiteX94" fmla="*/ 382714 w 447675"/>
                  <a:gd name="connsiteY94" fmla="*/ 31718 h 609600"/>
                  <a:gd name="connsiteX95" fmla="*/ 382714 w 447675"/>
                  <a:gd name="connsiteY95" fmla="*/ 30766 h 609600"/>
                  <a:gd name="connsiteX96" fmla="*/ 382714 w 447675"/>
                  <a:gd name="connsiteY96" fmla="*/ 29051 h 609600"/>
                  <a:gd name="connsiteX97" fmla="*/ 381857 w 447675"/>
                  <a:gd name="connsiteY97" fmla="*/ 28194 h 609600"/>
                  <a:gd name="connsiteX98" fmla="*/ 380143 w 447675"/>
                  <a:gd name="connsiteY98" fmla="*/ 28194 h 609600"/>
                  <a:gd name="connsiteX99" fmla="*/ 372523 w 447675"/>
                  <a:gd name="connsiteY99" fmla="*/ 29909 h 609600"/>
                  <a:gd name="connsiteX100" fmla="*/ 370808 w 447675"/>
                  <a:gd name="connsiteY100" fmla="*/ 29051 h 609600"/>
                  <a:gd name="connsiteX101" fmla="*/ 369951 w 447675"/>
                  <a:gd name="connsiteY101" fmla="*/ 29051 h 609600"/>
                  <a:gd name="connsiteX102" fmla="*/ 369094 w 447675"/>
                  <a:gd name="connsiteY102" fmla="*/ 27337 h 609600"/>
                  <a:gd name="connsiteX103" fmla="*/ 368237 w 447675"/>
                  <a:gd name="connsiteY103" fmla="*/ 26479 h 609600"/>
                  <a:gd name="connsiteX104" fmla="*/ 366522 w 447675"/>
                  <a:gd name="connsiteY104" fmla="*/ 24765 h 609600"/>
                  <a:gd name="connsiteX105" fmla="*/ 365665 w 447675"/>
                  <a:gd name="connsiteY105" fmla="*/ 23908 h 609600"/>
                  <a:gd name="connsiteX106" fmla="*/ 363950 w 447675"/>
                  <a:gd name="connsiteY106" fmla="*/ 23051 h 609600"/>
                  <a:gd name="connsiteX107" fmla="*/ 362236 w 447675"/>
                  <a:gd name="connsiteY107" fmla="*/ 22193 h 609600"/>
                  <a:gd name="connsiteX108" fmla="*/ 360521 w 447675"/>
                  <a:gd name="connsiteY108" fmla="*/ 22193 h 609600"/>
                  <a:gd name="connsiteX109" fmla="*/ 357950 w 447675"/>
                  <a:gd name="connsiteY109" fmla="*/ 23051 h 609600"/>
                  <a:gd name="connsiteX110" fmla="*/ 356235 w 447675"/>
                  <a:gd name="connsiteY110" fmla="*/ 23908 h 609600"/>
                  <a:gd name="connsiteX111" fmla="*/ 356711 w 447675"/>
                  <a:gd name="connsiteY111" fmla="*/ 23908 h 609600"/>
                  <a:gd name="connsiteX112" fmla="*/ 356711 w 447675"/>
                  <a:gd name="connsiteY112" fmla="*/ 24765 h 609600"/>
                  <a:gd name="connsiteX113" fmla="*/ 355854 w 447675"/>
                  <a:gd name="connsiteY113" fmla="*/ 25622 h 609600"/>
                  <a:gd name="connsiteX114" fmla="*/ 355854 w 447675"/>
                  <a:gd name="connsiteY114" fmla="*/ 27337 h 609600"/>
                  <a:gd name="connsiteX115" fmla="*/ 355854 w 447675"/>
                  <a:gd name="connsiteY115" fmla="*/ 28194 h 609600"/>
                  <a:gd name="connsiteX116" fmla="*/ 354139 w 447675"/>
                  <a:gd name="connsiteY116" fmla="*/ 30766 h 609600"/>
                  <a:gd name="connsiteX117" fmla="*/ 354139 w 447675"/>
                  <a:gd name="connsiteY117" fmla="*/ 31623 h 609600"/>
                  <a:gd name="connsiteX118" fmla="*/ 354139 w 447675"/>
                  <a:gd name="connsiteY118" fmla="*/ 32480 h 609600"/>
                  <a:gd name="connsiteX119" fmla="*/ 354997 w 447675"/>
                  <a:gd name="connsiteY119" fmla="*/ 33338 h 609600"/>
                  <a:gd name="connsiteX120" fmla="*/ 354997 w 447675"/>
                  <a:gd name="connsiteY120" fmla="*/ 35052 h 609600"/>
                  <a:gd name="connsiteX121" fmla="*/ 354139 w 447675"/>
                  <a:gd name="connsiteY121" fmla="*/ 35909 h 609600"/>
                  <a:gd name="connsiteX122" fmla="*/ 349948 w 447675"/>
                  <a:gd name="connsiteY122" fmla="*/ 37624 h 609600"/>
                  <a:gd name="connsiteX123" fmla="*/ 349091 w 447675"/>
                  <a:gd name="connsiteY123" fmla="*/ 38481 h 609600"/>
                  <a:gd name="connsiteX124" fmla="*/ 348234 w 447675"/>
                  <a:gd name="connsiteY124" fmla="*/ 40196 h 609600"/>
                  <a:gd name="connsiteX125" fmla="*/ 346519 w 447675"/>
                  <a:gd name="connsiteY125" fmla="*/ 41910 h 609600"/>
                  <a:gd name="connsiteX126" fmla="*/ 343948 w 447675"/>
                  <a:gd name="connsiteY126" fmla="*/ 44482 h 609600"/>
                  <a:gd name="connsiteX127" fmla="*/ 342233 w 447675"/>
                  <a:gd name="connsiteY127" fmla="*/ 46196 h 609600"/>
                  <a:gd name="connsiteX128" fmla="*/ 341376 w 447675"/>
                  <a:gd name="connsiteY128" fmla="*/ 46196 h 609600"/>
                  <a:gd name="connsiteX129" fmla="*/ 339662 w 447675"/>
                  <a:gd name="connsiteY129" fmla="*/ 46196 h 609600"/>
                  <a:gd name="connsiteX130" fmla="*/ 339662 w 447675"/>
                  <a:gd name="connsiteY130" fmla="*/ 45339 h 609600"/>
                  <a:gd name="connsiteX131" fmla="*/ 337947 w 447675"/>
                  <a:gd name="connsiteY131" fmla="*/ 44482 h 609600"/>
                  <a:gd name="connsiteX132" fmla="*/ 336233 w 447675"/>
                  <a:gd name="connsiteY132" fmla="*/ 43625 h 609600"/>
                  <a:gd name="connsiteX133" fmla="*/ 335375 w 447675"/>
                  <a:gd name="connsiteY133" fmla="*/ 44482 h 609600"/>
                  <a:gd name="connsiteX134" fmla="*/ 333661 w 447675"/>
                  <a:gd name="connsiteY134" fmla="*/ 45339 h 609600"/>
                  <a:gd name="connsiteX135" fmla="*/ 330327 w 447675"/>
                  <a:gd name="connsiteY135" fmla="*/ 51340 h 609600"/>
                  <a:gd name="connsiteX136" fmla="*/ 326993 w 447675"/>
                  <a:gd name="connsiteY136" fmla="*/ 54769 h 609600"/>
                  <a:gd name="connsiteX137" fmla="*/ 326993 w 447675"/>
                  <a:gd name="connsiteY137" fmla="*/ 55626 h 609600"/>
                  <a:gd name="connsiteX138" fmla="*/ 325279 w 447675"/>
                  <a:gd name="connsiteY138" fmla="*/ 56483 h 609600"/>
                  <a:gd name="connsiteX139" fmla="*/ 324421 w 447675"/>
                  <a:gd name="connsiteY139" fmla="*/ 56483 h 609600"/>
                  <a:gd name="connsiteX140" fmla="*/ 320230 w 447675"/>
                  <a:gd name="connsiteY140" fmla="*/ 56483 h 609600"/>
                  <a:gd name="connsiteX141" fmla="*/ 317659 w 447675"/>
                  <a:gd name="connsiteY141" fmla="*/ 57341 h 609600"/>
                  <a:gd name="connsiteX142" fmla="*/ 315944 w 447675"/>
                  <a:gd name="connsiteY142" fmla="*/ 57341 h 609600"/>
                  <a:gd name="connsiteX143" fmla="*/ 315087 w 447675"/>
                  <a:gd name="connsiteY143" fmla="*/ 56483 h 609600"/>
                  <a:gd name="connsiteX144" fmla="*/ 313372 w 447675"/>
                  <a:gd name="connsiteY144" fmla="*/ 55626 h 609600"/>
                  <a:gd name="connsiteX145" fmla="*/ 312515 w 447675"/>
                  <a:gd name="connsiteY145" fmla="*/ 55626 h 609600"/>
                  <a:gd name="connsiteX146" fmla="*/ 309943 w 447675"/>
                  <a:gd name="connsiteY146" fmla="*/ 55626 h 609600"/>
                  <a:gd name="connsiteX147" fmla="*/ 309086 w 447675"/>
                  <a:gd name="connsiteY147" fmla="*/ 54769 h 609600"/>
                  <a:gd name="connsiteX148" fmla="*/ 308229 w 447675"/>
                  <a:gd name="connsiteY148" fmla="*/ 53912 h 609600"/>
                  <a:gd name="connsiteX149" fmla="*/ 308229 w 447675"/>
                  <a:gd name="connsiteY149" fmla="*/ 52197 h 609600"/>
                  <a:gd name="connsiteX150" fmla="*/ 307372 w 447675"/>
                  <a:gd name="connsiteY150" fmla="*/ 52197 h 609600"/>
                  <a:gd name="connsiteX151" fmla="*/ 307372 w 447675"/>
                  <a:gd name="connsiteY151" fmla="*/ 51340 h 609600"/>
                  <a:gd name="connsiteX152" fmla="*/ 306515 w 447675"/>
                  <a:gd name="connsiteY152" fmla="*/ 51340 h 609600"/>
                  <a:gd name="connsiteX153" fmla="*/ 305657 w 447675"/>
                  <a:gd name="connsiteY153" fmla="*/ 51340 h 609600"/>
                  <a:gd name="connsiteX154" fmla="*/ 303086 w 447675"/>
                  <a:gd name="connsiteY154" fmla="*/ 50483 h 609600"/>
                  <a:gd name="connsiteX155" fmla="*/ 301371 w 447675"/>
                  <a:gd name="connsiteY155" fmla="*/ 50483 h 609600"/>
                  <a:gd name="connsiteX156" fmla="*/ 300514 w 447675"/>
                  <a:gd name="connsiteY156" fmla="*/ 50483 h 609600"/>
                  <a:gd name="connsiteX157" fmla="*/ 299657 w 447675"/>
                  <a:gd name="connsiteY157" fmla="*/ 51340 h 609600"/>
                  <a:gd name="connsiteX158" fmla="*/ 299657 w 447675"/>
                  <a:gd name="connsiteY158" fmla="*/ 53054 h 609600"/>
                  <a:gd name="connsiteX159" fmla="*/ 298799 w 447675"/>
                  <a:gd name="connsiteY159" fmla="*/ 53912 h 609600"/>
                  <a:gd name="connsiteX160" fmla="*/ 298799 w 447675"/>
                  <a:gd name="connsiteY160" fmla="*/ 54769 h 609600"/>
                  <a:gd name="connsiteX161" fmla="*/ 297942 w 447675"/>
                  <a:gd name="connsiteY161" fmla="*/ 55626 h 609600"/>
                  <a:gd name="connsiteX162" fmla="*/ 296228 w 447675"/>
                  <a:gd name="connsiteY162" fmla="*/ 56483 h 609600"/>
                  <a:gd name="connsiteX163" fmla="*/ 295370 w 447675"/>
                  <a:gd name="connsiteY163" fmla="*/ 57341 h 609600"/>
                  <a:gd name="connsiteX164" fmla="*/ 294513 w 447675"/>
                  <a:gd name="connsiteY164" fmla="*/ 56483 h 609600"/>
                  <a:gd name="connsiteX165" fmla="*/ 293656 w 447675"/>
                  <a:gd name="connsiteY165" fmla="*/ 55626 h 609600"/>
                  <a:gd name="connsiteX166" fmla="*/ 293656 w 447675"/>
                  <a:gd name="connsiteY166" fmla="*/ 53912 h 609600"/>
                  <a:gd name="connsiteX167" fmla="*/ 292798 w 447675"/>
                  <a:gd name="connsiteY167" fmla="*/ 53054 h 609600"/>
                  <a:gd name="connsiteX168" fmla="*/ 291941 w 447675"/>
                  <a:gd name="connsiteY168" fmla="*/ 52197 h 609600"/>
                  <a:gd name="connsiteX169" fmla="*/ 286893 w 447675"/>
                  <a:gd name="connsiteY169" fmla="*/ 52197 h 609600"/>
                  <a:gd name="connsiteX170" fmla="*/ 285178 w 447675"/>
                  <a:gd name="connsiteY170" fmla="*/ 53054 h 609600"/>
                  <a:gd name="connsiteX171" fmla="*/ 282607 w 447675"/>
                  <a:gd name="connsiteY171" fmla="*/ 53912 h 609600"/>
                  <a:gd name="connsiteX172" fmla="*/ 278416 w 447675"/>
                  <a:gd name="connsiteY172" fmla="*/ 53912 h 609600"/>
                  <a:gd name="connsiteX173" fmla="*/ 276701 w 447675"/>
                  <a:gd name="connsiteY173" fmla="*/ 54769 h 609600"/>
                  <a:gd name="connsiteX174" fmla="*/ 275844 w 447675"/>
                  <a:gd name="connsiteY174" fmla="*/ 55626 h 609600"/>
                  <a:gd name="connsiteX175" fmla="*/ 274987 w 447675"/>
                  <a:gd name="connsiteY175" fmla="*/ 57341 h 609600"/>
                  <a:gd name="connsiteX176" fmla="*/ 274987 w 447675"/>
                  <a:gd name="connsiteY176" fmla="*/ 58198 h 609600"/>
                  <a:gd name="connsiteX177" fmla="*/ 274130 w 447675"/>
                  <a:gd name="connsiteY177" fmla="*/ 59055 h 609600"/>
                  <a:gd name="connsiteX178" fmla="*/ 272415 w 447675"/>
                  <a:gd name="connsiteY178" fmla="*/ 59055 h 609600"/>
                  <a:gd name="connsiteX179" fmla="*/ 270700 w 447675"/>
                  <a:gd name="connsiteY179" fmla="*/ 59055 h 609600"/>
                  <a:gd name="connsiteX180" fmla="*/ 269843 w 447675"/>
                  <a:gd name="connsiteY180" fmla="*/ 59912 h 609600"/>
                  <a:gd name="connsiteX181" fmla="*/ 268986 w 447675"/>
                  <a:gd name="connsiteY181" fmla="*/ 60770 h 609600"/>
                  <a:gd name="connsiteX182" fmla="*/ 268129 w 447675"/>
                  <a:gd name="connsiteY182" fmla="*/ 62484 h 609600"/>
                  <a:gd name="connsiteX183" fmla="*/ 267271 w 447675"/>
                  <a:gd name="connsiteY183" fmla="*/ 63341 h 609600"/>
                  <a:gd name="connsiteX184" fmla="*/ 267271 w 447675"/>
                  <a:gd name="connsiteY184" fmla="*/ 64199 h 609600"/>
                  <a:gd name="connsiteX185" fmla="*/ 267271 w 447675"/>
                  <a:gd name="connsiteY185" fmla="*/ 67628 h 609600"/>
                  <a:gd name="connsiteX186" fmla="*/ 267271 w 447675"/>
                  <a:gd name="connsiteY186" fmla="*/ 68485 h 609600"/>
                  <a:gd name="connsiteX187" fmla="*/ 266414 w 447675"/>
                  <a:gd name="connsiteY187" fmla="*/ 71057 h 609600"/>
                  <a:gd name="connsiteX188" fmla="*/ 263842 w 447675"/>
                  <a:gd name="connsiteY188" fmla="*/ 78677 h 609600"/>
                  <a:gd name="connsiteX189" fmla="*/ 261271 w 447675"/>
                  <a:gd name="connsiteY189" fmla="*/ 86296 h 609600"/>
                  <a:gd name="connsiteX190" fmla="*/ 260413 w 447675"/>
                  <a:gd name="connsiteY190" fmla="*/ 87154 h 609600"/>
                  <a:gd name="connsiteX191" fmla="*/ 259556 w 447675"/>
                  <a:gd name="connsiteY191" fmla="*/ 88011 h 609600"/>
                  <a:gd name="connsiteX192" fmla="*/ 255365 w 447675"/>
                  <a:gd name="connsiteY192" fmla="*/ 91440 h 609600"/>
                  <a:gd name="connsiteX193" fmla="*/ 254508 w 447675"/>
                  <a:gd name="connsiteY193" fmla="*/ 91440 h 609600"/>
                  <a:gd name="connsiteX194" fmla="*/ 253651 w 447675"/>
                  <a:gd name="connsiteY194" fmla="*/ 91440 h 609600"/>
                  <a:gd name="connsiteX195" fmla="*/ 252793 w 447675"/>
                  <a:gd name="connsiteY195" fmla="*/ 90583 h 609600"/>
                  <a:gd name="connsiteX196" fmla="*/ 251936 w 447675"/>
                  <a:gd name="connsiteY196" fmla="*/ 89726 h 609600"/>
                  <a:gd name="connsiteX197" fmla="*/ 251936 w 447675"/>
                  <a:gd name="connsiteY197" fmla="*/ 90583 h 609600"/>
                  <a:gd name="connsiteX198" fmla="*/ 251936 w 447675"/>
                  <a:gd name="connsiteY198" fmla="*/ 90583 h 609600"/>
                  <a:gd name="connsiteX199" fmla="*/ 251079 w 447675"/>
                  <a:gd name="connsiteY199" fmla="*/ 91440 h 609600"/>
                  <a:gd name="connsiteX200" fmla="*/ 251079 w 447675"/>
                  <a:gd name="connsiteY200" fmla="*/ 93154 h 609600"/>
                  <a:gd name="connsiteX201" fmla="*/ 251079 w 447675"/>
                  <a:gd name="connsiteY201" fmla="*/ 94869 h 609600"/>
                  <a:gd name="connsiteX202" fmla="*/ 251079 w 447675"/>
                  <a:gd name="connsiteY202" fmla="*/ 96584 h 609600"/>
                  <a:gd name="connsiteX203" fmla="*/ 246031 w 447675"/>
                  <a:gd name="connsiteY203" fmla="*/ 101727 h 609600"/>
                  <a:gd name="connsiteX204" fmla="*/ 245173 w 447675"/>
                  <a:gd name="connsiteY204" fmla="*/ 102584 h 609600"/>
                  <a:gd name="connsiteX205" fmla="*/ 243459 w 447675"/>
                  <a:gd name="connsiteY205" fmla="*/ 102584 h 609600"/>
                  <a:gd name="connsiteX206" fmla="*/ 243459 w 447675"/>
                  <a:gd name="connsiteY206" fmla="*/ 102584 h 609600"/>
                  <a:gd name="connsiteX207" fmla="*/ 240887 w 447675"/>
                  <a:gd name="connsiteY207" fmla="*/ 103442 h 609600"/>
                  <a:gd name="connsiteX208" fmla="*/ 239173 w 447675"/>
                  <a:gd name="connsiteY208" fmla="*/ 103442 h 609600"/>
                  <a:gd name="connsiteX209" fmla="*/ 238315 w 447675"/>
                  <a:gd name="connsiteY209" fmla="*/ 102584 h 609600"/>
                  <a:gd name="connsiteX210" fmla="*/ 235744 w 447675"/>
                  <a:gd name="connsiteY210" fmla="*/ 101727 h 609600"/>
                  <a:gd name="connsiteX211" fmla="*/ 229838 w 447675"/>
                  <a:gd name="connsiteY211" fmla="*/ 98298 h 609600"/>
                  <a:gd name="connsiteX212" fmla="*/ 227267 w 447675"/>
                  <a:gd name="connsiteY212" fmla="*/ 95726 h 609600"/>
                  <a:gd name="connsiteX213" fmla="*/ 222218 w 447675"/>
                  <a:gd name="connsiteY213" fmla="*/ 88963 h 609600"/>
                  <a:gd name="connsiteX214" fmla="*/ 214598 w 447675"/>
                  <a:gd name="connsiteY214" fmla="*/ 87249 h 609600"/>
                  <a:gd name="connsiteX215" fmla="*/ 211265 w 447675"/>
                  <a:gd name="connsiteY215" fmla="*/ 84677 h 609600"/>
                  <a:gd name="connsiteX216" fmla="*/ 206216 w 447675"/>
                  <a:gd name="connsiteY216" fmla="*/ 81248 h 609600"/>
                  <a:gd name="connsiteX217" fmla="*/ 202882 w 447675"/>
                  <a:gd name="connsiteY217" fmla="*/ 78677 h 609600"/>
                  <a:gd name="connsiteX218" fmla="*/ 201168 w 447675"/>
                  <a:gd name="connsiteY218" fmla="*/ 78677 h 609600"/>
                  <a:gd name="connsiteX219" fmla="*/ 200311 w 447675"/>
                  <a:gd name="connsiteY219" fmla="*/ 78677 h 609600"/>
                  <a:gd name="connsiteX220" fmla="*/ 198596 w 447675"/>
                  <a:gd name="connsiteY220" fmla="*/ 80391 h 609600"/>
                  <a:gd name="connsiteX221" fmla="*/ 197739 w 447675"/>
                  <a:gd name="connsiteY221" fmla="*/ 81248 h 609600"/>
                  <a:gd name="connsiteX222" fmla="*/ 197739 w 447675"/>
                  <a:gd name="connsiteY222" fmla="*/ 82106 h 609600"/>
                  <a:gd name="connsiteX223" fmla="*/ 197739 w 447675"/>
                  <a:gd name="connsiteY223" fmla="*/ 82963 h 609600"/>
                  <a:gd name="connsiteX224" fmla="*/ 196882 w 447675"/>
                  <a:gd name="connsiteY224" fmla="*/ 82963 h 609600"/>
                  <a:gd name="connsiteX225" fmla="*/ 195167 w 447675"/>
                  <a:gd name="connsiteY225" fmla="*/ 83820 h 609600"/>
                  <a:gd name="connsiteX226" fmla="*/ 194310 w 447675"/>
                  <a:gd name="connsiteY226" fmla="*/ 82963 h 609600"/>
                  <a:gd name="connsiteX227" fmla="*/ 192595 w 447675"/>
                  <a:gd name="connsiteY227" fmla="*/ 82106 h 609600"/>
                  <a:gd name="connsiteX228" fmla="*/ 190881 w 447675"/>
                  <a:gd name="connsiteY228" fmla="*/ 79534 h 609600"/>
                  <a:gd name="connsiteX229" fmla="*/ 190024 w 447675"/>
                  <a:gd name="connsiteY229" fmla="*/ 78677 h 609600"/>
                  <a:gd name="connsiteX230" fmla="*/ 189167 w 447675"/>
                  <a:gd name="connsiteY230" fmla="*/ 77819 h 609600"/>
                  <a:gd name="connsiteX231" fmla="*/ 188309 w 447675"/>
                  <a:gd name="connsiteY231" fmla="*/ 76962 h 609600"/>
                  <a:gd name="connsiteX232" fmla="*/ 187452 w 447675"/>
                  <a:gd name="connsiteY232" fmla="*/ 76105 h 609600"/>
                  <a:gd name="connsiteX233" fmla="*/ 185738 w 447675"/>
                  <a:gd name="connsiteY233" fmla="*/ 76105 h 609600"/>
                  <a:gd name="connsiteX234" fmla="*/ 184880 w 447675"/>
                  <a:gd name="connsiteY234" fmla="*/ 76105 h 609600"/>
                  <a:gd name="connsiteX235" fmla="*/ 179832 w 447675"/>
                  <a:gd name="connsiteY235" fmla="*/ 76105 h 609600"/>
                  <a:gd name="connsiteX236" fmla="*/ 174784 w 447675"/>
                  <a:gd name="connsiteY236" fmla="*/ 77819 h 609600"/>
                  <a:gd name="connsiteX237" fmla="*/ 173069 w 447675"/>
                  <a:gd name="connsiteY237" fmla="*/ 82963 h 609600"/>
                  <a:gd name="connsiteX238" fmla="*/ 172212 w 447675"/>
                  <a:gd name="connsiteY238" fmla="*/ 85535 h 609600"/>
                  <a:gd name="connsiteX239" fmla="*/ 169640 w 447675"/>
                  <a:gd name="connsiteY239" fmla="*/ 88106 h 609600"/>
                  <a:gd name="connsiteX240" fmla="*/ 169640 w 447675"/>
                  <a:gd name="connsiteY240" fmla="*/ 88963 h 609600"/>
                  <a:gd name="connsiteX241" fmla="*/ 169640 w 447675"/>
                  <a:gd name="connsiteY241" fmla="*/ 90678 h 609600"/>
                  <a:gd name="connsiteX242" fmla="*/ 169640 w 447675"/>
                  <a:gd name="connsiteY242" fmla="*/ 90678 h 609600"/>
                  <a:gd name="connsiteX243" fmla="*/ 170497 w 447675"/>
                  <a:gd name="connsiteY243" fmla="*/ 91535 h 609600"/>
                  <a:gd name="connsiteX244" fmla="*/ 170497 w 447675"/>
                  <a:gd name="connsiteY244" fmla="*/ 92393 h 609600"/>
                  <a:gd name="connsiteX245" fmla="*/ 170497 w 447675"/>
                  <a:gd name="connsiteY245" fmla="*/ 93250 h 609600"/>
                  <a:gd name="connsiteX246" fmla="*/ 169640 w 447675"/>
                  <a:gd name="connsiteY246" fmla="*/ 94107 h 609600"/>
                  <a:gd name="connsiteX247" fmla="*/ 169640 w 447675"/>
                  <a:gd name="connsiteY247" fmla="*/ 94107 h 609600"/>
                  <a:gd name="connsiteX248" fmla="*/ 167926 w 447675"/>
                  <a:gd name="connsiteY248" fmla="*/ 94964 h 609600"/>
                  <a:gd name="connsiteX249" fmla="*/ 163735 w 447675"/>
                  <a:gd name="connsiteY249" fmla="*/ 97536 h 609600"/>
                  <a:gd name="connsiteX250" fmla="*/ 162020 w 447675"/>
                  <a:gd name="connsiteY250" fmla="*/ 97536 h 609600"/>
                  <a:gd name="connsiteX251" fmla="*/ 161163 w 447675"/>
                  <a:gd name="connsiteY251" fmla="*/ 98393 h 609600"/>
                  <a:gd name="connsiteX252" fmla="*/ 160306 w 447675"/>
                  <a:gd name="connsiteY252" fmla="*/ 97536 h 609600"/>
                  <a:gd name="connsiteX253" fmla="*/ 157734 w 447675"/>
                  <a:gd name="connsiteY253" fmla="*/ 97536 h 609600"/>
                  <a:gd name="connsiteX254" fmla="*/ 156877 w 447675"/>
                  <a:gd name="connsiteY254" fmla="*/ 97536 h 609600"/>
                  <a:gd name="connsiteX255" fmla="*/ 156019 w 447675"/>
                  <a:gd name="connsiteY255" fmla="*/ 97536 h 609600"/>
                  <a:gd name="connsiteX256" fmla="*/ 153448 w 447675"/>
                  <a:gd name="connsiteY256" fmla="*/ 98393 h 609600"/>
                  <a:gd name="connsiteX257" fmla="*/ 150876 w 447675"/>
                  <a:gd name="connsiteY257" fmla="*/ 104394 h 609600"/>
                  <a:gd name="connsiteX258" fmla="*/ 149161 w 447675"/>
                  <a:gd name="connsiteY258" fmla="*/ 108680 h 609600"/>
                  <a:gd name="connsiteX259" fmla="*/ 149161 w 447675"/>
                  <a:gd name="connsiteY259" fmla="*/ 111252 h 609600"/>
                  <a:gd name="connsiteX260" fmla="*/ 149161 w 447675"/>
                  <a:gd name="connsiteY260" fmla="*/ 112967 h 609600"/>
                  <a:gd name="connsiteX261" fmla="*/ 149161 w 447675"/>
                  <a:gd name="connsiteY261" fmla="*/ 113824 h 609600"/>
                  <a:gd name="connsiteX262" fmla="*/ 150019 w 447675"/>
                  <a:gd name="connsiteY262" fmla="*/ 115538 h 609600"/>
                  <a:gd name="connsiteX263" fmla="*/ 150019 w 447675"/>
                  <a:gd name="connsiteY263" fmla="*/ 116396 h 609600"/>
                  <a:gd name="connsiteX264" fmla="*/ 149161 w 447675"/>
                  <a:gd name="connsiteY264" fmla="*/ 118110 h 609600"/>
                  <a:gd name="connsiteX265" fmla="*/ 149161 w 447675"/>
                  <a:gd name="connsiteY265" fmla="*/ 118110 h 609600"/>
                  <a:gd name="connsiteX266" fmla="*/ 150019 w 447675"/>
                  <a:gd name="connsiteY266" fmla="*/ 118967 h 609600"/>
                  <a:gd name="connsiteX267" fmla="*/ 150019 w 447675"/>
                  <a:gd name="connsiteY267" fmla="*/ 118967 h 609600"/>
                  <a:gd name="connsiteX268" fmla="*/ 150876 w 447675"/>
                  <a:gd name="connsiteY268" fmla="*/ 118967 h 609600"/>
                  <a:gd name="connsiteX269" fmla="*/ 151733 w 447675"/>
                  <a:gd name="connsiteY269" fmla="*/ 118967 h 609600"/>
                  <a:gd name="connsiteX270" fmla="*/ 152590 w 447675"/>
                  <a:gd name="connsiteY270" fmla="*/ 118967 h 609600"/>
                  <a:gd name="connsiteX271" fmla="*/ 153448 w 447675"/>
                  <a:gd name="connsiteY271" fmla="*/ 118967 h 609600"/>
                  <a:gd name="connsiteX272" fmla="*/ 154305 w 447675"/>
                  <a:gd name="connsiteY272" fmla="*/ 118967 h 609600"/>
                  <a:gd name="connsiteX273" fmla="*/ 154305 w 447675"/>
                  <a:gd name="connsiteY273" fmla="*/ 120682 h 609600"/>
                  <a:gd name="connsiteX274" fmla="*/ 154305 w 447675"/>
                  <a:gd name="connsiteY274" fmla="*/ 121539 h 609600"/>
                  <a:gd name="connsiteX275" fmla="*/ 152590 w 447675"/>
                  <a:gd name="connsiteY275" fmla="*/ 129159 h 609600"/>
                  <a:gd name="connsiteX276" fmla="*/ 152590 w 447675"/>
                  <a:gd name="connsiteY276" fmla="*/ 130874 h 609600"/>
                  <a:gd name="connsiteX277" fmla="*/ 151733 w 447675"/>
                  <a:gd name="connsiteY277" fmla="*/ 131731 h 609600"/>
                  <a:gd name="connsiteX278" fmla="*/ 149161 w 447675"/>
                  <a:gd name="connsiteY278" fmla="*/ 134303 h 609600"/>
                  <a:gd name="connsiteX279" fmla="*/ 148304 w 447675"/>
                  <a:gd name="connsiteY279" fmla="*/ 136017 h 609600"/>
                  <a:gd name="connsiteX280" fmla="*/ 144113 w 447675"/>
                  <a:gd name="connsiteY280" fmla="*/ 140303 h 609600"/>
                  <a:gd name="connsiteX281" fmla="*/ 139922 w 447675"/>
                  <a:gd name="connsiteY281" fmla="*/ 142018 h 609600"/>
                  <a:gd name="connsiteX282" fmla="*/ 139065 w 447675"/>
                  <a:gd name="connsiteY282" fmla="*/ 142875 h 609600"/>
                  <a:gd name="connsiteX283" fmla="*/ 138208 w 447675"/>
                  <a:gd name="connsiteY283" fmla="*/ 143732 h 609600"/>
                  <a:gd name="connsiteX284" fmla="*/ 137350 w 447675"/>
                  <a:gd name="connsiteY284" fmla="*/ 144590 h 609600"/>
                  <a:gd name="connsiteX285" fmla="*/ 137350 w 447675"/>
                  <a:gd name="connsiteY285" fmla="*/ 145447 h 609600"/>
                  <a:gd name="connsiteX286" fmla="*/ 137350 w 447675"/>
                  <a:gd name="connsiteY286" fmla="*/ 146304 h 609600"/>
                  <a:gd name="connsiteX287" fmla="*/ 139065 w 447675"/>
                  <a:gd name="connsiteY287" fmla="*/ 147161 h 609600"/>
                  <a:gd name="connsiteX288" fmla="*/ 139065 w 447675"/>
                  <a:gd name="connsiteY288" fmla="*/ 148876 h 609600"/>
                  <a:gd name="connsiteX289" fmla="*/ 139065 w 447675"/>
                  <a:gd name="connsiteY289" fmla="*/ 150590 h 609600"/>
                  <a:gd name="connsiteX290" fmla="*/ 139065 w 447675"/>
                  <a:gd name="connsiteY290" fmla="*/ 151448 h 609600"/>
                  <a:gd name="connsiteX291" fmla="*/ 140779 w 447675"/>
                  <a:gd name="connsiteY291" fmla="*/ 151448 h 609600"/>
                  <a:gd name="connsiteX292" fmla="*/ 159258 w 447675"/>
                  <a:gd name="connsiteY292" fmla="*/ 151448 h 609600"/>
                  <a:gd name="connsiteX293" fmla="*/ 163449 w 447675"/>
                  <a:gd name="connsiteY293" fmla="*/ 152305 h 609600"/>
                  <a:gd name="connsiteX294" fmla="*/ 166021 w 447675"/>
                  <a:gd name="connsiteY294" fmla="*/ 154019 h 609600"/>
                  <a:gd name="connsiteX295" fmla="*/ 166021 w 447675"/>
                  <a:gd name="connsiteY295" fmla="*/ 154877 h 609600"/>
                  <a:gd name="connsiteX296" fmla="*/ 166878 w 447675"/>
                  <a:gd name="connsiteY296" fmla="*/ 154877 h 609600"/>
                  <a:gd name="connsiteX297" fmla="*/ 170212 w 447675"/>
                  <a:gd name="connsiteY297" fmla="*/ 160020 h 609600"/>
                  <a:gd name="connsiteX298" fmla="*/ 171069 w 447675"/>
                  <a:gd name="connsiteY298" fmla="*/ 160877 h 609600"/>
                  <a:gd name="connsiteX299" fmla="*/ 171069 w 447675"/>
                  <a:gd name="connsiteY299" fmla="*/ 161735 h 609600"/>
                  <a:gd name="connsiteX300" fmla="*/ 170212 w 447675"/>
                  <a:gd name="connsiteY300" fmla="*/ 162592 h 609600"/>
                  <a:gd name="connsiteX301" fmla="*/ 170212 w 447675"/>
                  <a:gd name="connsiteY301" fmla="*/ 163449 h 609600"/>
                  <a:gd name="connsiteX302" fmla="*/ 170212 w 447675"/>
                  <a:gd name="connsiteY302" fmla="*/ 164306 h 609600"/>
                  <a:gd name="connsiteX303" fmla="*/ 170212 w 447675"/>
                  <a:gd name="connsiteY303" fmla="*/ 164306 h 609600"/>
                  <a:gd name="connsiteX304" fmla="*/ 169354 w 447675"/>
                  <a:gd name="connsiteY304" fmla="*/ 165163 h 609600"/>
                  <a:gd name="connsiteX305" fmla="*/ 169354 w 447675"/>
                  <a:gd name="connsiteY305" fmla="*/ 165163 h 609600"/>
                  <a:gd name="connsiteX306" fmla="*/ 168497 w 447675"/>
                  <a:gd name="connsiteY306" fmla="*/ 165163 h 609600"/>
                  <a:gd name="connsiteX307" fmla="*/ 168497 w 447675"/>
                  <a:gd name="connsiteY307" fmla="*/ 166878 h 609600"/>
                  <a:gd name="connsiteX308" fmla="*/ 166783 w 447675"/>
                  <a:gd name="connsiteY308" fmla="*/ 167735 h 609600"/>
                  <a:gd name="connsiteX309" fmla="*/ 165925 w 447675"/>
                  <a:gd name="connsiteY309" fmla="*/ 168593 h 609600"/>
                  <a:gd name="connsiteX310" fmla="*/ 165068 w 447675"/>
                  <a:gd name="connsiteY310" fmla="*/ 170307 h 609600"/>
                  <a:gd name="connsiteX311" fmla="*/ 161734 w 447675"/>
                  <a:gd name="connsiteY311" fmla="*/ 175451 h 609600"/>
                  <a:gd name="connsiteX312" fmla="*/ 160020 w 447675"/>
                  <a:gd name="connsiteY312" fmla="*/ 178022 h 609600"/>
                  <a:gd name="connsiteX313" fmla="*/ 158305 w 447675"/>
                  <a:gd name="connsiteY313" fmla="*/ 178879 h 609600"/>
                  <a:gd name="connsiteX314" fmla="*/ 157448 w 447675"/>
                  <a:gd name="connsiteY314" fmla="*/ 179737 h 609600"/>
                  <a:gd name="connsiteX315" fmla="*/ 156591 w 447675"/>
                  <a:gd name="connsiteY315" fmla="*/ 180594 h 609600"/>
                  <a:gd name="connsiteX316" fmla="*/ 154876 w 447675"/>
                  <a:gd name="connsiteY316" fmla="*/ 180594 h 609600"/>
                  <a:gd name="connsiteX317" fmla="*/ 143065 w 447675"/>
                  <a:gd name="connsiteY317" fmla="*/ 181451 h 609600"/>
                  <a:gd name="connsiteX318" fmla="*/ 142208 w 447675"/>
                  <a:gd name="connsiteY318" fmla="*/ 182309 h 609600"/>
                  <a:gd name="connsiteX319" fmla="*/ 139636 w 447675"/>
                  <a:gd name="connsiteY319" fmla="*/ 183166 h 609600"/>
                  <a:gd name="connsiteX320" fmla="*/ 139636 w 447675"/>
                  <a:gd name="connsiteY320" fmla="*/ 184880 h 609600"/>
                  <a:gd name="connsiteX321" fmla="*/ 137922 w 447675"/>
                  <a:gd name="connsiteY321" fmla="*/ 186595 h 609600"/>
                  <a:gd name="connsiteX322" fmla="*/ 137065 w 447675"/>
                  <a:gd name="connsiteY322" fmla="*/ 188309 h 609600"/>
                  <a:gd name="connsiteX323" fmla="*/ 134493 w 447675"/>
                  <a:gd name="connsiteY323" fmla="*/ 194310 h 609600"/>
                  <a:gd name="connsiteX324" fmla="*/ 133636 w 447675"/>
                  <a:gd name="connsiteY324" fmla="*/ 196025 h 609600"/>
                  <a:gd name="connsiteX325" fmla="*/ 131921 w 447675"/>
                  <a:gd name="connsiteY325" fmla="*/ 197739 h 609600"/>
                  <a:gd name="connsiteX326" fmla="*/ 131064 w 447675"/>
                  <a:gd name="connsiteY326" fmla="*/ 198596 h 609600"/>
                  <a:gd name="connsiteX327" fmla="*/ 127730 w 447675"/>
                  <a:gd name="connsiteY327" fmla="*/ 198596 h 609600"/>
                  <a:gd name="connsiteX328" fmla="*/ 125158 w 447675"/>
                  <a:gd name="connsiteY328" fmla="*/ 199454 h 609600"/>
                  <a:gd name="connsiteX329" fmla="*/ 123444 w 447675"/>
                  <a:gd name="connsiteY329" fmla="*/ 199454 h 609600"/>
                  <a:gd name="connsiteX330" fmla="*/ 121729 w 447675"/>
                  <a:gd name="connsiteY330" fmla="*/ 199454 h 609600"/>
                  <a:gd name="connsiteX331" fmla="*/ 120015 w 447675"/>
                  <a:gd name="connsiteY331" fmla="*/ 197739 h 609600"/>
                  <a:gd name="connsiteX332" fmla="*/ 118300 w 447675"/>
                  <a:gd name="connsiteY332" fmla="*/ 196882 h 609600"/>
                  <a:gd name="connsiteX333" fmla="*/ 116586 w 447675"/>
                  <a:gd name="connsiteY333" fmla="*/ 196025 h 609600"/>
                  <a:gd name="connsiteX334" fmla="*/ 115729 w 447675"/>
                  <a:gd name="connsiteY334" fmla="*/ 196025 h 609600"/>
                  <a:gd name="connsiteX335" fmla="*/ 114014 w 447675"/>
                  <a:gd name="connsiteY335" fmla="*/ 196025 h 609600"/>
                  <a:gd name="connsiteX336" fmla="*/ 113157 w 447675"/>
                  <a:gd name="connsiteY336" fmla="*/ 196025 h 609600"/>
                  <a:gd name="connsiteX337" fmla="*/ 111442 w 447675"/>
                  <a:gd name="connsiteY337" fmla="*/ 196882 h 609600"/>
                  <a:gd name="connsiteX338" fmla="*/ 109728 w 447675"/>
                  <a:gd name="connsiteY338" fmla="*/ 197739 h 609600"/>
                  <a:gd name="connsiteX339" fmla="*/ 104680 w 447675"/>
                  <a:gd name="connsiteY339" fmla="*/ 196882 h 609600"/>
                  <a:gd name="connsiteX340" fmla="*/ 101346 w 447675"/>
                  <a:gd name="connsiteY340" fmla="*/ 197739 h 609600"/>
                  <a:gd name="connsiteX341" fmla="*/ 100489 w 447675"/>
                  <a:gd name="connsiteY341" fmla="*/ 197739 h 609600"/>
                  <a:gd name="connsiteX342" fmla="*/ 99631 w 447675"/>
                  <a:gd name="connsiteY342" fmla="*/ 198596 h 609600"/>
                  <a:gd name="connsiteX343" fmla="*/ 98774 w 447675"/>
                  <a:gd name="connsiteY343" fmla="*/ 199454 h 609600"/>
                  <a:gd name="connsiteX344" fmla="*/ 97917 w 447675"/>
                  <a:gd name="connsiteY344" fmla="*/ 201168 h 609600"/>
                  <a:gd name="connsiteX345" fmla="*/ 97060 w 447675"/>
                  <a:gd name="connsiteY345" fmla="*/ 202883 h 609600"/>
                  <a:gd name="connsiteX346" fmla="*/ 96202 w 447675"/>
                  <a:gd name="connsiteY346" fmla="*/ 202883 h 609600"/>
                  <a:gd name="connsiteX347" fmla="*/ 94488 w 447675"/>
                  <a:gd name="connsiteY347" fmla="*/ 202883 h 609600"/>
                  <a:gd name="connsiteX348" fmla="*/ 88582 w 447675"/>
                  <a:gd name="connsiteY348" fmla="*/ 196120 h 609600"/>
                  <a:gd name="connsiteX349" fmla="*/ 86868 w 447675"/>
                  <a:gd name="connsiteY349" fmla="*/ 195263 h 609600"/>
                  <a:gd name="connsiteX350" fmla="*/ 85153 w 447675"/>
                  <a:gd name="connsiteY350" fmla="*/ 195263 h 609600"/>
                  <a:gd name="connsiteX351" fmla="*/ 84296 w 447675"/>
                  <a:gd name="connsiteY351" fmla="*/ 195263 h 609600"/>
                  <a:gd name="connsiteX352" fmla="*/ 81724 w 447675"/>
                  <a:gd name="connsiteY352" fmla="*/ 196120 h 609600"/>
                  <a:gd name="connsiteX353" fmla="*/ 80010 w 447675"/>
                  <a:gd name="connsiteY353" fmla="*/ 196120 h 609600"/>
                  <a:gd name="connsiteX354" fmla="*/ 77438 w 447675"/>
                  <a:gd name="connsiteY354" fmla="*/ 196120 h 609600"/>
                  <a:gd name="connsiteX355" fmla="*/ 76581 w 447675"/>
                  <a:gd name="connsiteY355" fmla="*/ 196977 h 609600"/>
                  <a:gd name="connsiteX356" fmla="*/ 74867 w 447675"/>
                  <a:gd name="connsiteY356" fmla="*/ 197834 h 609600"/>
                  <a:gd name="connsiteX357" fmla="*/ 70675 w 447675"/>
                  <a:gd name="connsiteY357" fmla="*/ 203835 h 609600"/>
                  <a:gd name="connsiteX358" fmla="*/ 68104 w 447675"/>
                  <a:gd name="connsiteY358" fmla="*/ 208979 h 609600"/>
                  <a:gd name="connsiteX359" fmla="*/ 67246 w 447675"/>
                  <a:gd name="connsiteY359" fmla="*/ 215741 h 609600"/>
                  <a:gd name="connsiteX360" fmla="*/ 66389 w 447675"/>
                  <a:gd name="connsiteY360" fmla="*/ 216599 h 609600"/>
                  <a:gd name="connsiteX361" fmla="*/ 65532 w 447675"/>
                  <a:gd name="connsiteY361" fmla="*/ 217456 h 609600"/>
                  <a:gd name="connsiteX362" fmla="*/ 59626 w 447675"/>
                  <a:gd name="connsiteY362" fmla="*/ 215741 h 609600"/>
                  <a:gd name="connsiteX363" fmla="*/ 57912 w 447675"/>
                  <a:gd name="connsiteY363" fmla="*/ 215741 h 609600"/>
                  <a:gd name="connsiteX364" fmla="*/ 41910 w 447675"/>
                  <a:gd name="connsiteY364" fmla="*/ 216599 h 609600"/>
                  <a:gd name="connsiteX365" fmla="*/ 39338 w 447675"/>
                  <a:gd name="connsiteY365" fmla="*/ 216599 h 609600"/>
                  <a:gd name="connsiteX366" fmla="*/ 37624 w 447675"/>
                  <a:gd name="connsiteY366" fmla="*/ 216599 h 609600"/>
                  <a:gd name="connsiteX367" fmla="*/ 36767 w 447675"/>
                  <a:gd name="connsiteY367" fmla="*/ 215741 h 609600"/>
                  <a:gd name="connsiteX368" fmla="*/ 35909 w 447675"/>
                  <a:gd name="connsiteY368" fmla="*/ 214884 h 609600"/>
                  <a:gd name="connsiteX369" fmla="*/ 35052 w 447675"/>
                  <a:gd name="connsiteY369" fmla="*/ 214027 h 609600"/>
                  <a:gd name="connsiteX370" fmla="*/ 35052 w 447675"/>
                  <a:gd name="connsiteY370" fmla="*/ 213170 h 609600"/>
                  <a:gd name="connsiteX371" fmla="*/ 35909 w 447675"/>
                  <a:gd name="connsiteY371" fmla="*/ 210598 h 609600"/>
                  <a:gd name="connsiteX372" fmla="*/ 35052 w 447675"/>
                  <a:gd name="connsiteY372" fmla="*/ 209741 h 609600"/>
                  <a:gd name="connsiteX373" fmla="*/ 34195 w 447675"/>
                  <a:gd name="connsiteY373" fmla="*/ 208026 h 609600"/>
                  <a:gd name="connsiteX374" fmla="*/ 30861 w 447675"/>
                  <a:gd name="connsiteY374" fmla="*/ 207169 h 609600"/>
                  <a:gd name="connsiteX375" fmla="*/ 28289 w 447675"/>
                  <a:gd name="connsiteY375" fmla="*/ 207169 h 609600"/>
                  <a:gd name="connsiteX376" fmla="*/ 26575 w 447675"/>
                  <a:gd name="connsiteY376" fmla="*/ 207169 h 609600"/>
                  <a:gd name="connsiteX377" fmla="*/ 24860 w 447675"/>
                  <a:gd name="connsiteY377" fmla="*/ 208026 h 609600"/>
                  <a:gd name="connsiteX378" fmla="*/ 23146 w 447675"/>
                  <a:gd name="connsiteY378" fmla="*/ 209741 h 609600"/>
                  <a:gd name="connsiteX379" fmla="*/ 22288 w 447675"/>
                  <a:gd name="connsiteY379" fmla="*/ 210598 h 609600"/>
                  <a:gd name="connsiteX380" fmla="*/ 22288 w 447675"/>
                  <a:gd name="connsiteY380" fmla="*/ 210598 h 609600"/>
                  <a:gd name="connsiteX381" fmla="*/ 21431 w 447675"/>
                  <a:gd name="connsiteY381" fmla="*/ 211455 h 609600"/>
                  <a:gd name="connsiteX382" fmla="*/ 20574 w 447675"/>
                  <a:gd name="connsiteY382" fmla="*/ 213170 h 609600"/>
                  <a:gd name="connsiteX383" fmla="*/ 21431 w 447675"/>
                  <a:gd name="connsiteY383" fmla="*/ 213170 h 609600"/>
                  <a:gd name="connsiteX384" fmla="*/ 21431 w 447675"/>
                  <a:gd name="connsiteY384" fmla="*/ 214027 h 609600"/>
                  <a:gd name="connsiteX385" fmla="*/ 21431 w 447675"/>
                  <a:gd name="connsiteY385" fmla="*/ 214027 h 609600"/>
                  <a:gd name="connsiteX386" fmla="*/ 20574 w 447675"/>
                  <a:gd name="connsiteY386" fmla="*/ 214884 h 609600"/>
                  <a:gd name="connsiteX387" fmla="*/ 20574 w 447675"/>
                  <a:gd name="connsiteY387" fmla="*/ 214884 h 609600"/>
                  <a:gd name="connsiteX388" fmla="*/ 19717 w 447675"/>
                  <a:gd name="connsiteY388" fmla="*/ 215741 h 609600"/>
                  <a:gd name="connsiteX389" fmla="*/ 18002 w 447675"/>
                  <a:gd name="connsiteY389" fmla="*/ 215741 h 609600"/>
                  <a:gd name="connsiteX390" fmla="*/ 16288 w 447675"/>
                  <a:gd name="connsiteY390" fmla="*/ 216599 h 609600"/>
                  <a:gd name="connsiteX391" fmla="*/ 15430 w 447675"/>
                  <a:gd name="connsiteY391" fmla="*/ 217456 h 609600"/>
                  <a:gd name="connsiteX392" fmla="*/ 14573 w 447675"/>
                  <a:gd name="connsiteY392" fmla="*/ 219170 h 609600"/>
                  <a:gd name="connsiteX393" fmla="*/ 13716 w 447675"/>
                  <a:gd name="connsiteY393" fmla="*/ 220028 h 609600"/>
                  <a:gd name="connsiteX394" fmla="*/ 12001 w 447675"/>
                  <a:gd name="connsiteY394" fmla="*/ 221742 h 609600"/>
                  <a:gd name="connsiteX395" fmla="*/ 9430 w 447675"/>
                  <a:gd name="connsiteY395" fmla="*/ 221742 h 609600"/>
                  <a:gd name="connsiteX396" fmla="*/ 7715 w 447675"/>
                  <a:gd name="connsiteY396" fmla="*/ 221742 h 609600"/>
                  <a:gd name="connsiteX397" fmla="*/ 5143 w 447675"/>
                  <a:gd name="connsiteY397" fmla="*/ 220885 h 609600"/>
                  <a:gd name="connsiteX398" fmla="*/ 4286 w 447675"/>
                  <a:gd name="connsiteY398" fmla="*/ 220028 h 609600"/>
                  <a:gd name="connsiteX399" fmla="*/ 1715 w 447675"/>
                  <a:gd name="connsiteY399" fmla="*/ 220028 h 609600"/>
                  <a:gd name="connsiteX400" fmla="*/ 857 w 447675"/>
                  <a:gd name="connsiteY400" fmla="*/ 220885 h 609600"/>
                  <a:gd name="connsiteX401" fmla="*/ 0 w 447675"/>
                  <a:gd name="connsiteY401" fmla="*/ 221742 h 609600"/>
                  <a:gd name="connsiteX402" fmla="*/ 857 w 447675"/>
                  <a:gd name="connsiteY402" fmla="*/ 222600 h 609600"/>
                  <a:gd name="connsiteX403" fmla="*/ 857 w 447675"/>
                  <a:gd name="connsiteY403" fmla="*/ 225171 h 609600"/>
                  <a:gd name="connsiteX404" fmla="*/ 857 w 447675"/>
                  <a:gd name="connsiteY404" fmla="*/ 226028 h 609600"/>
                  <a:gd name="connsiteX405" fmla="*/ 0 w 447675"/>
                  <a:gd name="connsiteY405" fmla="*/ 227743 h 609600"/>
                  <a:gd name="connsiteX406" fmla="*/ 0 w 447675"/>
                  <a:gd name="connsiteY406" fmla="*/ 228600 h 609600"/>
                  <a:gd name="connsiteX407" fmla="*/ 857 w 447675"/>
                  <a:gd name="connsiteY407" fmla="*/ 229457 h 609600"/>
                  <a:gd name="connsiteX408" fmla="*/ 857 w 447675"/>
                  <a:gd name="connsiteY408" fmla="*/ 230315 h 609600"/>
                  <a:gd name="connsiteX409" fmla="*/ 857 w 447675"/>
                  <a:gd name="connsiteY409" fmla="*/ 230315 h 609600"/>
                  <a:gd name="connsiteX410" fmla="*/ 1715 w 447675"/>
                  <a:gd name="connsiteY410" fmla="*/ 231172 h 609600"/>
                  <a:gd name="connsiteX411" fmla="*/ 1715 w 447675"/>
                  <a:gd name="connsiteY411" fmla="*/ 231172 h 609600"/>
                  <a:gd name="connsiteX412" fmla="*/ 1715 w 447675"/>
                  <a:gd name="connsiteY412" fmla="*/ 232029 h 609600"/>
                  <a:gd name="connsiteX413" fmla="*/ 1715 w 447675"/>
                  <a:gd name="connsiteY413" fmla="*/ 232029 h 609600"/>
                  <a:gd name="connsiteX414" fmla="*/ 1715 w 447675"/>
                  <a:gd name="connsiteY414" fmla="*/ 232886 h 609600"/>
                  <a:gd name="connsiteX415" fmla="*/ 3429 w 447675"/>
                  <a:gd name="connsiteY415" fmla="*/ 234601 h 609600"/>
                  <a:gd name="connsiteX416" fmla="*/ 7620 w 447675"/>
                  <a:gd name="connsiteY416" fmla="*/ 235458 h 609600"/>
                  <a:gd name="connsiteX417" fmla="*/ 20288 w 447675"/>
                  <a:gd name="connsiteY417" fmla="*/ 238887 h 609600"/>
                  <a:gd name="connsiteX418" fmla="*/ 21145 w 447675"/>
                  <a:gd name="connsiteY418" fmla="*/ 239744 h 609600"/>
                  <a:gd name="connsiteX419" fmla="*/ 22860 w 447675"/>
                  <a:gd name="connsiteY419" fmla="*/ 241459 h 609600"/>
                  <a:gd name="connsiteX420" fmla="*/ 24574 w 447675"/>
                  <a:gd name="connsiteY420" fmla="*/ 242316 h 609600"/>
                  <a:gd name="connsiteX421" fmla="*/ 25432 w 447675"/>
                  <a:gd name="connsiteY421" fmla="*/ 243173 h 609600"/>
                  <a:gd name="connsiteX422" fmla="*/ 27146 w 447675"/>
                  <a:gd name="connsiteY422" fmla="*/ 243173 h 609600"/>
                  <a:gd name="connsiteX423" fmla="*/ 28861 w 447675"/>
                  <a:gd name="connsiteY423" fmla="*/ 244031 h 609600"/>
                  <a:gd name="connsiteX424" fmla="*/ 29718 w 447675"/>
                  <a:gd name="connsiteY424" fmla="*/ 244888 h 609600"/>
                  <a:gd name="connsiteX425" fmla="*/ 32290 w 447675"/>
                  <a:gd name="connsiteY425" fmla="*/ 248317 h 609600"/>
                  <a:gd name="connsiteX426" fmla="*/ 34861 w 447675"/>
                  <a:gd name="connsiteY426" fmla="*/ 250031 h 609600"/>
                  <a:gd name="connsiteX427" fmla="*/ 34004 w 447675"/>
                  <a:gd name="connsiteY427" fmla="*/ 252603 h 609600"/>
                  <a:gd name="connsiteX428" fmla="*/ 27242 w 447675"/>
                  <a:gd name="connsiteY428" fmla="*/ 257746 h 609600"/>
                  <a:gd name="connsiteX429" fmla="*/ 26384 w 447675"/>
                  <a:gd name="connsiteY429" fmla="*/ 258604 h 609600"/>
                  <a:gd name="connsiteX430" fmla="*/ 23813 w 447675"/>
                  <a:gd name="connsiteY430" fmla="*/ 262033 h 609600"/>
                  <a:gd name="connsiteX431" fmla="*/ 23813 w 447675"/>
                  <a:gd name="connsiteY431" fmla="*/ 262890 h 609600"/>
                  <a:gd name="connsiteX432" fmla="*/ 23813 w 447675"/>
                  <a:gd name="connsiteY432" fmla="*/ 263747 h 609600"/>
                  <a:gd name="connsiteX433" fmla="*/ 24670 w 447675"/>
                  <a:gd name="connsiteY433" fmla="*/ 264605 h 609600"/>
                  <a:gd name="connsiteX434" fmla="*/ 25527 w 447675"/>
                  <a:gd name="connsiteY434" fmla="*/ 265462 h 609600"/>
                  <a:gd name="connsiteX435" fmla="*/ 26384 w 447675"/>
                  <a:gd name="connsiteY435" fmla="*/ 265462 h 609600"/>
                  <a:gd name="connsiteX436" fmla="*/ 28956 w 447675"/>
                  <a:gd name="connsiteY436" fmla="*/ 263747 h 609600"/>
                  <a:gd name="connsiteX437" fmla="*/ 29813 w 447675"/>
                  <a:gd name="connsiteY437" fmla="*/ 263747 h 609600"/>
                  <a:gd name="connsiteX438" fmla="*/ 30670 w 447675"/>
                  <a:gd name="connsiteY438" fmla="*/ 263747 h 609600"/>
                  <a:gd name="connsiteX439" fmla="*/ 30670 w 447675"/>
                  <a:gd name="connsiteY439" fmla="*/ 264605 h 609600"/>
                  <a:gd name="connsiteX440" fmla="*/ 33242 w 447675"/>
                  <a:gd name="connsiteY440" fmla="*/ 265462 h 609600"/>
                  <a:gd name="connsiteX441" fmla="*/ 34957 w 447675"/>
                  <a:gd name="connsiteY441" fmla="*/ 265462 h 609600"/>
                  <a:gd name="connsiteX442" fmla="*/ 35814 w 447675"/>
                  <a:gd name="connsiteY442" fmla="*/ 265462 h 609600"/>
                  <a:gd name="connsiteX443" fmla="*/ 38386 w 447675"/>
                  <a:gd name="connsiteY443" fmla="*/ 265462 h 609600"/>
                  <a:gd name="connsiteX444" fmla="*/ 46006 w 447675"/>
                  <a:gd name="connsiteY444" fmla="*/ 264605 h 609600"/>
                  <a:gd name="connsiteX445" fmla="*/ 47720 w 447675"/>
                  <a:gd name="connsiteY445" fmla="*/ 264605 h 609600"/>
                  <a:gd name="connsiteX446" fmla="*/ 48577 w 447675"/>
                  <a:gd name="connsiteY446" fmla="*/ 263747 h 609600"/>
                  <a:gd name="connsiteX447" fmla="*/ 51149 w 447675"/>
                  <a:gd name="connsiteY447" fmla="*/ 262033 h 609600"/>
                  <a:gd name="connsiteX448" fmla="*/ 52006 w 447675"/>
                  <a:gd name="connsiteY448" fmla="*/ 261176 h 609600"/>
                  <a:gd name="connsiteX449" fmla="*/ 52864 w 447675"/>
                  <a:gd name="connsiteY449" fmla="*/ 261176 h 609600"/>
                  <a:gd name="connsiteX450" fmla="*/ 52864 w 447675"/>
                  <a:gd name="connsiteY450" fmla="*/ 262033 h 609600"/>
                  <a:gd name="connsiteX451" fmla="*/ 52864 w 447675"/>
                  <a:gd name="connsiteY451" fmla="*/ 264605 h 609600"/>
                  <a:gd name="connsiteX452" fmla="*/ 52006 w 447675"/>
                  <a:gd name="connsiteY452" fmla="*/ 265462 h 609600"/>
                  <a:gd name="connsiteX453" fmla="*/ 51149 w 447675"/>
                  <a:gd name="connsiteY453" fmla="*/ 267176 h 609600"/>
                  <a:gd name="connsiteX454" fmla="*/ 51149 w 447675"/>
                  <a:gd name="connsiteY454" fmla="*/ 268034 h 609600"/>
                  <a:gd name="connsiteX455" fmla="*/ 51149 w 447675"/>
                  <a:gd name="connsiteY455" fmla="*/ 268891 h 609600"/>
                  <a:gd name="connsiteX456" fmla="*/ 52006 w 447675"/>
                  <a:gd name="connsiteY456" fmla="*/ 269748 h 609600"/>
                  <a:gd name="connsiteX457" fmla="*/ 52864 w 447675"/>
                  <a:gd name="connsiteY457" fmla="*/ 270605 h 609600"/>
                  <a:gd name="connsiteX458" fmla="*/ 53721 w 447675"/>
                  <a:gd name="connsiteY458" fmla="*/ 271463 h 609600"/>
                  <a:gd name="connsiteX459" fmla="*/ 54578 w 447675"/>
                  <a:gd name="connsiteY459" fmla="*/ 272320 h 609600"/>
                  <a:gd name="connsiteX460" fmla="*/ 55435 w 447675"/>
                  <a:gd name="connsiteY460" fmla="*/ 274892 h 609600"/>
                  <a:gd name="connsiteX461" fmla="*/ 56293 w 447675"/>
                  <a:gd name="connsiteY461" fmla="*/ 278321 h 609600"/>
                  <a:gd name="connsiteX462" fmla="*/ 57150 w 447675"/>
                  <a:gd name="connsiteY462" fmla="*/ 280035 h 609600"/>
                  <a:gd name="connsiteX463" fmla="*/ 58865 w 447675"/>
                  <a:gd name="connsiteY463" fmla="*/ 281750 h 609600"/>
                  <a:gd name="connsiteX464" fmla="*/ 59722 w 447675"/>
                  <a:gd name="connsiteY464" fmla="*/ 281750 h 609600"/>
                  <a:gd name="connsiteX465" fmla="*/ 59722 w 447675"/>
                  <a:gd name="connsiteY465" fmla="*/ 282607 h 609600"/>
                  <a:gd name="connsiteX466" fmla="*/ 59722 w 447675"/>
                  <a:gd name="connsiteY466" fmla="*/ 283464 h 609600"/>
                  <a:gd name="connsiteX467" fmla="*/ 59722 w 447675"/>
                  <a:gd name="connsiteY467" fmla="*/ 284321 h 609600"/>
                  <a:gd name="connsiteX468" fmla="*/ 58865 w 447675"/>
                  <a:gd name="connsiteY468" fmla="*/ 284321 h 609600"/>
                  <a:gd name="connsiteX469" fmla="*/ 57150 w 447675"/>
                  <a:gd name="connsiteY469" fmla="*/ 285179 h 609600"/>
                  <a:gd name="connsiteX470" fmla="*/ 56293 w 447675"/>
                  <a:gd name="connsiteY470" fmla="*/ 285179 h 609600"/>
                  <a:gd name="connsiteX471" fmla="*/ 54578 w 447675"/>
                  <a:gd name="connsiteY471" fmla="*/ 283464 h 609600"/>
                  <a:gd name="connsiteX472" fmla="*/ 53721 w 447675"/>
                  <a:gd name="connsiteY472" fmla="*/ 283464 h 609600"/>
                  <a:gd name="connsiteX473" fmla="*/ 52006 w 447675"/>
                  <a:gd name="connsiteY473" fmla="*/ 283464 h 609600"/>
                  <a:gd name="connsiteX474" fmla="*/ 52006 w 447675"/>
                  <a:gd name="connsiteY474" fmla="*/ 284321 h 609600"/>
                  <a:gd name="connsiteX475" fmla="*/ 51149 w 447675"/>
                  <a:gd name="connsiteY475" fmla="*/ 284321 h 609600"/>
                  <a:gd name="connsiteX476" fmla="*/ 50292 w 447675"/>
                  <a:gd name="connsiteY476" fmla="*/ 285179 h 609600"/>
                  <a:gd name="connsiteX477" fmla="*/ 50292 w 447675"/>
                  <a:gd name="connsiteY477" fmla="*/ 286036 h 609600"/>
                  <a:gd name="connsiteX478" fmla="*/ 49435 w 447675"/>
                  <a:gd name="connsiteY478" fmla="*/ 287750 h 609600"/>
                  <a:gd name="connsiteX479" fmla="*/ 49435 w 447675"/>
                  <a:gd name="connsiteY479" fmla="*/ 289465 h 609600"/>
                  <a:gd name="connsiteX480" fmla="*/ 49435 w 447675"/>
                  <a:gd name="connsiteY480" fmla="*/ 291179 h 609600"/>
                  <a:gd name="connsiteX481" fmla="*/ 50292 w 447675"/>
                  <a:gd name="connsiteY481" fmla="*/ 292894 h 609600"/>
                  <a:gd name="connsiteX482" fmla="*/ 51149 w 447675"/>
                  <a:gd name="connsiteY482" fmla="*/ 295466 h 609600"/>
                  <a:gd name="connsiteX483" fmla="*/ 52864 w 447675"/>
                  <a:gd name="connsiteY483" fmla="*/ 297180 h 609600"/>
                  <a:gd name="connsiteX484" fmla="*/ 54578 w 447675"/>
                  <a:gd name="connsiteY484" fmla="*/ 298037 h 609600"/>
                  <a:gd name="connsiteX485" fmla="*/ 59626 w 447675"/>
                  <a:gd name="connsiteY485" fmla="*/ 299752 h 609600"/>
                  <a:gd name="connsiteX486" fmla="*/ 65532 w 447675"/>
                  <a:gd name="connsiteY486" fmla="*/ 302324 h 609600"/>
                  <a:gd name="connsiteX487" fmla="*/ 66389 w 447675"/>
                  <a:gd name="connsiteY487" fmla="*/ 303181 h 609600"/>
                  <a:gd name="connsiteX488" fmla="*/ 67246 w 447675"/>
                  <a:gd name="connsiteY488" fmla="*/ 304038 h 609600"/>
                  <a:gd name="connsiteX489" fmla="*/ 67246 w 447675"/>
                  <a:gd name="connsiteY489" fmla="*/ 304895 h 609600"/>
                  <a:gd name="connsiteX490" fmla="*/ 68104 w 447675"/>
                  <a:gd name="connsiteY490" fmla="*/ 307467 h 609600"/>
                  <a:gd name="connsiteX491" fmla="*/ 68961 w 447675"/>
                  <a:gd name="connsiteY491" fmla="*/ 308325 h 609600"/>
                  <a:gd name="connsiteX492" fmla="*/ 69818 w 447675"/>
                  <a:gd name="connsiteY492" fmla="*/ 309182 h 609600"/>
                  <a:gd name="connsiteX493" fmla="*/ 70675 w 447675"/>
                  <a:gd name="connsiteY493" fmla="*/ 310039 h 609600"/>
                  <a:gd name="connsiteX494" fmla="*/ 71533 w 447675"/>
                  <a:gd name="connsiteY494" fmla="*/ 310896 h 609600"/>
                  <a:gd name="connsiteX495" fmla="*/ 72390 w 447675"/>
                  <a:gd name="connsiteY495" fmla="*/ 310896 h 609600"/>
                  <a:gd name="connsiteX496" fmla="*/ 72390 w 447675"/>
                  <a:gd name="connsiteY496" fmla="*/ 310896 h 609600"/>
                  <a:gd name="connsiteX497" fmla="*/ 73247 w 447675"/>
                  <a:gd name="connsiteY497" fmla="*/ 311753 h 609600"/>
                  <a:gd name="connsiteX498" fmla="*/ 73247 w 447675"/>
                  <a:gd name="connsiteY498" fmla="*/ 313468 h 609600"/>
                  <a:gd name="connsiteX499" fmla="*/ 73247 w 447675"/>
                  <a:gd name="connsiteY499" fmla="*/ 314325 h 609600"/>
                  <a:gd name="connsiteX500" fmla="*/ 73247 w 447675"/>
                  <a:gd name="connsiteY500" fmla="*/ 316040 h 609600"/>
                  <a:gd name="connsiteX501" fmla="*/ 72390 w 447675"/>
                  <a:gd name="connsiteY501" fmla="*/ 317754 h 609600"/>
                  <a:gd name="connsiteX502" fmla="*/ 72390 w 447675"/>
                  <a:gd name="connsiteY502" fmla="*/ 318611 h 609600"/>
                  <a:gd name="connsiteX503" fmla="*/ 72390 w 447675"/>
                  <a:gd name="connsiteY503" fmla="*/ 322898 h 609600"/>
                  <a:gd name="connsiteX504" fmla="*/ 71533 w 447675"/>
                  <a:gd name="connsiteY504" fmla="*/ 324612 h 609600"/>
                  <a:gd name="connsiteX505" fmla="*/ 70675 w 447675"/>
                  <a:gd name="connsiteY505" fmla="*/ 326327 h 609600"/>
                  <a:gd name="connsiteX506" fmla="*/ 68961 w 447675"/>
                  <a:gd name="connsiteY506" fmla="*/ 327184 h 609600"/>
                  <a:gd name="connsiteX507" fmla="*/ 67246 w 447675"/>
                  <a:gd name="connsiteY507" fmla="*/ 327184 h 609600"/>
                  <a:gd name="connsiteX508" fmla="*/ 66389 w 447675"/>
                  <a:gd name="connsiteY508" fmla="*/ 328041 h 609600"/>
                  <a:gd name="connsiteX509" fmla="*/ 65532 w 447675"/>
                  <a:gd name="connsiteY509" fmla="*/ 328898 h 609600"/>
                  <a:gd name="connsiteX510" fmla="*/ 65532 w 447675"/>
                  <a:gd name="connsiteY510" fmla="*/ 329756 h 609600"/>
                  <a:gd name="connsiteX511" fmla="*/ 66389 w 447675"/>
                  <a:gd name="connsiteY511" fmla="*/ 339090 h 609600"/>
                  <a:gd name="connsiteX512" fmla="*/ 65532 w 447675"/>
                  <a:gd name="connsiteY512" fmla="*/ 345091 h 609600"/>
                  <a:gd name="connsiteX513" fmla="*/ 65532 w 447675"/>
                  <a:gd name="connsiteY513" fmla="*/ 345091 h 609600"/>
                  <a:gd name="connsiteX514" fmla="*/ 65532 w 447675"/>
                  <a:gd name="connsiteY514" fmla="*/ 345948 h 609600"/>
                  <a:gd name="connsiteX515" fmla="*/ 64675 w 447675"/>
                  <a:gd name="connsiteY515" fmla="*/ 348520 h 609600"/>
                  <a:gd name="connsiteX516" fmla="*/ 64675 w 447675"/>
                  <a:gd name="connsiteY516" fmla="*/ 351949 h 609600"/>
                  <a:gd name="connsiteX517" fmla="*/ 64675 w 447675"/>
                  <a:gd name="connsiteY517" fmla="*/ 352806 h 609600"/>
                  <a:gd name="connsiteX518" fmla="*/ 64675 w 447675"/>
                  <a:gd name="connsiteY518" fmla="*/ 354521 h 609600"/>
                  <a:gd name="connsiteX519" fmla="*/ 65532 w 447675"/>
                  <a:gd name="connsiteY519" fmla="*/ 355378 h 609600"/>
                  <a:gd name="connsiteX520" fmla="*/ 67246 w 447675"/>
                  <a:gd name="connsiteY520" fmla="*/ 357950 h 609600"/>
                  <a:gd name="connsiteX521" fmla="*/ 67246 w 447675"/>
                  <a:gd name="connsiteY521" fmla="*/ 358807 h 609600"/>
                  <a:gd name="connsiteX522" fmla="*/ 68104 w 447675"/>
                  <a:gd name="connsiteY522" fmla="*/ 360521 h 609600"/>
                  <a:gd name="connsiteX523" fmla="*/ 67246 w 447675"/>
                  <a:gd name="connsiteY523" fmla="*/ 363950 h 609600"/>
                  <a:gd name="connsiteX524" fmla="*/ 67246 w 447675"/>
                  <a:gd name="connsiteY524" fmla="*/ 364808 h 609600"/>
                  <a:gd name="connsiteX525" fmla="*/ 68104 w 447675"/>
                  <a:gd name="connsiteY525" fmla="*/ 366522 h 609600"/>
                  <a:gd name="connsiteX526" fmla="*/ 68961 w 447675"/>
                  <a:gd name="connsiteY526" fmla="*/ 367379 h 609600"/>
                  <a:gd name="connsiteX527" fmla="*/ 71533 w 447675"/>
                  <a:gd name="connsiteY527" fmla="*/ 368237 h 609600"/>
                  <a:gd name="connsiteX528" fmla="*/ 72390 w 447675"/>
                  <a:gd name="connsiteY528" fmla="*/ 369951 h 609600"/>
                  <a:gd name="connsiteX529" fmla="*/ 74104 w 447675"/>
                  <a:gd name="connsiteY529" fmla="*/ 370808 h 609600"/>
                  <a:gd name="connsiteX530" fmla="*/ 75819 w 447675"/>
                  <a:gd name="connsiteY530" fmla="*/ 373380 h 609600"/>
                  <a:gd name="connsiteX531" fmla="*/ 76676 w 447675"/>
                  <a:gd name="connsiteY531" fmla="*/ 374237 h 609600"/>
                  <a:gd name="connsiteX532" fmla="*/ 77533 w 447675"/>
                  <a:gd name="connsiteY532" fmla="*/ 375095 h 609600"/>
                  <a:gd name="connsiteX533" fmla="*/ 78391 w 447675"/>
                  <a:gd name="connsiteY533" fmla="*/ 375095 h 609600"/>
                  <a:gd name="connsiteX534" fmla="*/ 79248 w 447675"/>
                  <a:gd name="connsiteY534" fmla="*/ 375095 h 609600"/>
                  <a:gd name="connsiteX535" fmla="*/ 80963 w 447675"/>
                  <a:gd name="connsiteY535" fmla="*/ 375952 h 609600"/>
                  <a:gd name="connsiteX536" fmla="*/ 82677 w 447675"/>
                  <a:gd name="connsiteY536" fmla="*/ 375952 h 609600"/>
                  <a:gd name="connsiteX537" fmla="*/ 84392 w 447675"/>
                  <a:gd name="connsiteY537" fmla="*/ 375095 h 609600"/>
                  <a:gd name="connsiteX538" fmla="*/ 87725 w 447675"/>
                  <a:gd name="connsiteY538" fmla="*/ 372523 h 609600"/>
                  <a:gd name="connsiteX539" fmla="*/ 92773 w 447675"/>
                  <a:gd name="connsiteY539" fmla="*/ 368237 h 609600"/>
                  <a:gd name="connsiteX540" fmla="*/ 93631 w 447675"/>
                  <a:gd name="connsiteY540" fmla="*/ 367379 h 609600"/>
                  <a:gd name="connsiteX541" fmla="*/ 95345 w 447675"/>
                  <a:gd name="connsiteY541" fmla="*/ 366522 h 609600"/>
                  <a:gd name="connsiteX542" fmla="*/ 100393 w 447675"/>
                  <a:gd name="connsiteY542" fmla="*/ 364808 h 609600"/>
                  <a:gd name="connsiteX543" fmla="*/ 103727 w 447675"/>
                  <a:gd name="connsiteY543" fmla="*/ 362236 h 609600"/>
                  <a:gd name="connsiteX544" fmla="*/ 106299 w 447675"/>
                  <a:gd name="connsiteY544" fmla="*/ 361379 h 609600"/>
                  <a:gd name="connsiteX545" fmla="*/ 108013 w 447675"/>
                  <a:gd name="connsiteY545" fmla="*/ 363093 h 609600"/>
                  <a:gd name="connsiteX546" fmla="*/ 108871 w 447675"/>
                  <a:gd name="connsiteY546" fmla="*/ 363950 h 609600"/>
                  <a:gd name="connsiteX547" fmla="*/ 111442 w 447675"/>
                  <a:gd name="connsiteY547" fmla="*/ 368237 h 609600"/>
                  <a:gd name="connsiteX548" fmla="*/ 112300 w 447675"/>
                  <a:gd name="connsiteY548" fmla="*/ 369094 h 609600"/>
                  <a:gd name="connsiteX549" fmla="*/ 113157 w 447675"/>
                  <a:gd name="connsiteY549" fmla="*/ 371666 h 609600"/>
                  <a:gd name="connsiteX550" fmla="*/ 113157 w 447675"/>
                  <a:gd name="connsiteY550" fmla="*/ 373380 h 609600"/>
                  <a:gd name="connsiteX551" fmla="*/ 114014 w 447675"/>
                  <a:gd name="connsiteY551" fmla="*/ 375095 h 609600"/>
                  <a:gd name="connsiteX552" fmla="*/ 114014 w 447675"/>
                  <a:gd name="connsiteY552" fmla="*/ 373666 h 609600"/>
                  <a:gd name="connsiteX553" fmla="*/ 115729 w 447675"/>
                  <a:gd name="connsiteY553" fmla="*/ 374523 h 609600"/>
                  <a:gd name="connsiteX554" fmla="*/ 116586 w 447675"/>
                  <a:gd name="connsiteY554" fmla="*/ 375380 h 609600"/>
                  <a:gd name="connsiteX555" fmla="*/ 116586 w 447675"/>
                  <a:gd name="connsiteY555" fmla="*/ 376238 h 609600"/>
                  <a:gd name="connsiteX556" fmla="*/ 116586 w 447675"/>
                  <a:gd name="connsiteY556" fmla="*/ 377095 h 609600"/>
                  <a:gd name="connsiteX557" fmla="*/ 115729 w 447675"/>
                  <a:gd name="connsiteY557" fmla="*/ 379667 h 609600"/>
                  <a:gd name="connsiteX558" fmla="*/ 110680 w 447675"/>
                  <a:gd name="connsiteY558" fmla="*/ 389858 h 609600"/>
                  <a:gd name="connsiteX559" fmla="*/ 110680 w 447675"/>
                  <a:gd name="connsiteY559" fmla="*/ 391573 h 609600"/>
                  <a:gd name="connsiteX560" fmla="*/ 110680 w 447675"/>
                  <a:gd name="connsiteY560" fmla="*/ 392430 h 609600"/>
                  <a:gd name="connsiteX561" fmla="*/ 112395 w 447675"/>
                  <a:gd name="connsiteY561" fmla="*/ 395859 h 609600"/>
                  <a:gd name="connsiteX562" fmla="*/ 114109 w 447675"/>
                  <a:gd name="connsiteY562" fmla="*/ 402622 h 609600"/>
                  <a:gd name="connsiteX563" fmla="*/ 114109 w 447675"/>
                  <a:gd name="connsiteY563" fmla="*/ 404336 h 609600"/>
                  <a:gd name="connsiteX564" fmla="*/ 114109 w 447675"/>
                  <a:gd name="connsiteY564" fmla="*/ 406051 h 609600"/>
                  <a:gd name="connsiteX565" fmla="*/ 110776 w 447675"/>
                  <a:gd name="connsiteY565" fmla="*/ 412052 h 609600"/>
                  <a:gd name="connsiteX566" fmla="*/ 110776 w 447675"/>
                  <a:gd name="connsiteY566" fmla="*/ 412909 h 609600"/>
                  <a:gd name="connsiteX567" fmla="*/ 110776 w 447675"/>
                  <a:gd name="connsiteY567" fmla="*/ 414623 h 609600"/>
                  <a:gd name="connsiteX568" fmla="*/ 111633 w 447675"/>
                  <a:gd name="connsiteY568" fmla="*/ 419767 h 609600"/>
                  <a:gd name="connsiteX569" fmla="*/ 112490 w 447675"/>
                  <a:gd name="connsiteY569" fmla="*/ 421481 h 609600"/>
                  <a:gd name="connsiteX570" fmla="*/ 112490 w 447675"/>
                  <a:gd name="connsiteY570" fmla="*/ 424053 h 609600"/>
                  <a:gd name="connsiteX571" fmla="*/ 111633 w 447675"/>
                  <a:gd name="connsiteY571" fmla="*/ 425768 h 609600"/>
                  <a:gd name="connsiteX572" fmla="*/ 106585 w 447675"/>
                  <a:gd name="connsiteY572" fmla="*/ 441960 h 609600"/>
                  <a:gd name="connsiteX573" fmla="*/ 106585 w 447675"/>
                  <a:gd name="connsiteY573" fmla="*/ 443675 h 609600"/>
                  <a:gd name="connsiteX574" fmla="*/ 106585 w 447675"/>
                  <a:gd name="connsiteY574" fmla="*/ 444532 h 609600"/>
                  <a:gd name="connsiteX575" fmla="*/ 106585 w 447675"/>
                  <a:gd name="connsiteY575" fmla="*/ 444532 h 609600"/>
                  <a:gd name="connsiteX576" fmla="*/ 107442 w 447675"/>
                  <a:gd name="connsiteY576" fmla="*/ 445389 h 609600"/>
                  <a:gd name="connsiteX577" fmla="*/ 107442 w 447675"/>
                  <a:gd name="connsiteY577" fmla="*/ 445389 h 609600"/>
                  <a:gd name="connsiteX578" fmla="*/ 108299 w 447675"/>
                  <a:gd name="connsiteY578" fmla="*/ 446246 h 609600"/>
                  <a:gd name="connsiteX579" fmla="*/ 109156 w 447675"/>
                  <a:gd name="connsiteY579" fmla="*/ 446246 h 609600"/>
                  <a:gd name="connsiteX580" fmla="*/ 110014 w 447675"/>
                  <a:gd name="connsiteY580" fmla="*/ 446246 h 609600"/>
                  <a:gd name="connsiteX581" fmla="*/ 110871 w 447675"/>
                  <a:gd name="connsiteY581" fmla="*/ 446246 h 609600"/>
                  <a:gd name="connsiteX582" fmla="*/ 110871 w 447675"/>
                  <a:gd name="connsiteY582" fmla="*/ 447104 h 609600"/>
                  <a:gd name="connsiteX583" fmla="*/ 112586 w 447675"/>
                  <a:gd name="connsiteY583" fmla="*/ 447961 h 609600"/>
                  <a:gd name="connsiteX584" fmla="*/ 112586 w 447675"/>
                  <a:gd name="connsiteY584" fmla="*/ 448818 h 609600"/>
                  <a:gd name="connsiteX585" fmla="*/ 114300 w 447675"/>
                  <a:gd name="connsiteY585" fmla="*/ 448818 h 609600"/>
                  <a:gd name="connsiteX586" fmla="*/ 115157 w 447675"/>
                  <a:gd name="connsiteY586" fmla="*/ 448818 h 609600"/>
                  <a:gd name="connsiteX587" fmla="*/ 120205 w 447675"/>
                  <a:gd name="connsiteY587" fmla="*/ 446246 h 609600"/>
                  <a:gd name="connsiteX588" fmla="*/ 121063 w 447675"/>
                  <a:gd name="connsiteY588" fmla="*/ 446246 h 609600"/>
                  <a:gd name="connsiteX589" fmla="*/ 122777 w 447675"/>
                  <a:gd name="connsiteY589" fmla="*/ 446246 h 609600"/>
                  <a:gd name="connsiteX590" fmla="*/ 123634 w 447675"/>
                  <a:gd name="connsiteY590" fmla="*/ 446246 h 609600"/>
                  <a:gd name="connsiteX591" fmla="*/ 124492 w 447675"/>
                  <a:gd name="connsiteY591" fmla="*/ 447104 h 609600"/>
                  <a:gd name="connsiteX592" fmla="*/ 124492 w 447675"/>
                  <a:gd name="connsiteY592" fmla="*/ 447104 h 609600"/>
                  <a:gd name="connsiteX593" fmla="*/ 125349 w 447675"/>
                  <a:gd name="connsiteY593" fmla="*/ 449675 h 609600"/>
                  <a:gd name="connsiteX594" fmla="*/ 126206 w 447675"/>
                  <a:gd name="connsiteY594" fmla="*/ 451390 h 609600"/>
                  <a:gd name="connsiteX595" fmla="*/ 130397 w 447675"/>
                  <a:gd name="connsiteY595" fmla="*/ 454819 h 609600"/>
                  <a:gd name="connsiteX596" fmla="*/ 130397 w 447675"/>
                  <a:gd name="connsiteY596" fmla="*/ 456533 h 609600"/>
                  <a:gd name="connsiteX597" fmla="*/ 130397 w 447675"/>
                  <a:gd name="connsiteY597" fmla="*/ 459962 h 609600"/>
                  <a:gd name="connsiteX598" fmla="*/ 127063 w 447675"/>
                  <a:gd name="connsiteY598" fmla="*/ 462534 h 609600"/>
                  <a:gd name="connsiteX599" fmla="*/ 127063 w 447675"/>
                  <a:gd name="connsiteY599" fmla="*/ 463391 h 609600"/>
                  <a:gd name="connsiteX600" fmla="*/ 126206 w 447675"/>
                  <a:gd name="connsiteY600" fmla="*/ 464249 h 609600"/>
                  <a:gd name="connsiteX601" fmla="*/ 123634 w 447675"/>
                  <a:gd name="connsiteY601" fmla="*/ 472726 h 609600"/>
                  <a:gd name="connsiteX602" fmla="*/ 120301 w 447675"/>
                  <a:gd name="connsiteY602" fmla="*/ 477869 h 609600"/>
                  <a:gd name="connsiteX603" fmla="*/ 114395 w 447675"/>
                  <a:gd name="connsiteY603" fmla="*/ 497396 h 609600"/>
                  <a:gd name="connsiteX604" fmla="*/ 111823 w 447675"/>
                  <a:gd name="connsiteY604" fmla="*/ 504158 h 609600"/>
                  <a:gd name="connsiteX605" fmla="*/ 109252 w 447675"/>
                  <a:gd name="connsiteY605" fmla="*/ 506730 h 609600"/>
                  <a:gd name="connsiteX606" fmla="*/ 105061 w 447675"/>
                  <a:gd name="connsiteY606" fmla="*/ 510159 h 609600"/>
                  <a:gd name="connsiteX607" fmla="*/ 104203 w 447675"/>
                  <a:gd name="connsiteY607" fmla="*/ 510159 h 609600"/>
                  <a:gd name="connsiteX608" fmla="*/ 104203 w 447675"/>
                  <a:gd name="connsiteY608" fmla="*/ 511016 h 609600"/>
                  <a:gd name="connsiteX609" fmla="*/ 104203 w 447675"/>
                  <a:gd name="connsiteY609" fmla="*/ 512731 h 609600"/>
                  <a:gd name="connsiteX610" fmla="*/ 106775 w 447675"/>
                  <a:gd name="connsiteY610" fmla="*/ 519494 h 609600"/>
                  <a:gd name="connsiteX611" fmla="*/ 108490 w 447675"/>
                  <a:gd name="connsiteY611" fmla="*/ 522923 h 609600"/>
                  <a:gd name="connsiteX612" fmla="*/ 110204 w 447675"/>
                  <a:gd name="connsiteY612" fmla="*/ 524637 h 609600"/>
                  <a:gd name="connsiteX613" fmla="*/ 111919 w 447675"/>
                  <a:gd name="connsiteY613" fmla="*/ 525494 h 609600"/>
                  <a:gd name="connsiteX614" fmla="*/ 112776 w 447675"/>
                  <a:gd name="connsiteY614" fmla="*/ 526352 h 609600"/>
                  <a:gd name="connsiteX615" fmla="*/ 113633 w 447675"/>
                  <a:gd name="connsiteY615" fmla="*/ 527209 h 609600"/>
                  <a:gd name="connsiteX616" fmla="*/ 113633 w 447675"/>
                  <a:gd name="connsiteY616" fmla="*/ 527209 h 609600"/>
                  <a:gd name="connsiteX617" fmla="*/ 114490 w 447675"/>
                  <a:gd name="connsiteY617" fmla="*/ 528066 h 609600"/>
                  <a:gd name="connsiteX618" fmla="*/ 113633 w 447675"/>
                  <a:gd name="connsiteY618" fmla="*/ 528923 h 609600"/>
                  <a:gd name="connsiteX619" fmla="*/ 111919 w 447675"/>
                  <a:gd name="connsiteY619" fmla="*/ 534924 h 609600"/>
                  <a:gd name="connsiteX620" fmla="*/ 106870 w 447675"/>
                  <a:gd name="connsiteY620" fmla="*/ 542544 h 609600"/>
                  <a:gd name="connsiteX621" fmla="*/ 106013 w 447675"/>
                  <a:gd name="connsiteY621" fmla="*/ 544259 h 609600"/>
                  <a:gd name="connsiteX622" fmla="*/ 106013 w 447675"/>
                  <a:gd name="connsiteY622" fmla="*/ 545116 h 609600"/>
                  <a:gd name="connsiteX623" fmla="*/ 106013 w 447675"/>
                  <a:gd name="connsiteY623" fmla="*/ 546830 h 609600"/>
                  <a:gd name="connsiteX624" fmla="*/ 106013 w 447675"/>
                  <a:gd name="connsiteY624" fmla="*/ 547688 h 609600"/>
                  <a:gd name="connsiteX625" fmla="*/ 106870 w 447675"/>
                  <a:gd name="connsiteY625" fmla="*/ 548545 h 609600"/>
                  <a:gd name="connsiteX626" fmla="*/ 106870 w 447675"/>
                  <a:gd name="connsiteY626" fmla="*/ 550259 h 609600"/>
                  <a:gd name="connsiteX627" fmla="*/ 106870 w 447675"/>
                  <a:gd name="connsiteY627" fmla="*/ 551117 h 609600"/>
                  <a:gd name="connsiteX628" fmla="*/ 106870 w 447675"/>
                  <a:gd name="connsiteY628" fmla="*/ 552831 h 609600"/>
                  <a:gd name="connsiteX629" fmla="*/ 107728 w 447675"/>
                  <a:gd name="connsiteY629" fmla="*/ 553688 h 609600"/>
                  <a:gd name="connsiteX630" fmla="*/ 108585 w 447675"/>
                  <a:gd name="connsiteY630" fmla="*/ 554546 h 609600"/>
                  <a:gd name="connsiteX631" fmla="*/ 113633 w 447675"/>
                  <a:gd name="connsiteY631" fmla="*/ 558832 h 609600"/>
                  <a:gd name="connsiteX632" fmla="*/ 116205 w 447675"/>
                  <a:gd name="connsiteY632" fmla="*/ 560546 h 609600"/>
                  <a:gd name="connsiteX633" fmla="*/ 116205 w 447675"/>
                  <a:gd name="connsiteY633" fmla="*/ 561404 h 609600"/>
                  <a:gd name="connsiteX634" fmla="*/ 117062 w 447675"/>
                  <a:gd name="connsiteY634" fmla="*/ 563118 h 609600"/>
                  <a:gd name="connsiteX635" fmla="*/ 117062 w 447675"/>
                  <a:gd name="connsiteY635" fmla="*/ 563975 h 609600"/>
                  <a:gd name="connsiteX636" fmla="*/ 116205 w 447675"/>
                  <a:gd name="connsiteY636" fmla="*/ 565690 h 609600"/>
                  <a:gd name="connsiteX637" fmla="*/ 115348 w 447675"/>
                  <a:gd name="connsiteY637" fmla="*/ 567404 h 609600"/>
                  <a:gd name="connsiteX638" fmla="*/ 112776 w 447675"/>
                  <a:gd name="connsiteY638" fmla="*/ 569976 h 609600"/>
                  <a:gd name="connsiteX639" fmla="*/ 111919 w 447675"/>
                  <a:gd name="connsiteY639" fmla="*/ 570834 h 609600"/>
                  <a:gd name="connsiteX640" fmla="*/ 111061 w 447675"/>
                  <a:gd name="connsiteY640" fmla="*/ 570834 h 609600"/>
                  <a:gd name="connsiteX641" fmla="*/ 110204 w 447675"/>
                  <a:gd name="connsiteY641" fmla="*/ 569976 h 609600"/>
                  <a:gd name="connsiteX642" fmla="*/ 109347 w 447675"/>
                  <a:gd name="connsiteY642" fmla="*/ 569976 h 609600"/>
                  <a:gd name="connsiteX643" fmla="*/ 109347 w 447675"/>
                  <a:gd name="connsiteY643" fmla="*/ 569119 h 609600"/>
                  <a:gd name="connsiteX644" fmla="*/ 108490 w 447675"/>
                  <a:gd name="connsiteY644" fmla="*/ 569119 h 609600"/>
                  <a:gd name="connsiteX645" fmla="*/ 108490 w 447675"/>
                  <a:gd name="connsiteY645" fmla="*/ 569119 h 609600"/>
                  <a:gd name="connsiteX646" fmla="*/ 108490 w 447675"/>
                  <a:gd name="connsiteY646" fmla="*/ 569976 h 609600"/>
                  <a:gd name="connsiteX647" fmla="*/ 108490 w 447675"/>
                  <a:gd name="connsiteY647" fmla="*/ 570834 h 609600"/>
                  <a:gd name="connsiteX648" fmla="*/ 108490 w 447675"/>
                  <a:gd name="connsiteY648" fmla="*/ 571691 h 609600"/>
                  <a:gd name="connsiteX649" fmla="*/ 110204 w 447675"/>
                  <a:gd name="connsiteY649" fmla="*/ 575120 h 609600"/>
                  <a:gd name="connsiteX650" fmla="*/ 110204 w 447675"/>
                  <a:gd name="connsiteY650" fmla="*/ 575977 h 609600"/>
                  <a:gd name="connsiteX651" fmla="*/ 109347 w 447675"/>
                  <a:gd name="connsiteY651" fmla="*/ 577692 h 609600"/>
                  <a:gd name="connsiteX652" fmla="*/ 108490 w 447675"/>
                  <a:gd name="connsiteY652" fmla="*/ 579406 h 609600"/>
                  <a:gd name="connsiteX653" fmla="*/ 105918 w 447675"/>
                  <a:gd name="connsiteY653" fmla="*/ 581978 h 609600"/>
                  <a:gd name="connsiteX654" fmla="*/ 105061 w 447675"/>
                  <a:gd name="connsiteY654" fmla="*/ 584550 h 609600"/>
                  <a:gd name="connsiteX655" fmla="*/ 104203 w 447675"/>
                  <a:gd name="connsiteY655" fmla="*/ 585407 h 609600"/>
                  <a:gd name="connsiteX656" fmla="*/ 104203 w 447675"/>
                  <a:gd name="connsiteY656" fmla="*/ 586264 h 609600"/>
                  <a:gd name="connsiteX657" fmla="*/ 104203 w 447675"/>
                  <a:gd name="connsiteY657" fmla="*/ 587121 h 609600"/>
                  <a:gd name="connsiteX658" fmla="*/ 104203 w 447675"/>
                  <a:gd name="connsiteY658" fmla="*/ 587978 h 609600"/>
                  <a:gd name="connsiteX659" fmla="*/ 104203 w 447675"/>
                  <a:gd name="connsiteY659" fmla="*/ 588836 h 609600"/>
                  <a:gd name="connsiteX660" fmla="*/ 104203 w 447675"/>
                  <a:gd name="connsiteY660" fmla="*/ 589693 h 609600"/>
                  <a:gd name="connsiteX661" fmla="*/ 103346 w 447675"/>
                  <a:gd name="connsiteY661" fmla="*/ 589693 h 609600"/>
                  <a:gd name="connsiteX662" fmla="*/ 102489 w 447675"/>
                  <a:gd name="connsiteY662" fmla="*/ 590550 h 609600"/>
                  <a:gd name="connsiteX663" fmla="*/ 99917 w 447675"/>
                  <a:gd name="connsiteY663" fmla="*/ 589693 h 609600"/>
                  <a:gd name="connsiteX664" fmla="*/ 99060 w 447675"/>
                  <a:gd name="connsiteY664" fmla="*/ 589693 h 609600"/>
                  <a:gd name="connsiteX665" fmla="*/ 99060 w 447675"/>
                  <a:gd name="connsiteY665" fmla="*/ 590550 h 609600"/>
                  <a:gd name="connsiteX666" fmla="*/ 98203 w 447675"/>
                  <a:gd name="connsiteY666" fmla="*/ 591407 h 609600"/>
                  <a:gd name="connsiteX667" fmla="*/ 98203 w 447675"/>
                  <a:gd name="connsiteY667" fmla="*/ 591407 h 609600"/>
                  <a:gd name="connsiteX668" fmla="*/ 99917 w 447675"/>
                  <a:gd name="connsiteY668" fmla="*/ 593122 h 609600"/>
                  <a:gd name="connsiteX669" fmla="*/ 110871 w 447675"/>
                  <a:gd name="connsiteY669" fmla="*/ 602456 h 609600"/>
                  <a:gd name="connsiteX670" fmla="*/ 112586 w 447675"/>
                  <a:gd name="connsiteY670" fmla="*/ 603313 h 609600"/>
                  <a:gd name="connsiteX671" fmla="*/ 115157 w 447675"/>
                  <a:gd name="connsiteY671" fmla="*/ 604171 h 609600"/>
                  <a:gd name="connsiteX672" fmla="*/ 117729 w 447675"/>
                  <a:gd name="connsiteY672" fmla="*/ 605885 h 609600"/>
                  <a:gd name="connsiteX673" fmla="*/ 118586 w 447675"/>
                  <a:gd name="connsiteY673" fmla="*/ 606743 h 609600"/>
                  <a:gd name="connsiteX674" fmla="*/ 120301 w 447675"/>
                  <a:gd name="connsiteY674" fmla="*/ 608457 h 609600"/>
                  <a:gd name="connsiteX675" fmla="*/ 121158 w 447675"/>
                  <a:gd name="connsiteY675" fmla="*/ 608457 h 609600"/>
                  <a:gd name="connsiteX676" fmla="*/ 135445 w 447675"/>
                  <a:gd name="connsiteY676" fmla="*/ 613601 h 609600"/>
                  <a:gd name="connsiteX677" fmla="*/ 142208 w 447675"/>
                  <a:gd name="connsiteY677" fmla="*/ 614458 h 609600"/>
                  <a:gd name="connsiteX678" fmla="*/ 148114 w 447675"/>
                  <a:gd name="connsiteY678" fmla="*/ 613601 h 609600"/>
                  <a:gd name="connsiteX679" fmla="*/ 148114 w 447675"/>
                  <a:gd name="connsiteY679" fmla="*/ 610172 h 609600"/>
                  <a:gd name="connsiteX680" fmla="*/ 151447 w 447675"/>
                  <a:gd name="connsiteY680" fmla="*/ 607600 h 609600"/>
                  <a:gd name="connsiteX681" fmla="*/ 156496 w 447675"/>
                  <a:gd name="connsiteY681" fmla="*/ 605885 h 609600"/>
                  <a:gd name="connsiteX682" fmla="*/ 168307 w 447675"/>
                  <a:gd name="connsiteY682" fmla="*/ 603313 h 609600"/>
                  <a:gd name="connsiteX683" fmla="*/ 170021 w 447675"/>
                  <a:gd name="connsiteY683" fmla="*/ 602456 h 609600"/>
                  <a:gd name="connsiteX684" fmla="*/ 173355 w 447675"/>
                  <a:gd name="connsiteY684" fmla="*/ 599027 h 609600"/>
                  <a:gd name="connsiteX685" fmla="*/ 175069 w 447675"/>
                  <a:gd name="connsiteY685" fmla="*/ 597313 h 609600"/>
                  <a:gd name="connsiteX686" fmla="*/ 196120 w 447675"/>
                  <a:gd name="connsiteY686" fmla="*/ 584550 h 609600"/>
                  <a:gd name="connsiteX687" fmla="*/ 200311 w 447675"/>
                  <a:gd name="connsiteY687" fmla="*/ 582835 h 609600"/>
                  <a:gd name="connsiteX688" fmla="*/ 202025 w 447675"/>
                  <a:gd name="connsiteY688" fmla="*/ 582835 h 609600"/>
                  <a:gd name="connsiteX689" fmla="*/ 202882 w 447675"/>
                  <a:gd name="connsiteY689" fmla="*/ 581120 h 609600"/>
                  <a:gd name="connsiteX690" fmla="*/ 204597 w 447675"/>
                  <a:gd name="connsiteY690" fmla="*/ 575120 h 609600"/>
                  <a:gd name="connsiteX691" fmla="*/ 205454 w 447675"/>
                  <a:gd name="connsiteY691" fmla="*/ 573405 h 609600"/>
                  <a:gd name="connsiteX692" fmla="*/ 208788 w 447675"/>
                  <a:gd name="connsiteY692" fmla="*/ 570834 h 609600"/>
                  <a:gd name="connsiteX693" fmla="*/ 209645 w 447675"/>
                  <a:gd name="connsiteY693" fmla="*/ 569976 h 609600"/>
                  <a:gd name="connsiteX694" fmla="*/ 209645 w 447675"/>
                  <a:gd name="connsiteY694" fmla="*/ 568262 h 609600"/>
                  <a:gd name="connsiteX695" fmla="*/ 211360 w 447675"/>
                  <a:gd name="connsiteY695" fmla="*/ 556355 h 609600"/>
                  <a:gd name="connsiteX696" fmla="*/ 210502 w 447675"/>
                  <a:gd name="connsiteY696" fmla="*/ 552926 h 609600"/>
                  <a:gd name="connsiteX697" fmla="*/ 208788 w 447675"/>
                  <a:gd name="connsiteY697" fmla="*/ 549497 h 609600"/>
                  <a:gd name="connsiteX698" fmla="*/ 211360 w 447675"/>
                  <a:gd name="connsiteY698" fmla="*/ 549497 h 609600"/>
                  <a:gd name="connsiteX699" fmla="*/ 210502 w 447675"/>
                  <a:gd name="connsiteY699" fmla="*/ 547783 h 609600"/>
                  <a:gd name="connsiteX700" fmla="*/ 211360 w 447675"/>
                  <a:gd name="connsiteY700" fmla="*/ 546926 h 609600"/>
                  <a:gd name="connsiteX701" fmla="*/ 213074 w 447675"/>
                  <a:gd name="connsiteY701" fmla="*/ 545211 h 609600"/>
                  <a:gd name="connsiteX702" fmla="*/ 213931 w 447675"/>
                  <a:gd name="connsiteY702" fmla="*/ 541782 h 609600"/>
                  <a:gd name="connsiteX703" fmla="*/ 214789 w 447675"/>
                  <a:gd name="connsiteY703" fmla="*/ 540925 h 609600"/>
                  <a:gd name="connsiteX704" fmla="*/ 216503 w 447675"/>
                  <a:gd name="connsiteY704" fmla="*/ 540068 h 609600"/>
                  <a:gd name="connsiteX705" fmla="*/ 218218 w 447675"/>
                  <a:gd name="connsiteY705" fmla="*/ 539210 h 609600"/>
                  <a:gd name="connsiteX706" fmla="*/ 219932 w 447675"/>
                  <a:gd name="connsiteY706" fmla="*/ 537496 h 609600"/>
                  <a:gd name="connsiteX707" fmla="*/ 219075 w 447675"/>
                  <a:gd name="connsiteY707" fmla="*/ 534924 h 609600"/>
                  <a:gd name="connsiteX708" fmla="*/ 218218 w 447675"/>
                  <a:gd name="connsiteY708" fmla="*/ 536638 h 609600"/>
                  <a:gd name="connsiteX709" fmla="*/ 216503 w 447675"/>
                  <a:gd name="connsiteY709" fmla="*/ 537496 h 609600"/>
                  <a:gd name="connsiteX710" fmla="*/ 215646 w 447675"/>
                  <a:gd name="connsiteY710" fmla="*/ 537496 h 609600"/>
                  <a:gd name="connsiteX711" fmla="*/ 213931 w 447675"/>
                  <a:gd name="connsiteY711" fmla="*/ 539210 h 609600"/>
                  <a:gd name="connsiteX712" fmla="*/ 214789 w 447675"/>
                  <a:gd name="connsiteY712" fmla="*/ 536638 h 609600"/>
                  <a:gd name="connsiteX713" fmla="*/ 215646 w 447675"/>
                  <a:gd name="connsiteY713" fmla="*/ 534067 h 609600"/>
                  <a:gd name="connsiteX714" fmla="*/ 215646 w 447675"/>
                  <a:gd name="connsiteY714" fmla="*/ 526447 h 609600"/>
                  <a:gd name="connsiteX715" fmla="*/ 216503 w 447675"/>
                  <a:gd name="connsiteY715" fmla="*/ 524732 h 609600"/>
                  <a:gd name="connsiteX716" fmla="*/ 219837 w 447675"/>
                  <a:gd name="connsiteY716" fmla="*/ 517970 h 609600"/>
                  <a:gd name="connsiteX717" fmla="*/ 222409 w 447675"/>
                  <a:gd name="connsiteY717" fmla="*/ 515398 h 609600"/>
                  <a:gd name="connsiteX718" fmla="*/ 237553 w 447675"/>
                  <a:gd name="connsiteY718" fmla="*/ 502634 h 609600"/>
                  <a:gd name="connsiteX719" fmla="*/ 240887 w 447675"/>
                  <a:gd name="connsiteY719" fmla="*/ 500063 h 609600"/>
                  <a:gd name="connsiteX720" fmla="*/ 245078 w 447675"/>
                  <a:gd name="connsiteY720" fmla="*/ 498348 h 609600"/>
                  <a:gd name="connsiteX721" fmla="*/ 249269 w 447675"/>
                  <a:gd name="connsiteY721" fmla="*/ 497491 h 609600"/>
                  <a:gd name="connsiteX722" fmla="*/ 264414 w 447675"/>
                  <a:gd name="connsiteY722" fmla="*/ 495776 h 609600"/>
                  <a:gd name="connsiteX723" fmla="*/ 266128 w 447675"/>
                  <a:gd name="connsiteY723" fmla="*/ 494919 h 609600"/>
                  <a:gd name="connsiteX724" fmla="*/ 266986 w 447675"/>
                  <a:gd name="connsiteY724" fmla="*/ 494062 h 609600"/>
                  <a:gd name="connsiteX725" fmla="*/ 267843 w 447675"/>
                  <a:gd name="connsiteY725" fmla="*/ 493205 h 609600"/>
                  <a:gd name="connsiteX726" fmla="*/ 268700 w 447675"/>
                  <a:gd name="connsiteY726" fmla="*/ 491490 h 609600"/>
                  <a:gd name="connsiteX727" fmla="*/ 270415 w 447675"/>
                  <a:gd name="connsiteY727" fmla="*/ 490633 h 609600"/>
                  <a:gd name="connsiteX728" fmla="*/ 276320 w 447675"/>
                  <a:gd name="connsiteY728" fmla="*/ 489776 h 609600"/>
                  <a:gd name="connsiteX729" fmla="*/ 277178 w 447675"/>
                  <a:gd name="connsiteY729" fmla="*/ 489776 h 609600"/>
                  <a:gd name="connsiteX730" fmla="*/ 278892 w 447675"/>
                  <a:gd name="connsiteY730" fmla="*/ 488918 h 609600"/>
                  <a:gd name="connsiteX731" fmla="*/ 279749 w 447675"/>
                  <a:gd name="connsiteY731" fmla="*/ 488061 h 609600"/>
                  <a:gd name="connsiteX732" fmla="*/ 281464 w 447675"/>
                  <a:gd name="connsiteY732" fmla="*/ 486346 h 609600"/>
                  <a:gd name="connsiteX733" fmla="*/ 285655 w 447675"/>
                  <a:gd name="connsiteY733" fmla="*/ 485489 h 609600"/>
                  <a:gd name="connsiteX734" fmla="*/ 288988 w 447675"/>
                  <a:gd name="connsiteY734" fmla="*/ 483775 h 609600"/>
                  <a:gd name="connsiteX735" fmla="*/ 290703 w 447675"/>
                  <a:gd name="connsiteY735" fmla="*/ 482918 h 609600"/>
                  <a:gd name="connsiteX736" fmla="*/ 294894 w 447675"/>
                  <a:gd name="connsiteY736" fmla="*/ 482918 h 609600"/>
                  <a:gd name="connsiteX737" fmla="*/ 295751 w 447675"/>
                  <a:gd name="connsiteY737" fmla="*/ 482918 h 609600"/>
                  <a:gd name="connsiteX738" fmla="*/ 296609 w 447675"/>
                  <a:gd name="connsiteY738" fmla="*/ 482918 h 609600"/>
                  <a:gd name="connsiteX739" fmla="*/ 296609 w 447675"/>
                  <a:gd name="connsiteY739" fmla="*/ 482918 h 609600"/>
                  <a:gd name="connsiteX740" fmla="*/ 298323 w 447675"/>
                  <a:gd name="connsiteY740" fmla="*/ 482918 h 609600"/>
                  <a:gd name="connsiteX741" fmla="*/ 300038 w 447675"/>
                  <a:gd name="connsiteY741" fmla="*/ 480346 h 609600"/>
                  <a:gd name="connsiteX742" fmla="*/ 300895 w 447675"/>
                  <a:gd name="connsiteY742" fmla="*/ 480346 h 609600"/>
                  <a:gd name="connsiteX743" fmla="*/ 305086 w 447675"/>
                  <a:gd name="connsiteY743" fmla="*/ 479488 h 609600"/>
                  <a:gd name="connsiteX744" fmla="*/ 308419 w 447675"/>
                  <a:gd name="connsiteY744" fmla="*/ 480346 h 609600"/>
                  <a:gd name="connsiteX745" fmla="*/ 312611 w 447675"/>
                  <a:gd name="connsiteY745" fmla="*/ 481203 h 609600"/>
                  <a:gd name="connsiteX746" fmla="*/ 315944 w 447675"/>
                  <a:gd name="connsiteY746" fmla="*/ 482918 h 609600"/>
                  <a:gd name="connsiteX747" fmla="*/ 316801 w 447675"/>
                  <a:gd name="connsiteY747" fmla="*/ 482060 h 609600"/>
                  <a:gd name="connsiteX748" fmla="*/ 320135 w 447675"/>
                  <a:gd name="connsiteY748" fmla="*/ 482060 h 609600"/>
                  <a:gd name="connsiteX749" fmla="*/ 324326 w 447675"/>
                  <a:gd name="connsiteY749" fmla="*/ 480346 h 609600"/>
                  <a:gd name="connsiteX750" fmla="*/ 326041 w 447675"/>
                  <a:gd name="connsiteY750" fmla="*/ 480346 h 609600"/>
                  <a:gd name="connsiteX751" fmla="*/ 327755 w 447675"/>
                  <a:gd name="connsiteY751" fmla="*/ 481203 h 609600"/>
                  <a:gd name="connsiteX752" fmla="*/ 329470 w 447675"/>
                  <a:gd name="connsiteY752" fmla="*/ 481203 h 609600"/>
                  <a:gd name="connsiteX753" fmla="*/ 331184 w 447675"/>
                  <a:gd name="connsiteY753" fmla="*/ 482060 h 609600"/>
                  <a:gd name="connsiteX754" fmla="*/ 337947 w 447675"/>
                  <a:gd name="connsiteY754" fmla="*/ 482918 h 609600"/>
                  <a:gd name="connsiteX755" fmla="*/ 345567 w 447675"/>
                  <a:gd name="connsiteY755" fmla="*/ 487204 h 609600"/>
                  <a:gd name="connsiteX756" fmla="*/ 352330 w 447675"/>
                  <a:gd name="connsiteY756" fmla="*/ 493205 h 609600"/>
                  <a:gd name="connsiteX757" fmla="*/ 354901 w 447675"/>
                  <a:gd name="connsiteY757" fmla="*/ 494062 h 609600"/>
                  <a:gd name="connsiteX758" fmla="*/ 355759 w 447675"/>
                  <a:gd name="connsiteY758" fmla="*/ 493205 h 609600"/>
                  <a:gd name="connsiteX759" fmla="*/ 354044 w 447675"/>
                  <a:gd name="connsiteY759" fmla="*/ 491490 h 609600"/>
                  <a:gd name="connsiteX760" fmla="*/ 346424 w 447675"/>
                  <a:gd name="connsiteY760" fmla="*/ 485489 h 609600"/>
                  <a:gd name="connsiteX761" fmla="*/ 344710 w 447675"/>
                  <a:gd name="connsiteY761" fmla="*/ 483775 h 609600"/>
                  <a:gd name="connsiteX762" fmla="*/ 343852 w 447675"/>
                  <a:gd name="connsiteY762" fmla="*/ 482918 h 609600"/>
                  <a:gd name="connsiteX763" fmla="*/ 343852 w 447675"/>
                  <a:gd name="connsiteY763" fmla="*/ 482060 h 609600"/>
                  <a:gd name="connsiteX764" fmla="*/ 342995 w 447675"/>
                  <a:gd name="connsiteY764" fmla="*/ 482060 h 609600"/>
                  <a:gd name="connsiteX765" fmla="*/ 342995 w 447675"/>
                  <a:gd name="connsiteY765" fmla="*/ 481203 h 609600"/>
                  <a:gd name="connsiteX766" fmla="*/ 342138 w 447675"/>
                  <a:gd name="connsiteY766" fmla="*/ 479488 h 609600"/>
                  <a:gd name="connsiteX767" fmla="*/ 342995 w 447675"/>
                  <a:gd name="connsiteY767" fmla="*/ 478631 h 609600"/>
                  <a:gd name="connsiteX768" fmla="*/ 343852 w 447675"/>
                  <a:gd name="connsiteY768" fmla="*/ 477774 h 609600"/>
                  <a:gd name="connsiteX769" fmla="*/ 343852 w 447675"/>
                  <a:gd name="connsiteY769" fmla="*/ 476917 h 609600"/>
                  <a:gd name="connsiteX770" fmla="*/ 342995 w 447675"/>
                  <a:gd name="connsiteY770" fmla="*/ 476060 h 609600"/>
                  <a:gd name="connsiteX771" fmla="*/ 341281 w 447675"/>
                  <a:gd name="connsiteY771" fmla="*/ 475202 h 609600"/>
                  <a:gd name="connsiteX772" fmla="*/ 338709 w 447675"/>
                  <a:gd name="connsiteY772" fmla="*/ 476060 h 609600"/>
                  <a:gd name="connsiteX773" fmla="*/ 336137 w 447675"/>
                  <a:gd name="connsiteY773" fmla="*/ 477774 h 609600"/>
                  <a:gd name="connsiteX774" fmla="*/ 333566 w 447675"/>
                  <a:gd name="connsiteY774" fmla="*/ 478631 h 609600"/>
                  <a:gd name="connsiteX775" fmla="*/ 318421 w 447675"/>
                  <a:gd name="connsiteY775" fmla="*/ 478631 h 609600"/>
                  <a:gd name="connsiteX776" fmla="*/ 314230 w 447675"/>
                  <a:gd name="connsiteY776" fmla="*/ 477774 h 609600"/>
                  <a:gd name="connsiteX777" fmla="*/ 310039 w 447675"/>
                  <a:gd name="connsiteY777" fmla="*/ 476060 h 609600"/>
                  <a:gd name="connsiteX778" fmla="*/ 301657 w 447675"/>
                  <a:gd name="connsiteY778" fmla="*/ 467582 h 609600"/>
                  <a:gd name="connsiteX779" fmla="*/ 298323 w 447675"/>
                  <a:gd name="connsiteY779" fmla="*/ 464153 h 609600"/>
                  <a:gd name="connsiteX780" fmla="*/ 296609 w 447675"/>
                  <a:gd name="connsiteY780" fmla="*/ 460725 h 609600"/>
                  <a:gd name="connsiteX781" fmla="*/ 296609 w 447675"/>
                  <a:gd name="connsiteY781" fmla="*/ 458153 h 609600"/>
                  <a:gd name="connsiteX782" fmla="*/ 297466 w 447675"/>
                  <a:gd name="connsiteY782" fmla="*/ 453866 h 609600"/>
                  <a:gd name="connsiteX783" fmla="*/ 298323 w 447675"/>
                  <a:gd name="connsiteY783" fmla="*/ 447866 h 609600"/>
                  <a:gd name="connsiteX784" fmla="*/ 299180 w 447675"/>
                  <a:gd name="connsiteY784" fmla="*/ 445294 h 609600"/>
                  <a:gd name="connsiteX785" fmla="*/ 300038 w 447675"/>
                  <a:gd name="connsiteY785" fmla="*/ 443579 h 609600"/>
                  <a:gd name="connsiteX786" fmla="*/ 300895 w 447675"/>
                  <a:gd name="connsiteY786" fmla="*/ 441865 h 609600"/>
                  <a:gd name="connsiteX787" fmla="*/ 301752 w 447675"/>
                  <a:gd name="connsiteY787" fmla="*/ 441008 h 609600"/>
                  <a:gd name="connsiteX788" fmla="*/ 303467 w 447675"/>
                  <a:gd name="connsiteY788" fmla="*/ 440150 h 609600"/>
                  <a:gd name="connsiteX789" fmla="*/ 303467 w 447675"/>
                  <a:gd name="connsiteY789" fmla="*/ 439293 h 609600"/>
                  <a:gd name="connsiteX790" fmla="*/ 304324 w 447675"/>
                  <a:gd name="connsiteY790" fmla="*/ 438436 h 609600"/>
                  <a:gd name="connsiteX791" fmla="*/ 304324 w 447675"/>
                  <a:gd name="connsiteY791" fmla="*/ 437579 h 609600"/>
                  <a:gd name="connsiteX792" fmla="*/ 304324 w 447675"/>
                  <a:gd name="connsiteY792" fmla="*/ 435864 h 609600"/>
                  <a:gd name="connsiteX793" fmla="*/ 310229 w 447675"/>
                  <a:gd name="connsiteY793" fmla="*/ 427387 h 609600"/>
                  <a:gd name="connsiteX794" fmla="*/ 314420 w 447675"/>
                  <a:gd name="connsiteY794" fmla="*/ 423101 h 609600"/>
                  <a:gd name="connsiteX795" fmla="*/ 316135 w 447675"/>
                  <a:gd name="connsiteY795" fmla="*/ 421386 h 609600"/>
                  <a:gd name="connsiteX796" fmla="*/ 316992 w 447675"/>
                  <a:gd name="connsiteY796" fmla="*/ 418814 h 609600"/>
                  <a:gd name="connsiteX797" fmla="*/ 317849 w 447675"/>
                  <a:gd name="connsiteY797" fmla="*/ 417957 h 609600"/>
                  <a:gd name="connsiteX798" fmla="*/ 319564 w 447675"/>
                  <a:gd name="connsiteY798" fmla="*/ 415385 h 609600"/>
                  <a:gd name="connsiteX799" fmla="*/ 321278 w 447675"/>
                  <a:gd name="connsiteY799" fmla="*/ 411099 h 609600"/>
                  <a:gd name="connsiteX800" fmla="*/ 328041 w 447675"/>
                  <a:gd name="connsiteY800" fmla="*/ 401765 h 609600"/>
                  <a:gd name="connsiteX801" fmla="*/ 332232 w 447675"/>
                  <a:gd name="connsiteY801" fmla="*/ 397478 h 609600"/>
                  <a:gd name="connsiteX802" fmla="*/ 336423 w 447675"/>
                  <a:gd name="connsiteY802" fmla="*/ 394907 h 609600"/>
                  <a:gd name="connsiteX803" fmla="*/ 333851 w 447675"/>
                  <a:gd name="connsiteY803" fmla="*/ 393192 h 609600"/>
                  <a:gd name="connsiteX804" fmla="*/ 332994 w 447675"/>
                  <a:gd name="connsiteY804" fmla="*/ 388906 h 609600"/>
                  <a:gd name="connsiteX805" fmla="*/ 332137 w 447675"/>
                  <a:gd name="connsiteY805" fmla="*/ 382143 h 609600"/>
                  <a:gd name="connsiteX806" fmla="*/ 332137 w 447675"/>
                  <a:gd name="connsiteY806" fmla="*/ 380429 h 609600"/>
                  <a:gd name="connsiteX807" fmla="*/ 332137 w 447675"/>
                  <a:gd name="connsiteY807" fmla="*/ 378714 h 609600"/>
                  <a:gd name="connsiteX808" fmla="*/ 332994 w 447675"/>
                  <a:gd name="connsiteY808" fmla="*/ 377857 h 609600"/>
                  <a:gd name="connsiteX809" fmla="*/ 334709 w 447675"/>
                  <a:gd name="connsiteY809" fmla="*/ 377000 h 609600"/>
                  <a:gd name="connsiteX810" fmla="*/ 335566 w 447675"/>
                  <a:gd name="connsiteY810" fmla="*/ 376142 h 609600"/>
                  <a:gd name="connsiteX811" fmla="*/ 335566 w 447675"/>
                  <a:gd name="connsiteY811" fmla="*/ 375285 h 609600"/>
                  <a:gd name="connsiteX812" fmla="*/ 335566 w 447675"/>
                  <a:gd name="connsiteY812" fmla="*/ 373666 h 609600"/>
                  <a:gd name="connsiteX813" fmla="*/ 336423 w 447675"/>
                  <a:gd name="connsiteY813" fmla="*/ 372809 h 609600"/>
                  <a:gd name="connsiteX814" fmla="*/ 337280 w 447675"/>
                  <a:gd name="connsiteY814" fmla="*/ 370237 h 609600"/>
                  <a:gd name="connsiteX815" fmla="*/ 339852 w 447675"/>
                  <a:gd name="connsiteY815" fmla="*/ 368522 h 609600"/>
                  <a:gd name="connsiteX816" fmla="*/ 346615 w 447675"/>
                  <a:gd name="connsiteY816" fmla="*/ 365093 h 609600"/>
                  <a:gd name="connsiteX817" fmla="*/ 348329 w 447675"/>
                  <a:gd name="connsiteY817" fmla="*/ 362521 h 609600"/>
                  <a:gd name="connsiteX818" fmla="*/ 350044 w 447675"/>
                  <a:gd name="connsiteY818" fmla="*/ 362521 h 609600"/>
                  <a:gd name="connsiteX819" fmla="*/ 351758 w 447675"/>
                  <a:gd name="connsiteY819" fmla="*/ 362521 h 609600"/>
                  <a:gd name="connsiteX820" fmla="*/ 354330 w 447675"/>
                  <a:gd name="connsiteY820" fmla="*/ 364236 h 609600"/>
                  <a:gd name="connsiteX821" fmla="*/ 356902 w 447675"/>
                  <a:gd name="connsiteY821" fmla="*/ 364236 h 609600"/>
                  <a:gd name="connsiteX822" fmla="*/ 362807 w 447675"/>
                  <a:gd name="connsiteY822" fmla="*/ 363379 h 609600"/>
                  <a:gd name="connsiteX823" fmla="*/ 365379 w 447675"/>
                  <a:gd name="connsiteY823" fmla="*/ 362521 h 609600"/>
                  <a:gd name="connsiteX824" fmla="*/ 365379 w 447675"/>
                  <a:gd name="connsiteY824" fmla="*/ 361664 h 609600"/>
                  <a:gd name="connsiteX825" fmla="*/ 364522 w 447675"/>
                  <a:gd name="connsiteY825" fmla="*/ 360807 h 609600"/>
                  <a:gd name="connsiteX826" fmla="*/ 368713 w 447675"/>
                  <a:gd name="connsiteY826" fmla="*/ 360807 h 609600"/>
                  <a:gd name="connsiteX827" fmla="*/ 371284 w 447675"/>
                  <a:gd name="connsiteY827" fmla="*/ 359950 h 609600"/>
                  <a:gd name="connsiteX828" fmla="*/ 372999 w 447675"/>
                  <a:gd name="connsiteY828" fmla="*/ 360807 h 609600"/>
                  <a:gd name="connsiteX829" fmla="*/ 372999 w 447675"/>
                  <a:gd name="connsiteY829" fmla="*/ 361664 h 609600"/>
                  <a:gd name="connsiteX830" fmla="*/ 369665 w 447675"/>
                  <a:gd name="connsiteY830" fmla="*/ 363379 h 609600"/>
                  <a:gd name="connsiteX831" fmla="*/ 368808 w 447675"/>
                  <a:gd name="connsiteY831" fmla="*/ 363379 h 609600"/>
                  <a:gd name="connsiteX832" fmla="*/ 367951 w 447675"/>
                  <a:gd name="connsiteY832" fmla="*/ 363379 h 609600"/>
                  <a:gd name="connsiteX833" fmla="*/ 367093 w 447675"/>
                  <a:gd name="connsiteY833" fmla="*/ 363379 h 609600"/>
                  <a:gd name="connsiteX834" fmla="*/ 367093 w 447675"/>
                  <a:gd name="connsiteY834" fmla="*/ 365093 h 609600"/>
                  <a:gd name="connsiteX835" fmla="*/ 367951 w 447675"/>
                  <a:gd name="connsiteY835" fmla="*/ 365093 h 609600"/>
                  <a:gd name="connsiteX836" fmla="*/ 368808 w 447675"/>
                  <a:gd name="connsiteY836" fmla="*/ 365951 h 609600"/>
                  <a:gd name="connsiteX837" fmla="*/ 370522 w 447675"/>
                  <a:gd name="connsiteY837" fmla="*/ 365951 h 609600"/>
                  <a:gd name="connsiteX838" fmla="*/ 389858 w 447675"/>
                  <a:gd name="connsiteY838" fmla="*/ 370237 h 609600"/>
                  <a:gd name="connsiteX839" fmla="*/ 391573 w 447675"/>
                  <a:gd name="connsiteY839" fmla="*/ 369380 h 609600"/>
                  <a:gd name="connsiteX840" fmla="*/ 391573 w 447675"/>
                  <a:gd name="connsiteY840" fmla="*/ 368522 h 609600"/>
                  <a:gd name="connsiteX841" fmla="*/ 389858 w 447675"/>
                  <a:gd name="connsiteY841" fmla="*/ 366808 h 609600"/>
                  <a:gd name="connsiteX842" fmla="*/ 386525 w 447675"/>
                  <a:gd name="connsiteY842" fmla="*/ 366808 h 609600"/>
                  <a:gd name="connsiteX843" fmla="*/ 385286 w 447675"/>
                  <a:gd name="connsiteY843" fmla="*/ 366808 h 609600"/>
                  <a:gd name="connsiteX844" fmla="*/ 384429 w 447675"/>
                  <a:gd name="connsiteY844" fmla="*/ 365951 h 609600"/>
                  <a:gd name="connsiteX845" fmla="*/ 382714 w 447675"/>
                  <a:gd name="connsiteY845" fmla="*/ 365093 h 609600"/>
                  <a:gd name="connsiteX846" fmla="*/ 381857 w 447675"/>
                  <a:gd name="connsiteY846" fmla="*/ 365093 h 609600"/>
                  <a:gd name="connsiteX847" fmla="*/ 380143 w 447675"/>
                  <a:gd name="connsiteY847" fmla="*/ 364236 h 609600"/>
                  <a:gd name="connsiteX848" fmla="*/ 378428 w 447675"/>
                  <a:gd name="connsiteY848" fmla="*/ 364236 h 609600"/>
                  <a:gd name="connsiteX849" fmla="*/ 376714 w 447675"/>
                  <a:gd name="connsiteY849" fmla="*/ 364236 h 609600"/>
                  <a:gd name="connsiteX850" fmla="*/ 374999 w 447675"/>
                  <a:gd name="connsiteY850" fmla="*/ 364236 h 609600"/>
                  <a:gd name="connsiteX851" fmla="*/ 375856 w 447675"/>
                  <a:gd name="connsiteY851" fmla="*/ 362521 h 609600"/>
                  <a:gd name="connsiteX852" fmla="*/ 377571 w 447675"/>
                  <a:gd name="connsiteY852" fmla="*/ 361664 h 609600"/>
                  <a:gd name="connsiteX853" fmla="*/ 391001 w 447675"/>
                  <a:gd name="connsiteY853" fmla="*/ 364236 h 609600"/>
                  <a:gd name="connsiteX854" fmla="*/ 393573 w 447675"/>
                  <a:gd name="connsiteY854" fmla="*/ 365951 h 609600"/>
                  <a:gd name="connsiteX855" fmla="*/ 392716 w 447675"/>
                  <a:gd name="connsiteY855" fmla="*/ 367665 h 609600"/>
                  <a:gd name="connsiteX856" fmla="*/ 395288 w 447675"/>
                  <a:gd name="connsiteY856" fmla="*/ 368522 h 609600"/>
                  <a:gd name="connsiteX857" fmla="*/ 397002 w 447675"/>
                  <a:gd name="connsiteY857" fmla="*/ 368522 h 609600"/>
                  <a:gd name="connsiteX858" fmla="*/ 399574 w 447675"/>
                  <a:gd name="connsiteY858" fmla="*/ 367665 h 609600"/>
                  <a:gd name="connsiteX859" fmla="*/ 401288 w 447675"/>
                  <a:gd name="connsiteY859" fmla="*/ 366808 h 609600"/>
                  <a:gd name="connsiteX860" fmla="*/ 402146 w 447675"/>
                  <a:gd name="connsiteY860" fmla="*/ 365951 h 609600"/>
                  <a:gd name="connsiteX861" fmla="*/ 403003 w 447675"/>
                  <a:gd name="connsiteY861" fmla="*/ 356616 h 609600"/>
                  <a:gd name="connsiteX862" fmla="*/ 402146 w 447675"/>
                  <a:gd name="connsiteY862" fmla="*/ 337090 h 609600"/>
                  <a:gd name="connsiteX863" fmla="*/ 401288 w 447675"/>
                  <a:gd name="connsiteY863" fmla="*/ 332804 h 609600"/>
                  <a:gd name="connsiteX864" fmla="*/ 401288 w 447675"/>
                  <a:gd name="connsiteY864" fmla="*/ 314135 h 609600"/>
                  <a:gd name="connsiteX865" fmla="*/ 401288 w 447675"/>
                  <a:gd name="connsiteY865" fmla="*/ 308134 h 609600"/>
                  <a:gd name="connsiteX866" fmla="*/ 400431 w 447675"/>
                  <a:gd name="connsiteY866" fmla="*/ 308134 h 609600"/>
                  <a:gd name="connsiteX867" fmla="*/ 397097 w 447675"/>
                  <a:gd name="connsiteY867" fmla="*/ 307277 h 609600"/>
                  <a:gd name="connsiteX868" fmla="*/ 397097 w 447675"/>
                  <a:gd name="connsiteY868" fmla="*/ 306419 h 609600"/>
                  <a:gd name="connsiteX869" fmla="*/ 396240 w 447675"/>
                  <a:gd name="connsiteY869" fmla="*/ 305562 h 609600"/>
                  <a:gd name="connsiteX870" fmla="*/ 395383 w 447675"/>
                  <a:gd name="connsiteY870" fmla="*/ 304705 h 609600"/>
                  <a:gd name="connsiteX871" fmla="*/ 394525 w 447675"/>
                  <a:gd name="connsiteY871" fmla="*/ 303848 h 609600"/>
                  <a:gd name="connsiteX872" fmla="*/ 395383 w 447675"/>
                  <a:gd name="connsiteY872" fmla="*/ 302990 h 609600"/>
                  <a:gd name="connsiteX873" fmla="*/ 395383 w 447675"/>
                  <a:gd name="connsiteY873" fmla="*/ 302990 h 609600"/>
                  <a:gd name="connsiteX874" fmla="*/ 395383 w 447675"/>
                  <a:gd name="connsiteY874" fmla="*/ 302133 h 609600"/>
                  <a:gd name="connsiteX875" fmla="*/ 396240 w 447675"/>
                  <a:gd name="connsiteY875" fmla="*/ 302133 h 609600"/>
                  <a:gd name="connsiteX876" fmla="*/ 396240 w 447675"/>
                  <a:gd name="connsiteY876" fmla="*/ 301276 h 609600"/>
                  <a:gd name="connsiteX877" fmla="*/ 395383 w 447675"/>
                  <a:gd name="connsiteY877" fmla="*/ 301276 h 609600"/>
                  <a:gd name="connsiteX878" fmla="*/ 394525 w 447675"/>
                  <a:gd name="connsiteY878" fmla="*/ 300419 h 609600"/>
                  <a:gd name="connsiteX879" fmla="*/ 393668 w 447675"/>
                  <a:gd name="connsiteY879" fmla="*/ 300419 h 609600"/>
                  <a:gd name="connsiteX880" fmla="*/ 392811 w 447675"/>
                  <a:gd name="connsiteY880" fmla="*/ 301276 h 609600"/>
                  <a:gd name="connsiteX881" fmla="*/ 392811 w 447675"/>
                  <a:gd name="connsiteY881" fmla="*/ 300419 h 609600"/>
                  <a:gd name="connsiteX882" fmla="*/ 392811 w 447675"/>
                  <a:gd name="connsiteY882" fmla="*/ 300419 h 609600"/>
                  <a:gd name="connsiteX883" fmla="*/ 392811 w 447675"/>
                  <a:gd name="connsiteY883" fmla="*/ 299561 h 609600"/>
                  <a:gd name="connsiteX884" fmla="*/ 391954 w 447675"/>
                  <a:gd name="connsiteY884" fmla="*/ 299561 h 609600"/>
                  <a:gd name="connsiteX885" fmla="*/ 391096 w 447675"/>
                  <a:gd name="connsiteY885" fmla="*/ 299561 h 609600"/>
                  <a:gd name="connsiteX886" fmla="*/ 390239 w 447675"/>
                  <a:gd name="connsiteY886" fmla="*/ 299561 h 609600"/>
                  <a:gd name="connsiteX887" fmla="*/ 389382 w 447675"/>
                  <a:gd name="connsiteY887" fmla="*/ 299561 h 609600"/>
                  <a:gd name="connsiteX888" fmla="*/ 389382 w 447675"/>
                  <a:gd name="connsiteY888" fmla="*/ 298704 h 609600"/>
                  <a:gd name="connsiteX889" fmla="*/ 387667 w 447675"/>
                  <a:gd name="connsiteY889" fmla="*/ 297847 h 609600"/>
                  <a:gd name="connsiteX890" fmla="*/ 386810 w 447675"/>
                  <a:gd name="connsiteY890" fmla="*/ 297847 h 609600"/>
                  <a:gd name="connsiteX891" fmla="*/ 385953 w 447675"/>
                  <a:gd name="connsiteY891" fmla="*/ 296990 h 609600"/>
                  <a:gd name="connsiteX892" fmla="*/ 385096 w 447675"/>
                  <a:gd name="connsiteY892" fmla="*/ 296132 h 609600"/>
                  <a:gd name="connsiteX893" fmla="*/ 385096 w 447675"/>
                  <a:gd name="connsiteY893" fmla="*/ 295275 h 609600"/>
                  <a:gd name="connsiteX894" fmla="*/ 385953 w 447675"/>
                  <a:gd name="connsiteY894" fmla="*/ 294418 h 609600"/>
                  <a:gd name="connsiteX895" fmla="*/ 386810 w 447675"/>
                  <a:gd name="connsiteY895" fmla="*/ 293561 h 609600"/>
                  <a:gd name="connsiteX896" fmla="*/ 385286 w 447675"/>
                  <a:gd name="connsiteY896" fmla="*/ 293561 h 609600"/>
                  <a:gd name="connsiteX897" fmla="*/ 385286 w 447675"/>
                  <a:gd name="connsiteY897" fmla="*/ 292703 h 609600"/>
                  <a:gd name="connsiteX898" fmla="*/ 385286 w 447675"/>
                  <a:gd name="connsiteY898" fmla="*/ 291846 h 609600"/>
                  <a:gd name="connsiteX899" fmla="*/ 387001 w 447675"/>
                  <a:gd name="connsiteY899" fmla="*/ 291846 h 609600"/>
                  <a:gd name="connsiteX900" fmla="*/ 388715 w 447675"/>
                  <a:gd name="connsiteY900" fmla="*/ 292703 h 609600"/>
                  <a:gd name="connsiteX901" fmla="*/ 388715 w 447675"/>
                  <a:gd name="connsiteY901" fmla="*/ 292703 h 609600"/>
                  <a:gd name="connsiteX902" fmla="*/ 389572 w 447675"/>
                  <a:gd name="connsiteY902" fmla="*/ 292703 h 609600"/>
                  <a:gd name="connsiteX903" fmla="*/ 389572 w 447675"/>
                  <a:gd name="connsiteY903" fmla="*/ 292703 h 609600"/>
                  <a:gd name="connsiteX904" fmla="*/ 389572 w 447675"/>
                  <a:gd name="connsiteY904" fmla="*/ 290989 h 609600"/>
                  <a:gd name="connsiteX905" fmla="*/ 389572 w 447675"/>
                  <a:gd name="connsiteY905" fmla="*/ 290132 h 609600"/>
                  <a:gd name="connsiteX906" fmla="*/ 388715 w 447675"/>
                  <a:gd name="connsiteY906" fmla="*/ 290132 h 609600"/>
                  <a:gd name="connsiteX907" fmla="*/ 387858 w 447675"/>
                  <a:gd name="connsiteY907" fmla="*/ 289275 h 609600"/>
                  <a:gd name="connsiteX908" fmla="*/ 387858 w 447675"/>
                  <a:gd name="connsiteY908" fmla="*/ 288417 h 609600"/>
                  <a:gd name="connsiteX909" fmla="*/ 388715 w 447675"/>
                  <a:gd name="connsiteY909" fmla="*/ 288417 h 609600"/>
                  <a:gd name="connsiteX910" fmla="*/ 391287 w 447675"/>
                  <a:gd name="connsiteY910" fmla="*/ 288417 h 609600"/>
                  <a:gd name="connsiteX911" fmla="*/ 393001 w 447675"/>
                  <a:gd name="connsiteY911" fmla="*/ 289275 h 609600"/>
                  <a:gd name="connsiteX912" fmla="*/ 393859 w 447675"/>
                  <a:gd name="connsiteY912" fmla="*/ 290132 h 609600"/>
                  <a:gd name="connsiteX913" fmla="*/ 394716 w 447675"/>
                  <a:gd name="connsiteY913" fmla="*/ 289275 h 609600"/>
                  <a:gd name="connsiteX914" fmla="*/ 396430 w 447675"/>
                  <a:gd name="connsiteY914" fmla="*/ 288417 h 609600"/>
                  <a:gd name="connsiteX915" fmla="*/ 399002 w 447675"/>
                  <a:gd name="connsiteY915" fmla="*/ 288417 h 609600"/>
                  <a:gd name="connsiteX916" fmla="*/ 400717 w 447675"/>
                  <a:gd name="connsiteY916" fmla="*/ 288417 h 609600"/>
                  <a:gd name="connsiteX917" fmla="*/ 400717 w 447675"/>
                  <a:gd name="connsiteY917" fmla="*/ 288417 h 609600"/>
                  <a:gd name="connsiteX918" fmla="*/ 401574 w 447675"/>
                  <a:gd name="connsiteY918" fmla="*/ 285845 h 609600"/>
                  <a:gd name="connsiteX919" fmla="*/ 402431 w 447675"/>
                  <a:gd name="connsiteY919" fmla="*/ 268796 h 609600"/>
                  <a:gd name="connsiteX920" fmla="*/ 399859 w 447675"/>
                  <a:gd name="connsiteY920" fmla="*/ 256889 h 609600"/>
                  <a:gd name="connsiteX921" fmla="*/ 399859 w 447675"/>
                  <a:gd name="connsiteY921" fmla="*/ 248412 h 609600"/>
                  <a:gd name="connsiteX922" fmla="*/ 399002 w 447675"/>
                  <a:gd name="connsiteY922" fmla="*/ 247555 h 609600"/>
                  <a:gd name="connsiteX923" fmla="*/ 398145 w 447675"/>
                  <a:gd name="connsiteY923" fmla="*/ 247555 h 609600"/>
                  <a:gd name="connsiteX924" fmla="*/ 395573 w 447675"/>
                  <a:gd name="connsiteY924" fmla="*/ 245840 h 609600"/>
                  <a:gd name="connsiteX925" fmla="*/ 393001 w 447675"/>
                  <a:gd name="connsiteY925" fmla="*/ 245840 h 609600"/>
                  <a:gd name="connsiteX926" fmla="*/ 391287 w 447675"/>
                  <a:gd name="connsiteY926" fmla="*/ 245840 h 609600"/>
                  <a:gd name="connsiteX927" fmla="*/ 390430 w 447675"/>
                  <a:gd name="connsiteY927" fmla="*/ 248412 h 609600"/>
                  <a:gd name="connsiteX928" fmla="*/ 389572 w 447675"/>
                  <a:gd name="connsiteY928" fmla="*/ 248412 h 609600"/>
                  <a:gd name="connsiteX929" fmla="*/ 384524 w 447675"/>
                  <a:gd name="connsiteY929" fmla="*/ 252698 h 609600"/>
                  <a:gd name="connsiteX930" fmla="*/ 382810 w 447675"/>
                  <a:gd name="connsiteY930" fmla="*/ 253556 h 609600"/>
                  <a:gd name="connsiteX931" fmla="*/ 381952 w 447675"/>
                  <a:gd name="connsiteY931" fmla="*/ 253556 h 609600"/>
                  <a:gd name="connsiteX932" fmla="*/ 382810 w 447675"/>
                  <a:gd name="connsiteY932" fmla="*/ 250984 h 609600"/>
                  <a:gd name="connsiteX933" fmla="*/ 389572 w 447675"/>
                  <a:gd name="connsiteY933" fmla="*/ 244983 h 609600"/>
                  <a:gd name="connsiteX934" fmla="*/ 390430 w 447675"/>
                  <a:gd name="connsiteY934" fmla="*/ 244126 h 609600"/>
                  <a:gd name="connsiteX935" fmla="*/ 391287 w 447675"/>
                  <a:gd name="connsiteY935" fmla="*/ 244126 h 609600"/>
                  <a:gd name="connsiteX936" fmla="*/ 392144 w 447675"/>
                  <a:gd name="connsiteY936" fmla="*/ 243269 h 609600"/>
                  <a:gd name="connsiteX937" fmla="*/ 393001 w 447675"/>
                  <a:gd name="connsiteY937" fmla="*/ 243269 h 609600"/>
                  <a:gd name="connsiteX938" fmla="*/ 393859 w 447675"/>
                  <a:gd name="connsiteY938" fmla="*/ 244126 h 609600"/>
                  <a:gd name="connsiteX939" fmla="*/ 397192 w 447675"/>
                  <a:gd name="connsiteY939" fmla="*/ 244126 h 609600"/>
                  <a:gd name="connsiteX940" fmla="*/ 398050 w 447675"/>
                  <a:gd name="connsiteY940" fmla="*/ 243269 h 609600"/>
                  <a:gd name="connsiteX941" fmla="*/ 398050 w 447675"/>
                  <a:gd name="connsiteY941" fmla="*/ 242411 h 609600"/>
                  <a:gd name="connsiteX942" fmla="*/ 398050 w 447675"/>
                  <a:gd name="connsiteY942" fmla="*/ 236411 h 609600"/>
                  <a:gd name="connsiteX943" fmla="*/ 397192 w 447675"/>
                  <a:gd name="connsiteY943" fmla="*/ 235553 h 609600"/>
                  <a:gd name="connsiteX944" fmla="*/ 394621 w 447675"/>
                  <a:gd name="connsiteY944" fmla="*/ 235553 h 609600"/>
                  <a:gd name="connsiteX945" fmla="*/ 395478 w 447675"/>
                  <a:gd name="connsiteY945" fmla="*/ 235553 h 609600"/>
                  <a:gd name="connsiteX946" fmla="*/ 395478 w 447675"/>
                  <a:gd name="connsiteY946" fmla="*/ 236411 h 609600"/>
                  <a:gd name="connsiteX947" fmla="*/ 395478 w 447675"/>
                  <a:gd name="connsiteY947" fmla="*/ 237268 h 609600"/>
                  <a:gd name="connsiteX948" fmla="*/ 394621 w 447675"/>
                  <a:gd name="connsiteY948" fmla="*/ 238125 h 609600"/>
                  <a:gd name="connsiteX949" fmla="*/ 393763 w 447675"/>
                  <a:gd name="connsiteY949" fmla="*/ 238125 h 609600"/>
                  <a:gd name="connsiteX950" fmla="*/ 393763 w 447675"/>
                  <a:gd name="connsiteY950" fmla="*/ 233839 h 609600"/>
                  <a:gd name="connsiteX951" fmla="*/ 391192 w 447675"/>
                  <a:gd name="connsiteY951" fmla="*/ 226219 h 609600"/>
                  <a:gd name="connsiteX952" fmla="*/ 390334 w 447675"/>
                  <a:gd name="connsiteY952" fmla="*/ 221075 h 609600"/>
                  <a:gd name="connsiteX953" fmla="*/ 390334 w 447675"/>
                  <a:gd name="connsiteY953" fmla="*/ 219361 h 609600"/>
                  <a:gd name="connsiteX954" fmla="*/ 392049 w 447675"/>
                  <a:gd name="connsiteY954" fmla="*/ 215075 h 609600"/>
                  <a:gd name="connsiteX955" fmla="*/ 392049 w 447675"/>
                  <a:gd name="connsiteY955" fmla="*/ 210788 h 609600"/>
                  <a:gd name="connsiteX956" fmla="*/ 393763 w 447675"/>
                  <a:gd name="connsiteY956" fmla="*/ 199739 h 609600"/>
                  <a:gd name="connsiteX957" fmla="*/ 394621 w 447675"/>
                  <a:gd name="connsiteY957" fmla="*/ 197168 h 609600"/>
                  <a:gd name="connsiteX958" fmla="*/ 396335 w 447675"/>
                  <a:gd name="connsiteY958" fmla="*/ 196310 h 609600"/>
                  <a:gd name="connsiteX959" fmla="*/ 397192 w 447675"/>
                  <a:gd name="connsiteY959" fmla="*/ 192881 h 609600"/>
                  <a:gd name="connsiteX960" fmla="*/ 397192 w 447675"/>
                  <a:gd name="connsiteY960" fmla="*/ 192881 h 609600"/>
                  <a:gd name="connsiteX961" fmla="*/ 396335 w 447675"/>
                  <a:gd name="connsiteY961" fmla="*/ 192881 h 609600"/>
                  <a:gd name="connsiteX962" fmla="*/ 393001 w 447675"/>
                  <a:gd name="connsiteY962" fmla="*/ 192881 h 609600"/>
                  <a:gd name="connsiteX963" fmla="*/ 391287 w 447675"/>
                  <a:gd name="connsiteY963" fmla="*/ 192024 h 609600"/>
                  <a:gd name="connsiteX964" fmla="*/ 390430 w 447675"/>
                  <a:gd name="connsiteY964" fmla="*/ 192024 h 609600"/>
                  <a:gd name="connsiteX965" fmla="*/ 389572 w 447675"/>
                  <a:gd name="connsiteY965" fmla="*/ 192024 h 609600"/>
                  <a:gd name="connsiteX966" fmla="*/ 389572 w 447675"/>
                  <a:gd name="connsiteY966" fmla="*/ 192024 h 609600"/>
                  <a:gd name="connsiteX967" fmla="*/ 388715 w 447675"/>
                  <a:gd name="connsiteY967" fmla="*/ 192024 h 609600"/>
                  <a:gd name="connsiteX968" fmla="*/ 387858 w 447675"/>
                  <a:gd name="connsiteY968" fmla="*/ 192024 h 609600"/>
                  <a:gd name="connsiteX969" fmla="*/ 387858 w 447675"/>
                  <a:gd name="connsiteY969" fmla="*/ 192024 h 609600"/>
                  <a:gd name="connsiteX970" fmla="*/ 387001 w 447675"/>
                  <a:gd name="connsiteY970" fmla="*/ 190310 h 609600"/>
                  <a:gd name="connsiteX971" fmla="*/ 386143 w 447675"/>
                  <a:gd name="connsiteY971" fmla="*/ 190310 h 609600"/>
                  <a:gd name="connsiteX972" fmla="*/ 385286 w 447675"/>
                  <a:gd name="connsiteY972" fmla="*/ 189833 h 609600"/>
                  <a:gd name="connsiteX973" fmla="*/ 385286 w 447675"/>
                  <a:gd name="connsiteY973" fmla="*/ 189833 h 609600"/>
                  <a:gd name="connsiteX974" fmla="*/ 384429 w 447675"/>
                  <a:gd name="connsiteY974" fmla="*/ 189833 h 609600"/>
                  <a:gd name="connsiteX975" fmla="*/ 384429 w 447675"/>
                  <a:gd name="connsiteY975" fmla="*/ 188976 h 609600"/>
                  <a:gd name="connsiteX976" fmla="*/ 385286 w 447675"/>
                  <a:gd name="connsiteY976" fmla="*/ 187262 h 609600"/>
                  <a:gd name="connsiteX977" fmla="*/ 385286 w 447675"/>
                  <a:gd name="connsiteY977" fmla="*/ 186404 h 609600"/>
                  <a:gd name="connsiteX978" fmla="*/ 386143 w 447675"/>
                  <a:gd name="connsiteY978" fmla="*/ 185547 h 609600"/>
                  <a:gd name="connsiteX979" fmla="*/ 386143 w 447675"/>
                  <a:gd name="connsiteY979" fmla="*/ 184690 h 609600"/>
                  <a:gd name="connsiteX980" fmla="*/ 385286 w 447675"/>
                  <a:gd name="connsiteY980" fmla="*/ 183833 h 609600"/>
                  <a:gd name="connsiteX981" fmla="*/ 385286 w 447675"/>
                  <a:gd name="connsiteY981" fmla="*/ 182975 h 609600"/>
                  <a:gd name="connsiteX982" fmla="*/ 384429 w 447675"/>
                  <a:gd name="connsiteY982" fmla="*/ 182975 h 609600"/>
                  <a:gd name="connsiteX983" fmla="*/ 384429 w 447675"/>
                  <a:gd name="connsiteY983" fmla="*/ 182118 h 609600"/>
                  <a:gd name="connsiteX984" fmla="*/ 383572 w 447675"/>
                  <a:gd name="connsiteY984" fmla="*/ 182118 h 609600"/>
                  <a:gd name="connsiteX985" fmla="*/ 383572 w 447675"/>
                  <a:gd name="connsiteY985" fmla="*/ 181261 h 609600"/>
                  <a:gd name="connsiteX986" fmla="*/ 383572 w 447675"/>
                  <a:gd name="connsiteY986" fmla="*/ 180404 h 609600"/>
                  <a:gd name="connsiteX987" fmla="*/ 383572 w 447675"/>
                  <a:gd name="connsiteY987" fmla="*/ 179546 h 609600"/>
                  <a:gd name="connsiteX988" fmla="*/ 383572 w 447675"/>
                  <a:gd name="connsiteY988" fmla="*/ 179546 h 609600"/>
                  <a:gd name="connsiteX989" fmla="*/ 381857 w 447675"/>
                  <a:gd name="connsiteY989" fmla="*/ 176975 h 609600"/>
                  <a:gd name="connsiteX990" fmla="*/ 381000 w 447675"/>
                  <a:gd name="connsiteY990" fmla="*/ 176975 h 609600"/>
                  <a:gd name="connsiteX991" fmla="*/ 381857 w 447675"/>
                  <a:gd name="connsiteY991" fmla="*/ 176117 h 609600"/>
                  <a:gd name="connsiteX992" fmla="*/ 381857 w 447675"/>
                  <a:gd name="connsiteY992" fmla="*/ 175260 h 609600"/>
                  <a:gd name="connsiteX993" fmla="*/ 382714 w 447675"/>
                  <a:gd name="connsiteY993" fmla="*/ 173546 h 609600"/>
                  <a:gd name="connsiteX994" fmla="*/ 383572 w 447675"/>
                  <a:gd name="connsiteY994" fmla="*/ 173546 h 609600"/>
                  <a:gd name="connsiteX995" fmla="*/ 383572 w 447675"/>
                  <a:gd name="connsiteY995" fmla="*/ 173546 h 609600"/>
                  <a:gd name="connsiteX996" fmla="*/ 383572 w 447675"/>
                  <a:gd name="connsiteY996" fmla="*/ 173546 h 609600"/>
                  <a:gd name="connsiteX997" fmla="*/ 384429 w 447675"/>
                  <a:gd name="connsiteY997" fmla="*/ 173546 h 609600"/>
                  <a:gd name="connsiteX998" fmla="*/ 385286 w 447675"/>
                  <a:gd name="connsiteY998" fmla="*/ 175260 h 609600"/>
                  <a:gd name="connsiteX999" fmla="*/ 386143 w 447675"/>
                  <a:gd name="connsiteY999" fmla="*/ 176117 h 609600"/>
                  <a:gd name="connsiteX1000" fmla="*/ 387001 w 447675"/>
                  <a:gd name="connsiteY1000" fmla="*/ 176975 h 609600"/>
                  <a:gd name="connsiteX1001" fmla="*/ 387858 w 447675"/>
                  <a:gd name="connsiteY1001" fmla="*/ 176975 h 609600"/>
                  <a:gd name="connsiteX1002" fmla="*/ 391192 w 447675"/>
                  <a:gd name="connsiteY1002" fmla="*/ 176117 h 609600"/>
                  <a:gd name="connsiteX1003" fmla="*/ 392049 w 447675"/>
                  <a:gd name="connsiteY1003" fmla="*/ 176117 h 609600"/>
                  <a:gd name="connsiteX1004" fmla="*/ 392906 w 447675"/>
                  <a:gd name="connsiteY1004" fmla="*/ 176975 h 609600"/>
                  <a:gd name="connsiteX1005" fmla="*/ 392906 w 447675"/>
                  <a:gd name="connsiteY1005" fmla="*/ 177832 h 609600"/>
                  <a:gd name="connsiteX1006" fmla="*/ 392906 w 447675"/>
                  <a:gd name="connsiteY1006" fmla="*/ 177832 h 609600"/>
                  <a:gd name="connsiteX1007" fmla="*/ 392049 w 447675"/>
                  <a:gd name="connsiteY1007" fmla="*/ 178689 h 609600"/>
                  <a:gd name="connsiteX1008" fmla="*/ 390334 w 447675"/>
                  <a:gd name="connsiteY1008" fmla="*/ 180404 h 609600"/>
                  <a:gd name="connsiteX1009" fmla="*/ 390334 w 447675"/>
                  <a:gd name="connsiteY1009" fmla="*/ 181261 h 609600"/>
                  <a:gd name="connsiteX1010" fmla="*/ 390334 w 447675"/>
                  <a:gd name="connsiteY1010" fmla="*/ 181261 h 609600"/>
                  <a:gd name="connsiteX1011" fmla="*/ 391192 w 447675"/>
                  <a:gd name="connsiteY1011" fmla="*/ 182118 h 609600"/>
                  <a:gd name="connsiteX1012" fmla="*/ 392049 w 447675"/>
                  <a:gd name="connsiteY1012" fmla="*/ 182118 h 609600"/>
                  <a:gd name="connsiteX1013" fmla="*/ 392906 w 447675"/>
                  <a:gd name="connsiteY1013" fmla="*/ 182975 h 609600"/>
                  <a:gd name="connsiteX1014" fmla="*/ 392906 w 447675"/>
                  <a:gd name="connsiteY1014" fmla="*/ 183833 h 609600"/>
                  <a:gd name="connsiteX1015" fmla="*/ 393763 w 447675"/>
                  <a:gd name="connsiteY1015" fmla="*/ 183833 h 609600"/>
                  <a:gd name="connsiteX1016" fmla="*/ 394621 w 447675"/>
                  <a:gd name="connsiteY1016" fmla="*/ 182975 h 609600"/>
                  <a:gd name="connsiteX1017" fmla="*/ 397192 w 447675"/>
                  <a:gd name="connsiteY1017" fmla="*/ 181261 h 609600"/>
                  <a:gd name="connsiteX1018" fmla="*/ 398907 w 447675"/>
                  <a:gd name="connsiteY1018" fmla="*/ 180404 h 609600"/>
                  <a:gd name="connsiteX1019" fmla="*/ 401479 w 447675"/>
                  <a:gd name="connsiteY1019" fmla="*/ 178689 h 609600"/>
                  <a:gd name="connsiteX1020" fmla="*/ 401479 w 447675"/>
                  <a:gd name="connsiteY1020" fmla="*/ 178689 h 609600"/>
                  <a:gd name="connsiteX1021" fmla="*/ 401479 w 447675"/>
                  <a:gd name="connsiteY1021" fmla="*/ 178689 h 609600"/>
                  <a:gd name="connsiteX1022" fmla="*/ 402336 w 447675"/>
                  <a:gd name="connsiteY1022" fmla="*/ 176975 h 609600"/>
                  <a:gd name="connsiteX1023" fmla="*/ 402336 w 447675"/>
                  <a:gd name="connsiteY1023" fmla="*/ 176117 h 609600"/>
                  <a:gd name="connsiteX1024" fmla="*/ 402336 w 447675"/>
                  <a:gd name="connsiteY1024" fmla="*/ 172688 h 609600"/>
                  <a:gd name="connsiteX1025" fmla="*/ 402336 w 447675"/>
                  <a:gd name="connsiteY1025" fmla="*/ 170974 h 609600"/>
                  <a:gd name="connsiteX1026" fmla="*/ 403193 w 447675"/>
                  <a:gd name="connsiteY1026" fmla="*/ 169259 h 609600"/>
                  <a:gd name="connsiteX1027" fmla="*/ 406527 w 447675"/>
                  <a:gd name="connsiteY1027" fmla="*/ 165830 h 609600"/>
                  <a:gd name="connsiteX1028" fmla="*/ 409861 w 447675"/>
                  <a:gd name="connsiteY1028" fmla="*/ 159068 h 609600"/>
                  <a:gd name="connsiteX1029" fmla="*/ 410718 w 447675"/>
                  <a:gd name="connsiteY1029" fmla="*/ 158210 h 609600"/>
                  <a:gd name="connsiteX1030" fmla="*/ 412433 w 447675"/>
                  <a:gd name="connsiteY1030" fmla="*/ 156496 h 609600"/>
                  <a:gd name="connsiteX1031" fmla="*/ 418338 w 447675"/>
                  <a:gd name="connsiteY1031" fmla="*/ 146304 h 609600"/>
                  <a:gd name="connsiteX1032" fmla="*/ 415004 w 447675"/>
                  <a:gd name="connsiteY1032" fmla="*/ 148876 h 609600"/>
                  <a:gd name="connsiteX1033" fmla="*/ 412433 w 447675"/>
                  <a:gd name="connsiteY1033" fmla="*/ 149733 h 609600"/>
                  <a:gd name="connsiteX1034" fmla="*/ 411575 w 447675"/>
                  <a:gd name="connsiteY1034" fmla="*/ 148876 h 609600"/>
                  <a:gd name="connsiteX1035" fmla="*/ 412433 w 447675"/>
                  <a:gd name="connsiteY1035" fmla="*/ 148019 h 609600"/>
                  <a:gd name="connsiteX1036" fmla="*/ 418338 w 447675"/>
                  <a:gd name="connsiteY1036" fmla="*/ 144590 h 609600"/>
                  <a:gd name="connsiteX1037" fmla="*/ 420910 w 447675"/>
                  <a:gd name="connsiteY1037" fmla="*/ 142875 h 609600"/>
                  <a:gd name="connsiteX1038" fmla="*/ 424243 w 447675"/>
                  <a:gd name="connsiteY1038" fmla="*/ 136112 h 609600"/>
                  <a:gd name="connsiteX1039" fmla="*/ 424243 w 447675"/>
                  <a:gd name="connsiteY1039" fmla="*/ 136112 h 609600"/>
                  <a:gd name="connsiteX1040" fmla="*/ 425101 w 447675"/>
                  <a:gd name="connsiteY1040" fmla="*/ 136112 h 609600"/>
                  <a:gd name="connsiteX1041" fmla="*/ 427672 w 447675"/>
                  <a:gd name="connsiteY1041" fmla="*/ 134398 h 609600"/>
                  <a:gd name="connsiteX1042" fmla="*/ 428530 w 447675"/>
                  <a:gd name="connsiteY1042" fmla="*/ 132683 h 609600"/>
                  <a:gd name="connsiteX1043" fmla="*/ 431101 w 447675"/>
                  <a:gd name="connsiteY1043" fmla="*/ 128397 h 609600"/>
                  <a:gd name="connsiteX1044" fmla="*/ 431101 w 447675"/>
                  <a:gd name="connsiteY1044" fmla="*/ 126683 h 609600"/>
                  <a:gd name="connsiteX1045" fmla="*/ 435292 w 447675"/>
                  <a:gd name="connsiteY1045" fmla="*/ 119920 h 609600"/>
                  <a:gd name="connsiteX1046" fmla="*/ 437864 w 447675"/>
                  <a:gd name="connsiteY1046" fmla="*/ 113919 h 609600"/>
                  <a:gd name="connsiteX1047" fmla="*/ 437864 w 447675"/>
                  <a:gd name="connsiteY1047" fmla="*/ 112204 h 609600"/>
                  <a:gd name="connsiteX1048" fmla="*/ 438721 w 447675"/>
                  <a:gd name="connsiteY1048" fmla="*/ 109633 h 609600"/>
                  <a:gd name="connsiteX1049" fmla="*/ 439579 w 447675"/>
                  <a:gd name="connsiteY1049" fmla="*/ 104489 h 609600"/>
                  <a:gd name="connsiteX1050" fmla="*/ 440436 w 447675"/>
                  <a:gd name="connsiteY1050" fmla="*/ 102775 h 609600"/>
                  <a:gd name="connsiteX1051" fmla="*/ 442150 w 447675"/>
                  <a:gd name="connsiteY1051" fmla="*/ 99346 h 609600"/>
                  <a:gd name="connsiteX1052" fmla="*/ 443008 w 447675"/>
                  <a:gd name="connsiteY1052" fmla="*/ 97631 h 609600"/>
                  <a:gd name="connsiteX1053" fmla="*/ 443865 w 447675"/>
                  <a:gd name="connsiteY1053" fmla="*/ 93345 h 609600"/>
                  <a:gd name="connsiteX1054" fmla="*/ 445580 w 447675"/>
                  <a:gd name="connsiteY1054" fmla="*/ 87344 h 609600"/>
                  <a:gd name="connsiteX1055" fmla="*/ 447294 w 447675"/>
                  <a:gd name="connsiteY1055" fmla="*/ 78867 h 609600"/>
                  <a:gd name="connsiteX1056" fmla="*/ 448151 w 447675"/>
                  <a:gd name="connsiteY1056" fmla="*/ 65246 h 609600"/>
                  <a:gd name="connsiteX1057" fmla="*/ 449009 w 447675"/>
                  <a:gd name="connsiteY1057" fmla="*/ 57626 h 609600"/>
                  <a:gd name="connsiteX1058" fmla="*/ 449866 w 447675"/>
                  <a:gd name="connsiteY1058" fmla="*/ 53340 h 609600"/>
                  <a:gd name="connsiteX1059" fmla="*/ 449866 w 447675"/>
                  <a:gd name="connsiteY1059" fmla="*/ 51626 h 609600"/>
                  <a:gd name="connsiteX1060" fmla="*/ 452438 w 447675"/>
                  <a:gd name="connsiteY1060" fmla="*/ 49911 h 609600"/>
                  <a:gd name="connsiteX1061" fmla="*/ 452438 w 447675"/>
                  <a:gd name="connsiteY1061" fmla="*/ 49054 h 609600"/>
                  <a:gd name="connsiteX1062" fmla="*/ 451580 w 447675"/>
                  <a:gd name="connsiteY1062" fmla="*/ 45625 h 609600"/>
                  <a:gd name="connsiteX1063" fmla="*/ 451580 w 447675"/>
                  <a:gd name="connsiteY1063" fmla="*/ 43910 h 609600"/>
                  <a:gd name="connsiteX1064" fmla="*/ 452438 w 447675"/>
                  <a:gd name="connsiteY1064" fmla="*/ 42196 h 609600"/>
                  <a:gd name="connsiteX1065" fmla="*/ 454152 w 447675"/>
                  <a:gd name="connsiteY1065" fmla="*/ 40481 h 609600"/>
                  <a:gd name="connsiteX1066" fmla="*/ 455009 w 447675"/>
                  <a:gd name="connsiteY1066" fmla="*/ 37910 h 609600"/>
                  <a:gd name="connsiteX1067" fmla="*/ 455009 w 447675"/>
                  <a:gd name="connsiteY1067" fmla="*/ 35338 h 609600"/>
                  <a:gd name="connsiteX1068" fmla="*/ 453295 w 447675"/>
                  <a:gd name="connsiteY1068" fmla="*/ 36195 h 609600"/>
                  <a:gd name="connsiteX1069" fmla="*/ 452438 w 447675"/>
                  <a:gd name="connsiteY1069" fmla="*/ 36195 h 609600"/>
                  <a:gd name="connsiteX1070" fmla="*/ 453295 w 447675"/>
                  <a:gd name="connsiteY1070" fmla="*/ 34481 h 609600"/>
                  <a:gd name="connsiteX1071" fmla="*/ 453295 w 447675"/>
                  <a:gd name="connsiteY1071" fmla="*/ 32766 h 609600"/>
                  <a:gd name="connsiteX1072" fmla="*/ 454152 w 447675"/>
                  <a:gd name="connsiteY1072" fmla="*/ 32766 h 609600"/>
                  <a:gd name="connsiteX1073" fmla="*/ 455009 w 447675"/>
                  <a:gd name="connsiteY1073" fmla="*/ 32766 h 609600"/>
                  <a:gd name="connsiteX1074" fmla="*/ 455009 w 447675"/>
                  <a:gd name="connsiteY1074" fmla="*/ 29337 h 609600"/>
                  <a:gd name="connsiteX1075" fmla="*/ 455867 w 447675"/>
                  <a:gd name="connsiteY1075" fmla="*/ 24194 h 609600"/>
                  <a:gd name="connsiteX1076" fmla="*/ 456724 w 447675"/>
                  <a:gd name="connsiteY1076" fmla="*/ 20765 h 609600"/>
                  <a:gd name="connsiteX1077" fmla="*/ 455105 w 447675"/>
                  <a:gd name="connsiteY1077" fmla="*/ 18002 h 609600"/>
                  <a:gd name="connsiteX1078" fmla="*/ 455105 w 447675"/>
                  <a:gd name="connsiteY1078" fmla="*/ 18002 h 609600"/>
                  <a:gd name="connsiteX1079" fmla="*/ 455105 w 447675"/>
                  <a:gd name="connsiteY1079" fmla="*/ 18002 h 609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</a:cxnLst>
                <a:rect l="l" t="t" r="r" b="b"/>
                <a:pathLst>
                  <a:path w="447675" h="609600">
                    <a:moveTo>
                      <a:pt x="450913" y="11240"/>
                    </a:moveTo>
                    <a:lnTo>
                      <a:pt x="451771" y="11240"/>
                    </a:lnTo>
                    <a:lnTo>
                      <a:pt x="451771" y="6953"/>
                    </a:lnTo>
                    <a:lnTo>
                      <a:pt x="449199" y="953"/>
                    </a:lnTo>
                    <a:lnTo>
                      <a:pt x="449199" y="1810"/>
                    </a:lnTo>
                    <a:lnTo>
                      <a:pt x="448342" y="2667"/>
                    </a:lnTo>
                    <a:lnTo>
                      <a:pt x="448342" y="2667"/>
                    </a:lnTo>
                    <a:lnTo>
                      <a:pt x="448342" y="2667"/>
                    </a:lnTo>
                    <a:lnTo>
                      <a:pt x="450913" y="11240"/>
                    </a:lnTo>
                    <a:lnTo>
                      <a:pt x="450913" y="11240"/>
                    </a:lnTo>
                    <a:lnTo>
                      <a:pt x="450913" y="11240"/>
                    </a:lnTo>
                    <a:close/>
                    <a:moveTo>
                      <a:pt x="455105" y="18002"/>
                    </a:moveTo>
                    <a:lnTo>
                      <a:pt x="454247" y="14573"/>
                    </a:lnTo>
                    <a:lnTo>
                      <a:pt x="453390" y="12002"/>
                    </a:lnTo>
                    <a:lnTo>
                      <a:pt x="451675" y="12859"/>
                    </a:lnTo>
                    <a:lnTo>
                      <a:pt x="451675" y="12859"/>
                    </a:lnTo>
                    <a:lnTo>
                      <a:pt x="450818" y="14573"/>
                    </a:lnTo>
                    <a:lnTo>
                      <a:pt x="449961" y="12002"/>
                    </a:lnTo>
                    <a:lnTo>
                      <a:pt x="447389" y="11144"/>
                    </a:lnTo>
                    <a:lnTo>
                      <a:pt x="445675" y="10287"/>
                    </a:lnTo>
                    <a:lnTo>
                      <a:pt x="446532" y="7715"/>
                    </a:lnTo>
                    <a:lnTo>
                      <a:pt x="445675" y="7715"/>
                    </a:lnTo>
                    <a:lnTo>
                      <a:pt x="445675" y="7715"/>
                    </a:lnTo>
                    <a:lnTo>
                      <a:pt x="445675" y="7715"/>
                    </a:lnTo>
                    <a:lnTo>
                      <a:pt x="445675" y="7715"/>
                    </a:lnTo>
                    <a:lnTo>
                      <a:pt x="445675" y="8573"/>
                    </a:lnTo>
                    <a:lnTo>
                      <a:pt x="442341" y="10287"/>
                    </a:lnTo>
                    <a:lnTo>
                      <a:pt x="439769" y="10287"/>
                    </a:lnTo>
                    <a:lnTo>
                      <a:pt x="433864" y="8573"/>
                    </a:lnTo>
                    <a:lnTo>
                      <a:pt x="432149" y="8573"/>
                    </a:lnTo>
                    <a:lnTo>
                      <a:pt x="429577" y="9430"/>
                    </a:lnTo>
                    <a:lnTo>
                      <a:pt x="428720" y="8573"/>
                    </a:lnTo>
                    <a:lnTo>
                      <a:pt x="427863" y="8573"/>
                    </a:lnTo>
                    <a:lnTo>
                      <a:pt x="427863" y="7715"/>
                    </a:lnTo>
                    <a:lnTo>
                      <a:pt x="427863" y="6858"/>
                    </a:lnTo>
                    <a:lnTo>
                      <a:pt x="428720" y="6858"/>
                    </a:lnTo>
                    <a:lnTo>
                      <a:pt x="428720" y="6001"/>
                    </a:lnTo>
                    <a:lnTo>
                      <a:pt x="429577" y="5144"/>
                    </a:lnTo>
                    <a:lnTo>
                      <a:pt x="429577" y="4286"/>
                    </a:lnTo>
                    <a:lnTo>
                      <a:pt x="429577" y="3429"/>
                    </a:lnTo>
                    <a:lnTo>
                      <a:pt x="429577" y="2572"/>
                    </a:lnTo>
                    <a:lnTo>
                      <a:pt x="427006" y="2572"/>
                    </a:lnTo>
                    <a:lnTo>
                      <a:pt x="424434" y="1715"/>
                    </a:lnTo>
                    <a:lnTo>
                      <a:pt x="422719" y="0"/>
                    </a:lnTo>
                    <a:lnTo>
                      <a:pt x="421862" y="0"/>
                    </a:lnTo>
                    <a:lnTo>
                      <a:pt x="421005" y="0"/>
                    </a:lnTo>
                    <a:lnTo>
                      <a:pt x="420148" y="857"/>
                    </a:lnTo>
                    <a:lnTo>
                      <a:pt x="420148" y="1715"/>
                    </a:lnTo>
                    <a:lnTo>
                      <a:pt x="420148" y="1715"/>
                    </a:lnTo>
                    <a:lnTo>
                      <a:pt x="421005" y="2572"/>
                    </a:lnTo>
                    <a:lnTo>
                      <a:pt x="421862" y="3429"/>
                    </a:lnTo>
                    <a:lnTo>
                      <a:pt x="422719" y="4286"/>
                    </a:lnTo>
                    <a:lnTo>
                      <a:pt x="422719" y="4286"/>
                    </a:lnTo>
                    <a:lnTo>
                      <a:pt x="422719" y="5144"/>
                    </a:lnTo>
                    <a:lnTo>
                      <a:pt x="422719" y="6001"/>
                    </a:lnTo>
                    <a:lnTo>
                      <a:pt x="422719" y="6858"/>
                    </a:lnTo>
                    <a:lnTo>
                      <a:pt x="421862" y="7715"/>
                    </a:lnTo>
                    <a:lnTo>
                      <a:pt x="419291" y="8573"/>
                    </a:lnTo>
                    <a:lnTo>
                      <a:pt x="416719" y="9430"/>
                    </a:lnTo>
                    <a:lnTo>
                      <a:pt x="415004" y="11144"/>
                    </a:lnTo>
                    <a:lnTo>
                      <a:pt x="413290" y="12859"/>
                    </a:lnTo>
                    <a:lnTo>
                      <a:pt x="412433" y="13716"/>
                    </a:lnTo>
                    <a:lnTo>
                      <a:pt x="412433" y="14573"/>
                    </a:lnTo>
                    <a:lnTo>
                      <a:pt x="412433" y="15431"/>
                    </a:lnTo>
                    <a:lnTo>
                      <a:pt x="413290" y="16288"/>
                    </a:lnTo>
                    <a:lnTo>
                      <a:pt x="413290" y="17145"/>
                    </a:lnTo>
                    <a:lnTo>
                      <a:pt x="413290" y="18002"/>
                    </a:lnTo>
                    <a:lnTo>
                      <a:pt x="412433" y="19717"/>
                    </a:lnTo>
                    <a:lnTo>
                      <a:pt x="403193" y="24860"/>
                    </a:lnTo>
                    <a:lnTo>
                      <a:pt x="397288" y="27432"/>
                    </a:lnTo>
                    <a:lnTo>
                      <a:pt x="394716" y="28289"/>
                    </a:lnTo>
                    <a:lnTo>
                      <a:pt x="393001" y="27432"/>
                    </a:lnTo>
                    <a:lnTo>
                      <a:pt x="392144" y="27432"/>
                    </a:lnTo>
                    <a:lnTo>
                      <a:pt x="391287" y="27432"/>
                    </a:lnTo>
                    <a:lnTo>
                      <a:pt x="390430" y="27432"/>
                    </a:lnTo>
                    <a:lnTo>
                      <a:pt x="389572" y="29146"/>
                    </a:lnTo>
                    <a:lnTo>
                      <a:pt x="389572" y="30004"/>
                    </a:lnTo>
                    <a:lnTo>
                      <a:pt x="390430" y="30861"/>
                    </a:lnTo>
                    <a:lnTo>
                      <a:pt x="390430" y="30861"/>
                    </a:lnTo>
                    <a:lnTo>
                      <a:pt x="391287" y="31718"/>
                    </a:lnTo>
                    <a:lnTo>
                      <a:pt x="392144" y="31718"/>
                    </a:lnTo>
                    <a:lnTo>
                      <a:pt x="393001" y="32576"/>
                    </a:lnTo>
                    <a:lnTo>
                      <a:pt x="393859" y="33433"/>
                    </a:lnTo>
                    <a:lnTo>
                      <a:pt x="393859" y="33433"/>
                    </a:lnTo>
                    <a:lnTo>
                      <a:pt x="393859" y="34290"/>
                    </a:lnTo>
                    <a:lnTo>
                      <a:pt x="393001" y="36004"/>
                    </a:lnTo>
                    <a:lnTo>
                      <a:pt x="392144" y="36004"/>
                    </a:lnTo>
                    <a:lnTo>
                      <a:pt x="391287" y="36004"/>
                    </a:lnTo>
                    <a:lnTo>
                      <a:pt x="390430" y="36004"/>
                    </a:lnTo>
                    <a:lnTo>
                      <a:pt x="387858" y="36004"/>
                    </a:lnTo>
                    <a:lnTo>
                      <a:pt x="386143" y="36004"/>
                    </a:lnTo>
                    <a:lnTo>
                      <a:pt x="383572" y="34290"/>
                    </a:lnTo>
                    <a:lnTo>
                      <a:pt x="382714" y="33433"/>
                    </a:lnTo>
                    <a:lnTo>
                      <a:pt x="382714" y="32576"/>
                    </a:lnTo>
                    <a:lnTo>
                      <a:pt x="382714" y="31718"/>
                    </a:lnTo>
                    <a:lnTo>
                      <a:pt x="382714" y="30766"/>
                    </a:lnTo>
                    <a:lnTo>
                      <a:pt x="382714" y="29051"/>
                    </a:lnTo>
                    <a:lnTo>
                      <a:pt x="381857" y="28194"/>
                    </a:lnTo>
                    <a:lnTo>
                      <a:pt x="380143" y="28194"/>
                    </a:lnTo>
                    <a:lnTo>
                      <a:pt x="372523" y="29909"/>
                    </a:lnTo>
                    <a:lnTo>
                      <a:pt x="370808" y="29051"/>
                    </a:lnTo>
                    <a:lnTo>
                      <a:pt x="369951" y="29051"/>
                    </a:lnTo>
                    <a:lnTo>
                      <a:pt x="369094" y="27337"/>
                    </a:lnTo>
                    <a:lnTo>
                      <a:pt x="368237" y="26479"/>
                    </a:lnTo>
                    <a:lnTo>
                      <a:pt x="366522" y="24765"/>
                    </a:lnTo>
                    <a:lnTo>
                      <a:pt x="365665" y="23908"/>
                    </a:lnTo>
                    <a:lnTo>
                      <a:pt x="363950" y="23051"/>
                    </a:lnTo>
                    <a:lnTo>
                      <a:pt x="362236" y="22193"/>
                    </a:lnTo>
                    <a:lnTo>
                      <a:pt x="360521" y="22193"/>
                    </a:lnTo>
                    <a:lnTo>
                      <a:pt x="357950" y="23051"/>
                    </a:lnTo>
                    <a:lnTo>
                      <a:pt x="356235" y="23908"/>
                    </a:lnTo>
                    <a:lnTo>
                      <a:pt x="356711" y="23908"/>
                    </a:lnTo>
                    <a:lnTo>
                      <a:pt x="356711" y="24765"/>
                    </a:lnTo>
                    <a:lnTo>
                      <a:pt x="355854" y="25622"/>
                    </a:lnTo>
                    <a:lnTo>
                      <a:pt x="355854" y="27337"/>
                    </a:lnTo>
                    <a:lnTo>
                      <a:pt x="355854" y="28194"/>
                    </a:lnTo>
                    <a:lnTo>
                      <a:pt x="354139" y="30766"/>
                    </a:lnTo>
                    <a:lnTo>
                      <a:pt x="354139" y="31623"/>
                    </a:lnTo>
                    <a:lnTo>
                      <a:pt x="354139" y="32480"/>
                    </a:lnTo>
                    <a:lnTo>
                      <a:pt x="354997" y="33338"/>
                    </a:lnTo>
                    <a:lnTo>
                      <a:pt x="354997" y="35052"/>
                    </a:lnTo>
                    <a:lnTo>
                      <a:pt x="354139" y="35909"/>
                    </a:lnTo>
                    <a:lnTo>
                      <a:pt x="349948" y="37624"/>
                    </a:lnTo>
                    <a:lnTo>
                      <a:pt x="349091" y="38481"/>
                    </a:lnTo>
                    <a:lnTo>
                      <a:pt x="348234" y="40196"/>
                    </a:lnTo>
                    <a:lnTo>
                      <a:pt x="346519" y="41910"/>
                    </a:lnTo>
                    <a:lnTo>
                      <a:pt x="343948" y="44482"/>
                    </a:lnTo>
                    <a:lnTo>
                      <a:pt x="342233" y="46196"/>
                    </a:lnTo>
                    <a:lnTo>
                      <a:pt x="341376" y="46196"/>
                    </a:lnTo>
                    <a:lnTo>
                      <a:pt x="339662" y="46196"/>
                    </a:lnTo>
                    <a:lnTo>
                      <a:pt x="339662" y="45339"/>
                    </a:lnTo>
                    <a:lnTo>
                      <a:pt x="337947" y="44482"/>
                    </a:lnTo>
                    <a:lnTo>
                      <a:pt x="336233" y="43625"/>
                    </a:lnTo>
                    <a:lnTo>
                      <a:pt x="335375" y="44482"/>
                    </a:lnTo>
                    <a:lnTo>
                      <a:pt x="333661" y="45339"/>
                    </a:lnTo>
                    <a:lnTo>
                      <a:pt x="330327" y="51340"/>
                    </a:lnTo>
                    <a:lnTo>
                      <a:pt x="326993" y="54769"/>
                    </a:lnTo>
                    <a:lnTo>
                      <a:pt x="326993" y="55626"/>
                    </a:lnTo>
                    <a:lnTo>
                      <a:pt x="325279" y="56483"/>
                    </a:lnTo>
                    <a:lnTo>
                      <a:pt x="324421" y="56483"/>
                    </a:lnTo>
                    <a:lnTo>
                      <a:pt x="320230" y="56483"/>
                    </a:lnTo>
                    <a:lnTo>
                      <a:pt x="317659" y="57341"/>
                    </a:lnTo>
                    <a:lnTo>
                      <a:pt x="315944" y="57341"/>
                    </a:lnTo>
                    <a:lnTo>
                      <a:pt x="315087" y="56483"/>
                    </a:lnTo>
                    <a:lnTo>
                      <a:pt x="313372" y="55626"/>
                    </a:lnTo>
                    <a:lnTo>
                      <a:pt x="312515" y="55626"/>
                    </a:lnTo>
                    <a:lnTo>
                      <a:pt x="309943" y="55626"/>
                    </a:lnTo>
                    <a:lnTo>
                      <a:pt x="309086" y="54769"/>
                    </a:lnTo>
                    <a:lnTo>
                      <a:pt x="308229" y="53912"/>
                    </a:lnTo>
                    <a:lnTo>
                      <a:pt x="308229" y="52197"/>
                    </a:lnTo>
                    <a:lnTo>
                      <a:pt x="307372" y="52197"/>
                    </a:lnTo>
                    <a:lnTo>
                      <a:pt x="307372" y="51340"/>
                    </a:lnTo>
                    <a:lnTo>
                      <a:pt x="306515" y="51340"/>
                    </a:lnTo>
                    <a:lnTo>
                      <a:pt x="305657" y="51340"/>
                    </a:lnTo>
                    <a:lnTo>
                      <a:pt x="303086" y="50483"/>
                    </a:lnTo>
                    <a:lnTo>
                      <a:pt x="301371" y="50483"/>
                    </a:lnTo>
                    <a:lnTo>
                      <a:pt x="300514" y="50483"/>
                    </a:lnTo>
                    <a:lnTo>
                      <a:pt x="299657" y="51340"/>
                    </a:lnTo>
                    <a:lnTo>
                      <a:pt x="299657" y="53054"/>
                    </a:lnTo>
                    <a:lnTo>
                      <a:pt x="298799" y="53912"/>
                    </a:lnTo>
                    <a:lnTo>
                      <a:pt x="298799" y="54769"/>
                    </a:lnTo>
                    <a:lnTo>
                      <a:pt x="297942" y="55626"/>
                    </a:lnTo>
                    <a:lnTo>
                      <a:pt x="296228" y="56483"/>
                    </a:lnTo>
                    <a:lnTo>
                      <a:pt x="295370" y="57341"/>
                    </a:lnTo>
                    <a:lnTo>
                      <a:pt x="294513" y="56483"/>
                    </a:lnTo>
                    <a:lnTo>
                      <a:pt x="293656" y="55626"/>
                    </a:lnTo>
                    <a:lnTo>
                      <a:pt x="293656" y="53912"/>
                    </a:lnTo>
                    <a:lnTo>
                      <a:pt x="292798" y="53054"/>
                    </a:lnTo>
                    <a:lnTo>
                      <a:pt x="291941" y="52197"/>
                    </a:lnTo>
                    <a:lnTo>
                      <a:pt x="286893" y="52197"/>
                    </a:lnTo>
                    <a:lnTo>
                      <a:pt x="285178" y="53054"/>
                    </a:lnTo>
                    <a:lnTo>
                      <a:pt x="282607" y="53912"/>
                    </a:lnTo>
                    <a:lnTo>
                      <a:pt x="278416" y="53912"/>
                    </a:lnTo>
                    <a:lnTo>
                      <a:pt x="276701" y="54769"/>
                    </a:lnTo>
                    <a:lnTo>
                      <a:pt x="275844" y="55626"/>
                    </a:lnTo>
                    <a:lnTo>
                      <a:pt x="274987" y="57341"/>
                    </a:lnTo>
                    <a:lnTo>
                      <a:pt x="274987" y="58198"/>
                    </a:lnTo>
                    <a:lnTo>
                      <a:pt x="274130" y="59055"/>
                    </a:lnTo>
                    <a:lnTo>
                      <a:pt x="272415" y="59055"/>
                    </a:lnTo>
                    <a:lnTo>
                      <a:pt x="270700" y="59055"/>
                    </a:lnTo>
                    <a:lnTo>
                      <a:pt x="269843" y="59912"/>
                    </a:lnTo>
                    <a:lnTo>
                      <a:pt x="268986" y="60770"/>
                    </a:lnTo>
                    <a:lnTo>
                      <a:pt x="268129" y="62484"/>
                    </a:lnTo>
                    <a:lnTo>
                      <a:pt x="267271" y="63341"/>
                    </a:lnTo>
                    <a:lnTo>
                      <a:pt x="267271" y="64199"/>
                    </a:lnTo>
                    <a:lnTo>
                      <a:pt x="267271" y="67628"/>
                    </a:lnTo>
                    <a:lnTo>
                      <a:pt x="267271" y="68485"/>
                    </a:lnTo>
                    <a:lnTo>
                      <a:pt x="266414" y="71057"/>
                    </a:lnTo>
                    <a:lnTo>
                      <a:pt x="263842" y="78677"/>
                    </a:lnTo>
                    <a:lnTo>
                      <a:pt x="261271" y="86296"/>
                    </a:lnTo>
                    <a:lnTo>
                      <a:pt x="260413" y="87154"/>
                    </a:lnTo>
                    <a:lnTo>
                      <a:pt x="259556" y="88011"/>
                    </a:lnTo>
                    <a:lnTo>
                      <a:pt x="255365" y="91440"/>
                    </a:lnTo>
                    <a:lnTo>
                      <a:pt x="254508" y="91440"/>
                    </a:lnTo>
                    <a:lnTo>
                      <a:pt x="253651" y="91440"/>
                    </a:lnTo>
                    <a:lnTo>
                      <a:pt x="252793" y="90583"/>
                    </a:lnTo>
                    <a:lnTo>
                      <a:pt x="251936" y="89726"/>
                    </a:lnTo>
                    <a:lnTo>
                      <a:pt x="251936" y="90583"/>
                    </a:lnTo>
                    <a:lnTo>
                      <a:pt x="251936" y="90583"/>
                    </a:lnTo>
                    <a:lnTo>
                      <a:pt x="251079" y="91440"/>
                    </a:lnTo>
                    <a:lnTo>
                      <a:pt x="251079" y="93154"/>
                    </a:lnTo>
                    <a:lnTo>
                      <a:pt x="251079" y="94869"/>
                    </a:lnTo>
                    <a:lnTo>
                      <a:pt x="251079" y="96584"/>
                    </a:lnTo>
                    <a:lnTo>
                      <a:pt x="246031" y="101727"/>
                    </a:lnTo>
                    <a:lnTo>
                      <a:pt x="245173" y="102584"/>
                    </a:lnTo>
                    <a:lnTo>
                      <a:pt x="243459" y="102584"/>
                    </a:lnTo>
                    <a:lnTo>
                      <a:pt x="243459" y="102584"/>
                    </a:lnTo>
                    <a:lnTo>
                      <a:pt x="240887" y="103442"/>
                    </a:lnTo>
                    <a:lnTo>
                      <a:pt x="239173" y="103442"/>
                    </a:lnTo>
                    <a:lnTo>
                      <a:pt x="238315" y="102584"/>
                    </a:lnTo>
                    <a:lnTo>
                      <a:pt x="235744" y="101727"/>
                    </a:lnTo>
                    <a:lnTo>
                      <a:pt x="229838" y="98298"/>
                    </a:lnTo>
                    <a:lnTo>
                      <a:pt x="227267" y="95726"/>
                    </a:lnTo>
                    <a:lnTo>
                      <a:pt x="222218" y="88963"/>
                    </a:lnTo>
                    <a:lnTo>
                      <a:pt x="214598" y="87249"/>
                    </a:lnTo>
                    <a:lnTo>
                      <a:pt x="211265" y="84677"/>
                    </a:lnTo>
                    <a:lnTo>
                      <a:pt x="206216" y="81248"/>
                    </a:lnTo>
                    <a:lnTo>
                      <a:pt x="202882" y="78677"/>
                    </a:lnTo>
                    <a:lnTo>
                      <a:pt x="201168" y="78677"/>
                    </a:lnTo>
                    <a:lnTo>
                      <a:pt x="200311" y="78677"/>
                    </a:lnTo>
                    <a:lnTo>
                      <a:pt x="198596" y="80391"/>
                    </a:lnTo>
                    <a:lnTo>
                      <a:pt x="197739" y="81248"/>
                    </a:lnTo>
                    <a:lnTo>
                      <a:pt x="197739" y="82106"/>
                    </a:lnTo>
                    <a:lnTo>
                      <a:pt x="197739" y="82963"/>
                    </a:lnTo>
                    <a:lnTo>
                      <a:pt x="196882" y="82963"/>
                    </a:lnTo>
                    <a:lnTo>
                      <a:pt x="195167" y="83820"/>
                    </a:lnTo>
                    <a:lnTo>
                      <a:pt x="194310" y="82963"/>
                    </a:lnTo>
                    <a:lnTo>
                      <a:pt x="192595" y="82106"/>
                    </a:lnTo>
                    <a:lnTo>
                      <a:pt x="190881" y="79534"/>
                    </a:lnTo>
                    <a:lnTo>
                      <a:pt x="190024" y="78677"/>
                    </a:lnTo>
                    <a:lnTo>
                      <a:pt x="189167" y="77819"/>
                    </a:lnTo>
                    <a:lnTo>
                      <a:pt x="188309" y="76962"/>
                    </a:lnTo>
                    <a:lnTo>
                      <a:pt x="187452" y="76105"/>
                    </a:lnTo>
                    <a:lnTo>
                      <a:pt x="185738" y="76105"/>
                    </a:lnTo>
                    <a:lnTo>
                      <a:pt x="184880" y="76105"/>
                    </a:lnTo>
                    <a:lnTo>
                      <a:pt x="179832" y="76105"/>
                    </a:lnTo>
                    <a:lnTo>
                      <a:pt x="174784" y="77819"/>
                    </a:lnTo>
                    <a:lnTo>
                      <a:pt x="173069" y="82963"/>
                    </a:lnTo>
                    <a:lnTo>
                      <a:pt x="172212" y="85535"/>
                    </a:lnTo>
                    <a:lnTo>
                      <a:pt x="169640" y="88106"/>
                    </a:lnTo>
                    <a:lnTo>
                      <a:pt x="169640" y="88963"/>
                    </a:lnTo>
                    <a:lnTo>
                      <a:pt x="169640" y="90678"/>
                    </a:lnTo>
                    <a:lnTo>
                      <a:pt x="169640" y="90678"/>
                    </a:lnTo>
                    <a:lnTo>
                      <a:pt x="170497" y="91535"/>
                    </a:lnTo>
                    <a:lnTo>
                      <a:pt x="170497" y="92393"/>
                    </a:lnTo>
                    <a:lnTo>
                      <a:pt x="170497" y="93250"/>
                    </a:lnTo>
                    <a:lnTo>
                      <a:pt x="169640" y="94107"/>
                    </a:lnTo>
                    <a:lnTo>
                      <a:pt x="169640" y="94107"/>
                    </a:lnTo>
                    <a:lnTo>
                      <a:pt x="167926" y="94964"/>
                    </a:lnTo>
                    <a:lnTo>
                      <a:pt x="163735" y="97536"/>
                    </a:lnTo>
                    <a:lnTo>
                      <a:pt x="162020" y="97536"/>
                    </a:lnTo>
                    <a:lnTo>
                      <a:pt x="161163" y="98393"/>
                    </a:lnTo>
                    <a:lnTo>
                      <a:pt x="160306" y="97536"/>
                    </a:lnTo>
                    <a:lnTo>
                      <a:pt x="157734" y="97536"/>
                    </a:lnTo>
                    <a:lnTo>
                      <a:pt x="156877" y="97536"/>
                    </a:lnTo>
                    <a:lnTo>
                      <a:pt x="156019" y="97536"/>
                    </a:lnTo>
                    <a:lnTo>
                      <a:pt x="153448" y="98393"/>
                    </a:lnTo>
                    <a:lnTo>
                      <a:pt x="150876" y="104394"/>
                    </a:lnTo>
                    <a:lnTo>
                      <a:pt x="149161" y="108680"/>
                    </a:lnTo>
                    <a:lnTo>
                      <a:pt x="149161" y="111252"/>
                    </a:lnTo>
                    <a:lnTo>
                      <a:pt x="149161" y="112967"/>
                    </a:lnTo>
                    <a:lnTo>
                      <a:pt x="149161" y="113824"/>
                    </a:lnTo>
                    <a:lnTo>
                      <a:pt x="150019" y="115538"/>
                    </a:lnTo>
                    <a:lnTo>
                      <a:pt x="150019" y="116396"/>
                    </a:lnTo>
                    <a:lnTo>
                      <a:pt x="149161" y="118110"/>
                    </a:lnTo>
                    <a:lnTo>
                      <a:pt x="149161" y="118110"/>
                    </a:lnTo>
                    <a:lnTo>
                      <a:pt x="150019" y="118967"/>
                    </a:lnTo>
                    <a:lnTo>
                      <a:pt x="150019" y="118967"/>
                    </a:lnTo>
                    <a:lnTo>
                      <a:pt x="150876" y="118967"/>
                    </a:lnTo>
                    <a:lnTo>
                      <a:pt x="151733" y="118967"/>
                    </a:lnTo>
                    <a:lnTo>
                      <a:pt x="152590" y="118967"/>
                    </a:lnTo>
                    <a:lnTo>
                      <a:pt x="153448" y="118967"/>
                    </a:lnTo>
                    <a:lnTo>
                      <a:pt x="154305" y="118967"/>
                    </a:lnTo>
                    <a:lnTo>
                      <a:pt x="154305" y="120682"/>
                    </a:lnTo>
                    <a:lnTo>
                      <a:pt x="154305" y="121539"/>
                    </a:lnTo>
                    <a:lnTo>
                      <a:pt x="152590" y="129159"/>
                    </a:lnTo>
                    <a:lnTo>
                      <a:pt x="152590" y="130874"/>
                    </a:lnTo>
                    <a:lnTo>
                      <a:pt x="151733" y="131731"/>
                    </a:lnTo>
                    <a:lnTo>
                      <a:pt x="149161" y="134303"/>
                    </a:lnTo>
                    <a:lnTo>
                      <a:pt x="148304" y="136017"/>
                    </a:lnTo>
                    <a:lnTo>
                      <a:pt x="144113" y="140303"/>
                    </a:lnTo>
                    <a:lnTo>
                      <a:pt x="139922" y="142018"/>
                    </a:lnTo>
                    <a:lnTo>
                      <a:pt x="139065" y="142875"/>
                    </a:lnTo>
                    <a:lnTo>
                      <a:pt x="138208" y="143732"/>
                    </a:lnTo>
                    <a:lnTo>
                      <a:pt x="137350" y="144590"/>
                    </a:lnTo>
                    <a:lnTo>
                      <a:pt x="137350" y="145447"/>
                    </a:lnTo>
                    <a:lnTo>
                      <a:pt x="137350" y="146304"/>
                    </a:lnTo>
                    <a:lnTo>
                      <a:pt x="139065" y="147161"/>
                    </a:lnTo>
                    <a:lnTo>
                      <a:pt x="139065" y="148876"/>
                    </a:lnTo>
                    <a:lnTo>
                      <a:pt x="139065" y="150590"/>
                    </a:lnTo>
                    <a:lnTo>
                      <a:pt x="139065" y="151448"/>
                    </a:lnTo>
                    <a:lnTo>
                      <a:pt x="140779" y="151448"/>
                    </a:lnTo>
                    <a:lnTo>
                      <a:pt x="159258" y="151448"/>
                    </a:lnTo>
                    <a:lnTo>
                      <a:pt x="163449" y="152305"/>
                    </a:lnTo>
                    <a:lnTo>
                      <a:pt x="166021" y="154019"/>
                    </a:lnTo>
                    <a:lnTo>
                      <a:pt x="166021" y="154877"/>
                    </a:lnTo>
                    <a:lnTo>
                      <a:pt x="166878" y="154877"/>
                    </a:lnTo>
                    <a:lnTo>
                      <a:pt x="170212" y="160020"/>
                    </a:lnTo>
                    <a:lnTo>
                      <a:pt x="171069" y="160877"/>
                    </a:lnTo>
                    <a:lnTo>
                      <a:pt x="171069" y="161735"/>
                    </a:lnTo>
                    <a:lnTo>
                      <a:pt x="170212" y="162592"/>
                    </a:lnTo>
                    <a:lnTo>
                      <a:pt x="170212" y="163449"/>
                    </a:lnTo>
                    <a:lnTo>
                      <a:pt x="170212" y="164306"/>
                    </a:lnTo>
                    <a:lnTo>
                      <a:pt x="170212" y="164306"/>
                    </a:lnTo>
                    <a:lnTo>
                      <a:pt x="169354" y="165163"/>
                    </a:lnTo>
                    <a:lnTo>
                      <a:pt x="169354" y="165163"/>
                    </a:lnTo>
                    <a:lnTo>
                      <a:pt x="168497" y="165163"/>
                    </a:lnTo>
                    <a:lnTo>
                      <a:pt x="168497" y="166878"/>
                    </a:lnTo>
                    <a:lnTo>
                      <a:pt x="166783" y="167735"/>
                    </a:lnTo>
                    <a:lnTo>
                      <a:pt x="165925" y="168593"/>
                    </a:lnTo>
                    <a:lnTo>
                      <a:pt x="165068" y="170307"/>
                    </a:lnTo>
                    <a:lnTo>
                      <a:pt x="161734" y="175451"/>
                    </a:lnTo>
                    <a:lnTo>
                      <a:pt x="160020" y="178022"/>
                    </a:lnTo>
                    <a:lnTo>
                      <a:pt x="158305" y="178879"/>
                    </a:lnTo>
                    <a:lnTo>
                      <a:pt x="157448" y="179737"/>
                    </a:lnTo>
                    <a:lnTo>
                      <a:pt x="156591" y="180594"/>
                    </a:lnTo>
                    <a:lnTo>
                      <a:pt x="154876" y="180594"/>
                    </a:lnTo>
                    <a:lnTo>
                      <a:pt x="143065" y="181451"/>
                    </a:lnTo>
                    <a:lnTo>
                      <a:pt x="142208" y="182309"/>
                    </a:lnTo>
                    <a:lnTo>
                      <a:pt x="139636" y="183166"/>
                    </a:lnTo>
                    <a:lnTo>
                      <a:pt x="139636" y="184880"/>
                    </a:lnTo>
                    <a:lnTo>
                      <a:pt x="137922" y="186595"/>
                    </a:lnTo>
                    <a:lnTo>
                      <a:pt x="137065" y="188309"/>
                    </a:lnTo>
                    <a:lnTo>
                      <a:pt x="134493" y="194310"/>
                    </a:lnTo>
                    <a:lnTo>
                      <a:pt x="133636" y="196025"/>
                    </a:lnTo>
                    <a:lnTo>
                      <a:pt x="131921" y="197739"/>
                    </a:lnTo>
                    <a:lnTo>
                      <a:pt x="131064" y="198596"/>
                    </a:lnTo>
                    <a:lnTo>
                      <a:pt x="127730" y="198596"/>
                    </a:lnTo>
                    <a:lnTo>
                      <a:pt x="125158" y="199454"/>
                    </a:lnTo>
                    <a:lnTo>
                      <a:pt x="123444" y="199454"/>
                    </a:lnTo>
                    <a:lnTo>
                      <a:pt x="121729" y="199454"/>
                    </a:lnTo>
                    <a:lnTo>
                      <a:pt x="120015" y="197739"/>
                    </a:lnTo>
                    <a:lnTo>
                      <a:pt x="118300" y="196882"/>
                    </a:lnTo>
                    <a:lnTo>
                      <a:pt x="116586" y="196025"/>
                    </a:lnTo>
                    <a:lnTo>
                      <a:pt x="115729" y="196025"/>
                    </a:lnTo>
                    <a:lnTo>
                      <a:pt x="114014" y="196025"/>
                    </a:lnTo>
                    <a:lnTo>
                      <a:pt x="113157" y="196025"/>
                    </a:lnTo>
                    <a:lnTo>
                      <a:pt x="111442" y="196882"/>
                    </a:lnTo>
                    <a:lnTo>
                      <a:pt x="109728" y="197739"/>
                    </a:lnTo>
                    <a:lnTo>
                      <a:pt x="104680" y="196882"/>
                    </a:lnTo>
                    <a:lnTo>
                      <a:pt x="101346" y="197739"/>
                    </a:lnTo>
                    <a:lnTo>
                      <a:pt x="100489" y="197739"/>
                    </a:lnTo>
                    <a:lnTo>
                      <a:pt x="99631" y="198596"/>
                    </a:lnTo>
                    <a:lnTo>
                      <a:pt x="98774" y="199454"/>
                    </a:lnTo>
                    <a:lnTo>
                      <a:pt x="97917" y="201168"/>
                    </a:lnTo>
                    <a:lnTo>
                      <a:pt x="97060" y="202883"/>
                    </a:lnTo>
                    <a:lnTo>
                      <a:pt x="96202" y="202883"/>
                    </a:lnTo>
                    <a:lnTo>
                      <a:pt x="94488" y="202883"/>
                    </a:lnTo>
                    <a:lnTo>
                      <a:pt x="88582" y="196120"/>
                    </a:lnTo>
                    <a:lnTo>
                      <a:pt x="86868" y="195263"/>
                    </a:lnTo>
                    <a:lnTo>
                      <a:pt x="85153" y="195263"/>
                    </a:lnTo>
                    <a:lnTo>
                      <a:pt x="84296" y="195263"/>
                    </a:lnTo>
                    <a:lnTo>
                      <a:pt x="81724" y="196120"/>
                    </a:lnTo>
                    <a:lnTo>
                      <a:pt x="80010" y="196120"/>
                    </a:lnTo>
                    <a:lnTo>
                      <a:pt x="77438" y="196120"/>
                    </a:lnTo>
                    <a:lnTo>
                      <a:pt x="76581" y="196977"/>
                    </a:lnTo>
                    <a:lnTo>
                      <a:pt x="74867" y="197834"/>
                    </a:lnTo>
                    <a:lnTo>
                      <a:pt x="70675" y="203835"/>
                    </a:lnTo>
                    <a:lnTo>
                      <a:pt x="68104" y="208979"/>
                    </a:lnTo>
                    <a:lnTo>
                      <a:pt x="67246" y="215741"/>
                    </a:lnTo>
                    <a:lnTo>
                      <a:pt x="66389" y="216599"/>
                    </a:lnTo>
                    <a:lnTo>
                      <a:pt x="65532" y="217456"/>
                    </a:lnTo>
                    <a:lnTo>
                      <a:pt x="59626" y="215741"/>
                    </a:lnTo>
                    <a:lnTo>
                      <a:pt x="57912" y="215741"/>
                    </a:lnTo>
                    <a:lnTo>
                      <a:pt x="41910" y="216599"/>
                    </a:lnTo>
                    <a:lnTo>
                      <a:pt x="39338" y="216599"/>
                    </a:lnTo>
                    <a:lnTo>
                      <a:pt x="37624" y="216599"/>
                    </a:lnTo>
                    <a:lnTo>
                      <a:pt x="36767" y="215741"/>
                    </a:lnTo>
                    <a:lnTo>
                      <a:pt x="35909" y="214884"/>
                    </a:lnTo>
                    <a:lnTo>
                      <a:pt x="35052" y="214027"/>
                    </a:lnTo>
                    <a:lnTo>
                      <a:pt x="35052" y="213170"/>
                    </a:lnTo>
                    <a:lnTo>
                      <a:pt x="35909" y="210598"/>
                    </a:lnTo>
                    <a:lnTo>
                      <a:pt x="35052" y="209741"/>
                    </a:lnTo>
                    <a:lnTo>
                      <a:pt x="34195" y="208026"/>
                    </a:lnTo>
                    <a:lnTo>
                      <a:pt x="30861" y="207169"/>
                    </a:lnTo>
                    <a:lnTo>
                      <a:pt x="28289" y="207169"/>
                    </a:lnTo>
                    <a:lnTo>
                      <a:pt x="26575" y="207169"/>
                    </a:lnTo>
                    <a:lnTo>
                      <a:pt x="24860" y="208026"/>
                    </a:lnTo>
                    <a:lnTo>
                      <a:pt x="23146" y="209741"/>
                    </a:lnTo>
                    <a:lnTo>
                      <a:pt x="22288" y="210598"/>
                    </a:lnTo>
                    <a:lnTo>
                      <a:pt x="22288" y="210598"/>
                    </a:lnTo>
                    <a:lnTo>
                      <a:pt x="21431" y="211455"/>
                    </a:lnTo>
                    <a:lnTo>
                      <a:pt x="20574" y="213170"/>
                    </a:lnTo>
                    <a:lnTo>
                      <a:pt x="21431" y="213170"/>
                    </a:lnTo>
                    <a:lnTo>
                      <a:pt x="21431" y="214027"/>
                    </a:lnTo>
                    <a:lnTo>
                      <a:pt x="21431" y="214027"/>
                    </a:lnTo>
                    <a:lnTo>
                      <a:pt x="20574" y="214884"/>
                    </a:lnTo>
                    <a:lnTo>
                      <a:pt x="20574" y="214884"/>
                    </a:lnTo>
                    <a:lnTo>
                      <a:pt x="19717" y="215741"/>
                    </a:lnTo>
                    <a:lnTo>
                      <a:pt x="18002" y="215741"/>
                    </a:lnTo>
                    <a:lnTo>
                      <a:pt x="16288" y="216599"/>
                    </a:lnTo>
                    <a:lnTo>
                      <a:pt x="15430" y="217456"/>
                    </a:lnTo>
                    <a:lnTo>
                      <a:pt x="14573" y="219170"/>
                    </a:lnTo>
                    <a:lnTo>
                      <a:pt x="13716" y="220028"/>
                    </a:lnTo>
                    <a:lnTo>
                      <a:pt x="12001" y="221742"/>
                    </a:lnTo>
                    <a:lnTo>
                      <a:pt x="9430" y="221742"/>
                    </a:lnTo>
                    <a:lnTo>
                      <a:pt x="7715" y="221742"/>
                    </a:lnTo>
                    <a:lnTo>
                      <a:pt x="5143" y="220885"/>
                    </a:lnTo>
                    <a:lnTo>
                      <a:pt x="4286" y="220028"/>
                    </a:lnTo>
                    <a:lnTo>
                      <a:pt x="1715" y="220028"/>
                    </a:lnTo>
                    <a:lnTo>
                      <a:pt x="857" y="220885"/>
                    </a:lnTo>
                    <a:lnTo>
                      <a:pt x="0" y="221742"/>
                    </a:lnTo>
                    <a:lnTo>
                      <a:pt x="857" y="222600"/>
                    </a:lnTo>
                    <a:lnTo>
                      <a:pt x="857" y="225171"/>
                    </a:lnTo>
                    <a:lnTo>
                      <a:pt x="857" y="226028"/>
                    </a:lnTo>
                    <a:lnTo>
                      <a:pt x="0" y="227743"/>
                    </a:lnTo>
                    <a:lnTo>
                      <a:pt x="0" y="228600"/>
                    </a:lnTo>
                    <a:lnTo>
                      <a:pt x="857" y="229457"/>
                    </a:lnTo>
                    <a:lnTo>
                      <a:pt x="857" y="230315"/>
                    </a:lnTo>
                    <a:lnTo>
                      <a:pt x="857" y="230315"/>
                    </a:lnTo>
                    <a:lnTo>
                      <a:pt x="1715" y="231172"/>
                    </a:lnTo>
                    <a:lnTo>
                      <a:pt x="1715" y="231172"/>
                    </a:lnTo>
                    <a:lnTo>
                      <a:pt x="1715" y="232029"/>
                    </a:lnTo>
                    <a:lnTo>
                      <a:pt x="1715" y="232029"/>
                    </a:lnTo>
                    <a:lnTo>
                      <a:pt x="1715" y="232886"/>
                    </a:lnTo>
                    <a:lnTo>
                      <a:pt x="3429" y="234601"/>
                    </a:lnTo>
                    <a:lnTo>
                      <a:pt x="7620" y="235458"/>
                    </a:lnTo>
                    <a:lnTo>
                      <a:pt x="20288" y="238887"/>
                    </a:lnTo>
                    <a:lnTo>
                      <a:pt x="21145" y="239744"/>
                    </a:lnTo>
                    <a:lnTo>
                      <a:pt x="22860" y="241459"/>
                    </a:lnTo>
                    <a:lnTo>
                      <a:pt x="24574" y="242316"/>
                    </a:lnTo>
                    <a:lnTo>
                      <a:pt x="25432" y="243173"/>
                    </a:lnTo>
                    <a:lnTo>
                      <a:pt x="27146" y="243173"/>
                    </a:lnTo>
                    <a:lnTo>
                      <a:pt x="28861" y="244031"/>
                    </a:lnTo>
                    <a:lnTo>
                      <a:pt x="29718" y="244888"/>
                    </a:lnTo>
                    <a:lnTo>
                      <a:pt x="32290" y="248317"/>
                    </a:lnTo>
                    <a:lnTo>
                      <a:pt x="34861" y="250031"/>
                    </a:lnTo>
                    <a:lnTo>
                      <a:pt x="34004" y="252603"/>
                    </a:lnTo>
                    <a:lnTo>
                      <a:pt x="27242" y="257746"/>
                    </a:lnTo>
                    <a:lnTo>
                      <a:pt x="26384" y="258604"/>
                    </a:lnTo>
                    <a:lnTo>
                      <a:pt x="23813" y="262033"/>
                    </a:lnTo>
                    <a:lnTo>
                      <a:pt x="23813" y="262890"/>
                    </a:lnTo>
                    <a:lnTo>
                      <a:pt x="23813" y="263747"/>
                    </a:lnTo>
                    <a:lnTo>
                      <a:pt x="24670" y="264605"/>
                    </a:lnTo>
                    <a:lnTo>
                      <a:pt x="25527" y="265462"/>
                    </a:lnTo>
                    <a:lnTo>
                      <a:pt x="26384" y="265462"/>
                    </a:lnTo>
                    <a:lnTo>
                      <a:pt x="28956" y="263747"/>
                    </a:lnTo>
                    <a:lnTo>
                      <a:pt x="29813" y="263747"/>
                    </a:lnTo>
                    <a:lnTo>
                      <a:pt x="30670" y="263747"/>
                    </a:lnTo>
                    <a:lnTo>
                      <a:pt x="30670" y="264605"/>
                    </a:lnTo>
                    <a:lnTo>
                      <a:pt x="33242" y="265462"/>
                    </a:lnTo>
                    <a:lnTo>
                      <a:pt x="34957" y="265462"/>
                    </a:lnTo>
                    <a:lnTo>
                      <a:pt x="35814" y="265462"/>
                    </a:lnTo>
                    <a:lnTo>
                      <a:pt x="38386" y="265462"/>
                    </a:lnTo>
                    <a:lnTo>
                      <a:pt x="46006" y="264605"/>
                    </a:lnTo>
                    <a:lnTo>
                      <a:pt x="47720" y="264605"/>
                    </a:lnTo>
                    <a:lnTo>
                      <a:pt x="48577" y="263747"/>
                    </a:lnTo>
                    <a:lnTo>
                      <a:pt x="51149" y="262033"/>
                    </a:lnTo>
                    <a:lnTo>
                      <a:pt x="52006" y="261176"/>
                    </a:lnTo>
                    <a:lnTo>
                      <a:pt x="52864" y="261176"/>
                    </a:lnTo>
                    <a:lnTo>
                      <a:pt x="52864" y="262033"/>
                    </a:lnTo>
                    <a:lnTo>
                      <a:pt x="52864" y="264605"/>
                    </a:lnTo>
                    <a:lnTo>
                      <a:pt x="52006" y="265462"/>
                    </a:lnTo>
                    <a:lnTo>
                      <a:pt x="51149" y="267176"/>
                    </a:lnTo>
                    <a:lnTo>
                      <a:pt x="51149" y="268034"/>
                    </a:lnTo>
                    <a:lnTo>
                      <a:pt x="51149" y="268891"/>
                    </a:lnTo>
                    <a:lnTo>
                      <a:pt x="52006" y="269748"/>
                    </a:lnTo>
                    <a:lnTo>
                      <a:pt x="52864" y="270605"/>
                    </a:lnTo>
                    <a:lnTo>
                      <a:pt x="53721" y="271463"/>
                    </a:lnTo>
                    <a:lnTo>
                      <a:pt x="54578" y="272320"/>
                    </a:lnTo>
                    <a:lnTo>
                      <a:pt x="55435" y="274892"/>
                    </a:lnTo>
                    <a:lnTo>
                      <a:pt x="56293" y="278321"/>
                    </a:lnTo>
                    <a:lnTo>
                      <a:pt x="57150" y="280035"/>
                    </a:lnTo>
                    <a:lnTo>
                      <a:pt x="58865" y="281750"/>
                    </a:lnTo>
                    <a:lnTo>
                      <a:pt x="59722" y="281750"/>
                    </a:lnTo>
                    <a:lnTo>
                      <a:pt x="59722" y="282607"/>
                    </a:lnTo>
                    <a:lnTo>
                      <a:pt x="59722" y="283464"/>
                    </a:lnTo>
                    <a:lnTo>
                      <a:pt x="59722" y="284321"/>
                    </a:lnTo>
                    <a:lnTo>
                      <a:pt x="58865" y="284321"/>
                    </a:lnTo>
                    <a:lnTo>
                      <a:pt x="57150" y="285179"/>
                    </a:lnTo>
                    <a:lnTo>
                      <a:pt x="56293" y="285179"/>
                    </a:lnTo>
                    <a:lnTo>
                      <a:pt x="54578" y="283464"/>
                    </a:lnTo>
                    <a:lnTo>
                      <a:pt x="53721" y="283464"/>
                    </a:lnTo>
                    <a:lnTo>
                      <a:pt x="52006" y="283464"/>
                    </a:lnTo>
                    <a:lnTo>
                      <a:pt x="52006" y="284321"/>
                    </a:lnTo>
                    <a:lnTo>
                      <a:pt x="51149" y="284321"/>
                    </a:lnTo>
                    <a:lnTo>
                      <a:pt x="50292" y="285179"/>
                    </a:lnTo>
                    <a:lnTo>
                      <a:pt x="50292" y="286036"/>
                    </a:lnTo>
                    <a:lnTo>
                      <a:pt x="49435" y="287750"/>
                    </a:lnTo>
                    <a:lnTo>
                      <a:pt x="49435" y="289465"/>
                    </a:lnTo>
                    <a:lnTo>
                      <a:pt x="49435" y="291179"/>
                    </a:lnTo>
                    <a:lnTo>
                      <a:pt x="50292" y="292894"/>
                    </a:lnTo>
                    <a:lnTo>
                      <a:pt x="51149" y="295466"/>
                    </a:lnTo>
                    <a:lnTo>
                      <a:pt x="52864" y="297180"/>
                    </a:lnTo>
                    <a:lnTo>
                      <a:pt x="54578" y="298037"/>
                    </a:lnTo>
                    <a:lnTo>
                      <a:pt x="59626" y="299752"/>
                    </a:lnTo>
                    <a:lnTo>
                      <a:pt x="65532" y="302324"/>
                    </a:lnTo>
                    <a:lnTo>
                      <a:pt x="66389" y="303181"/>
                    </a:lnTo>
                    <a:lnTo>
                      <a:pt x="67246" y="304038"/>
                    </a:lnTo>
                    <a:lnTo>
                      <a:pt x="67246" y="304895"/>
                    </a:lnTo>
                    <a:lnTo>
                      <a:pt x="68104" y="307467"/>
                    </a:lnTo>
                    <a:lnTo>
                      <a:pt x="68961" y="308325"/>
                    </a:lnTo>
                    <a:lnTo>
                      <a:pt x="69818" y="309182"/>
                    </a:lnTo>
                    <a:lnTo>
                      <a:pt x="70675" y="310039"/>
                    </a:lnTo>
                    <a:lnTo>
                      <a:pt x="71533" y="310896"/>
                    </a:lnTo>
                    <a:lnTo>
                      <a:pt x="72390" y="310896"/>
                    </a:lnTo>
                    <a:lnTo>
                      <a:pt x="72390" y="310896"/>
                    </a:lnTo>
                    <a:lnTo>
                      <a:pt x="73247" y="311753"/>
                    </a:lnTo>
                    <a:lnTo>
                      <a:pt x="73247" y="313468"/>
                    </a:lnTo>
                    <a:lnTo>
                      <a:pt x="73247" y="314325"/>
                    </a:lnTo>
                    <a:lnTo>
                      <a:pt x="73247" y="316040"/>
                    </a:lnTo>
                    <a:lnTo>
                      <a:pt x="72390" y="317754"/>
                    </a:lnTo>
                    <a:lnTo>
                      <a:pt x="72390" y="318611"/>
                    </a:lnTo>
                    <a:lnTo>
                      <a:pt x="72390" y="322898"/>
                    </a:lnTo>
                    <a:lnTo>
                      <a:pt x="71533" y="324612"/>
                    </a:lnTo>
                    <a:lnTo>
                      <a:pt x="70675" y="326327"/>
                    </a:lnTo>
                    <a:lnTo>
                      <a:pt x="68961" y="327184"/>
                    </a:lnTo>
                    <a:lnTo>
                      <a:pt x="67246" y="327184"/>
                    </a:lnTo>
                    <a:lnTo>
                      <a:pt x="66389" y="328041"/>
                    </a:lnTo>
                    <a:lnTo>
                      <a:pt x="65532" y="328898"/>
                    </a:lnTo>
                    <a:lnTo>
                      <a:pt x="65532" y="329756"/>
                    </a:lnTo>
                    <a:lnTo>
                      <a:pt x="66389" y="339090"/>
                    </a:lnTo>
                    <a:lnTo>
                      <a:pt x="65532" y="345091"/>
                    </a:lnTo>
                    <a:lnTo>
                      <a:pt x="65532" y="345091"/>
                    </a:lnTo>
                    <a:lnTo>
                      <a:pt x="65532" y="345948"/>
                    </a:lnTo>
                    <a:lnTo>
                      <a:pt x="64675" y="348520"/>
                    </a:lnTo>
                    <a:lnTo>
                      <a:pt x="64675" y="351949"/>
                    </a:lnTo>
                    <a:lnTo>
                      <a:pt x="64675" y="352806"/>
                    </a:lnTo>
                    <a:lnTo>
                      <a:pt x="64675" y="354521"/>
                    </a:lnTo>
                    <a:lnTo>
                      <a:pt x="65532" y="355378"/>
                    </a:lnTo>
                    <a:lnTo>
                      <a:pt x="67246" y="357950"/>
                    </a:lnTo>
                    <a:lnTo>
                      <a:pt x="67246" y="358807"/>
                    </a:lnTo>
                    <a:lnTo>
                      <a:pt x="68104" y="360521"/>
                    </a:lnTo>
                    <a:lnTo>
                      <a:pt x="67246" y="363950"/>
                    </a:lnTo>
                    <a:lnTo>
                      <a:pt x="67246" y="364808"/>
                    </a:lnTo>
                    <a:lnTo>
                      <a:pt x="68104" y="366522"/>
                    </a:lnTo>
                    <a:lnTo>
                      <a:pt x="68961" y="367379"/>
                    </a:lnTo>
                    <a:lnTo>
                      <a:pt x="71533" y="368237"/>
                    </a:lnTo>
                    <a:lnTo>
                      <a:pt x="72390" y="369951"/>
                    </a:lnTo>
                    <a:lnTo>
                      <a:pt x="74104" y="370808"/>
                    </a:lnTo>
                    <a:lnTo>
                      <a:pt x="75819" y="373380"/>
                    </a:lnTo>
                    <a:lnTo>
                      <a:pt x="76676" y="374237"/>
                    </a:lnTo>
                    <a:lnTo>
                      <a:pt x="77533" y="375095"/>
                    </a:lnTo>
                    <a:lnTo>
                      <a:pt x="78391" y="375095"/>
                    </a:lnTo>
                    <a:lnTo>
                      <a:pt x="79248" y="375095"/>
                    </a:lnTo>
                    <a:lnTo>
                      <a:pt x="80963" y="375952"/>
                    </a:lnTo>
                    <a:lnTo>
                      <a:pt x="82677" y="375952"/>
                    </a:lnTo>
                    <a:lnTo>
                      <a:pt x="84392" y="375095"/>
                    </a:lnTo>
                    <a:lnTo>
                      <a:pt x="87725" y="372523"/>
                    </a:lnTo>
                    <a:lnTo>
                      <a:pt x="92773" y="368237"/>
                    </a:lnTo>
                    <a:lnTo>
                      <a:pt x="93631" y="367379"/>
                    </a:lnTo>
                    <a:lnTo>
                      <a:pt x="95345" y="366522"/>
                    </a:lnTo>
                    <a:lnTo>
                      <a:pt x="100393" y="364808"/>
                    </a:lnTo>
                    <a:lnTo>
                      <a:pt x="103727" y="362236"/>
                    </a:lnTo>
                    <a:lnTo>
                      <a:pt x="106299" y="361379"/>
                    </a:lnTo>
                    <a:lnTo>
                      <a:pt x="108013" y="363093"/>
                    </a:lnTo>
                    <a:lnTo>
                      <a:pt x="108871" y="363950"/>
                    </a:lnTo>
                    <a:lnTo>
                      <a:pt x="111442" y="368237"/>
                    </a:lnTo>
                    <a:lnTo>
                      <a:pt x="112300" y="369094"/>
                    </a:lnTo>
                    <a:lnTo>
                      <a:pt x="113157" y="371666"/>
                    </a:lnTo>
                    <a:lnTo>
                      <a:pt x="113157" y="373380"/>
                    </a:lnTo>
                    <a:lnTo>
                      <a:pt x="114014" y="375095"/>
                    </a:lnTo>
                    <a:lnTo>
                      <a:pt x="114014" y="373666"/>
                    </a:lnTo>
                    <a:lnTo>
                      <a:pt x="115729" y="374523"/>
                    </a:lnTo>
                    <a:lnTo>
                      <a:pt x="116586" y="375380"/>
                    </a:lnTo>
                    <a:lnTo>
                      <a:pt x="116586" y="376238"/>
                    </a:lnTo>
                    <a:lnTo>
                      <a:pt x="116586" y="377095"/>
                    </a:lnTo>
                    <a:lnTo>
                      <a:pt x="115729" y="379667"/>
                    </a:lnTo>
                    <a:lnTo>
                      <a:pt x="110680" y="389858"/>
                    </a:lnTo>
                    <a:lnTo>
                      <a:pt x="110680" y="391573"/>
                    </a:lnTo>
                    <a:lnTo>
                      <a:pt x="110680" y="392430"/>
                    </a:lnTo>
                    <a:lnTo>
                      <a:pt x="112395" y="395859"/>
                    </a:lnTo>
                    <a:lnTo>
                      <a:pt x="114109" y="402622"/>
                    </a:lnTo>
                    <a:lnTo>
                      <a:pt x="114109" y="404336"/>
                    </a:lnTo>
                    <a:lnTo>
                      <a:pt x="114109" y="406051"/>
                    </a:lnTo>
                    <a:lnTo>
                      <a:pt x="110776" y="412052"/>
                    </a:lnTo>
                    <a:lnTo>
                      <a:pt x="110776" y="412909"/>
                    </a:lnTo>
                    <a:lnTo>
                      <a:pt x="110776" y="414623"/>
                    </a:lnTo>
                    <a:lnTo>
                      <a:pt x="111633" y="419767"/>
                    </a:lnTo>
                    <a:lnTo>
                      <a:pt x="112490" y="421481"/>
                    </a:lnTo>
                    <a:lnTo>
                      <a:pt x="112490" y="424053"/>
                    </a:lnTo>
                    <a:lnTo>
                      <a:pt x="111633" y="425768"/>
                    </a:lnTo>
                    <a:lnTo>
                      <a:pt x="106585" y="441960"/>
                    </a:lnTo>
                    <a:lnTo>
                      <a:pt x="106585" y="443675"/>
                    </a:lnTo>
                    <a:lnTo>
                      <a:pt x="106585" y="444532"/>
                    </a:lnTo>
                    <a:lnTo>
                      <a:pt x="106585" y="444532"/>
                    </a:lnTo>
                    <a:lnTo>
                      <a:pt x="107442" y="445389"/>
                    </a:lnTo>
                    <a:lnTo>
                      <a:pt x="107442" y="445389"/>
                    </a:lnTo>
                    <a:lnTo>
                      <a:pt x="108299" y="446246"/>
                    </a:lnTo>
                    <a:lnTo>
                      <a:pt x="109156" y="446246"/>
                    </a:lnTo>
                    <a:lnTo>
                      <a:pt x="110014" y="446246"/>
                    </a:lnTo>
                    <a:lnTo>
                      <a:pt x="110871" y="446246"/>
                    </a:lnTo>
                    <a:lnTo>
                      <a:pt x="110871" y="447104"/>
                    </a:lnTo>
                    <a:lnTo>
                      <a:pt x="112586" y="447961"/>
                    </a:lnTo>
                    <a:lnTo>
                      <a:pt x="112586" y="448818"/>
                    </a:lnTo>
                    <a:lnTo>
                      <a:pt x="114300" y="448818"/>
                    </a:lnTo>
                    <a:lnTo>
                      <a:pt x="115157" y="448818"/>
                    </a:lnTo>
                    <a:lnTo>
                      <a:pt x="120205" y="446246"/>
                    </a:lnTo>
                    <a:lnTo>
                      <a:pt x="121063" y="446246"/>
                    </a:lnTo>
                    <a:lnTo>
                      <a:pt x="122777" y="446246"/>
                    </a:lnTo>
                    <a:lnTo>
                      <a:pt x="123634" y="446246"/>
                    </a:lnTo>
                    <a:lnTo>
                      <a:pt x="124492" y="447104"/>
                    </a:lnTo>
                    <a:lnTo>
                      <a:pt x="124492" y="447104"/>
                    </a:lnTo>
                    <a:lnTo>
                      <a:pt x="125349" y="449675"/>
                    </a:lnTo>
                    <a:lnTo>
                      <a:pt x="126206" y="451390"/>
                    </a:lnTo>
                    <a:lnTo>
                      <a:pt x="130397" y="454819"/>
                    </a:lnTo>
                    <a:lnTo>
                      <a:pt x="130397" y="456533"/>
                    </a:lnTo>
                    <a:lnTo>
                      <a:pt x="130397" y="459962"/>
                    </a:lnTo>
                    <a:lnTo>
                      <a:pt x="127063" y="462534"/>
                    </a:lnTo>
                    <a:lnTo>
                      <a:pt x="127063" y="463391"/>
                    </a:lnTo>
                    <a:lnTo>
                      <a:pt x="126206" y="464249"/>
                    </a:lnTo>
                    <a:lnTo>
                      <a:pt x="123634" y="472726"/>
                    </a:lnTo>
                    <a:lnTo>
                      <a:pt x="120301" y="477869"/>
                    </a:lnTo>
                    <a:lnTo>
                      <a:pt x="114395" y="497396"/>
                    </a:lnTo>
                    <a:lnTo>
                      <a:pt x="111823" y="504158"/>
                    </a:lnTo>
                    <a:lnTo>
                      <a:pt x="109252" y="506730"/>
                    </a:lnTo>
                    <a:lnTo>
                      <a:pt x="105061" y="510159"/>
                    </a:lnTo>
                    <a:lnTo>
                      <a:pt x="104203" y="510159"/>
                    </a:lnTo>
                    <a:lnTo>
                      <a:pt x="104203" y="511016"/>
                    </a:lnTo>
                    <a:lnTo>
                      <a:pt x="104203" y="512731"/>
                    </a:lnTo>
                    <a:lnTo>
                      <a:pt x="106775" y="519494"/>
                    </a:lnTo>
                    <a:lnTo>
                      <a:pt x="108490" y="522923"/>
                    </a:lnTo>
                    <a:lnTo>
                      <a:pt x="110204" y="524637"/>
                    </a:lnTo>
                    <a:lnTo>
                      <a:pt x="111919" y="525494"/>
                    </a:lnTo>
                    <a:lnTo>
                      <a:pt x="112776" y="526352"/>
                    </a:lnTo>
                    <a:lnTo>
                      <a:pt x="113633" y="527209"/>
                    </a:lnTo>
                    <a:lnTo>
                      <a:pt x="113633" y="527209"/>
                    </a:lnTo>
                    <a:lnTo>
                      <a:pt x="114490" y="528066"/>
                    </a:lnTo>
                    <a:lnTo>
                      <a:pt x="113633" y="528923"/>
                    </a:lnTo>
                    <a:lnTo>
                      <a:pt x="111919" y="534924"/>
                    </a:lnTo>
                    <a:lnTo>
                      <a:pt x="106870" y="542544"/>
                    </a:lnTo>
                    <a:lnTo>
                      <a:pt x="106013" y="544259"/>
                    </a:lnTo>
                    <a:lnTo>
                      <a:pt x="106013" y="545116"/>
                    </a:lnTo>
                    <a:lnTo>
                      <a:pt x="106013" y="546830"/>
                    </a:lnTo>
                    <a:lnTo>
                      <a:pt x="106013" y="547688"/>
                    </a:lnTo>
                    <a:lnTo>
                      <a:pt x="106870" y="548545"/>
                    </a:lnTo>
                    <a:lnTo>
                      <a:pt x="106870" y="550259"/>
                    </a:lnTo>
                    <a:lnTo>
                      <a:pt x="106870" y="551117"/>
                    </a:lnTo>
                    <a:lnTo>
                      <a:pt x="106870" y="552831"/>
                    </a:lnTo>
                    <a:lnTo>
                      <a:pt x="107728" y="553688"/>
                    </a:lnTo>
                    <a:lnTo>
                      <a:pt x="108585" y="554546"/>
                    </a:lnTo>
                    <a:lnTo>
                      <a:pt x="113633" y="558832"/>
                    </a:lnTo>
                    <a:lnTo>
                      <a:pt x="116205" y="560546"/>
                    </a:lnTo>
                    <a:lnTo>
                      <a:pt x="116205" y="561404"/>
                    </a:lnTo>
                    <a:lnTo>
                      <a:pt x="117062" y="563118"/>
                    </a:lnTo>
                    <a:lnTo>
                      <a:pt x="117062" y="563975"/>
                    </a:lnTo>
                    <a:lnTo>
                      <a:pt x="116205" y="565690"/>
                    </a:lnTo>
                    <a:lnTo>
                      <a:pt x="115348" y="567404"/>
                    </a:lnTo>
                    <a:lnTo>
                      <a:pt x="112776" y="569976"/>
                    </a:lnTo>
                    <a:lnTo>
                      <a:pt x="111919" y="570834"/>
                    </a:lnTo>
                    <a:lnTo>
                      <a:pt x="111061" y="570834"/>
                    </a:lnTo>
                    <a:lnTo>
                      <a:pt x="110204" y="569976"/>
                    </a:lnTo>
                    <a:lnTo>
                      <a:pt x="109347" y="569976"/>
                    </a:lnTo>
                    <a:lnTo>
                      <a:pt x="109347" y="569119"/>
                    </a:lnTo>
                    <a:lnTo>
                      <a:pt x="108490" y="569119"/>
                    </a:lnTo>
                    <a:lnTo>
                      <a:pt x="108490" y="569119"/>
                    </a:lnTo>
                    <a:lnTo>
                      <a:pt x="108490" y="569976"/>
                    </a:lnTo>
                    <a:lnTo>
                      <a:pt x="108490" y="570834"/>
                    </a:lnTo>
                    <a:lnTo>
                      <a:pt x="108490" y="571691"/>
                    </a:lnTo>
                    <a:lnTo>
                      <a:pt x="110204" y="575120"/>
                    </a:lnTo>
                    <a:lnTo>
                      <a:pt x="110204" y="575977"/>
                    </a:lnTo>
                    <a:lnTo>
                      <a:pt x="109347" y="577692"/>
                    </a:lnTo>
                    <a:lnTo>
                      <a:pt x="108490" y="579406"/>
                    </a:lnTo>
                    <a:lnTo>
                      <a:pt x="105918" y="581978"/>
                    </a:lnTo>
                    <a:lnTo>
                      <a:pt x="105061" y="584550"/>
                    </a:lnTo>
                    <a:lnTo>
                      <a:pt x="104203" y="585407"/>
                    </a:lnTo>
                    <a:lnTo>
                      <a:pt x="104203" y="586264"/>
                    </a:lnTo>
                    <a:lnTo>
                      <a:pt x="104203" y="587121"/>
                    </a:lnTo>
                    <a:lnTo>
                      <a:pt x="104203" y="587978"/>
                    </a:lnTo>
                    <a:lnTo>
                      <a:pt x="104203" y="588836"/>
                    </a:lnTo>
                    <a:lnTo>
                      <a:pt x="104203" y="589693"/>
                    </a:lnTo>
                    <a:lnTo>
                      <a:pt x="103346" y="589693"/>
                    </a:lnTo>
                    <a:lnTo>
                      <a:pt x="102489" y="590550"/>
                    </a:lnTo>
                    <a:lnTo>
                      <a:pt x="99917" y="589693"/>
                    </a:lnTo>
                    <a:lnTo>
                      <a:pt x="99060" y="589693"/>
                    </a:lnTo>
                    <a:lnTo>
                      <a:pt x="99060" y="590550"/>
                    </a:lnTo>
                    <a:lnTo>
                      <a:pt x="98203" y="591407"/>
                    </a:lnTo>
                    <a:lnTo>
                      <a:pt x="98203" y="591407"/>
                    </a:lnTo>
                    <a:lnTo>
                      <a:pt x="99917" y="593122"/>
                    </a:lnTo>
                    <a:lnTo>
                      <a:pt x="110871" y="602456"/>
                    </a:lnTo>
                    <a:lnTo>
                      <a:pt x="112586" y="603313"/>
                    </a:lnTo>
                    <a:lnTo>
                      <a:pt x="115157" y="604171"/>
                    </a:lnTo>
                    <a:lnTo>
                      <a:pt x="117729" y="605885"/>
                    </a:lnTo>
                    <a:lnTo>
                      <a:pt x="118586" y="606743"/>
                    </a:lnTo>
                    <a:lnTo>
                      <a:pt x="120301" y="608457"/>
                    </a:lnTo>
                    <a:lnTo>
                      <a:pt x="121158" y="608457"/>
                    </a:lnTo>
                    <a:lnTo>
                      <a:pt x="135445" y="613601"/>
                    </a:lnTo>
                    <a:lnTo>
                      <a:pt x="142208" y="614458"/>
                    </a:lnTo>
                    <a:lnTo>
                      <a:pt x="148114" y="613601"/>
                    </a:lnTo>
                    <a:lnTo>
                      <a:pt x="148114" y="610172"/>
                    </a:lnTo>
                    <a:lnTo>
                      <a:pt x="151447" y="607600"/>
                    </a:lnTo>
                    <a:lnTo>
                      <a:pt x="156496" y="605885"/>
                    </a:lnTo>
                    <a:lnTo>
                      <a:pt x="168307" y="603313"/>
                    </a:lnTo>
                    <a:lnTo>
                      <a:pt x="170021" y="602456"/>
                    </a:lnTo>
                    <a:lnTo>
                      <a:pt x="173355" y="599027"/>
                    </a:lnTo>
                    <a:lnTo>
                      <a:pt x="175069" y="597313"/>
                    </a:lnTo>
                    <a:lnTo>
                      <a:pt x="196120" y="584550"/>
                    </a:lnTo>
                    <a:lnTo>
                      <a:pt x="200311" y="582835"/>
                    </a:lnTo>
                    <a:lnTo>
                      <a:pt x="202025" y="582835"/>
                    </a:lnTo>
                    <a:lnTo>
                      <a:pt x="202882" y="581120"/>
                    </a:lnTo>
                    <a:lnTo>
                      <a:pt x="204597" y="575120"/>
                    </a:lnTo>
                    <a:lnTo>
                      <a:pt x="205454" y="573405"/>
                    </a:lnTo>
                    <a:lnTo>
                      <a:pt x="208788" y="570834"/>
                    </a:lnTo>
                    <a:lnTo>
                      <a:pt x="209645" y="569976"/>
                    </a:lnTo>
                    <a:lnTo>
                      <a:pt x="209645" y="568262"/>
                    </a:lnTo>
                    <a:lnTo>
                      <a:pt x="211360" y="556355"/>
                    </a:lnTo>
                    <a:lnTo>
                      <a:pt x="210502" y="552926"/>
                    </a:lnTo>
                    <a:lnTo>
                      <a:pt x="208788" y="549497"/>
                    </a:lnTo>
                    <a:lnTo>
                      <a:pt x="211360" y="549497"/>
                    </a:lnTo>
                    <a:lnTo>
                      <a:pt x="210502" y="547783"/>
                    </a:lnTo>
                    <a:lnTo>
                      <a:pt x="211360" y="546926"/>
                    </a:lnTo>
                    <a:lnTo>
                      <a:pt x="213074" y="545211"/>
                    </a:lnTo>
                    <a:lnTo>
                      <a:pt x="213931" y="541782"/>
                    </a:lnTo>
                    <a:lnTo>
                      <a:pt x="214789" y="540925"/>
                    </a:lnTo>
                    <a:lnTo>
                      <a:pt x="216503" y="540068"/>
                    </a:lnTo>
                    <a:lnTo>
                      <a:pt x="218218" y="539210"/>
                    </a:lnTo>
                    <a:lnTo>
                      <a:pt x="219932" y="537496"/>
                    </a:lnTo>
                    <a:lnTo>
                      <a:pt x="219075" y="534924"/>
                    </a:lnTo>
                    <a:lnTo>
                      <a:pt x="218218" y="536638"/>
                    </a:lnTo>
                    <a:lnTo>
                      <a:pt x="216503" y="537496"/>
                    </a:lnTo>
                    <a:lnTo>
                      <a:pt x="215646" y="537496"/>
                    </a:lnTo>
                    <a:lnTo>
                      <a:pt x="213931" y="539210"/>
                    </a:lnTo>
                    <a:lnTo>
                      <a:pt x="214789" y="536638"/>
                    </a:lnTo>
                    <a:lnTo>
                      <a:pt x="215646" y="534067"/>
                    </a:lnTo>
                    <a:lnTo>
                      <a:pt x="215646" y="526447"/>
                    </a:lnTo>
                    <a:lnTo>
                      <a:pt x="216503" y="524732"/>
                    </a:lnTo>
                    <a:lnTo>
                      <a:pt x="219837" y="517970"/>
                    </a:lnTo>
                    <a:lnTo>
                      <a:pt x="222409" y="515398"/>
                    </a:lnTo>
                    <a:lnTo>
                      <a:pt x="237553" y="502634"/>
                    </a:lnTo>
                    <a:lnTo>
                      <a:pt x="240887" y="500063"/>
                    </a:lnTo>
                    <a:lnTo>
                      <a:pt x="245078" y="498348"/>
                    </a:lnTo>
                    <a:lnTo>
                      <a:pt x="249269" y="497491"/>
                    </a:lnTo>
                    <a:lnTo>
                      <a:pt x="264414" y="495776"/>
                    </a:lnTo>
                    <a:lnTo>
                      <a:pt x="266128" y="494919"/>
                    </a:lnTo>
                    <a:lnTo>
                      <a:pt x="266986" y="494062"/>
                    </a:lnTo>
                    <a:lnTo>
                      <a:pt x="267843" y="493205"/>
                    </a:lnTo>
                    <a:lnTo>
                      <a:pt x="268700" y="491490"/>
                    </a:lnTo>
                    <a:lnTo>
                      <a:pt x="270415" y="490633"/>
                    </a:lnTo>
                    <a:lnTo>
                      <a:pt x="276320" y="489776"/>
                    </a:lnTo>
                    <a:lnTo>
                      <a:pt x="277178" y="489776"/>
                    </a:lnTo>
                    <a:lnTo>
                      <a:pt x="278892" y="488918"/>
                    </a:lnTo>
                    <a:lnTo>
                      <a:pt x="279749" y="488061"/>
                    </a:lnTo>
                    <a:lnTo>
                      <a:pt x="281464" y="486346"/>
                    </a:lnTo>
                    <a:lnTo>
                      <a:pt x="285655" y="485489"/>
                    </a:lnTo>
                    <a:lnTo>
                      <a:pt x="288988" y="483775"/>
                    </a:lnTo>
                    <a:lnTo>
                      <a:pt x="290703" y="482918"/>
                    </a:lnTo>
                    <a:lnTo>
                      <a:pt x="294894" y="482918"/>
                    </a:lnTo>
                    <a:lnTo>
                      <a:pt x="295751" y="482918"/>
                    </a:lnTo>
                    <a:lnTo>
                      <a:pt x="296609" y="482918"/>
                    </a:lnTo>
                    <a:lnTo>
                      <a:pt x="296609" y="482918"/>
                    </a:lnTo>
                    <a:lnTo>
                      <a:pt x="298323" y="482918"/>
                    </a:lnTo>
                    <a:lnTo>
                      <a:pt x="300038" y="480346"/>
                    </a:lnTo>
                    <a:lnTo>
                      <a:pt x="300895" y="480346"/>
                    </a:lnTo>
                    <a:lnTo>
                      <a:pt x="305086" y="479488"/>
                    </a:lnTo>
                    <a:lnTo>
                      <a:pt x="308419" y="480346"/>
                    </a:lnTo>
                    <a:lnTo>
                      <a:pt x="312611" y="481203"/>
                    </a:lnTo>
                    <a:lnTo>
                      <a:pt x="315944" y="482918"/>
                    </a:lnTo>
                    <a:lnTo>
                      <a:pt x="316801" y="482060"/>
                    </a:lnTo>
                    <a:lnTo>
                      <a:pt x="320135" y="482060"/>
                    </a:lnTo>
                    <a:lnTo>
                      <a:pt x="324326" y="480346"/>
                    </a:lnTo>
                    <a:lnTo>
                      <a:pt x="326041" y="480346"/>
                    </a:lnTo>
                    <a:lnTo>
                      <a:pt x="327755" y="481203"/>
                    </a:lnTo>
                    <a:lnTo>
                      <a:pt x="329470" y="481203"/>
                    </a:lnTo>
                    <a:lnTo>
                      <a:pt x="331184" y="482060"/>
                    </a:lnTo>
                    <a:lnTo>
                      <a:pt x="337947" y="482918"/>
                    </a:lnTo>
                    <a:lnTo>
                      <a:pt x="345567" y="487204"/>
                    </a:lnTo>
                    <a:lnTo>
                      <a:pt x="352330" y="493205"/>
                    </a:lnTo>
                    <a:lnTo>
                      <a:pt x="354901" y="494062"/>
                    </a:lnTo>
                    <a:lnTo>
                      <a:pt x="355759" y="493205"/>
                    </a:lnTo>
                    <a:lnTo>
                      <a:pt x="354044" y="491490"/>
                    </a:lnTo>
                    <a:lnTo>
                      <a:pt x="346424" y="485489"/>
                    </a:lnTo>
                    <a:lnTo>
                      <a:pt x="344710" y="483775"/>
                    </a:lnTo>
                    <a:lnTo>
                      <a:pt x="343852" y="482918"/>
                    </a:lnTo>
                    <a:lnTo>
                      <a:pt x="343852" y="482060"/>
                    </a:lnTo>
                    <a:lnTo>
                      <a:pt x="342995" y="482060"/>
                    </a:lnTo>
                    <a:lnTo>
                      <a:pt x="342995" y="481203"/>
                    </a:lnTo>
                    <a:lnTo>
                      <a:pt x="342138" y="479488"/>
                    </a:lnTo>
                    <a:lnTo>
                      <a:pt x="342995" y="478631"/>
                    </a:lnTo>
                    <a:lnTo>
                      <a:pt x="343852" y="477774"/>
                    </a:lnTo>
                    <a:lnTo>
                      <a:pt x="343852" y="476917"/>
                    </a:lnTo>
                    <a:lnTo>
                      <a:pt x="342995" y="476060"/>
                    </a:lnTo>
                    <a:lnTo>
                      <a:pt x="341281" y="475202"/>
                    </a:lnTo>
                    <a:lnTo>
                      <a:pt x="338709" y="476060"/>
                    </a:lnTo>
                    <a:lnTo>
                      <a:pt x="336137" y="477774"/>
                    </a:lnTo>
                    <a:lnTo>
                      <a:pt x="333566" y="478631"/>
                    </a:lnTo>
                    <a:lnTo>
                      <a:pt x="318421" y="478631"/>
                    </a:lnTo>
                    <a:lnTo>
                      <a:pt x="314230" y="477774"/>
                    </a:lnTo>
                    <a:lnTo>
                      <a:pt x="310039" y="476060"/>
                    </a:lnTo>
                    <a:lnTo>
                      <a:pt x="301657" y="467582"/>
                    </a:lnTo>
                    <a:lnTo>
                      <a:pt x="298323" y="464153"/>
                    </a:lnTo>
                    <a:lnTo>
                      <a:pt x="296609" y="460725"/>
                    </a:lnTo>
                    <a:lnTo>
                      <a:pt x="296609" y="458153"/>
                    </a:lnTo>
                    <a:lnTo>
                      <a:pt x="297466" y="453866"/>
                    </a:lnTo>
                    <a:lnTo>
                      <a:pt x="298323" y="447866"/>
                    </a:lnTo>
                    <a:lnTo>
                      <a:pt x="299180" y="445294"/>
                    </a:lnTo>
                    <a:lnTo>
                      <a:pt x="300038" y="443579"/>
                    </a:lnTo>
                    <a:lnTo>
                      <a:pt x="300895" y="441865"/>
                    </a:lnTo>
                    <a:lnTo>
                      <a:pt x="301752" y="441008"/>
                    </a:lnTo>
                    <a:lnTo>
                      <a:pt x="303467" y="440150"/>
                    </a:lnTo>
                    <a:lnTo>
                      <a:pt x="303467" y="439293"/>
                    </a:lnTo>
                    <a:lnTo>
                      <a:pt x="304324" y="438436"/>
                    </a:lnTo>
                    <a:lnTo>
                      <a:pt x="304324" y="437579"/>
                    </a:lnTo>
                    <a:lnTo>
                      <a:pt x="304324" y="435864"/>
                    </a:lnTo>
                    <a:lnTo>
                      <a:pt x="310229" y="427387"/>
                    </a:lnTo>
                    <a:lnTo>
                      <a:pt x="314420" y="423101"/>
                    </a:lnTo>
                    <a:lnTo>
                      <a:pt x="316135" y="421386"/>
                    </a:lnTo>
                    <a:lnTo>
                      <a:pt x="316992" y="418814"/>
                    </a:lnTo>
                    <a:lnTo>
                      <a:pt x="317849" y="417957"/>
                    </a:lnTo>
                    <a:lnTo>
                      <a:pt x="319564" y="415385"/>
                    </a:lnTo>
                    <a:lnTo>
                      <a:pt x="321278" y="411099"/>
                    </a:lnTo>
                    <a:lnTo>
                      <a:pt x="328041" y="401765"/>
                    </a:lnTo>
                    <a:lnTo>
                      <a:pt x="332232" y="397478"/>
                    </a:lnTo>
                    <a:lnTo>
                      <a:pt x="336423" y="394907"/>
                    </a:lnTo>
                    <a:lnTo>
                      <a:pt x="333851" y="393192"/>
                    </a:lnTo>
                    <a:lnTo>
                      <a:pt x="332994" y="388906"/>
                    </a:lnTo>
                    <a:lnTo>
                      <a:pt x="332137" y="382143"/>
                    </a:lnTo>
                    <a:lnTo>
                      <a:pt x="332137" y="380429"/>
                    </a:lnTo>
                    <a:lnTo>
                      <a:pt x="332137" y="378714"/>
                    </a:lnTo>
                    <a:lnTo>
                      <a:pt x="332994" y="377857"/>
                    </a:lnTo>
                    <a:lnTo>
                      <a:pt x="334709" y="377000"/>
                    </a:lnTo>
                    <a:lnTo>
                      <a:pt x="335566" y="376142"/>
                    </a:lnTo>
                    <a:lnTo>
                      <a:pt x="335566" y="375285"/>
                    </a:lnTo>
                    <a:lnTo>
                      <a:pt x="335566" y="373666"/>
                    </a:lnTo>
                    <a:lnTo>
                      <a:pt x="336423" y="372809"/>
                    </a:lnTo>
                    <a:lnTo>
                      <a:pt x="337280" y="370237"/>
                    </a:lnTo>
                    <a:lnTo>
                      <a:pt x="339852" y="368522"/>
                    </a:lnTo>
                    <a:lnTo>
                      <a:pt x="346615" y="365093"/>
                    </a:lnTo>
                    <a:lnTo>
                      <a:pt x="348329" y="362521"/>
                    </a:lnTo>
                    <a:lnTo>
                      <a:pt x="350044" y="362521"/>
                    </a:lnTo>
                    <a:lnTo>
                      <a:pt x="351758" y="362521"/>
                    </a:lnTo>
                    <a:lnTo>
                      <a:pt x="354330" y="364236"/>
                    </a:lnTo>
                    <a:lnTo>
                      <a:pt x="356902" y="364236"/>
                    </a:lnTo>
                    <a:lnTo>
                      <a:pt x="362807" y="363379"/>
                    </a:lnTo>
                    <a:lnTo>
                      <a:pt x="365379" y="362521"/>
                    </a:lnTo>
                    <a:lnTo>
                      <a:pt x="365379" y="361664"/>
                    </a:lnTo>
                    <a:lnTo>
                      <a:pt x="364522" y="360807"/>
                    </a:lnTo>
                    <a:lnTo>
                      <a:pt x="368713" y="360807"/>
                    </a:lnTo>
                    <a:lnTo>
                      <a:pt x="371284" y="359950"/>
                    </a:lnTo>
                    <a:lnTo>
                      <a:pt x="372999" y="360807"/>
                    </a:lnTo>
                    <a:lnTo>
                      <a:pt x="372999" y="361664"/>
                    </a:lnTo>
                    <a:lnTo>
                      <a:pt x="369665" y="363379"/>
                    </a:lnTo>
                    <a:lnTo>
                      <a:pt x="368808" y="363379"/>
                    </a:lnTo>
                    <a:lnTo>
                      <a:pt x="367951" y="363379"/>
                    </a:lnTo>
                    <a:lnTo>
                      <a:pt x="367093" y="363379"/>
                    </a:lnTo>
                    <a:lnTo>
                      <a:pt x="367093" y="365093"/>
                    </a:lnTo>
                    <a:lnTo>
                      <a:pt x="367951" y="365093"/>
                    </a:lnTo>
                    <a:lnTo>
                      <a:pt x="368808" y="365951"/>
                    </a:lnTo>
                    <a:lnTo>
                      <a:pt x="370522" y="365951"/>
                    </a:lnTo>
                    <a:lnTo>
                      <a:pt x="389858" y="370237"/>
                    </a:lnTo>
                    <a:lnTo>
                      <a:pt x="391573" y="369380"/>
                    </a:lnTo>
                    <a:lnTo>
                      <a:pt x="391573" y="368522"/>
                    </a:lnTo>
                    <a:lnTo>
                      <a:pt x="389858" y="366808"/>
                    </a:lnTo>
                    <a:lnTo>
                      <a:pt x="386525" y="366808"/>
                    </a:lnTo>
                    <a:lnTo>
                      <a:pt x="385286" y="366808"/>
                    </a:lnTo>
                    <a:lnTo>
                      <a:pt x="384429" y="365951"/>
                    </a:lnTo>
                    <a:lnTo>
                      <a:pt x="382714" y="365093"/>
                    </a:lnTo>
                    <a:lnTo>
                      <a:pt x="381857" y="365093"/>
                    </a:lnTo>
                    <a:lnTo>
                      <a:pt x="380143" y="364236"/>
                    </a:lnTo>
                    <a:lnTo>
                      <a:pt x="378428" y="364236"/>
                    </a:lnTo>
                    <a:lnTo>
                      <a:pt x="376714" y="364236"/>
                    </a:lnTo>
                    <a:lnTo>
                      <a:pt x="374999" y="364236"/>
                    </a:lnTo>
                    <a:lnTo>
                      <a:pt x="375856" y="362521"/>
                    </a:lnTo>
                    <a:lnTo>
                      <a:pt x="377571" y="361664"/>
                    </a:lnTo>
                    <a:lnTo>
                      <a:pt x="391001" y="364236"/>
                    </a:lnTo>
                    <a:lnTo>
                      <a:pt x="393573" y="365951"/>
                    </a:lnTo>
                    <a:lnTo>
                      <a:pt x="392716" y="367665"/>
                    </a:lnTo>
                    <a:lnTo>
                      <a:pt x="395288" y="368522"/>
                    </a:lnTo>
                    <a:lnTo>
                      <a:pt x="397002" y="368522"/>
                    </a:lnTo>
                    <a:lnTo>
                      <a:pt x="399574" y="367665"/>
                    </a:lnTo>
                    <a:lnTo>
                      <a:pt x="401288" y="366808"/>
                    </a:lnTo>
                    <a:lnTo>
                      <a:pt x="402146" y="365951"/>
                    </a:lnTo>
                    <a:lnTo>
                      <a:pt x="403003" y="356616"/>
                    </a:lnTo>
                    <a:lnTo>
                      <a:pt x="402146" y="337090"/>
                    </a:lnTo>
                    <a:lnTo>
                      <a:pt x="401288" y="332804"/>
                    </a:lnTo>
                    <a:lnTo>
                      <a:pt x="401288" y="314135"/>
                    </a:lnTo>
                    <a:lnTo>
                      <a:pt x="401288" y="308134"/>
                    </a:lnTo>
                    <a:lnTo>
                      <a:pt x="400431" y="308134"/>
                    </a:lnTo>
                    <a:lnTo>
                      <a:pt x="397097" y="307277"/>
                    </a:lnTo>
                    <a:lnTo>
                      <a:pt x="397097" y="306419"/>
                    </a:lnTo>
                    <a:lnTo>
                      <a:pt x="396240" y="305562"/>
                    </a:lnTo>
                    <a:lnTo>
                      <a:pt x="395383" y="304705"/>
                    </a:lnTo>
                    <a:lnTo>
                      <a:pt x="394525" y="303848"/>
                    </a:lnTo>
                    <a:lnTo>
                      <a:pt x="395383" y="302990"/>
                    </a:lnTo>
                    <a:lnTo>
                      <a:pt x="395383" y="302990"/>
                    </a:lnTo>
                    <a:lnTo>
                      <a:pt x="395383" y="302133"/>
                    </a:lnTo>
                    <a:lnTo>
                      <a:pt x="396240" y="302133"/>
                    </a:lnTo>
                    <a:lnTo>
                      <a:pt x="396240" y="301276"/>
                    </a:lnTo>
                    <a:lnTo>
                      <a:pt x="395383" y="301276"/>
                    </a:lnTo>
                    <a:lnTo>
                      <a:pt x="394525" y="300419"/>
                    </a:lnTo>
                    <a:lnTo>
                      <a:pt x="393668" y="300419"/>
                    </a:lnTo>
                    <a:lnTo>
                      <a:pt x="392811" y="301276"/>
                    </a:lnTo>
                    <a:lnTo>
                      <a:pt x="392811" y="300419"/>
                    </a:lnTo>
                    <a:lnTo>
                      <a:pt x="392811" y="300419"/>
                    </a:lnTo>
                    <a:lnTo>
                      <a:pt x="392811" y="299561"/>
                    </a:lnTo>
                    <a:lnTo>
                      <a:pt x="391954" y="299561"/>
                    </a:lnTo>
                    <a:lnTo>
                      <a:pt x="391096" y="299561"/>
                    </a:lnTo>
                    <a:lnTo>
                      <a:pt x="390239" y="299561"/>
                    </a:lnTo>
                    <a:lnTo>
                      <a:pt x="389382" y="299561"/>
                    </a:lnTo>
                    <a:lnTo>
                      <a:pt x="389382" y="298704"/>
                    </a:lnTo>
                    <a:lnTo>
                      <a:pt x="387667" y="297847"/>
                    </a:lnTo>
                    <a:lnTo>
                      <a:pt x="386810" y="297847"/>
                    </a:lnTo>
                    <a:lnTo>
                      <a:pt x="385953" y="296990"/>
                    </a:lnTo>
                    <a:lnTo>
                      <a:pt x="385096" y="296132"/>
                    </a:lnTo>
                    <a:lnTo>
                      <a:pt x="385096" y="295275"/>
                    </a:lnTo>
                    <a:lnTo>
                      <a:pt x="385953" y="294418"/>
                    </a:lnTo>
                    <a:lnTo>
                      <a:pt x="386810" y="293561"/>
                    </a:lnTo>
                    <a:lnTo>
                      <a:pt x="385286" y="293561"/>
                    </a:lnTo>
                    <a:lnTo>
                      <a:pt x="385286" y="292703"/>
                    </a:lnTo>
                    <a:lnTo>
                      <a:pt x="385286" y="291846"/>
                    </a:lnTo>
                    <a:lnTo>
                      <a:pt x="387001" y="291846"/>
                    </a:lnTo>
                    <a:lnTo>
                      <a:pt x="388715" y="292703"/>
                    </a:lnTo>
                    <a:lnTo>
                      <a:pt x="388715" y="292703"/>
                    </a:lnTo>
                    <a:lnTo>
                      <a:pt x="389572" y="292703"/>
                    </a:lnTo>
                    <a:lnTo>
                      <a:pt x="389572" y="292703"/>
                    </a:lnTo>
                    <a:lnTo>
                      <a:pt x="389572" y="290989"/>
                    </a:lnTo>
                    <a:lnTo>
                      <a:pt x="389572" y="290132"/>
                    </a:lnTo>
                    <a:lnTo>
                      <a:pt x="388715" y="290132"/>
                    </a:lnTo>
                    <a:lnTo>
                      <a:pt x="387858" y="289275"/>
                    </a:lnTo>
                    <a:lnTo>
                      <a:pt x="387858" y="288417"/>
                    </a:lnTo>
                    <a:lnTo>
                      <a:pt x="388715" y="288417"/>
                    </a:lnTo>
                    <a:lnTo>
                      <a:pt x="391287" y="288417"/>
                    </a:lnTo>
                    <a:lnTo>
                      <a:pt x="393001" y="289275"/>
                    </a:lnTo>
                    <a:lnTo>
                      <a:pt x="393859" y="290132"/>
                    </a:lnTo>
                    <a:lnTo>
                      <a:pt x="394716" y="289275"/>
                    </a:lnTo>
                    <a:lnTo>
                      <a:pt x="396430" y="288417"/>
                    </a:lnTo>
                    <a:lnTo>
                      <a:pt x="399002" y="288417"/>
                    </a:lnTo>
                    <a:lnTo>
                      <a:pt x="400717" y="288417"/>
                    </a:lnTo>
                    <a:lnTo>
                      <a:pt x="400717" y="288417"/>
                    </a:lnTo>
                    <a:lnTo>
                      <a:pt x="401574" y="285845"/>
                    </a:lnTo>
                    <a:lnTo>
                      <a:pt x="402431" y="268796"/>
                    </a:lnTo>
                    <a:lnTo>
                      <a:pt x="399859" y="256889"/>
                    </a:lnTo>
                    <a:lnTo>
                      <a:pt x="399859" y="248412"/>
                    </a:lnTo>
                    <a:lnTo>
                      <a:pt x="399002" y="247555"/>
                    </a:lnTo>
                    <a:lnTo>
                      <a:pt x="398145" y="247555"/>
                    </a:lnTo>
                    <a:lnTo>
                      <a:pt x="395573" y="245840"/>
                    </a:lnTo>
                    <a:lnTo>
                      <a:pt x="393001" y="245840"/>
                    </a:lnTo>
                    <a:lnTo>
                      <a:pt x="391287" y="245840"/>
                    </a:lnTo>
                    <a:lnTo>
                      <a:pt x="390430" y="248412"/>
                    </a:lnTo>
                    <a:lnTo>
                      <a:pt x="389572" y="248412"/>
                    </a:lnTo>
                    <a:lnTo>
                      <a:pt x="384524" y="252698"/>
                    </a:lnTo>
                    <a:lnTo>
                      <a:pt x="382810" y="253556"/>
                    </a:lnTo>
                    <a:lnTo>
                      <a:pt x="381952" y="253556"/>
                    </a:lnTo>
                    <a:lnTo>
                      <a:pt x="382810" y="250984"/>
                    </a:lnTo>
                    <a:lnTo>
                      <a:pt x="389572" y="244983"/>
                    </a:lnTo>
                    <a:lnTo>
                      <a:pt x="390430" y="244126"/>
                    </a:lnTo>
                    <a:lnTo>
                      <a:pt x="391287" y="244126"/>
                    </a:lnTo>
                    <a:lnTo>
                      <a:pt x="392144" y="243269"/>
                    </a:lnTo>
                    <a:lnTo>
                      <a:pt x="393001" y="243269"/>
                    </a:lnTo>
                    <a:lnTo>
                      <a:pt x="393859" y="244126"/>
                    </a:lnTo>
                    <a:lnTo>
                      <a:pt x="397192" y="244126"/>
                    </a:lnTo>
                    <a:lnTo>
                      <a:pt x="398050" y="243269"/>
                    </a:lnTo>
                    <a:lnTo>
                      <a:pt x="398050" y="242411"/>
                    </a:lnTo>
                    <a:lnTo>
                      <a:pt x="398050" y="236411"/>
                    </a:lnTo>
                    <a:lnTo>
                      <a:pt x="397192" y="235553"/>
                    </a:lnTo>
                    <a:lnTo>
                      <a:pt x="394621" y="235553"/>
                    </a:lnTo>
                    <a:lnTo>
                      <a:pt x="395478" y="235553"/>
                    </a:lnTo>
                    <a:lnTo>
                      <a:pt x="395478" y="236411"/>
                    </a:lnTo>
                    <a:lnTo>
                      <a:pt x="395478" y="237268"/>
                    </a:lnTo>
                    <a:lnTo>
                      <a:pt x="394621" y="238125"/>
                    </a:lnTo>
                    <a:lnTo>
                      <a:pt x="393763" y="238125"/>
                    </a:lnTo>
                    <a:lnTo>
                      <a:pt x="393763" y="233839"/>
                    </a:lnTo>
                    <a:lnTo>
                      <a:pt x="391192" y="226219"/>
                    </a:lnTo>
                    <a:lnTo>
                      <a:pt x="390334" y="221075"/>
                    </a:lnTo>
                    <a:lnTo>
                      <a:pt x="390334" y="219361"/>
                    </a:lnTo>
                    <a:lnTo>
                      <a:pt x="392049" y="215075"/>
                    </a:lnTo>
                    <a:lnTo>
                      <a:pt x="392049" y="210788"/>
                    </a:lnTo>
                    <a:lnTo>
                      <a:pt x="393763" y="199739"/>
                    </a:lnTo>
                    <a:lnTo>
                      <a:pt x="394621" y="197168"/>
                    </a:lnTo>
                    <a:lnTo>
                      <a:pt x="396335" y="196310"/>
                    </a:lnTo>
                    <a:lnTo>
                      <a:pt x="397192" y="192881"/>
                    </a:lnTo>
                    <a:lnTo>
                      <a:pt x="397192" y="192881"/>
                    </a:lnTo>
                    <a:lnTo>
                      <a:pt x="396335" y="192881"/>
                    </a:lnTo>
                    <a:lnTo>
                      <a:pt x="393001" y="192881"/>
                    </a:lnTo>
                    <a:lnTo>
                      <a:pt x="391287" y="192024"/>
                    </a:lnTo>
                    <a:lnTo>
                      <a:pt x="390430" y="192024"/>
                    </a:lnTo>
                    <a:lnTo>
                      <a:pt x="389572" y="192024"/>
                    </a:lnTo>
                    <a:lnTo>
                      <a:pt x="389572" y="192024"/>
                    </a:lnTo>
                    <a:lnTo>
                      <a:pt x="388715" y="192024"/>
                    </a:lnTo>
                    <a:lnTo>
                      <a:pt x="387858" y="192024"/>
                    </a:lnTo>
                    <a:lnTo>
                      <a:pt x="387858" y="192024"/>
                    </a:lnTo>
                    <a:lnTo>
                      <a:pt x="387001" y="190310"/>
                    </a:lnTo>
                    <a:lnTo>
                      <a:pt x="386143" y="190310"/>
                    </a:lnTo>
                    <a:lnTo>
                      <a:pt x="385286" y="189833"/>
                    </a:lnTo>
                    <a:lnTo>
                      <a:pt x="385286" y="189833"/>
                    </a:lnTo>
                    <a:lnTo>
                      <a:pt x="384429" y="189833"/>
                    </a:lnTo>
                    <a:lnTo>
                      <a:pt x="384429" y="188976"/>
                    </a:lnTo>
                    <a:lnTo>
                      <a:pt x="385286" y="187262"/>
                    </a:lnTo>
                    <a:lnTo>
                      <a:pt x="385286" y="186404"/>
                    </a:lnTo>
                    <a:lnTo>
                      <a:pt x="386143" y="185547"/>
                    </a:lnTo>
                    <a:lnTo>
                      <a:pt x="386143" y="184690"/>
                    </a:lnTo>
                    <a:lnTo>
                      <a:pt x="385286" y="183833"/>
                    </a:lnTo>
                    <a:lnTo>
                      <a:pt x="385286" y="182975"/>
                    </a:lnTo>
                    <a:lnTo>
                      <a:pt x="384429" y="182975"/>
                    </a:lnTo>
                    <a:lnTo>
                      <a:pt x="384429" y="182118"/>
                    </a:lnTo>
                    <a:lnTo>
                      <a:pt x="383572" y="182118"/>
                    </a:lnTo>
                    <a:lnTo>
                      <a:pt x="383572" y="181261"/>
                    </a:lnTo>
                    <a:lnTo>
                      <a:pt x="383572" y="180404"/>
                    </a:lnTo>
                    <a:lnTo>
                      <a:pt x="383572" y="179546"/>
                    </a:lnTo>
                    <a:lnTo>
                      <a:pt x="383572" y="179546"/>
                    </a:lnTo>
                    <a:lnTo>
                      <a:pt x="381857" y="176975"/>
                    </a:lnTo>
                    <a:lnTo>
                      <a:pt x="381000" y="176975"/>
                    </a:lnTo>
                    <a:lnTo>
                      <a:pt x="381857" y="176117"/>
                    </a:lnTo>
                    <a:lnTo>
                      <a:pt x="381857" y="175260"/>
                    </a:lnTo>
                    <a:lnTo>
                      <a:pt x="382714" y="173546"/>
                    </a:lnTo>
                    <a:lnTo>
                      <a:pt x="383572" y="173546"/>
                    </a:lnTo>
                    <a:lnTo>
                      <a:pt x="383572" y="173546"/>
                    </a:lnTo>
                    <a:lnTo>
                      <a:pt x="383572" y="173546"/>
                    </a:lnTo>
                    <a:lnTo>
                      <a:pt x="384429" y="173546"/>
                    </a:lnTo>
                    <a:lnTo>
                      <a:pt x="385286" y="175260"/>
                    </a:lnTo>
                    <a:lnTo>
                      <a:pt x="386143" y="176117"/>
                    </a:lnTo>
                    <a:lnTo>
                      <a:pt x="387001" y="176975"/>
                    </a:lnTo>
                    <a:lnTo>
                      <a:pt x="387858" y="176975"/>
                    </a:lnTo>
                    <a:lnTo>
                      <a:pt x="391192" y="176117"/>
                    </a:lnTo>
                    <a:lnTo>
                      <a:pt x="392049" y="176117"/>
                    </a:lnTo>
                    <a:lnTo>
                      <a:pt x="392906" y="176975"/>
                    </a:lnTo>
                    <a:lnTo>
                      <a:pt x="392906" y="177832"/>
                    </a:lnTo>
                    <a:lnTo>
                      <a:pt x="392906" y="177832"/>
                    </a:lnTo>
                    <a:lnTo>
                      <a:pt x="392049" y="178689"/>
                    </a:lnTo>
                    <a:lnTo>
                      <a:pt x="390334" y="180404"/>
                    </a:lnTo>
                    <a:lnTo>
                      <a:pt x="390334" y="181261"/>
                    </a:lnTo>
                    <a:lnTo>
                      <a:pt x="390334" y="181261"/>
                    </a:lnTo>
                    <a:lnTo>
                      <a:pt x="391192" y="182118"/>
                    </a:lnTo>
                    <a:lnTo>
                      <a:pt x="392049" y="182118"/>
                    </a:lnTo>
                    <a:lnTo>
                      <a:pt x="392906" y="182975"/>
                    </a:lnTo>
                    <a:lnTo>
                      <a:pt x="392906" y="183833"/>
                    </a:lnTo>
                    <a:lnTo>
                      <a:pt x="393763" y="183833"/>
                    </a:lnTo>
                    <a:lnTo>
                      <a:pt x="394621" y="182975"/>
                    </a:lnTo>
                    <a:lnTo>
                      <a:pt x="397192" y="181261"/>
                    </a:lnTo>
                    <a:lnTo>
                      <a:pt x="398907" y="180404"/>
                    </a:lnTo>
                    <a:lnTo>
                      <a:pt x="401479" y="178689"/>
                    </a:lnTo>
                    <a:lnTo>
                      <a:pt x="401479" y="178689"/>
                    </a:lnTo>
                    <a:lnTo>
                      <a:pt x="401479" y="178689"/>
                    </a:lnTo>
                    <a:lnTo>
                      <a:pt x="402336" y="176975"/>
                    </a:lnTo>
                    <a:lnTo>
                      <a:pt x="402336" y="176117"/>
                    </a:lnTo>
                    <a:lnTo>
                      <a:pt x="402336" y="172688"/>
                    </a:lnTo>
                    <a:lnTo>
                      <a:pt x="402336" y="170974"/>
                    </a:lnTo>
                    <a:lnTo>
                      <a:pt x="403193" y="169259"/>
                    </a:lnTo>
                    <a:lnTo>
                      <a:pt x="406527" y="165830"/>
                    </a:lnTo>
                    <a:lnTo>
                      <a:pt x="409861" y="159068"/>
                    </a:lnTo>
                    <a:lnTo>
                      <a:pt x="410718" y="158210"/>
                    </a:lnTo>
                    <a:lnTo>
                      <a:pt x="412433" y="156496"/>
                    </a:lnTo>
                    <a:lnTo>
                      <a:pt x="418338" y="146304"/>
                    </a:lnTo>
                    <a:lnTo>
                      <a:pt x="415004" y="148876"/>
                    </a:lnTo>
                    <a:lnTo>
                      <a:pt x="412433" y="149733"/>
                    </a:lnTo>
                    <a:lnTo>
                      <a:pt x="411575" y="148876"/>
                    </a:lnTo>
                    <a:lnTo>
                      <a:pt x="412433" y="148019"/>
                    </a:lnTo>
                    <a:lnTo>
                      <a:pt x="418338" y="144590"/>
                    </a:lnTo>
                    <a:lnTo>
                      <a:pt x="420910" y="142875"/>
                    </a:lnTo>
                    <a:lnTo>
                      <a:pt x="424243" y="136112"/>
                    </a:lnTo>
                    <a:lnTo>
                      <a:pt x="424243" y="136112"/>
                    </a:lnTo>
                    <a:lnTo>
                      <a:pt x="425101" y="136112"/>
                    </a:lnTo>
                    <a:lnTo>
                      <a:pt x="427672" y="134398"/>
                    </a:lnTo>
                    <a:lnTo>
                      <a:pt x="428530" y="132683"/>
                    </a:lnTo>
                    <a:lnTo>
                      <a:pt x="431101" y="128397"/>
                    </a:lnTo>
                    <a:lnTo>
                      <a:pt x="431101" y="126683"/>
                    </a:lnTo>
                    <a:lnTo>
                      <a:pt x="435292" y="119920"/>
                    </a:lnTo>
                    <a:lnTo>
                      <a:pt x="437864" y="113919"/>
                    </a:lnTo>
                    <a:lnTo>
                      <a:pt x="437864" y="112204"/>
                    </a:lnTo>
                    <a:lnTo>
                      <a:pt x="438721" y="109633"/>
                    </a:lnTo>
                    <a:lnTo>
                      <a:pt x="439579" y="104489"/>
                    </a:lnTo>
                    <a:lnTo>
                      <a:pt x="440436" y="102775"/>
                    </a:lnTo>
                    <a:lnTo>
                      <a:pt x="442150" y="99346"/>
                    </a:lnTo>
                    <a:lnTo>
                      <a:pt x="443008" y="97631"/>
                    </a:lnTo>
                    <a:lnTo>
                      <a:pt x="443865" y="93345"/>
                    </a:lnTo>
                    <a:lnTo>
                      <a:pt x="445580" y="87344"/>
                    </a:lnTo>
                    <a:lnTo>
                      <a:pt x="447294" y="78867"/>
                    </a:lnTo>
                    <a:lnTo>
                      <a:pt x="448151" y="65246"/>
                    </a:lnTo>
                    <a:lnTo>
                      <a:pt x="449009" y="57626"/>
                    </a:lnTo>
                    <a:lnTo>
                      <a:pt x="449866" y="53340"/>
                    </a:lnTo>
                    <a:lnTo>
                      <a:pt x="449866" y="51626"/>
                    </a:lnTo>
                    <a:lnTo>
                      <a:pt x="452438" y="49911"/>
                    </a:lnTo>
                    <a:lnTo>
                      <a:pt x="452438" y="49054"/>
                    </a:lnTo>
                    <a:lnTo>
                      <a:pt x="451580" y="45625"/>
                    </a:lnTo>
                    <a:lnTo>
                      <a:pt x="451580" y="43910"/>
                    </a:lnTo>
                    <a:lnTo>
                      <a:pt x="452438" y="42196"/>
                    </a:lnTo>
                    <a:lnTo>
                      <a:pt x="454152" y="40481"/>
                    </a:lnTo>
                    <a:lnTo>
                      <a:pt x="455009" y="37910"/>
                    </a:lnTo>
                    <a:lnTo>
                      <a:pt x="455009" y="35338"/>
                    </a:lnTo>
                    <a:lnTo>
                      <a:pt x="453295" y="36195"/>
                    </a:lnTo>
                    <a:lnTo>
                      <a:pt x="452438" y="36195"/>
                    </a:lnTo>
                    <a:lnTo>
                      <a:pt x="453295" y="34481"/>
                    </a:lnTo>
                    <a:lnTo>
                      <a:pt x="453295" y="32766"/>
                    </a:lnTo>
                    <a:lnTo>
                      <a:pt x="454152" y="32766"/>
                    </a:lnTo>
                    <a:lnTo>
                      <a:pt x="455009" y="32766"/>
                    </a:lnTo>
                    <a:lnTo>
                      <a:pt x="455009" y="29337"/>
                    </a:lnTo>
                    <a:lnTo>
                      <a:pt x="455867" y="24194"/>
                    </a:lnTo>
                    <a:lnTo>
                      <a:pt x="456724" y="20765"/>
                    </a:lnTo>
                    <a:lnTo>
                      <a:pt x="455105" y="18002"/>
                    </a:lnTo>
                    <a:lnTo>
                      <a:pt x="455105" y="18002"/>
                    </a:lnTo>
                    <a:lnTo>
                      <a:pt x="455105" y="18002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30" name="Freeform: Shape 134">
                <a:extLst>
                  <a:ext uri="{FF2B5EF4-FFF2-40B4-BE49-F238E27FC236}">
                    <a16:creationId xmlns:a16="http://schemas.microsoft.com/office/drawing/2014/main" id="{126F395F-2621-43CC-9750-CF26F656F319}"/>
                  </a:ext>
                </a:extLst>
              </p:cNvPr>
              <p:cNvSpPr/>
              <p:nvPr/>
            </p:nvSpPr>
            <p:spPr>
              <a:xfrm>
                <a:off x="6675882" y="2765965"/>
                <a:ext cx="95250" cy="123825"/>
              </a:xfrm>
              <a:custGeom>
                <a:avLst/>
                <a:gdLst>
                  <a:gd name="connsiteX0" fmla="*/ 92297 w 95250"/>
                  <a:gd name="connsiteY0" fmla="*/ 95726 h 123825"/>
                  <a:gd name="connsiteX1" fmla="*/ 91535 w 95250"/>
                  <a:gd name="connsiteY1" fmla="*/ 94869 h 123825"/>
                  <a:gd name="connsiteX2" fmla="*/ 89059 w 95250"/>
                  <a:gd name="connsiteY2" fmla="*/ 91440 h 123825"/>
                  <a:gd name="connsiteX3" fmla="*/ 88201 w 95250"/>
                  <a:gd name="connsiteY3" fmla="*/ 90583 h 123825"/>
                  <a:gd name="connsiteX4" fmla="*/ 86582 w 95250"/>
                  <a:gd name="connsiteY4" fmla="*/ 89821 h 123825"/>
                  <a:gd name="connsiteX5" fmla="*/ 84868 w 95250"/>
                  <a:gd name="connsiteY5" fmla="*/ 88963 h 123825"/>
                  <a:gd name="connsiteX6" fmla="*/ 82391 w 95250"/>
                  <a:gd name="connsiteY6" fmla="*/ 86392 h 123825"/>
                  <a:gd name="connsiteX7" fmla="*/ 81629 w 95250"/>
                  <a:gd name="connsiteY7" fmla="*/ 82963 h 123825"/>
                  <a:gd name="connsiteX8" fmla="*/ 80772 w 95250"/>
                  <a:gd name="connsiteY8" fmla="*/ 79629 h 123825"/>
                  <a:gd name="connsiteX9" fmla="*/ 80772 w 95250"/>
                  <a:gd name="connsiteY9" fmla="*/ 75343 h 123825"/>
                  <a:gd name="connsiteX10" fmla="*/ 80772 w 95250"/>
                  <a:gd name="connsiteY10" fmla="*/ 73724 h 123825"/>
                  <a:gd name="connsiteX11" fmla="*/ 79153 w 95250"/>
                  <a:gd name="connsiteY11" fmla="*/ 71152 h 123825"/>
                  <a:gd name="connsiteX12" fmla="*/ 79153 w 95250"/>
                  <a:gd name="connsiteY12" fmla="*/ 69437 h 123825"/>
                  <a:gd name="connsiteX13" fmla="*/ 79915 w 95250"/>
                  <a:gd name="connsiteY13" fmla="*/ 67723 h 123825"/>
                  <a:gd name="connsiteX14" fmla="*/ 82391 w 95250"/>
                  <a:gd name="connsiteY14" fmla="*/ 64389 h 123825"/>
                  <a:gd name="connsiteX15" fmla="*/ 84106 w 95250"/>
                  <a:gd name="connsiteY15" fmla="*/ 60103 h 123825"/>
                  <a:gd name="connsiteX16" fmla="*/ 86582 w 95250"/>
                  <a:gd name="connsiteY16" fmla="*/ 55912 h 123825"/>
                  <a:gd name="connsiteX17" fmla="*/ 91535 w 95250"/>
                  <a:gd name="connsiteY17" fmla="*/ 32194 h 123825"/>
                  <a:gd name="connsiteX18" fmla="*/ 91535 w 95250"/>
                  <a:gd name="connsiteY18" fmla="*/ 30480 h 123825"/>
                  <a:gd name="connsiteX19" fmla="*/ 91535 w 95250"/>
                  <a:gd name="connsiteY19" fmla="*/ 28861 h 123825"/>
                  <a:gd name="connsiteX20" fmla="*/ 90678 w 95250"/>
                  <a:gd name="connsiteY20" fmla="*/ 26289 h 123825"/>
                  <a:gd name="connsiteX21" fmla="*/ 87344 w 95250"/>
                  <a:gd name="connsiteY21" fmla="*/ 23717 h 123825"/>
                  <a:gd name="connsiteX22" fmla="*/ 86582 w 95250"/>
                  <a:gd name="connsiteY22" fmla="*/ 22003 h 123825"/>
                  <a:gd name="connsiteX23" fmla="*/ 86582 w 95250"/>
                  <a:gd name="connsiteY23" fmla="*/ 20383 h 123825"/>
                  <a:gd name="connsiteX24" fmla="*/ 88201 w 95250"/>
                  <a:gd name="connsiteY24" fmla="*/ 16097 h 123825"/>
                  <a:gd name="connsiteX25" fmla="*/ 87344 w 95250"/>
                  <a:gd name="connsiteY25" fmla="*/ 13621 h 123825"/>
                  <a:gd name="connsiteX26" fmla="*/ 87344 w 95250"/>
                  <a:gd name="connsiteY26" fmla="*/ 13621 h 123825"/>
                  <a:gd name="connsiteX27" fmla="*/ 87344 w 95250"/>
                  <a:gd name="connsiteY27" fmla="*/ 13621 h 123825"/>
                  <a:gd name="connsiteX28" fmla="*/ 85725 w 95250"/>
                  <a:gd name="connsiteY28" fmla="*/ 11906 h 123825"/>
                  <a:gd name="connsiteX29" fmla="*/ 84106 w 95250"/>
                  <a:gd name="connsiteY29" fmla="*/ 9335 h 123825"/>
                  <a:gd name="connsiteX30" fmla="*/ 79153 w 95250"/>
                  <a:gd name="connsiteY30" fmla="*/ 6001 h 123825"/>
                  <a:gd name="connsiteX31" fmla="*/ 75819 w 95250"/>
                  <a:gd name="connsiteY31" fmla="*/ 5144 h 123825"/>
                  <a:gd name="connsiteX32" fmla="*/ 70104 w 95250"/>
                  <a:gd name="connsiteY32" fmla="*/ 4286 h 123825"/>
                  <a:gd name="connsiteX33" fmla="*/ 67627 w 95250"/>
                  <a:gd name="connsiteY33" fmla="*/ 2572 h 123825"/>
                  <a:gd name="connsiteX34" fmla="*/ 65151 w 95250"/>
                  <a:gd name="connsiteY34" fmla="*/ 0 h 123825"/>
                  <a:gd name="connsiteX35" fmla="*/ 63436 w 95250"/>
                  <a:gd name="connsiteY35" fmla="*/ 0 h 123825"/>
                  <a:gd name="connsiteX36" fmla="*/ 59341 w 95250"/>
                  <a:gd name="connsiteY36" fmla="*/ 3429 h 123825"/>
                  <a:gd name="connsiteX37" fmla="*/ 56864 w 95250"/>
                  <a:gd name="connsiteY37" fmla="*/ 6001 h 123825"/>
                  <a:gd name="connsiteX38" fmla="*/ 55245 w 95250"/>
                  <a:gd name="connsiteY38" fmla="*/ 8477 h 123825"/>
                  <a:gd name="connsiteX39" fmla="*/ 53626 w 95250"/>
                  <a:gd name="connsiteY39" fmla="*/ 9335 h 123825"/>
                  <a:gd name="connsiteX40" fmla="*/ 51149 w 95250"/>
                  <a:gd name="connsiteY40" fmla="*/ 8477 h 123825"/>
                  <a:gd name="connsiteX41" fmla="*/ 48673 w 95250"/>
                  <a:gd name="connsiteY41" fmla="*/ 9335 h 123825"/>
                  <a:gd name="connsiteX42" fmla="*/ 42863 w 95250"/>
                  <a:gd name="connsiteY42" fmla="*/ 13621 h 123825"/>
                  <a:gd name="connsiteX43" fmla="*/ 42863 w 95250"/>
                  <a:gd name="connsiteY43" fmla="*/ 13621 h 123825"/>
                  <a:gd name="connsiteX44" fmla="*/ 42863 w 95250"/>
                  <a:gd name="connsiteY44" fmla="*/ 13621 h 123825"/>
                  <a:gd name="connsiteX45" fmla="*/ 40386 w 95250"/>
                  <a:gd name="connsiteY45" fmla="*/ 15240 h 123825"/>
                  <a:gd name="connsiteX46" fmla="*/ 20574 w 95250"/>
                  <a:gd name="connsiteY46" fmla="*/ 18669 h 123825"/>
                  <a:gd name="connsiteX47" fmla="*/ 18955 w 95250"/>
                  <a:gd name="connsiteY47" fmla="*/ 19526 h 123825"/>
                  <a:gd name="connsiteX48" fmla="*/ 17335 w 95250"/>
                  <a:gd name="connsiteY48" fmla="*/ 19526 h 123825"/>
                  <a:gd name="connsiteX49" fmla="*/ 16478 w 95250"/>
                  <a:gd name="connsiteY49" fmla="*/ 19526 h 123825"/>
                  <a:gd name="connsiteX50" fmla="*/ 13240 w 95250"/>
                  <a:gd name="connsiteY50" fmla="*/ 19526 h 123825"/>
                  <a:gd name="connsiteX51" fmla="*/ 12382 w 95250"/>
                  <a:gd name="connsiteY51" fmla="*/ 19526 h 123825"/>
                  <a:gd name="connsiteX52" fmla="*/ 10763 w 95250"/>
                  <a:gd name="connsiteY52" fmla="*/ 22003 h 123825"/>
                  <a:gd name="connsiteX53" fmla="*/ 9906 w 95250"/>
                  <a:gd name="connsiteY53" fmla="*/ 24575 h 123825"/>
                  <a:gd name="connsiteX54" fmla="*/ 10763 w 95250"/>
                  <a:gd name="connsiteY54" fmla="*/ 28004 h 123825"/>
                  <a:gd name="connsiteX55" fmla="*/ 12382 w 95250"/>
                  <a:gd name="connsiteY55" fmla="*/ 30480 h 123825"/>
                  <a:gd name="connsiteX56" fmla="*/ 14859 w 95250"/>
                  <a:gd name="connsiteY56" fmla="*/ 31337 h 123825"/>
                  <a:gd name="connsiteX57" fmla="*/ 16478 w 95250"/>
                  <a:gd name="connsiteY57" fmla="*/ 31337 h 123825"/>
                  <a:gd name="connsiteX58" fmla="*/ 17335 w 95250"/>
                  <a:gd name="connsiteY58" fmla="*/ 32194 h 123825"/>
                  <a:gd name="connsiteX59" fmla="*/ 17335 w 95250"/>
                  <a:gd name="connsiteY59" fmla="*/ 33909 h 123825"/>
                  <a:gd name="connsiteX60" fmla="*/ 16478 w 95250"/>
                  <a:gd name="connsiteY60" fmla="*/ 36481 h 123825"/>
                  <a:gd name="connsiteX61" fmla="*/ 17335 w 95250"/>
                  <a:gd name="connsiteY61" fmla="*/ 41529 h 123825"/>
                  <a:gd name="connsiteX62" fmla="*/ 15716 w 95250"/>
                  <a:gd name="connsiteY62" fmla="*/ 44101 h 123825"/>
                  <a:gd name="connsiteX63" fmla="*/ 14002 w 95250"/>
                  <a:gd name="connsiteY63" fmla="*/ 47435 h 123825"/>
                  <a:gd name="connsiteX64" fmla="*/ 11525 w 95250"/>
                  <a:gd name="connsiteY64" fmla="*/ 57626 h 123825"/>
                  <a:gd name="connsiteX65" fmla="*/ 4953 w 95250"/>
                  <a:gd name="connsiteY65" fmla="*/ 69437 h 123825"/>
                  <a:gd name="connsiteX66" fmla="*/ 2476 w 95250"/>
                  <a:gd name="connsiteY66" fmla="*/ 75343 h 123825"/>
                  <a:gd name="connsiteX67" fmla="*/ 2476 w 95250"/>
                  <a:gd name="connsiteY67" fmla="*/ 77057 h 123825"/>
                  <a:gd name="connsiteX68" fmla="*/ 2476 w 95250"/>
                  <a:gd name="connsiteY68" fmla="*/ 77915 h 123825"/>
                  <a:gd name="connsiteX69" fmla="*/ 2476 w 95250"/>
                  <a:gd name="connsiteY69" fmla="*/ 80486 h 123825"/>
                  <a:gd name="connsiteX70" fmla="*/ 3334 w 95250"/>
                  <a:gd name="connsiteY70" fmla="*/ 81343 h 123825"/>
                  <a:gd name="connsiteX71" fmla="*/ 4096 w 95250"/>
                  <a:gd name="connsiteY71" fmla="*/ 82201 h 123825"/>
                  <a:gd name="connsiteX72" fmla="*/ 4096 w 95250"/>
                  <a:gd name="connsiteY72" fmla="*/ 82963 h 123825"/>
                  <a:gd name="connsiteX73" fmla="*/ 4096 w 95250"/>
                  <a:gd name="connsiteY73" fmla="*/ 83820 h 123825"/>
                  <a:gd name="connsiteX74" fmla="*/ 3334 w 95250"/>
                  <a:gd name="connsiteY74" fmla="*/ 84677 h 123825"/>
                  <a:gd name="connsiteX75" fmla="*/ 2476 w 95250"/>
                  <a:gd name="connsiteY75" fmla="*/ 85534 h 123825"/>
                  <a:gd name="connsiteX76" fmla="*/ 2476 w 95250"/>
                  <a:gd name="connsiteY76" fmla="*/ 86392 h 123825"/>
                  <a:gd name="connsiteX77" fmla="*/ 1619 w 95250"/>
                  <a:gd name="connsiteY77" fmla="*/ 88963 h 123825"/>
                  <a:gd name="connsiteX78" fmla="*/ 1619 w 95250"/>
                  <a:gd name="connsiteY78" fmla="*/ 89821 h 123825"/>
                  <a:gd name="connsiteX79" fmla="*/ 1619 w 95250"/>
                  <a:gd name="connsiteY79" fmla="*/ 91440 h 123825"/>
                  <a:gd name="connsiteX80" fmla="*/ 1619 w 95250"/>
                  <a:gd name="connsiteY80" fmla="*/ 93154 h 123825"/>
                  <a:gd name="connsiteX81" fmla="*/ 3334 w 95250"/>
                  <a:gd name="connsiteY81" fmla="*/ 95726 h 123825"/>
                  <a:gd name="connsiteX82" fmla="*/ 3334 w 95250"/>
                  <a:gd name="connsiteY82" fmla="*/ 97441 h 123825"/>
                  <a:gd name="connsiteX83" fmla="*/ 2476 w 95250"/>
                  <a:gd name="connsiteY83" fmla="*/ 99917 h 123825"/>
                  <a:gd name="connsiteX84" fmla="*/ 0 w 95250"/>
                  <a:gd name="connsiteY84" fmla="*/ 105823 h 123825"/>
                  <a:gd name="connsiteX85" fmla="*/ 2476 w 95250"/>
                  <a:gd name="connsiteY85" fmla="*/ 106680 h 123825"/>
                  <a:gd name="connsiteX86" fmla="*/ 4096 w 95250"/>
                  <a:gd name="connsiteY86" fmla="*/ 108395 h 123825"/>
                  <a:gd name="connsiteX87" fmla="*/ 7429 w 95250"/>
                  <a:gd name="connsiteY87" fmla="*/ 110966 h 123825"/>
                  <a:gd name="connsiteX88" fmla="*/ 8287 w 95250"/>
                  <a:gd name="connsiteY88" fmla="*/ 112681 h 123825"/>
                  <a:gd name="connsiteX89" fmla="*/ 8287 w 95250"/>
                  <a:gd name="connsiteY89" fmla="*/ 113443 h 123825"/>
                  <a:gd name="connsiteX90" fmla="*/ 8287 w 95250"/>
                  <a:gd name="connsiteY90" fmla="*/ 116015 h 123825"/>
                  <a:gd name="connsiteX91" fmla="*/ 9049 w 95250"/>
                  <a:gd name="connsiteY91" fmla="*/ 116872 h 123825"/>
                  <a:gd name="connsiteX92" fmla="*/ 9049 w 95250"/>
                  <a:gd name="connsiteY92" fmla="*/ 117729 h 123825"/>
                  <a:gd name="connsiteX93" fmla="*/ 10763 w 95250"/>
                  <a:gd name="connsiteY93" fmla="*/ 119443 h 123825"/>
                  <a:gd name="connsiteX94" fmla="*/ 12382 w 95250"/>
                  <a:gd name="connsiteY94" fmla="*/ 120301 h 123825"/>
                  <a:gd name="connsiteX95" fmla="*/ 15716 w 95250"/>
                  <a:gd name="connsiteY95" fmla="*/ 120301 h 123825"/>
                  <a:gd name="connsiteX96" fmla="*/ 20574 w 95250"/>
                  <a:gd name="connsiteY96" fmla="*/ 119443 h 123825"/>
                  <a:gd name="connsiteX97" fmla="*/ 24765 w 95250"/>
                  <a:gd name="connsiteY97" fmla="*/ 120301 h 123825"/>
                  <a:gd name="connsiteX98" fmla="*/ 36290 w 95250"/>
                  <a:gd name="connsiteY98" fmla="*/ 124492 h 123825"/>
                  <a:gd name="connsiteX99" fmla="*/ 37052 w 95250"/>
                  <a:gd name="connsiteY99" fmla="*/ 125349 h 123825"/>
                  <a:gd name="connsiteX100" fmla="*/ 37052 w 95250"/>
                  <a:gd name="connsiteY100" fmla="*/ 126206 h 123825"/>
                  <a:gd name="connsiteX101" fmla="*/ 37909 w 95250"/>
                  <a:gd name="connsiteY101" fmla="*/ 126206 h 123825"/>
                  <a:gd name="connsiteX102" fmla="*/ 39529 w 95250"/>
                  <a:gd name="connsiteY102" fmla="*/ 126206 h 123825"/>
                  <a:gd name="connsiteX103" fmla="*/ 42863 w 95250"/>
                  <a:gd name="connsiteY103" fmla="*/ 125349 h 123825"/>
                  <a:gd name="connsiteX104" fmla="*/ 45339 w 95250"/>
                  <a:gd name="connsiteY104" fmla="*/ 124492 h 123825"/>
                  <a:gd name="connsiteX105" fmla="*/ 47815 w 95250"/>
                  <a:gd name="connsiteY105" fmla="*/ 122777 h 123825"/>
                  <a:gd name="connsiteX106" fmla="*/ 55245 w 95250"/>
                  <a:gd name="connsiteY106" fmla="*/ 115157 h 123825"/>
                  <a:gd name="connsiteX107" fmla="*/ 57721 w 95250"/>
                  <a:gd name="connsiteY107" fmla="*/ 115157 h 123825"/>
                  <a:gd name="connsiteX108" fmla="*/ 65913 w 95250"/>
                  <a:gd name="connsiteY108" fmla="*/ 116015 h 123825"/>
                  <a:gd name="connsiteX109" fmla="*/ 70866 w 95250"/>
                  <a:gd name="connsiteY109" fmla="*/ 115157 h 123825"/>
                  <a:gd name="connsiteX110" fmla="*/ 71723 w 95250"/>
                  <a:gd name="connsiteY110" fmla="*/ 116015 h 123825"/>
                  <a:gd name="connsiteX111" fmla="*/ 74200 w 95250"/>
                  <a:gd name="connsiteY111" fmla="*/ 117729 h 123825"/>
                  <a:gd name="connsiteX112" fmla="*/ 77438 w 95250"/>
                  <a:gd name="connsiteY112" fmla="*/ 119443 h 123825"/>
                  <a:gd name="connsiteX113" fmla="*/ 78296 w 95250"/>
                  <a:gd name="connsiteY113" fmla="*/ 118586 h 123825"/>
                  <a:gd name="connsiteX114" fmla="*/ 78296 w 95250"/>
                  <a:gd name="connsiteY114" fmla="*/ 118586 h 123825"/>
                  <a:gd name="connsiteX115" fmla="*/ 78296 w 95250"/>
                  <a:gd name="connsiteY115" fmla="*/ 118586 h 123825"/>
                  <a:gd name="connsiteX116" fmla="*/ 79153 w 95250"/>
                  <a:gd name="connsiteY116" fmla="*/ 114300 h 123825"/>
                  <a:gd name="connsiteX117" fmla="*/ 80772 w 95250"/>
                  <a:gd name="connsiteY117" fmla="*/ 110966 h 123825"/>
                  <a:gd name="connsiteX118" fmla="*/ 83248 w 95250"/>
                  <a:gd name="connsiteY118" fmla="*/ 107537 h 123825"/>
                  <a:gd name="connsiteX119" fmla="*/ 85725 w 95250"/>
                  <a:gd name="connsiteY119" fmla="*/ 105061 h 123825"/>
                  <a:gd name="connsiteX120" fmla="*/ 92297 w 95250"/>
                  <a:gd name="connsiteY120" fmla="*/ 103346 h 123825"/>
                  <a:gd name="connsiteX121" fmla="*/ 93917 w 95250"/>
                  <a:gd name="connsiteY121" fmla="*/ 102489 h 123825"/>
                  <a:gd name="connsiteX122" fmla="*/ 94774 w 95250"/>
                  <a:gd name="connsiteY122" fmla="*/ 101632 h 123825"/>
                  <a:gd name="connsiteX123" fmla="*/ 95631 w 95250"/>
                  <a:gd name="connsiteY123" fmla="*/ 98203 h 123825"/>
                  <a:gd name="connsiteX124" fmla="*/ 92297 w 95250"/>
                  <a:gd name="connsiteY124" fmla="*/ 95726 h 123825"/>
                  <a:gd name="connsiteX125" fmla="*/ 92297 w 95250"/>
                  <a:gd name="connsiteY125" fmla="*/ 95726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</a:cxnLst>
                <a:rect l="l" t="t" r="r" b="b"/>
                <a:pathLst>
                  <a:path w="95250" h="123825">
                    <a:moveTo>
                      <a:pt x="92297" y="95726"/>
                    </a:moveTo>
                    <a:lnTo>
                      <a:pt x="91535" y="94869"/>
                    </a:lnTo>
                    <a:lnTo>
                      <a:pt x="89059" y="91440"/>
                    </a:lnTo>
                    <a:lnTo>
                      <a:pt x="88201" y="90583"/>
                    </a:lnTo>
                    <a:lnTo>
                      <a:pt x="86582" y="89821"/>
                    </a:lnTo>
                    <a:lnTo>
                      <a:pt x="84868" y="88963"/>
                    </a:lnTo>
                    <a:lnTo>
                      <a:pt x="82391" y="86392"/>
                    </a:lnTo>
                    <a:lnTo>
                      <a:pt x="81629" y="82963"/>
                    </a:lnTo>
                    <a:lnTo>
                      <a:pt x="80772" y="79629"/>
                    </a:lnTo>
                    <a:lnTo>
                      <a:pt x="80772" y="75343"/>
                    </a:lnTo>
                    <a:lnTo>
                      <a:pt x="80772" y="73724"/>
                    </a:lnTo>
                    <a:lnTo>
                      <a:pt x="79153" y="71152"/>
                    </a:lnTo>
                    <a:lnTo>
                      <a:pt x="79153" y="69437"/>
                    </a:lnTo>
                    <a:lnTo>
                      <a:pt x="79915" y="67723"/>
                    </a:lnTo>
                    <a:lnTo>
                      <a:pt x="82391" y="64389"/>
                    </a:lnTo>
                    <a:lnTo>
                      <a:pt x="84106" y="60103"/>
                    </a:lnTo>
                    <a:lnTo>
                      <a:pt x="86582" y="55912"/>
                    </a:lnTo>
                    <a:lnTo>
                      <a:pt x="91535" y="32194"/>
                    </a:lnTo>
                    <a:lnTo>
                      <a:pt x="91535" y="30480"/>
                    </a:lnTo>
                    <a:lnTo>
                      <a:pt x="91535" y="28861"/>
                    </a:lnTo>
                    <a:lnTo>
                      <a:pt x="90678" y="26289"/>
                    </a:lnTo>
                    <a:lnTo>
                      <a:pt x="87344" y="23717"/>
                    </a:lnTo>
                    <a:lnTo>
                      <a:pt x="86582" y="22003"/>
                    </a:lnTo>
                    <a:lnTo>
                      <a:pt x="86582" y="20383"/>
                    </a:lnTo>
                    <a:lnTo>
                      <a:pt x="88201" y="16097"/>
                    </a:lnTo>
                    <a:lnTo>
                      <a:pt x="87344" y="13621"/>
                    </a:lnTo>
                    <a:lnTo>
                      <a:pt x="87344" y="13621"/>
                    </a:lnTo>
                    <a:lnTo>
                      <a:pt x="87344" y="13621"/>
                    </a:lnTo>
                    <a:lnTo>
                      <a:pt x="85725" y="11906"/>
                    </a:lnTo>
                    <a:lnTo>
                      <a:pt x="84106" y="9335"/>
                    </a:lnTo>
                    <a:lnTo>
                      <a:pt x="79153" y="6001"/>
                    </a:lnTo>
                    <a:lnTo>
                      <a:pt x="75819" y="5144"/>
                    </a:lnTo>
                    <a:lnTo>
                      <a:pt x="70104" y="4286"/>
                    </a:lnTo>
                    <a:lnTo>
                      <a:pt x="67627" y="2572"/>
                    </a:lnTo>
                    <a:lnTo>
                      <a:pt x="65151" y="0"/>
                    </a:lnTo>
                    <a:lnTo>
                      <a:pt x="63436" y="0"/>
                    </a:lnTo>
                    <a:lnTo>
                      <a:pt x="59341" y="3429"/>
                    </a:lnTo>
                    <a:lnTo>
                      <a:pt x="56864" y="6001"/>
                    </a:lnTo>
                    <a:lnTo>
                      <a:pt x="55245" y="8477"/>
                    </a:lnTo>
                    <a:lnTo>
                      <a:pt x="53626" y="9335"/>
                    </a:lnTo>
                    <a:lnTo>
                      <a:pt x="51149" y="8477"/>
                    </a:lnTo>
                    <a:lnTo>
                      <a:pt x="48673" y="9335"/>
                    </a:lnTo>
                    <a:lnTo>
                      <a:pt x="42863" y="13621"/>
                    </a:lnTo>
                    <a:lnTo>
                      <a:pt x="42863" y="13621"/>
                    </a:lnTo>
                    <a:lnTo>
                      <a:pt x="42863" y="13621"/>
                    </a:lnTo>
                    <a:lnTo>
                      <a:pt x="40386" y="15240"/>
                    </a:lnTo>
                    <a:lnTo>
                      <a:pt x="20574" y="18669"/>
                    </a:lnTo>
                    <a:lnTo>
                      <a:pt x="18955" y="19526"/>
                    </a:lnTo>
                    <a:lnTo>
                      <a:pt x="17335" y="19526"/>
                    </a:lnTo>
                    <a:lnTo>
                      <a:pt x="16478" y="19526"/>
                    </a:lnTo>
                    <a:lnTo>
                      <a:pt x="13240" y="19526"/>
                    </a:lnTo>
                    <a:lnTo>
                      <a:pt x="12382" y="19526"/>
                    </a:lnTo>
                    <a:lnTo>
                      <a:pt x="10763" y="22003"/>
                    </a:lnTo>
                    <a:lnTo>
                      <a:pt x="9906" y="24575"/>
                    </a:lnTo>
                    <a:lnTo>
                      <a:pt x="10763" y="28004"/>
                    </a:lnTo>
                    <a:lnTo>
                      <a:pt x="12382" y="30480"/>
                    </a:lnTo>
                    <a:lnTo>
                      <a:pt x="14859" y="31337"/>
                    </a:lnTo>
                    <a:lnTo>
                      <a:pt x="16478" y="31337"/>
                    </a:lnTo>
                    <a:lnTo>
                      <a:pt x="17335" y="32194"/>
                    </a:lnTo>
                    <a:lnTo>
                      <a:pt x="17335" y="33909"/>
                    </a:lnTo>
                    <a:lnTo>
                      <a:pt x="16478" y="36481"/>
                    </a:lnTo>
                    <a:lnTo>
                      <a:pt x="17335" y="41529"/>
                    </a:lnTo>
                    <a:lnTo>
                      <a:pt x="15716" y="44101"/>
                    </a:lnTo>
                    <a:lnTo>
                      <a:pt x="14002" y="47435"/>
                    </a:lnTo>
                    <a:lnTo>
                      <a:pt x="11525" y="57626"/>
                    </a:lnTo>
                    <a:lnTo>
                      <a:pt x="4953" y="69437"/>
                    </a:lnTo>
                    <a:lnTo>
                      <a:pt x="2476" y="75343"/>
                    </a:lnTo>
                    <a:lnTo>
                      <a:pt x="2476" y="77057"/>
                    </a:lnTo>
                    <a:lnTo>
                      <a:pt x="2476" y="77915"/>
                    </a:lnTo>
                    <a:lnTo>
                      <a:pt x="2476" y="80486"/>
                    </a:lnTo>
                    <a:lnTo>
                      <a:pt x="3334" y="81343"/>
                    </a:lnTo>
                    <a:lnTo>
                      <a:pt x="4096" y="82201"/>
                    </a:lnTo>
                    <a:lnTo>
                      <a:pt x="4096" y="82963"/>
                    </a:lnTo>
                    <a:lnTo>
                      <a:pt x="4096" y="83820"/>
                    </a:lnTo>
                    <a:lnTo>
                      <a:pt x="3334" y="84677"/>
                    </a:lnTo>
                    <a:lnTo>
                      <a:pt x="2476" y="85534"/>
                    </a:lnTo>
                    <a:lnTo>
                      <a:pt x="2476" y="86392"/>
                    </a:lnTo>
                    <a:lnTo>
                      <a:pt x="1619" y="88963"/>
                    </a:lnTo>
                    <a:lnTo>
                      <a:pt x="1619" y="89821"/>
                    </a:lnTo>
                    <a:lnTo>
                      <a:pt x="1619" y="91440"/>
                    </a:lnTo>
                    <a:lnTo>
                      <a:pt x="1619" y="93154"/>
                    </a:lnTo>
                    <a:lnTo>
                      <a:pt x="3334" y="95726"/>
                    </a:lnTo>
                    <a:lnTo>
                      <a:pt x="3334" y="97441"/>
                    </a:lnTo>
                    <a:lnTo>
                      <a:pt x="2476" y="99917"/>
                    </a:lnTo>
                    <a:lnTo>
                      <a:pt x="0" y="105823"/>
                    </a:lnTo>
                    <a:lnTo>
                      <a:pt x="2476" y="106680"/>
                    </a:lnTo>
                    <a:lnTo>
                      <a:pt x="4096" y="108395"/>
                    </a:lnTo>
                    <a:lnTo>
                      <a:pt x="7429" y="110966"/>
                    </a:lnTo>
                    <a:lnTo>
                      <a:pt x="8287" y="112681"/>
                    </a:lnTo>
                    <a:lnTo>
                      <a:pt x="8287" y="113443"/>
                    </a:lnTo>
                    <a:lnTo>
                      <a:pt x="8287" y="116015"/>
                    </a:lnTo>
                    <a:lnTo>
                      <a:pt x="9049" y="116872"/>
                    </a:lnTo>
                    <a:lnTo>
                      <a:pt x="9049" y="117729"/>
                    </a:lnTo>
                    <a:lnTo>
                      <a:pt x="10763" y="119443"/>
                    </a:lnTo>
                    <a:lnTo>
                      <a:pt x="12382" y="120301"/>
                    </a:lnTo>
                    <a:lnTo>
                      <a:pt x="15716" y="120301"/>
                    </a:lnTo>
                    <a:lnTo>
                      <a:pt x="20574" y="119443"/>
                    </a:lnTo>
                    <a:lnTo>
                      <a:pt x="24765" y="120301"/>
                    </a:lnTo>
                    <a:lnTo>
                      <a:pt x="36290" y="124492"/>
                    </a:lnTo>
                    <a:lnTo>
                      <a:pt x="37052" y="125349"/>
                    </a:lnTo>
                    <a:lnTo>
                      <a:pt x="37052" y="126206"/>
                    </a:lnTo>
                    <a:lnTo>
                      <a:pt x="37909" y="126206"/>
                    </a:lnTo>
                    <a:lnTo>
                      <a:pt x="39529" y="126206"/>
                    </a:lnTo>
                    <a:lnTo>
                      <a:pt x="42863" y="125349"/>
                    </a:lnTo>
                    <a:lnTo>
                      <a:pt x="45339" y="124492"/>
                    </a:lnTo>
                    <a:lnTo>
                      <a:pt x="47815" y="122777"/>
                    </a:lnTo>
                    <a:lnTo>
                      <a:pt x="55245" y="115157"/>
                    </a:lnTo>
                    <a:lnTo>
                      <a:pt x="57721" y="115157"/>
                    </a:lnTo>
                    <a:lnTo>
                      <a:pt x="65913" y="116015"/>
                    </a:lnTo>
                    <a:lnTo>
                      <a:pt x="70866" y="115157"/>
                    </a:lnTo>
                    <a:lnTo>
                      <a:pt x="71723" y="116015"/>
                    </a:lnTo>
                    <a:lnTo>
                      <a:pt x="74200" y="117729"/>
                    </a:lnTo>
                    <a:lnTo>
                      <a:pt x="77438" y="119443"/>
                    </a:lnTo>
                    <a:lnTo>
                      <a:pt x="78296" y="118586"/>
                    </a:lnTo>
                    <a:lnTo>
                      <a:pt x="78296" y="118586"/>
                    </a:lnTo>
                    <a:lnTo>
                      <a:pt x="78296" y="118586"/>
                    </a:lnTo>
                    <a:lnTo>
                      <a:pt x="79153" y="114300"/>
                    </a:lnTo>
                    <a:lnTo>
                      <a:pt x="80772" y="110966"/>
                    </a:lnTo>
                    <a:lnTo>
                      <a:pt x="83248" y="107537"/>
                    </a:lnTo>
                    <a:lnTo>
                      <a:pt x="85725" y="105061"/>
                    </a:lnTo>
                    <a:lnTo>
                      <a:pt x="92297" y="103346"/>
                    </a:lnTo>
                    <a:lnTo>
                      <a:pt x="93917" y="102489"/>
                    </a:lnTo>
                    <a:lnTo>
                      <a:pt x="94774" y="101632"/>
                    </a:lnTo>
                    <a:lnTo>
                      <a:pt x="95631" y="98203"/>
                    </a:lnTo>
                    <a:lnTo>
                      <a:pt x="92297" y="95726"/>
                    </a:lnTo>
                    <a:lnTo>
                      <a:pt x="92297" y="95726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31" name="Freeform: Shape 135">
                <a:extLst>
                  <a:ext uri="{FF2B5EF4-FFF2-40B4-BE49-F238E27FC236}">
                    <a16:creationId xmlns:a16="http://schemas.microsoft.com/office/drawing/2014/main" id="{96D3B143-8FD5-42B0-8E63-0C7275B7BFDE}"/>
                  </a:ext>
                </a:extLst>
              </p:cNvPr>
              <p:cNvSpPr/>
              <p:nvPr/>
            </p:nvSpPr>
            <p:spPr>
              <a:xfrm>
                <a:off x="4629245" y="2500694"/>
                <a:ext cx="962025" cy="876300"/>
              </a:xfrm>
              <a:custGeom>
                <a:avLst/>
                <a:gdLst>
                  <a:gd name="connsiteX0" fmla="*/ 968978 w 962025"/>
                  <a:gd name="connsiteY0" fmla="*/ 411385 h 876300"/>
                  <a:gd name="connsiteX1" fmla="*/ 968978 w 962025"/>
                  <a:gd name="connsiteY1" fmla="*/ 410528 h 876300"/>
                  <a:gd name="connsiteX2" fmla="*/ 968121 w 962025"/>
                  <a:gd name="connsiteY2" fmla="*/ 410528 h 876300"/>
                  <a:gd name="connsiteX3" fmla="*/ 967359 w 962025"/>
                  <a:gd name="connsiteY3" fmla="*/ 409670 h 876300"/>
                  <a:gd name="connsiteX4" fmla="*/ 966502 w 962025"/>
                  <a:gd name="connsiteY4" fmla="*/ 409670 h 876300"/>
                  <a:gd name="connsiteX5" fmla="*/ 963930 w 962025"/>
                  <a:gd name="connsiteY5" fmla="*/ 408813 h 876300"/>
                  <a:gd name="connsiteX6" fmla="*/ 963073 w 962025"/>
                  <a:gd name="connsiteY6" fmla="*/ 408813 h 876300"/>
                  <a:gd name="connsiteX7" fmla="*/ 961358 w 962025"/>
                  <a:gd name="connsiteY7" fmla="*/ 407956 h 876300"/>
                  <a:gd name="connsiteX8" fmla="*/ 960501 w 962025"/>
                  <a:gd name="connsiteY8" fmla="*/ 407956 h 876300"/>
                  <a:gd name="connsiteX9" fmla="*/ 958882 w 962025"/>
                  <a:gd name="connsiteY9" fmla="*/ 407956 h 876300"/>
                  <a:gd name="connsiteX10" fmla="*/ 955453 w 962025"/>
                  <a:gd name="connsiteY10" fmla="*/ 407956 h 876300"/>
                  <a:gd name="connsiteX11" fmla="*/ 953738 w 962025"/>
                  <a:gd name="connsiteY11" fmla="*/ 407956 h 876300"/>
                  <a:gd name="connsiteX12" fmla="*/ 952119 w 962025"/>
                  <a:gd name="connsiteY12" fmla="*/ 408813 h 876300"/>
                  <a:gd name="connsiteX13" fmla="*/ 951262 w 962025"/>
                  <a:gd name="connsiteY13" fmla="*/ 409670 h 876300"/>
                  <a:gd name="connsiteX14" fmla="*/ 950405 w 962025"/>
                  <a:gd name="connsiteY14" fmla="*/ 410528 h 876300"/>
                  <a:gd name="connsiteX15" fmla="*/ 950405 w 962025"/>
                  <a:gd name="connsiteY15" fmla="*/ 411385 h 876300"/>
                  <a:gd name="connsiteX16" fmla="*/ 949547 w 962025"/>
                  <a:gd name="connsiteY16" fmla="*/ 412242 h 876300"/>
                  <a:gd name="connsiteX17" fmla="*/ 948690 w 962025"/>
                  <a:gd name="connsiteY17" fmla="*/ 413099 h 876300"/>
                  <a:gd name="connsiteX18" fmla="*/ 947833 w 962025"/>
                  <a:gd name="connsiteY18" fmla="*/ 413099 h 876300"/>
                  <a:gd name="connsiteX19" fmla="*/ 946118 w 962025"/>
                  <a:gd name="connsiteY19" fmla="*/ 413099 h 876300"/>
                  <a:gd name="connsiteX20" fmla="*/ 945261 w 962025"/>
                  <a:gd name="connsiteY20" fmla="*/ 413099 h 876300"/>
                  <a:gd name="connsiteX21" fmla="*/ 944404 w 962025"/>
                  <a:gd name="connsiteY21" fmla="*/ 413957 h 876300"/>
                  <a:gd name="connsiteX22" fmla="*/ 944404 w 962025"/>
                  <a:gd name="connsiteY22" fmla="*/ 413957 h 876300"/>
                  <a:gd name="connsiteX23" fmla="*/ 943642 w 962025"/>
                  <a:gd name="connsiteY23" fmla="*/ 414719 h 876300"/>
                  <a:gd name="connsiteX24" fmla="*/ 944404 w 962025"/>
                  <a:gd name="connsiteY24" fmla="*/ 417290 h 876300"/>
                  <a:gd name="connsiteX25" fmla="*/ 943642 w 962025"/>
                  <a:gd name="connsiteY25" fmla="*/ 418148 h 876300"/>
                  <a:gd name="connsiteX26" fmla="*/ 943642 w 962025"/>
                  <a:gd name="connsiteY26" fmla="*/ 418148 h 876300"/>
                  <a:gd name="connsiteX27" fmla="*/ 942785 w 962025"/>
                  <a:gd name="connsiteY27" fmla="*/ 418148 h 876300"/>
                  <a:gd name="connsiteX28" fmla="*/ 942785 w 962025"/>
                  <a:gd name="connsiteY28" fmla="*/ 417290 h 876300"/>
                  <a:gd name="connsiteX29" fmla="*/ 941927 w 962025"/>
                  <a:gd name="connsiteY29" fmla="*/ 416433 h 876300"/>
                  <a:gd name="connsiteX30" fmla="*/ 941927 w 962025"/>
                  <a:gd name="connsiteY30" fmla="*/ 415576 h 876300"/>
                  <a:gd name="connsiteX31" fmla="*/ 941070 w 962025"/>
                  <a:gd name="connsiteY31" fmla="*/ 414719 h 876300"/>
                  <a:gd name="connsiteX32" fmla="*/ 940213 w 962025"/>
                  <a:gd name="connsiteY32" fmla="*/ 413957 h 876300"/>
                  <a:gd name="connsiteX33" fmla="*/ 939356 w 962025"/>
                  <a:gd name="connsiteY33" fmla="*/ 413957 h 876300"/>
                  <a:gd name="connsiteX34" fmla="*/ 932593 w 962025"/>
                  <a:gd name="connsiteY34" fmla="*/ 413099 h 876300"/>
                  <a:gd name="connsiteX35" fmla="*/ 929164 w 962025"/>
                  <a:gd name="connsiteY35" fmla="*/ 412242 h 876300"/>
                  <a:gd name="connsiteX36" fmla="*/ 928402 w 962025"/>
                  <a:gd name="connsiteY36" fmla="*/ 412242 h 876300"/>
                  <a:gd name="connsiteX37" fmla="*/ 927545 w 962025"/>
                  <a:gd name="connsiteY37" fmla="*/ 412242 h 876300"/>
                  <a:gd name="connsiteX38" fmla="*/ 925830 w 962025"/>
                  <a:gd name="connsiteY38" fmla="*/ 413957 h 876300"/>
                  <a:gd name="connsiteX39" fmla="*/ 924973 w 962025"/>
                  <a:gd name="connsiteY39" fmla="*/ 413957 h 876300"/>
                  <a:gd name="connsiteX40" fmla="*/ 924973 w 962025"/>
                  <a:gd name="connsiteY40" fmla="*/ 413099 h 876300"/>
                  <a:gd name="connsiteX41" fmla="*/ 924116 w 962025"/>
                  <a:gd name="connsiteY41" fmla="*/ 413099 h 876300"/>
                  <a:gd name="connsiteX42" fmla="*/ 924116 w 962025"/>
                  <a:gd name="connsiteY42" fmla="*/ 412242 h 876300"/>
                  <a:gd name="connsiteX43" fmla="*/ 923258 w 962025"/>
                  <a:gd name="connsiteY43" fmla="*/ 412242 h 876300"/>
                  <a:gd name="connsiteX44" fmla="*/ 922401 w 962025"/>
                  <a:gd name="connsiteY44" fmla="*/ 412242 h 876300"/>
                  <a:gd name="connsiteX45" fmla="*/ 915638 w 962025"/>
                  <a:gd name="connsiteY45" fmla="*/ 410528 h 876300"/>
                  <a:gd name="connsiteX46" fmla="*/ 912305 w 962025"/>
                  <a:gd name="connsiteY46" fmla="*/ 409670 h 876300"/>
                  <a:gd name="connsiteX47" fmla="*/ 910590 w 962025"/>
                  <a:gd name="connsiteY47" fmla="*/ 409670 h 876300"/>
                  <a:gd name="connsiteX48" fmla="*/ 908876 w 962025"/>
                  <a:gd name="connsiteY48" fmla="*/ 410528 h 876300"/>
                  <a:gd name="connsiteX49" fmla="*/ 908018 w 962025"/>
                  <a:gd name="connsiteY49" fmla="*/ 411385 h 876300"/>
                  <a:gd name="connsiteX50" fmla="*/ 904685 w 962025"/>
                  <a:gd name="connsiteY50" fmla="*/ 414719 h 876300"/>
                  <a:gd name="connsiteX51" fmla="*/ 902113 w 962025"/>
                  <a:gd name="connsiteY51" fmla="*/ 416433 h 876300"/>
                  <a:gd name="connsiteX52" fmla="*/ 887730 w 962025"/>
                  <a:gd name="connsiteY52" fmla="*/ 422434 h 876300"/>
                  <a:gd name="connsiteX53" fmla="*/ 886873 w 962025"/>
                  <a:gd name="connsiteY53" fmla="*/ 422434 h 876300"/>
                  <a:gd name="connsiteX54" fmla="*/ 886016 w 962025"/>
                  <a:gd name="connsiteY54" fmla="*/ 422434 h 876300"/>
                  <a:gd name="connsiteX55" fmla="*/ 884301 w 962025"/>
                  <a:gd name="connsiteY55" fmla="*/ 421577 h 876300"/>
                  <a:gd name="connsiteX56" fmla="*/ 883444 w 962025"/>
                  <a:gd name="connsiteY56" fmla="*/ 421577 h 876300"/>
                  <a:gd name="connsiteX57" fmla="*/ 882587 w 962025"/>
                  <a:gd name="connsiteY57" fmla="*/ 422434 h 876300"/>
                  <a:gd name="connsiteX58" fmla="*/ 881729 w 962025"/>
                  <a:gd name="connsiteY58" fmla="*/ 425768 h 876300"/>
                  <a:gd name="connsiteX59" fmla="*/ 880967 w 962025"/>
                  <a:gd name="connsiteY59" fmla="*/ 426625 h 876300"/>
                  <a:gd name="connsiteX60" fmla="*/ 879253 w 962025"/>
                  <a:gd name="connsiteY60" fmla="*/ 429197 h 876300"/>
                  <a:gd name="connsiteX61" fmla="*/ 876681 w 962025"/>
                  <a:gd name="connsiteY61" fmla="*/ 429197 h 876300"/>
                  <a:gd name="connsiteX62" fmla="*/ 874967 w 962025"/>
                  <a:gd name="connsiteY62" fmla="*/ 429197 h 876300"/>
                  <a:gd name="connsiteX63" fmla="*/ 874967 w 962025"/>
                  <a:gd name="connsiteY63" fmla="*/ 428339 h 876300"/>
                  <a:gd name="connsiteX64" fmla="*/ 874967 w 962025"/>
                  <a:gd name="connsiteY64" fmla="*/ 427482 h 876300"/>
                  <a:gd name="connsiteX65" fmla="*/ 875824 w 962025"/>
                  <a:gd name="connsiteY65" fmla="*/ 424910 h 876300"/>
                  <a:gd name="connsiteX66" fmla="*/ 875824 w 962025"/>
                  <a:gd name="connsiteY66" fmla="*/ 422434 h 876300"/>
                  <a:gd name="connsiteX67" fmla="*/ 875824 w 962025"/>
                  <a:gd name="connsiteY67" fmla="*/ 420719 h 876300"/>
                  <a:gd name="connsiteX68" fmla="*/ 875824 w 962025"/>
                  <a:gd name="connsiteY68" fmla="*/ 419862 h 876300"/>
                  <a:gd name="connsiteX69" fmla="*/ 875824 w 962025"/>
                  <a:gd name="connsiteY69" fmla="*/ 418148 h 876300"/>
                  <a:gd name="connsiteX70" fmla="*/ 876681 w 962025"/>
                  <a:gd name="connsiteY70" fmla="*/ 417290 h 876300"/>
                  <a:gd name="connsiteX71" fmla="*/ 878396 w 962025"/>
                  <a:gd name="connsiteY71" fmla="*/ 416433 h 876300"/>
                  <a:gd name="connsiteX72" fmla="*/ 882587 w 962025"/>
                  <a:gd name="connsiteY72" fmla="*/ 413957 h 876300"/>
                  <a:gd name="connsiteX73" fmla="*/ 900398 w 962025"/>
                  <a:gd name="connsiteY73" fmla="*/ 405384 h 876300"/>
                  <a:gd name="connsiteX74" fmla="*/ 902970 w 962025"/>
                  <a:gd name="connsiteY74" fmla="*/ 404622 h 876300"/>
                  <a:gd name="connsiteX75" fmla="*/ 908876 w 962025"/>
                  <a:gd name="connsiteY75" fmla="*/ 402907 h 876300"/>
                  <a:gd name="connsiteX76" fmla="*/ 909733 w 962025"/>
                  <a:gd name="connsiteY76" fmla="*/ 402050 h 876300"/>
                  <a:gd name="connsiteX77" fmla="*/ 910590 w 962025"/>
                  <a:gd name="connsiteY77" fmla="*/ 401193 h 876300"/>
                  <a:gd name="connsiteX78" fmla="*/ 910590 w 962025"/>
                  <a:gd name="connsiteY78" fmla="*/ 399478 h 876300"/>
                  <a:gd name="connsiteX79" fmla="*/ 910590 w 962025"/>
                  <a:gd name="connsiteY79" fmla="*/ 398621 h 876300"/>
                  <a:gd name="connsiteX80" fmla="*/ 909733 w 962025"/>
                  <a:gd name="connsiteY80" fmla="*/ 398621 h 876300"/>
                  <a:gd name="connsiteX81" fmla="*/ 908876 w 962025"/>
                  <a:gd name="connsiteY81" fmla="*/ 398621 h 876300"/>
                  <a:gd name="connsiteX82" fmla="*/ 908018 w 962025"/>
                  <a:gd name="connsiteY82" fmla="*/ 399478 h 876300"/>
                  <a:gd name="connsiteX83" fmla="*/ 908018 w 962025"/>
                  <a:gd name="connsiteY83" fmla="*/ 399478 h 876300"/>
                  <a:gd name="connsiteX84" fmla="*/ 907161 w 962025"/>
                  <a:gd name="connsiteY84" fmla="*/ 401193 h 876300"/>
                  <a:gd name="connsiteX85" fmla="*/ 906304 w 962025"/>
                  <a:gd name="connsiteY85" fmla="*/ 401193 h 876300"/>
                  <a:gd name="connsiteX86" fmla="*/ 905447 w 962025"/>
                  <a:gd name="connsiteY86" fmla="*/ 401193 h 876300"/>
                  <a:gd name="connsiteX87" fmla="*/ 904685 w 962025"/>
                  <a:gd name="connsiteY87" fmla="*/ 400336 h 876300"/>
                  <a:gd name="connsiteX88" fmla="*/ 902970 w 962025"/>
                  <a:gd name="connsiteY88" fmla="*/ 396907 h 876300"/>
                  <a:gd name="connsiteX89" fmla="*/ 902970 w 962025"/>
                  <a:gd name="connsiteY89" fmla="*/ 396145 h 876300"/>
                  <a:gd name="connsiteX90" fmla="*/ 902113 w 962025"/>
                  <a:gd name="connsiteY90" fmla="*/ 396145 h 876300"/>
                  <a:gd name="connsiteX91" fmla="*/ 902113 w 962025"/>
                  <a:gd name="connsiteY91" fmla="*/ 396145 h 876300"/>
                  <a:gd name="connsiteX92" fmla="*/ 901256 w 962025"/>
                  <a:gd name="connsiteY92" fmla="*/ 396145 h 876300"/>
                  <a:gd name="connsiteX93" fmla="*/ 901256 w 962025"/>
                  <a:gd name="connsiteY93" fmla="*/ 396907 h 876300"/>
                  <a:gd name="connsiteX94" fmla="*/ 900398 w 962025"/>
                  <a:gd name="connsiteY94" fmla="*/ 397764 h 876300"/>
                  <a:gd name="connsiteX95" fmla="*/ 900398 w 962025"/>
                  <a:gd name="connsiteY95" fmla="*/ 397764 h 876300"/>
                  <a:gd name="connsiteX96" fmla="*/ 899541 w 962025"/>
                  <a:gd name="connsiteY96" fmla="*/ 397764 h 876300"/>
                  <a:gd name="connsiteX97" fmla="*/ 896969 w 962025"/>
                  <a:gd name="connsiteY97" fmla="*/ 397764 h 876300"/>
                  <a:gd name="connsiteX98" fmla="*/ 892778 w 962025"/>
                  <a:gd name="connsiteY98" fmla="*/ 396907 h 876300"/>
                  <a:gd name="connsiteX99" fmla="*/ 891921 w 962025"/>
                  <a:gd name="connsiteY99" fmla="*/ 396907 h 876300"/>
                  <a:gd name="connsiteX100" fmla="*/ 891064 w 962025"/>
                  <a:gd name="connsiteY100" fmla="*/ 396145 h 876300"/>
                  <a:gd name="connsiteX101" fmla="*/ 891064 w 962025"/>
                  <a:gd name="connsiteY101" fmla="*/ 395287 h 876300"/>
                  <a:gd name="connsiteX102" fmla="*/ 890207 w 962025"/>
                  <a:gd name="connsiteY102" fmla="*/ 393573 h 876300"/>
                  <a:gd name="connsiteX103" fmla="*/ 890207 w 962025"/>
                  <a:gd name="connsiteY103" fmla="*/ 392716 h 876300"/>
                  <a:gd name="connsiteX104" fmla="*/ 889349 w 962025"/>
                  <a:gd name="connsiteY104" fmla="*/ 392716 h 876300"/>
                  <a:gd name="connsiteX105" fmla="*/ 888587 w 962025"/>
                  <a:gd name="connsiteY105" fmla="*/ 392716 h 876300"/>
                  <a:gd name="connsiteX106" fmla="*/ 887730 w 962025"/>
                  <a:gd name="connsiteY106" fmla="*/ 392716 h 876300"/>
                  <a:gd name="connsiteX107" fmla="*/ 887730 w 962025"/>
                  <a:gd name="connsiteY107" fmla="*/ 392716 h 876300"/>
                  <a:gd name="connsiteX108" fmla="*/ 886873 w 962025"/>
                  <a:gd name="connsiteY108" fmla="*/ 391858 h 876300"/>
                  <a:gd name="connsiteX109" fmla="*/ 886873 w 962025"/>
                  <a:gd name="connsiteY109" fmla="*/ 391001 h 876300"/>
                  <a:gd name="connsiteX110" fmla="*/ 886873 w 962025"/>
                  <a:gd name="connsiteY110" fmla="*/ 391001 h 876300"/>
                  <a:gd name="connsiteX111" fmla="*/ 886873 w 962025"/>
                  <a:gd name="connsiteY111" fmla="*/ 390144 h 876300"/>
                  <a:gd name="connsiteX112" fmla="*/ 886873 w 962025"/>
                  <a:gd name="connsiteY112" fmla="*/ 389287 h 876300"/>
                  <a:gd name="connsiteX113" fmla="*/ 886873 w 962025"/>
                  <a:gd name="connsiteY113" fmla="*/ 388430 h 876300"/>
                  <a:gd name="connsiteX114" fmla="*/ 887730 w 962025"/>
                  <a:gd name="connsiteY114" fmla="*/ 388430 h 876300"/>
                  <a:gd name="connsiteX115" fmla="*/ 894493 w 962025"/>
                  <a:gd name="connsiteY115" fmla="*/ 386810 h 876300"/>
                  <a:gd name="connsiteX116" fmla="*/ 896969 w 962025"/>
                  <a:gd name="connsiteY116" fmla="*/ 385953 h 876300"/>
                  <a:gd name="connsiteX117" fmla="*/ 897826 w 962025"/>
                  <a:gd name="connsiteY117" fmla="*/ 384239 h 876300"/>
                  <a:gd name="connsiteX118" fmla="*/ 897826 w 962025"/>
                  <a:gd name="connsiteY118" fmla="*/ 382524 h 876300"/>
                  <a:gd name="connsiteX119" fmla="*/ 897826 w 962025"/>
                  <a:gd name="connsiteY119" fmla="*/ 381667 h 876300"/>
                  <a:gd name="connsiteX120" fmla="*/ 899541 w 962025"/>
                  <a:gd name="connsiteY120" fmla="*/ 380810 h 876300"/>
                  <a:gd name="connsiteX121" fmla="*/ 902113 w 962025"/>
                  <a:gd name="connsiteY121" fmla="*/ 379952 h 876300"/>
                  <a:gd name="connsiteX122" fmla="*/ 903827 w 962025"/>
                  <a:gd name="connsiteY122" fmla="*/ 376619 h 876300"/>
                  <a:gd name="connsiteX123" fmla="*/ 902970 w 962025"/>
                  <a:gd name="connsiteY123" fmla="*/ 374904 h 876300"/>
                  <a:gd name="connsiteX124" fmla="*/ 902970 w 962025"/>
                  <a:gd name="connsiteY124" fmla="*/ 374904 h 876300"/>
                  <a:gd name="connsiteX125" fmla="*/ 902113 w 962025"/>
                  <a:gd name="connsiteY125" fmla="*/ 374904 h 876300"/>
                  <a:gd name="connsiteX126" fmla="*/ 901256 w 962025"/>
                  <a:gd name="connsiteY126" fmla="*/ 374047 h 876300"/>
                  <a:gd name="connsiteX127" fmla="*/ 900398 w 962025"/>
                  <a:gd name="connsiteY127" fmla="*/ 371475 h 876300"/>
                  <a:gd name="connsiteX128" fmla="*/ 900398 w 962025"/>
                  <a:gd name="connsiteY128" fmla="*/ 369761 h 876300"/>
                  <a:gd name="connsiteX129" fmla="*/ 899541 w 962025"/>
                  <a:gd name="connsiteY129" fmla="*/ 368141 h 876300"/>
                  <a:gd name="connsiteX130" fmla="*/ 898684 w 962025"/>
                  <a:gd name="connsiteY130" fmla="*/ 367284 h 876300"/>
                  <a:gd name="connsiteX131" fmla="*/ 897826 w 962025"/>
                  <a:gd name="connsiteY131" fmla="*/ 364712 h 876300"/>
                  <a:gd name="connsiteX132" fmla="*/ 898684 w 962025"/>
                  <a:gd name="connsiteY132" fmla="*/ 363855 h 876300"/>
                  <a:gd name="connsiteX133" fmla="*/ 898684 w 962025"/>
                  <a:gd name="connsiteY133" fmla="*/ 362140 h 876300"/>
                  <a:gd name="connsiteX134" fmla="*/ 898684 w 962025"/>
                  <a:gd name="connsiteY134" fmla="*/ 362140 h 876300"/>
                  <a:gd name="connsiteX135" fmla="*/ 897826 w 962025"/>
                  <a:gd name="connsiteY135" fmla="*/ 361283 h 876300"/>
                  <a:gd name="connsiteX136" fmla="*/ 896969 w 962025"/>
                  <a:gd name="connsiteY136" fmla="*/ 360426 h 876300"/>
                  <a:gd name="connsiteX137" fmla="*/ 894493 w 962025"/>
                  <a:gd name="connsiteY137" fmla="*/ 360426 h 876300"/>
                  <a:gd name="connsiteX138" fmla="*/ 893636 w 962025"/>
                  <a:gd name="connsiteY138" fmla="*/ 360426 h 876300"/>
                  <a:gd name="connsiteX139" fmla="*/ 892778 w 962025"/>
                  <a:gd name="connsiteY139" fmla="*/ 359664 h 876300"/>
                  <a:gd name="connsiteX140" fmla="*/ 886873 w 962025"/>
                  <a:gd name="connsiteY140" fmla="*/ 355378 h 876300"/>
                  <a:gd name="connsiteX141" fmla="*/ 886016 w 962025"/>
                  <a:gd name="connsiteY141" fmla="*/ 354520 h 876300"/>
                  <a:gd name="connsiteX142" fmla="*/ 885158 w 962025"/>
                  <a:gd name="connsiteY142" fmla="*/ 354520 h 876300"/>
                  <a:gd name="connsiteX143" fmla="*/ 882587 w 962025"/>
                  <a:gd name="connsiteY143" fmla="*/ 354520 h 876300"/>
                  <a:gd name="connsiteX144" fmla="*/ 881729 w 962025"/>
                  <a:gd name="connsiteY144" fmla="*/ 353663 h 876300"/>
                  <a:gd name="connsiteX145" fmla="*/ 880967 w 962025"/>
                  <a:gd name="connsiteY145" fmla="*/ 353663 h 876300"/>
                  <a:gd name="connsiteX146" fmla="*/ 880110 w 962025"/>
                  <a:gd name="connsiteY146" fmla="*/ 352806 h 876300"/>
                  <a:gd name="connsiteX147" fmla="*/ 879253 w 962025"/>
                  <a:gd name="connsiteY147" fmla="*/ 351187 h 876300"/>
                  <a:gd name="connsiteX148" fmla="*/ 878396 w 962025"/>
                  <a:gd name="connsiteY148" fmla="*/ 350330 h 876300"/>
                  <a:gd name="connsiteX149" fmla="*/ 877538 w 962025"/>
                  <a:gd name="connsiteY149" fmla="*/ 345186 h 876300"/>
                  <a:gd name="connsiteX150" fmla="*/ 875824 w 962025"/>
                  <a:gd name="connsiteY150" fmla="*/ 343472 h 876300"/>
                  <a:gd name="connsiteX151" fmla="*/ 874109 w 962025"/>
                  <a:gd name="connsiteY151" fmla="*/ 340138 h 876300"/>
                  <a:gd name="connsiteX152" fmla="*/ 869918 w 962025"/>
                  <a:gd name="connsiteY152" fmla="*/ 334994 h 876300"/>
                  <a:gd name="connsiteX153" fmla="*/ 869061 w 962025"/>
                  <a:gd name="connsiteY153" fmla="*/ 333280 h 876300"/>
                  <a:gd name="connsiteX154" fmla="*/ 868204 w 962025"/>
                  <a:gd name="connsiteY154" fmla="*/ 332518 h 876300"/>
                  <a:gd name="connsiteX155" fmla="*/ 869061 w 962025"/>
                  <a:gd name="connsiteY155" fmla="*/ 329946 h 876300"/>
                  <a:gd name="connsiteX156" fmla="*/ 869061 w 962025"/>
                  <a:gd name="connsiteY156" fmla="*/ 329089 h 876300"/>
                  <a:gd name="connsiteX157" fmla="*/ 869061 w 962025"/>
                  <a:gd name="connsiteY157" fmla="*/ 328232 h 876300"/>
                  <a:gd name="connsiteX158" fmla="*/ 869061 w 962025"/>
                  <a:gd name="connsiteY158" fmla="*/ 327374 h 876300"/>
                  <a:gd name="connsiteX159" fmla="*/ 868204 w 962025"/>
                  <a:gd name="connsiteY159" fmla="*/ 326517 h 876300"/>
                  <a:gd name="connsiteX160" fmla="*/ 867347 w 962025"/>
                  <a:gd name="connsiteY160" fmla="*/ 325660 h 876300"/>
                  <a:gd name="connsiteX161" fmla="*/ 866489 w 962025"/>
                  <a:gd name="connsiteY161" fmla="*/ 325660 h 876300"/>
                  <a:gd name="connsiteX162" fmla="*/ 866489 w 962025"/>
                  <a:gd name="connsiteY162" fmla="*/ 324803 h 876300"/>
                  <a:gd name="connsiteX163" fmla="*/ 866489 w 962025"/>
                  <a:gd name="connsiteY163" fmla="*/ 324040 h 876300"/>
                  <a:gd name="connsiteX164" fmla="*/ 867347 w 962025"/>
                  <a:gd name="connsiteY164" fmla="*/ 323183 h 876300"/>
                  <a:gd name="connsiteX165" fmla="*/ 868204 w 962025"/>
                  <a:gd name="connsiteY165" fmla="*/ 322326 h 876300"/>
                  <a:gd name="connsiteX166" fmla="*/ 868204 w 962025"/>
                  <a:gd name="connsiteY166" fmla="*/ 321469 h 876300"/>
                  <a:gd name="connsiteX167" fmla="*/ 868204 w 962025"/>
                  <a:gd name="connsiteY167" fmla="*/ 320611 h 876300"/>
                  <a:gd name="connsiteX168" fmla="*/ 868204 w 962025"/>
                  <a:gd name="connsiteY168" fmla="*/ 318897 h 876300"/>
                  <a:gd name="connsiteX169" fmla="*/ 867347 w 962025"/>
                  <a:gd name="connsiteY169" fmla="*/ 316325 h 876300"/>
                  <a:gd name="connsiteX170" fmla="*/ 866489 w 962025"/>
                  <a:gd name="connsiteY170" fmla="*/ 314706 h 876300"/>
                  <a:gd name="connsiteX171" fmla="*/ 866489 w 962025"/>
                  <a:gd name="connsiteY171" fmla="*/ 313849 h 876300"/>
                  <a:gd name="connsiteX172" fmla="*/ 865632 w 962025"/>
                  <a:gd name="connsiteY172" fmla="*/ 313849 h 876300"/>
                  <a:gd name="connsiteX173" fmla="*/ 864870 w 962025"/>
                  <a:gd name="connsiteY173" fmla="*/ 313849 h 876300"/>
                  <a:gd name="connsiteX174" fmla="*/ 864870 w 962025"/>
                  <a:gd name="connsiteY174" fmla="*/ 313849 h 876300"/>
                  <a:gd name="connsiteX175" fmla="*/ 864013 w 962025"/>
                  <a:gd name="connsiteY175" fmla="*/ 312992 h 876300"/>
                  <a:gd name="connsiteX176" fmla="*/ 864013 w 962025"/>
                  <a:gd name="connsiteY176" fmla="*/ 312134 h 876300"/>
                  <a:gd name="connsiteX177" fmla="*/ 864013 w 962025"/>
                  <a:gd name="connsiteY177" fmla="*/ 309563 h 876300"/>
                  <a:gd name="connsiteX178" fmla="*/ 864013 w 962025"/>
                  <a:gd name="connsiteY178" fmla="*/ 306229 h 876300"/>
                  <a:gd name="connsiteX179" fmla="*/ 862298 w 962025"/>
                  <a:gd name="connsiteY179" fmla="*/ 301085 h 876300"/>
                  <a:gd name="connsiteX180" fmla="*/ 858869 w 962025"/>
                  <a:gd name="connsiteY180" fmla="*/ 301085 h 876300"/>
                  <a:gd name="connsiteX181" fmla="*/ 858012 w 962025"/>
                  <a:gd name="connsiteY181" fmla="*/ 302800 h 876300"/>
                  <a:gd name="connsiteX182" fmla="*/ 857250 w 962025"/>
                  <a:gd name="connsiteY182" fmla="*/ 303657 h 876300"/>
                  <a:gd name="connsiteX183" fmla="*/ 857250 w 962025"/>
                  <a:gd name="connsiteY183" fmla="*/ 303657 h 876300"/>
                  <a:gd name="connsiteX184" fmla="*/ 856393 w 962025"/>
                  <a:gd name="connsiteY184" fmla="*/ 302800 h 876300"/>
                  <a:gd name="connsiteX185" fmla="*/ 855536 w 962025"/>
                  <a:gd name="connsiteY185" fmla="*/ 301942 h 876300"/>
                  <a:gd name="connsiteX186" fmla="*/ 854678 w 962025"/>
                  <a:gd name="connsiteY186" fmla="*/ 301085 h 876300"/>
                  <a:gd name="connsiteX187" fmla="*/ 853821 w 962025"/>
                  <a:gd name="connsiteY187" fmla="*/ 300228 h 876300"/>
                  <a:gd name="connsiteX188" fmla="*/ 852964 w 962025"/>
                  <a:gd name="connsiteY188" fmla="*/ 300228 h 876300"/>
                  <a:gd name="connsiteX189" fmla="*/ 852964 w 962025"/>
                  <a:gd name="connsiteY189" fmla="*/ 301942 h 876300"/>
                  <a:gd name="connsiteX190" fmla="*/ 852107 w 962025"/>
                  <a:gd name="connsiteY190" fmla="*/ 302800 h 876300"/>
                  <a:gd name="connsiteX191" fmla="*/ 851249 w 962025"/>
                  <a:gd name="connsiteY191" fmla="*/ 302800 h 876300"/>
                  <a:gd name="connsiteX192" fmla="*/ 850392 w 962025"/>
                  <a:gd name="connsiteY192" fmla="*/ 301942 h 876300"/>
                  <a:gd name="connsiteX193" fmla="*/ 850392 w 962025"/>
                  <a:gd name="connsiteY193" fmla="*/ 301085 h 876300"/>
                  <a:gd name="connsiteX194" fmla="*/ 849535 w 962025"/>
                  <a:gd name="connsiteY194" fmla="*/ 300228 h 876300"/>
                  <a:gd name="connsiteX195" fmla="*/ 848773 w 962025"/>
                  <a:gd name="connsiteY195" fmla="*/ 300228 h 876300"/>
                  <a:gd name="connsiteX196" fmla="*/ 847058 w 962025"/>
                  <a:gd name="connsiteY196" fmla="*/ 302800 h 876300"/>
                  <a:gd name="connsiteX197" fmla="*/ 846201 w 962025"/>
                  <a:gd name="connsiteY197" fmla="*/ 303657 h 876300"/>
                  <a:gd name="connsiteX198" fmla="*/ 844487 w 962025"/>
                  <a:gd name="connsiteY198" fmla="*/ 303657 h 876300"/>
                  <a:gd name="connsiteX199" fmla="*/ 841915 w 962025"/>
                  <a:gd name="connsiteY199" fmla="*/ 302800 h 876300"/>
                  <a:gd name="connsiteX200" fmla="*/ 838581 w 962025"/>
                  <a:gd name="connsiteY200" fmla="*/ 301085 h 876300"/>
                  <a:gd name="connsiteX201" fmla="*/ 836867 w 962025"/>
                  <a:gd name="connsiteY201" fmla="*/ 301085 h 876300"/>
                  <a:gd name="connsiteX202" fmla="*/ 836009 w 962025"/>
                  <a:gd name="connsiteY202" fmla="*/ 301942 h 876300"/>
                  <a:gd name="connsiteX203" fmla="*/ 835152 w 962025"/>
                  <a:gd name="connsiteY203" fmla="*/ 303657 h 876300"/>
                  <a:gd name="connsiteX204" fmla="*/ 835152 w 962025"/>
                  <a:gd name="connsiteY204" fmla="*/ 305371 h 876300"/>
                  <a:gd name="connsiteX205" fmla="*/ 836009 w 962025"/>
                  <a:gd name="connsiteY205" fmla="*/ 306229 h 876300"/>
                  <a:gd name="connsiteX206" fmla="*/ 838581 w 962025"/>
                  <a:gd name="connsiteY206" fmla="*/ 307848 h 876300"/>
                  <a:gd name="connsiteX207" fmla="*/ 839438 w 962025"/>
                  <a:gd name="connsiteY207" fmla="*/ 308705 h 876300"/>
                  <a:gd name="connsiteX208" fmla="*/ 840296 w 962025"/>
                  <a:gd name="connsiteY208" fmla="*/ 309563 h 876300"/>
                  <a:gd name="connsiteX209" fmla="*/ 839438 w 962025"/>
                  <a:gd name="connsiteY209" fmla="*/ 309563 h 876300"/>
                  <a:gd name="connsiteX210" fmla="*/ 833533 w 962025"/>
                  <a:gd name="connsiteY210" fmla="*/ 310420 h 876300"/>
                  <a:gd name="connsiteX211" fmla="*/ 831818 w 962025"/>
                  <a:gd name="connsiteY211" fmla="*/ 311277 h 876300"/>
                  <a:gd name="connsiteX212" fmla="*/ 830961 w 962025"/>
                  <a:gd name="connsiteY212" fmla="*/ 312992 h 876300"/>
                  <a:gd name="connsiteX213" fmla="*/ 829247 w 962025"/>
                  <a:gd name="connsiteY213" fmla="*/ 316325 h 876300"/>
                  <a:gd name="connsiteX214" fmla="*/ 828389 w 962025"/>
                  <a:gd name="connsiteY214" fmla="*/ 318040 h 876300"/>
                  <a:gd name="connsiteX215" fmla="*/ 825056 w 962025"/>
                  <a:gd name="connsiteY215" fmla="*/ 317182 h 876300"/>
                  <a:gd name="connsiteX216" fmla="*/ 821626 w 962025"/>
                  <a:gd name="connsiteY216" fmla="*/ 318897 h 876300"/>
                  <a:gd name="connsiteX217" fmla="*/ 819912 w 962025"/>
                  <a:gd name="connsiteY217" fmla="*/ 318040 h 876300"/>
                  <a:gd name="connsiteX218" fmla="*/ 819912 w 962025"/>
                  <a:gd name="connsiteY218" fmla="*/ 318040 h 876300"/>
                  <a:gd name="connsiteX219" fmla="*/ 819055 w 962025"/>
                  <a:gd name="connsiteY219" fmla="*/ 317182 h 876300"/>
                  <a:gd name="connsiteX220" fmla="*/ 819055 w 962025"/>
                  <a:gd name="connsiteY220" fmla="*/ 316325 h 876300"/>
                  <a:gd name="connsiteX221" fmla="*/ 819912 w 962025"/>
                  <a:gd name="connsiteY221" fmla="*/ 315468 h 876300"/>
                  <a:gd name="connsiteX222" fmla="*/ 819912 w 962025"/>
                  <a:gd name="connsiteY222" fmla="*/ 314706 h 876300"/>
                  <a:gd name="connsiteX223" fmla="*/ 822484 w 962025"/>
                  <a:gd name="connsiteY223" fmla="*/ 314706 h 876300"/>
                  <a:gd name="connsiteX224" fmla="*/ 822484 w 962025"/>
                  <a:gd name="connsiteY224" fmla="*/ 313849 h 876300"/>
                  <a:gd name="connsiteX225" fmla="*/ 822484 w 962025"/>
                  <a:gd name="connsiteY225" fmla="*/ 313849 h 876300"/>
                  <a:gd name="connsiteX226" fmla="*/ 821626 w 962025"/>
                  <a:gd name="connsiteY226" fmla="*/ 312992 h 876300"/>
                  <a:gd name="connsiteX227" fmla="*/ 821626 w 962025"/>
                  <a:gd name="connsiteY227" fmla="*/ 312134 h 876300"/>
                  <a:gd name="connsiteX228" fmla="*/ 820769 w 962025"/>
                  <a:gd name="connsiteY228" fmla="*/ 311277 h 876300"/>
                  <a:gd name="connsiteX229" fmla="*/ 820769 w 962025"/>
                  <a:gd name="connsiteY229" fmla="*/ 310420 h 876300"/>
                  <a:gd name="connsiteX230" fmla="*/ 820769 w 962025"/>
                  <a:gd name="connsiteY230" fmla="*/ 309563 h 876300"/>
                  <a:gd name="connsiteX231" fmla="*/ 821626 w 962025"/>
                  <a:gd name="connsiteY231" fmla="*/ 301085 h 876300"/>
                  <a:gd name="connsiteX232" fmla="*/ 822484 w 962025"/>
                  <a:gd name="connsiteY232" fmla="*/ 299371 h 876300"/>
                  <a:gd name="connsiteX233" fmla="*/ 824198 w 962025"/>
                  <a:gd name="connsiteY233" fmla="*/ 296894 h 876300"/>
                  <a:gd name="connsiteX234" fmla="*/ 825056 w 962025"/>
                  <a:gd name="connsiteY234" fmla="*/ 296037 h 876300"/>
                  <a:gd name="connsiteX235" fmla="*/ 825056 w 962025"/>
                  <a:gd name="connsiteY235" fmla="*/ 295180 h 876300"/>
                  <a:gd name="connsiteX236" fmla="*/ 825056 w 962025"/>
                  <a:gd name="connsiteY236" fmla="*/ 294323 h 876300"/>
                  <a:gd name="connsiteX237" fmla="*/ 825056 w 962025"/>
                  <a:gd name="connsiteY237" fmla="*/ 290036 h 876300"/>
                  <a:gd name="connsiteX238" fmla="*/ 825056 w 962025"/>
                  <a:gd name="connsiteY238" fmla="*/ 288322 h 876300"/>
                  <a:gd name="connsiteX239" fmla="*/ 825056 w 962025"/>
                  <a:gd name="connsiteY239" fmla="*/ 287560 h 876300"/>
                  <a:gd name="connsiteX240" fmla="*/ 825056 w 962025"/>
                  <a:gd name="connsiteY240" fmla="*/ 285845 h 876300"/>
                  <a:gd name="connsiteX241" fmla="*/ 824198 w 962025"/>
                  <a:gd name="connsiteY241" fmla="*/ 284131 h 876300"/>
                  <a:gd name="connsiteX242" fmla="*/ 824198 w 962025"/>
                  <a:gd name="connsiteY242" fmla="*/ 282416 h 876300"/>
                  <a:gd name="connsiteX243" fmla="*/ 824198 w 962025"/>
                  <a:gd name="connsiteY243" fmla="*/ 281559 h 876300"/>
                  <a:gd name="connsiteX244" fmla="*/ 824198 w 962025"/>
                  <a:gd name="connsiteY244" fmla="*/ 280702 h 876300"/>
                  <a:gd name="connsiteX245" fmla="*/ 824198 w 962025"/>
                  <a:gd name="connsiteY245" fmla="*/ 279844 h 876300"/>
                  <a:gd name="connsiteX246" fmla="*/ 824198 w 962025"/>
                  <a:gd name="connsiteY246" fmla="*/ 279082 h 876300"/>
                  <a:gd name="connsiteX247" fmla="*/ 824198 w 962025"/>
                  <a:gd name="connsiteY247" fmla="*/ 278225 h 876300"/>
                  <a:gd name="connsiteX248" fmla="*/ 823341 w 962025"/>
                  <a:gd name="connsiteY248" fmla="*/ 275654 h 876300"/>
                  <a:gd name="connsiteX249" fmla="*/ 822484 w 962025"/>
                  <a:gd name="connsiteY249" fmla="*/ 273939 h 876300"/>
                  <a:gd name="connsiteX250" fmla="*/ 822484 w 962025"/>
                  <a:gd name="connsiteY250" fmla="*/ 271367 h 876300"/>
                  <a:gd name="connsiteX251" fmla="*/ 822484 w 962025"/>
                  <a:gd name="connsiteY251" fmla="*/ 269748 h 876300"/>
                  <a:gd name="connsiteX252" fmla="*/ 825056 w 962025"/>
                  <a:gd name="connsiteY252" fmla="*/ 262033 h 876300"/>
                  <a:gd name="connsiteX253" fmla="*/ 825056 w 962025"/>
                  <a:gd name="connsiteY253" fmla="*/ 261271 h 876300"/>
                  <a:gd name="connsiteX254" fmla="*/ 825056 w 962025"/>
                  <a:gd name="connsiteY254" fmla="*/ 259556 h 876300"/>
                  <a:gd name="connsiteX255" fmla="*/ 824198 w 962025"/>
                  <a:gd name="connsiteY255" fmla="*/ 257842 h 876300"/>
                  <a:gd name="connsiteX256" fmla="*/ 823341 w 962025"/>
                  <a:gd name="connsiteY256" fmla="*/ 256984 h 876300"/>
                  <a:gd name="connsiteX257" fmla="*/ 819055 w 962025"/>
                  <a:gd name="connsiteY257" fmla="*/ 253556 h 876300"/>
                  <a:gd name="connsiteX258" fmla="*/ 818198 w 962025"/>
                  <a:gd name="connsiteY258" fmla="*/ 252698 h 876300"/>
                  <a:gd name="connsiteX259" fmla="*/ 816578 w 962025"/>
                  <a:gd name="connsiteY259" fmla="*/ 250222 h 876300"/>
                  <a:gd name="connsiteX260" fmla="*/ 816578 w 962025"/>
                  <a:gd name="connsiteY260" fmla="*/ 250222 h 876300"/>
                  <a:gd name="connsiteX261" fmla="*/ 815721 w 962025"/>
                  <a:gd name="connsiteY261" fmla="*/ 249365 h 876300"/>
                  <a:gd name="connsiteX262" fmla="*/ 814864 w 962025"/>
                  <a:gd name="connsiteY262" fmla="*/ 248507 h 876300"/>
                  <a:gd name="connsiteX263" fmla="*/ 814007 w 962025"/>
                  <a:gd name="connsiteY263" fmla="*/ 248507 h 876300"/>
                  <a:gd name="connsiteX264" fmla="*/ 813149 w 962025"/>
                  <a:gd name="connsiteY264" fmla="*/ 248507 h 876300"/>
                  <a:gd name="connsiteX265" fmla="*/ 812292 w 962025"/>
                  <a:gd name="connsiteY265" fmla="*/ 248507 h 876300"/>
                  <a:gd name="connsiteX266" fmla="*/ 809816 w 962025"/>
                  <a:gd name="connsiteY266" fmla="*/ 250222 h 876300"/>
                  <a:gd name="connsiteX267" fmla="*/ 808958 w 962025"/>
                  <a:gd name="connsiteY267" fmla="*/ 251936 h 876300"/>
                  <a:gd name="connsiteX268" fmla="*/ 808101 w 962025"/>
                  <a:gd name="connsiteY268" fmla="*/ 252698 h 876300"/>
                  <a:gd name="connsiteX269" fmla="*/ 807244 w 962025"/>
                  <a:gd name="connsiteY269" fmla="*/ 254413 h 876300"/>
                  <a:gd name="connsiteX270" fmla="*/ 804672 w 962025"/>
                  <a:gd name="connsiteY270" fmla="*/ 257842 h 876300"/>
                  <a:gd name="connsiteX271" fmla="*/ 802100 w 962025"/>
                  <a:gd name="connsiteY271" fmla="*/ 259556 h 876300"/>
                  <a:gd name="connsiteX272" fmla="*/ 801338 w 962025"/>
                  <a:gd name="connsiteY272" fmla="*/ 260413 h 876300"/>
                  <a:gd name="connsiteX273" fmla="*/ 799624 w 962025"/>
                  <a:gd name="connsiteY273" fmla="*/ 261271 h 876300"/>
                  <a:gd name="connsiteX274" fmla="*/ 797909 w 962025"/>
                  <a:gd name="connsiteY274" fmla="*/ 262033 h 876300"/>
                  <a:gd name="connsiteX275" fmla="*/ 797909 w 962025"/>
                  <a:gd name="connsiteY275" fmla="*/ 262890 h 876300"/>
                  <a:gd name="connsiteX276" fmla="*/ 796195 w 962025"/>
                  <a:gd name="connsiteY276" fmla="*/ 263747 h 876300"/>
                  <a:gd name="connsiteX277" fmla="*/ 795338 w 962025"/>
                  <a:gd name="connsiteY277" fmla="*/ 264605 h 876300"/>
                  <a:gd name="connsiteX278" fmla="*/ 793718 w 962025"/>
                  <a:gd name="connsiteY278" fmla="*/ 265462 h 876300"/>
                  <a:gd name="connsiteX279" fmla="*/ 792861 w 962025"/>
                  <a:gd name="connsiteY279" fmla="*/ 266319 h 876300"/>
                  <a:gd name="connsiteX280" fmla="*/ 792004 w 962025"/>
                  <a:gd name="connsiteY280" fmla="*/ 267176 h 876300"/>
                  <a:gd name="connsiteX281" fmla="*/ 792004 w 962025"/>
                  <a:gd name="connsiteY281" fmla="*/ 268034 h 876300"/>
                  <a:gd name="connsiteX282" fmla="*/ 792004 w 962025"/>
                  <a:gd name="connsiteY282" fmla="*/ 268891 h 876300"/>
                  <a:gd name="connsiteX283" fmla="*/ 792004 w 962025"/>
                  <a:gd name="connsiteY283" fmla="*/ 269748 h 876300"/>
                  <a:gd name="connsiteX284" fmla="*/ 792004 w 962025"/>
                  <a:gd name="connsiteY284" fmla="*/ 270510 h 876300"/>
                  <a:gd name="connsiteX285" fmla="*/ 792861 w 962025"/>
                  <a:gd name="connsiteY285" fmla="*/ 271367 h 876300"/>
                  <a:gd name="connsiteX286" fmla="*/ 793718 w 962025"/>
                  <a:gd name="connsiteY286" fmla="*/ 273939 h 876300"/>
                  <a:gd name="connsiteX287" fmla="*/ 793718 w 962025"/>
                  <a:gd name="connsiteY287" fmla="*/ 274796 h 876300"/>
                  <a:gd name="connsiteX288" fmla="*/ 793718 w 962025"/>
                  <a:gd name="connsiteY288" fmla="*/ 275654 h 876300"/>
                  <a:gd name="connsiteX289" fmla="*/ 792861 w 962025"/>
                  <a:gd name="connsiteY289" fmla="*/ 275654 h 876300"/>
                  <a:gd name="connsiteX290" fmla="*/ 791147 w 962025"/>
                  <a:gd name="connsiteY290" fmla="*/ 276511 h 876300"/>
                  <a:gd name="connsiteX291" fmla="*/ 788575 w 962025"/>
                  <a:gd name="connsiteY291" fmla="*/ 276511 h 876300"/>
                  <a:gd name="connsiteX292" fmla="*/ 787718 w 962025"/>
                  <a:gd name="connsiteY292" fmla="*/ 276511 h 876300"/>
                  <a:gd name="connsiteX293" fmla="*/ 786098 w 962025"/>
                  <a:gd name="connsiteY293" fmla="*/ 277368 h 876300"/>
                  <a:gd name="connsiteX294" fmla="*/ 786098 w 962025"/>
                  <a:gd name="connsiteY294" fmla="*/ 278225 h 876300"/>
                  <a:gd name="connsiteX295" fmla="*/ 785241 w 962025"/>
                  <a:gd name="connsiteY295" fmla="*/ 278225 h 876300"/>
                  <a:gd name="connsiteX296" fmla="*/ 783526 w 962025"/>
                  <a:gd name="connsiteY296" fmla="*/ 280702 h 876300"/>
                  <a:gd name="connsiteX297" fmla="*/ 782669 w 962025"/>
                  <a:gd name="connsiteY297" fmla="*/ 281559 h 876300"/>
                  <a:gd name="connsiteX298" fmla="*/ 781812 w 962025"/>
                  <a:gd name="connsiteY298" fmla="*/ 281559 h 876300"/>
                  <a:gd name="connsiteX299" fmla="*/ 780955 w 962025"/>
                  <a:gd name="connsiteY299" fmla="*/ 280702 h 876300"/>
                  <a:gd name="connsiteX300" fmla="*/ 780098 w 962025"/>
                  <a:gd name="connsiteY300" fmla="*/ 279844 h 876300"/>
                  <a:gd name="connsiteX301" fmla="*/ 780098 w 962025"/>
                  <a:gd name="connsiteY301" fmla="*/ 279082 h 876300"/>
                  <a:gd name="connsiteX302" fmla="*/ 779240 w 962025"/>
                  <a:gd name="connsiteY302" fmla="*/ 273939 h 876300"/>
                  <a:gd name="connsiteX303" fmla="*/ 778383 w 962025"/>
                  <a:gd name="connsiteY303" fmla="*/ 273082 h 876300"/>
                  <a:gd name="connsiteX304" fmla="*/ 778383 w 962025"/>
                  <a:gd name="connsiteY304" fmla="*/ 272225 h 876300"/>
                  <a:gd name="connsiteX305" fmla="*/ 777621 w 962025"/>
                  <a:gd name="connsiteY305" fmla="*/ 272225 h 876300"/>
                  <a:gd name="connsiteX306" fmla="*/ 775907 w 962025"/>
                  <a:gd name="connsiteY306" fmla="*/ 272225 h 876300"/>
                  <a:gd name="connsiteX307" fmla="*/ 775049 w 962025"/>
                  <a:gd name="connsiteY307" fmla="*/ 272225 h 876300"/>
                  <a:gd name="connsiteX308" fmla="*/ 770763 w 962025"/>
                  <a:gd name="connsiteY308" fmla="*/ 270510 h 876300"/>
                  <a:gd name="connsiteX309" fmla="*/ 770001 w 962025"/>
                  <a:gd name="connsiteY309" fmla="*/ 269748 h 876300"/>
                  <a:gd name="connsiteX310" fmla="*/ 770001 w 962025"/>
                  <a:gd name="connsiteY310" fmla="*/ 268891 h 876300"/>
                  <a:gd name="connsiteX311" fmla="*/ 770763 w 962025"/>
                  <a:gd name="connsiteY311" fmla="*/ 268891 h 876300"/>
                  <a:gd name="connsiteX312" fmla="*/ 773335 w 962025"/>
                  <a:gd name="connsiteY312" fmla="*/ 268034 h 876300"/>
                  <a:gd name="connsiteX313" fmla="*/ 773335 w 962025"/>
                  <a:gd name="connsiteY313" fmla="*/ 268034 h 876300"/>
                  <a:gd name="connsiteX314" fmla="*/ 773335 w 962025"/>
                  <a:gd name="connsiteY314" fmla="*/ 267176 h 876300"/>
                  <a:gd name="connsiteX315" fmla="*/ 773335 w 962025"/>
                  <a:gd name="connsiteY315" fmla="*/ 267176 h 876300"/>
                  <a:gd name="connsiteX316" fmla="*/ 772478 w 962025"/>
                  <a:gd name="connsiteY316" fmla="*/ 266319 h 876300"/>
                  <a:gd name="connsiteX317" fmla="*/ 770001 w 962025"/>
                  <a:gd name="connsiteY317" fmla="*/ 264605 h 876300"/>
                  <a:gd name="connsiteX318" fmla="*/ 770001 w 962025"/>
                  <a:gd name="connsiteY318" fmla="*/ 263747 h 876300"/>
                  <a:gd name="connsiteX319" fmla="*/ 770001 w 962025"/>
                  <a:gd name="connsiteY319" fmla="*/ 262890 h 876300"/>
                  <a:gd name="connsiteX320" fmla="*/ 770001 w 962025"/>
                  <a:gd name="connsiteY320" fmla="*/ 262033 h 876300"/>
                  <a:gd name="connsiteX321" fmla="*/ 770001 w 962025"/>
                  <a:gd name="connsiteY321" fmla="*/ 262033 h 876300"/>
                  <a:gd name="connsiteX322" fmla="*/ 770763 w 962025"/>
                  <a:gd name="connsiteY322" fmla="*/ 262033 h 876300"/>
                  <a:gd name="connsiteX323" fmla="*/ 772478 w 962025"/>
                  <a:gd name="connsiteY323" fmla="*/ 262890 h 876300"/>
                  <a:gd name="connsiteX324" fmla="*/ 773335 w 962025"/>
                  <a:gd name="connsiteY324" fmla="*/ 262890 h 876300"/>
                  <a:gd name="connsiteX325" fmla="*/ 774192 w 962025"/>
                  <a:gd name="connsiteY325" fmla="*/ 262890 h 876300"/>
                  <a:gd name="connsiteX326" fmla="*/ 774192 w 962025"/>
                  <a:gd name="connsiteY326" fmla="*/ 262890 h 876300"/>
                  <a:gd name="connsiteX327" fmla="*/ 774192 w 962025"/>
                  <a:gd name="connsiteY327" fmla="*/ 262033 h 876300"/>
                  <a:gd name="connsiteX328" fmla="*/ 774192 w 962025"/>
                  <a:gd name="connsiteY328" fmla="*/ 261271 h 876300"/>
                  <a:gd name="connsiteX329" fmla="*/ 770763 w 962025"/>
                  <a:gd name="connsiteY329" fmla="*/ 257842 h 876300"/>
                  <a:gd name="connsiteX330" fmla="*/ 770001 w 962025"/>
                  <a:gd name="connsiteY330" fmla="*/ 256984 h 876300"/>
                  <a:gd name="connsiteX331" fmla="*/ 769144 w 962025"/>
                  <a:gd name="connsiteY331" fmla="*/ 256984 h 876300"/>
                  <a:gd name="connsiteX332" fmla="*/ 766572 w 962025"/>
                  <a:gd name="connsiteY332" fmla="*/ 257842 h 876300"/>
                  <a:gd name="connsiteX333" fmla="*/ 761524 w 962025"/>
                  <a:gd name="connsiteY333" fmla="*/ 258699 h 876300"/>
                  <a:gd name="connsiteX334" fmla="*/ 760667 w 962025"/>
                  <a:gd name="connsiteY334" fmla="*/ 257842 h 876300"/>
                  <a:gd name="connsiteX335" fmla="*/ 760667 w 962025"/>
                  <a:gd name="connsiteY335" fmla="*/ 257842 h 876300"/>
                  <a:gd name="connsiteX336" fmla="*/ 759809 w 962025"/>
                  <a:gd name="connsiteY336" fmla="*/ 256984 h 876300"/>
                  <a:gd name="connsiteX337" fmla="*/ 759809 w 962025"/>
                  <a:gd name="connsiteY337" fmla="*/ 256127 h 876300"/>
                  <a:gd name="connsiteX338" fmla="*/ 758952 w 962025"/>
                  <a:gd name="connsiteY338" fmla="*/ 255270 h 876300"/>
                  <a:gd name="connsiteX339" fmla="*/ 758952 w 962025"/>
                  <a:gd name="connsiteY339" fmla="*/ 254413 h 876300"/>
                  <a:gd name="connsiteX340" fmla="*/ 758095 w 962025"/>
                  <a:gd name="connsiteY340" fmla="*/ 254413 h 876300"/>
                  <a:gd name="connsiteX341" fmla="*/ 758095 w 962025"/>
                  <a:gd name="connsiteY341" fmla="*/ 253556 h 876300"/>
                  <a:gd name="connsiteX342" fmla="*/ 756380 w 962025"/>
                  <a:gd name="connsiteY342" fmla="*/ 253556 h 876300"/>
                  <a:gd name="connsiteX343" fmla="*/ 755523 w 962025"/>
                  <a:gd name="connsiteY343" fmla="*/ 252698 h 876300"/>
                  <a:gd name="connsiteX344" fmla="*/ 754761 w 962025"/>
                  <a:gd name="connsiteY344" fmla="*/ 252698 h 876300"/>
                  <a:gd name="connsiteX345" fmla="*/ 753904 w 962025"/>
                  <a:gd name="connsiteY345" fmla="*/ 253556 h 876300"/>
                  <a:gd name="connsiteX346" fmla="*/ 753904 w 962025"/>
                  <a:gd name="connsiteY346" fmla="*/ 256127 h 876300"/>
                  <a:gd name="connsiteX347" fmla="*/ 754761 w 962025"/>
                  <a:gd name="connsiteY347" fmla="*/ 256984 h 876300"/>
                  <a:gd name="connsiteX348" fmla="*/ 755523 w 962025"/>
                  <a:gd name="connsiteY348" fmla="*/ 257842 h 876300"/>
                  <a:gd name="connsiteX349" fmla="*/ 757238 w 962025"/>
                  <a:gd name="connsiteY349" fmla="*/ 258699 h 876300"/>
                  <a:gd name="connsiteX350" fmla="*/ 758095 w 962025"/>
                  <a:gd name="connsiteY350" fmla="*/ 259556 h 876300"/>
                  <a:gd name="connsiteX351" fmla="*/ 758952 w 962025"/>
                  <a:gd name="connsiteY351" fmla="*/ 260413 h 876300"/>
                  <a:gd name="connsiteX352" fmla="*/ 758095 w 962025"/>
                  <a:gd name="connsiteY352" fmla="*/ 261271 h 876300"/>
                  <a:gd name="connsiteX353" fmla="*/ 758095 w 962025"/>
                  <a:gd name="connsiteY353" fmla="*/ 261271 h 876300"/>
                  <a:gd name="connsiteX354" fmla="*/ 755523 w 962025"/>
                  <a:gd name="connsiteY354" fmla="*/ 262033 h 876300"/>
                  <a:gd name="connsiteX355" fmla="*/ 755523 w 962025"/>
                  <a:gd name="connsiteY355" fmla="*/ 262033 h 876300"/>
                  <a:gd name="connsiteX356" fmla="*/ 754761 w 962025"/>
                  <a:gd name="connsiteY356" fmla="*/ 262890 h 876300"/>
                  <a:gd name="connsiteX357" fmla="*/ 754761 w 962025"/>
                  <a:gd name="connsiteY357" fmla="*/ 264605 h 876300"/>
                  <a:gd name="connsiteX358" fmla="*/ 755523 w 962025"/>
                  <a:gd name="connsiteY358" fmla="*/ 264605 h 876300"/>
                  <a:gd name="connsiteX359" fmla="*/ 757238 w 962025"/>
                  <a:gd name="connsiteY359" fmla="*/ 265462 h 876300"/>
                  <a:gd name="connsiteX360" fmla="*/ 758095 w 962025"/>
                  <a:gd name="connsiteY360" fmla="*/ 266319 h 876300"/>
                  <a:gd name="connsiteX361" fmla="*/ 758952 w 962025"/>
                  <a:gd name="connsiteY361" fmla="*/ 267176 h 876300"/>
                  <a:gd name="connsiteX362" fmla="*/ 758952 w 962025"/>
                  <a:gd name="connsiteY362" fmla="*/ 268034 h 876300"/>
                  <a:gd name="connsiteX363" fmla="*/ 758952 w 962025"/>
                  <a:gd name="connsiteY363" fmla="*/ 269748 h 876300"/>
                  <a:gd name="connsiteX364" fmla="*/ 758095 w 962025"/>
                  <a:gd name="connsiteY364" fmla="*/ 271367 h 876300"/>
                  <a:gd name="connsiteX365" fmla="*/ 756380 w 962025"/>
                  <a:gd name="connsiteY365" fmla="*/ 271367 h 876300"/>
                  <a:gd name="connsiteX366" fmla="*/ 754761 w 962025"/>
                  <a:gd name="connsiteY366" fmla="*/ 271367 h 876300"/>
                  <a:gd name="connsiteX367" fmla="*/ 750475 w 962025"/>
                  <a:gd name="connsiteY367" fmla="*/ 268034 h 876300"/>
                  <a:gd name="connsiteX368" fmla="*/ 748760 w 962025"/>
                  <a:gd name="connsiteY368" fmla="*/ 268034 h 876300"/>
                  <a:gd name="connsiteX369" fmla="*/ 747903 w 962025"/>
                  <a:gd name="connsiteY369" fmla="*/ 268034 h 876300"/>
                  <a:gd name="connsiteX370" fmla="*/ 747903 w 962025"/>
                  <a:gd name="connsiteY370" fmla="*/ 268034 h 876300"/>
                  <a:gd name="connsiteX371" fmla="*/ 746284 w 962025"/>
                  <a:gd name="connsiteY371" fmla="*/ 268891 h 876300"/>
                  <a:gd name="connsiteX372" fmla="*/ 746284 w 962025"/>
                  <a:gd name="connsiteY372" fmla="*/ 268891 h 876300"/>
                  <a:gd name="connsiteX373" fmla="*/ 744569 w 962025"/>
                  <a:gd name="connsiteY373" fmla="*/ 269748 h 876300"/>
                  <a:gd name="connsiteX374" fmla="*/ 743712 w 962025"/>
                  <a:gd name="connsiteY374" fmla="*/ 268891 h 876300"/>
                  <a:gd name="connsiteX375" fmla="*/ 741140 w 962025"/>
                  <a:gd name="connsiteY375" fmla="*/ 268891 h 876300"/>
                  <a:gd name="connsiteX376" fmla="*/ 741140 w 962025"/>
                  <a:gd name="connsiteY376" fmla="*/ 268891 h 876300"/>
                  <a:gd name="connsiteX377" fmla="*/ 740283 w 962025"/>
                  <a:gd name="connsiteY377" fmla="*/ 268891 h 876300"/>
                  <a:gd name="connsiteX378" fmla="*/ 739426 w 962025"/>
                  <a:gd name="connsiteY378" fmla="*/ 268891 h 876300"/>
                  <a:gd name="connsiteX379" fmla="*/ 739426 w 962025"/>
                  <a:gd name="connsiteY379" fmla="*/ 269748 h 876300"/>
                  <a:gd name="connsiteX380" fmla="*/ 738664 w 962025"/>
                  <a:gd name="connsiteY380" fmla="*/ 270510 h 876300"/>
                  <a:gd name="connsiteX381" fmla="*/ 738664 w 962025"/>
                  <a:gd name="connsiteY381" fmla="*/ 272225 h 876300"/>
                  <a:gd name="connsiteX382" fmla="*/ 738664 w 962025"/>
                  <a:gd name="connsiteY382" fmla="*/ 273939 h 876300"/>
                  <a:gd name="connsiteX383" fmla="*/ 738664 w 962025"/>
                  <a:gd name="connsiteY383" fmla="*/ 275654 h 876300"/>
                  <a:gd name="connsiteX384" fmla="*/ 739426 w 962025"/>
                  <a:gd name="connsiteY384" fmla="*/ 279082 h 876300"/>
                  <a:gd name="connsiteX385" fmla="*/ 740283 w 962025"/>
                  <a:gd name="connsiteY385" fmla="*/ 283273 h 876300"/>
                  <a:gd name="connsiteX386" fmla="*/ 741140 w 962025"/>
                  <a:gd name="connsiteY386" fmla="*/ 284988 h 876300"/>
                  <a:gd name="connsiteX387" fmla="*/ 741140 w 962025"/>
                  <a:gd name="connsiteY387" fmla="*/ 287560 h 876300"/>
                  <a:gd name="connsiteX388" fmla="*/ 741140 w 962025"/>
                  <a:gd name="connsiteY388" fmla="*/ 289179 h 876300"/>
                  <a:gd name="connsiteX389" fmla="*/ 741140 w 962025"/>
                  <a:gd name="connsiteY389" fmla="*/ 290036 h 876300"/>
                  <a:gd name="connsiteX390" fmla="*/ 742855 w 962025"/>
                  <a:gd name="connsiteY390" fmla="*/ 291751 h 876300"/>
                  <a:gd name="connsiteX391" fmla="*/ 743712 w 962025"/>
                  <a:gd name="connsiteY391" fmla="*/ 291751 h 876300"/>
                  <a:gd name="connsiteX392" fmla="*/ 743712 w 962025"/>
                  <a:gd name="connsiteY392" fmla="*/ 292608 h 876300"/>
                  <a:gd name="connsiteX393" fmla="*/ 743712 w 962025"/>
                  <a:gd name="connsiteY393" fmla="*/ 294323 h 876300"/>
                  <a:gd name="connsiteX394" fmla="*/ 743712 w 962025"/>
                  <a:gd name="connsiteY394" fmla="*/ 296037 h 876300"/>
                  <a:gd name="connsiteX395" fmla="*/ 744569 w 962025"/>
                  <a:gd name="connsiteY395" fmla="*/ 296894 h 876300"/>
                  <a:gd name="connsiteX396" fmla="*/ 744569 w 962025"/>
                  <a:gd name="connsiteY396" fmla="*/ 297656 h 876300"/>
                  <a:gd name="connsiteX397" fmla="*/ 744569 w 962025"/>
                  <a:gd name="connsiteY397" fmla="*/ 298513 h 876300"/>
                  <a:gd name="connsiteX398" fmla="*/ 744569 w 962025"/>
                  <a:gd name="connsiteY398" fmla="*/ 299371 h 876300"/>
                  <a:gd name="connsiteX399" fmla="*/ 740283 w 962025"/>
                  <a:gd name="connsiteY399" fmla="*/ 301942 h 876300"/>
                  <a:gd name="connsiteX400" fmla="*/ 736949 w 962025"/>
                  <a:gd name="connsiteY400" fmla="*/ 298513 h 876300"/>
                  <a:gd name="connsiteX401" fmla="*/ 734378 w 962025"/>
                  <a:gd name="connsiteY401" fmla="*/ 296037 h 876300"/>
                  <a:gd name="connsiteX402" fmla="*/ 731044 w 962025"/>
                  <a:gd name="connsiteY402" fmla="*/ 296037 h 876300"/>
                  <a:gd name="connsiteX403" fmla="*/ 720852 w 962025"/>
                  <a:gd name="connsiteY403" fmla="*/ 297656 h 876300"/>
                  <a:gd name="connsiteX404" fmla="*/ 719995 w 962025"/>
                  <a:gd name="connsiteY404" fmla="*/ 296894 h 876300"/>
                  <a:gd name="connsiteX405" fmla="*/ 719138 w 962025"/>
                  <a:gd name="connsiteY405" fmla="*/ 296037 h 876300"/>
                  <a:gd name="connsiteX406" fmla="*/ 718280 w 962025"/>
                  <a:gd name="connsiteY406" fmla="*/ 294323 h 876300"/>
                  <a:gd name="connsiteX407" fmla="*/ 718280 w 962025"/>
                  <a:gd name="connsiteY407" fmla="*/ 292608 h 876300"/>
                  <a:gd name="connsiteX408" fmla="*/ 718280 w 962025"/>
                  <a:gd name="connsiteY408" fmla="*/ 291751 h 876300"/>
                  <a:gd name="connsiteX409" fmla="*/ 717423 w 962025"/>
                  <a:gd name="connsiteY409" fmla="*/ 290894 h 876300"/>
                  <a:gd name="connsiteX410" fmla="*/ 716566 w 962025"/>
                  <a:gd name="connsiteY410" fmla="*/ 290036 h 876300"/>
                  <a:gd name="connsiteX411" fmla="*/ 713232 w 962025"/>
                  <a:gd name="connsiteY411" fmla="*/ 287560 h 876300"/>
                  <a:gd name="connsiteX412" fmla="*/ 713232 w 962025"/>
                  <a:gd name="connsiteY412" fmla="*/ 285845 h 876300"/>
                  <a:gd name="connsiteX413" fmla="*/ 713232 w 962025"/>
                  <a:gd name="connsiteY413" fmla="*/ 283273 h 876300"/>
                  <a:gd name="connsiteX414" fmla="*/ 714089 w 962025"/>
                  <a:gd name="connsiteY414" fmla="*/ 283273 h 876300"/>
                  <a:gd name="connsiteX415" fmla="*/ 716566 w 962025"/>
                  <a:gd name="connsiteY415" fmla="*/ 283273 h 876300"/>
                  <a:gd name="connsiteX416" fmla="*/ 717423 w 962025"/>
                  <a:gd name="connsiteY416" fmla="*/ 283273 h 876300"/>
                  <a:gd name="connsiteX417" fmla="*/ 718280 w 962025"/>
                  <a:gd name="connsiteY417" fmla="*/ 283273 h 876300"/>
                  <a:gd name="connsiteX418" fmla="*/ 718280 w 962025"/>
                  <a:gd name="connsiteY418" fmla="*/ 282416 h 876300"/>
                  <a:gd name="connsiteX419" fmla="*/ 719138 w 962025"/>
                  <a:gd name="connsiteY419" fmla="*/ 281559 h 876300"/>
                  <a:gd name="connsiteX420" fmla="*/ 719138 w 962025"/>
                  <a:gd name="connsiteY420" fmla="*/ 280702 h 876300"/>
                  <a:gd name="connsiteX421" fmla="*/ 719138 w 962025"/>
                  <a:gd name="connsiteY421" fmla="*/ 279082 h 876300"/>
                  <a:gd name="connsiteX422" fmla="*/ 718280 w 962025"/>
                  <a:gd name="connsiteY422" fmla="*/ 279082 h 876300"/>
                  <a:gd name="connsiteX423" fmla="*/ 717423 w 962025"/>
                  <a:gd name="connsiteY423" fmla="*/ 278225 h 876300"/>
                  <a:gd name="connsiteX424" fmla="*/ 717423 w 962025"/>
                  <a:gd name="connsiteY424" fmla="*/ 277368 h 876300"/>
                  <a:gd name="connsiteX425" fmla="*/ 717423 w 962025"/>
                  <a:gd name="connsiteY425" fmla="*/ 277368 h 876300"/>
                  <a:gd name="connsiteX426" fmla="*/ 718280 w 962025"/>
                  <a:gd name="connsiteY426" fmla="*/ 276511 h 876300"/>
                  <a:gd name="connsiteX427" fmla="*/ 718280 w 962025"/>
                  <a:gd name="connsiteY427" fmla="*/ 275654 h 876300"/>
                  <a:gd name="connsiteX428" fmla="*/ 719138 w 962025"/>
                  <a:gd name="connsiteY428" fmla="*/ 274796 h 876300"/>
                  <a:gd name="connsiteX429" fmla="*/ 719138 w 962025"/>
                  <a:gd name="connsiteY429" fmla="*/ 273939 h 876300"/>
                  <a:gd name="connsiteX430" fmla="*/ 719995 w 962025"/>
                  <a:gd name="connsiteY430" fmla="*/ 272225 h 876300"/>
                  <a:gd name="connsiteX431" fmla="*/ 719995 w 962025"/>
                  <a:gd name="connsiteY431" fmla="*/ 271367 h 876300"/>
                  <a:gd name="connsiteX432" fmla="*/ 722567 w 962025"/>
                  <a:gd name="connsiteY432" fmla="*/ 269748 h 876300"/>
                  <a:gd name="connsiteX433" fmla="*/ 724186 w 962025"/>
                  <a:gd name="connsiteY433" fmla="*/ 267176 h 876300"/>
                  <a:gd name="connsiteX434" fmla="*/ 724186 w 962025"/>
                  <a:gd name="connsiteY434" fmla="*/ 266319 h 876300"/>
                  <a:gd name="connsiteX435" fmla="*/ 724186 w 962025"/>
                  <a:gd name="connsiteY435" fmla="*/ 265462 h 876300"/>
                  <a:gd name="connsiteX436" fmla="*/ 723329 w 962025"/>
                  <a:gd name="connsiteY436" fmla="*/ 264605 h 876300"/>
                  <a:gd name="connsiteX437" fmla="*/ 722567 w 962025"/>
                  <a:gd name="connsiteY437" fmla="*/ 263747 h 876300"/>
                  <a:gd name="connsiteX438" fmla="*/ 721709 w 962025"/>
                  <a:gd name="connsiteY438" fmla="*/ 264605 h 876300"/>
                  <a:gd name="connsiteX439" fmla="*/ 720852 w 962025"/>
                  <a:gd name="connsiteY439" fmla="*/ 264605 h 876300"/>
                  <a:gd name="connsiteX440" fmla="*/ 720852 w 962025"/>
                  <a:gd name="connsiteY440" fmla="*/ 265462 h 876300"/>
                  <a:gd name="connsiteX441" fmla="*/ 719995 w 962025"/>
                  <a:gd name="connsiteY441" fmla="*/ 266319 h 876300"/>
                  <a:gd name="connsiteX442" fmla="*/ 719138 w 962025"/>
                  <a:gd name="connsiteY442" fmla="*/ 267176 h 876300"/>
                  <a:gd name="connsiteX443" fmla="*/ 718280 w 962025"/>
                  <a:gd name="connsiteY443" fmla="*/ 267176 h 876300"/>
                  <a:gd name="connsiteX444" fmla="*/ 718280 w 962025"/>
                  <a:gd name="connsiteY444" fmla="*/ 267176 h 876300"/>
                  <a:gd name="connsiteX445" fmla="*/ 715709 w 962025"/>
                  <a:gd name="connsiteY445" fmla="*/ 264605 h 876300"/>
                  <a:gd name="connsiteX446" fmla="*/ 714947 w 962025"/>
                  <a:gd name="connsiteY446" fmla="*/ 263747 h 876300"/>
                  <a:gd name="connsiteX447" fmla="*/ 714947 w 962025"/>
                  <a:gd name="connsiteY447" fmla="*/ 262890 h 876300"/>
                  <a:gd name="connsiteX448" fmla="*/ 714947 w 962025"/>
                  <a:gd name="connsiteY448" fmla="*/ 262033 h 876300"/>
                  <a:gd name="connsiteX449" fmla="*/ 715709 w 962025"/>
                  <a:gd name="connsiteY449" fmla="*/ 261271 h 876300"/>
                  <a:gd name="connsiteX450" fmla="*/ 716566 w 962025"/>
                  <a:gd name="connsiteY450" fmla="*/ 260413 h 876300"/>
                  <a:gd name="connsiteX451" fmla="*/ 718280 w 962025"/>
                  <a:gd name="connsiteY451" fmla="*/ 259556 h 876300"/>
                  <a:gd name="connsiteX452" fmla="*/ 719995 w 962025"/>
                  <a:gd name="connsiteY452" fmla="*/ 258699 h 876300"/>
                  <a:gd name="connsiteX453" fmla="*/ 720852 w 962025"/>
                  <a:gd name="connsiteY453" fmla="*/ 258699 h 876300"/>
                  <a:gd name="connsiteX454" fmla="*/ 721709 w 962025"/>
                  <a:gd name="connsiteY454" fmla="*/ 257842 h 876300"/>
                  <a:gd name="connsiteX455" fmla="*/ 723329 w 962025"/>
                  <a:gd name="connsiteY455" fmla="*/ 255270 h 876300"/>
                  <a:gd name="connsiteX456" fmla="*/ 724186 w 962025"/>
                  <a:gd name="connsiteY456" fmla="*/ 254413 h 876300"/>
                  <a:gd name="connsiteX457" fmla="*/ 725043 w 962025"/>
                  <a:gd name="connsiteY457" fmla="*/ 254413 h 876300"/>
                  <a:gd name="connsiteX458" fmla="*/ 725043 w 962025"/>
                  <a:gd name="connsiteY458" fmla="*/ 254413 h 876300"/>
                  <a:gd name="connsiteX459" fmla="*/ 726758 w 962025"/>
                  <a:gd name="connsiteY459" fmla="*/ 256984 h 876300"/>
                  <a:gd name="connsiteX460" fmla="*/ 727615 w 962025"/>
                  <a:gd name="connsiteY460" fmla="*/ 257842 h 876300"/>
                  <a:gd name="connsiteX461" fmla="*/ 729329 w 962025"/>
                  <a:gd name="connsiteY461" fmla="*/ 257842 h 876300"/>
                  <a:gd name="connsiteX462" fmla="*/ 730187 w 962025"/>
                  <a:gd name="connsiteY462" fmla="*/ 256984 h 876300"/>
                  <a:gd name="connsiteX463" fmla="*/ 730187 w 962025"/>
                  <a:gd name="connsiteY463" fmla="*/ 256127 h 876300"/>
                  <a:gd name="connsiteX464" fmla="*/ 728472 w 962025"/>
                  <a:gd name="connsiteY464" fmla="*/ 253556 h 876300"/>
                  <a:gd name="connsiteX465" fmla="*/ 727615 w 962025"/>
                  <a:gd name="connsiteY465" fmla="*/ 251936 h 876300"/>
                  <a:gd name="connsiteX466" fmla="*/ 726758 w 962025"/>
                  <a:gd name="connsiteY466" fmla="*/ 251079 h 876300"/>
                  <a:gd name="connsiteX467" fmla="*/ 725900 w 962025"/>
                  <a:gd name="connsiteY467" fmla="*/ 250222 h 876300"/>
                  <a:gd name="connsiteX468" fmla="*/ 725043 w 962025"/>
                  <a:gd name="connsiteY468" fmla="*/ 247650 h 876300"/>
                  <a:gd name="connsiteX469" fmla="*/ 724186 w 962025"/>
                  <a:gd name="connsiteY469" fmla="*/ 245078 h 876300"/>
                  <a:gd name="connsiteX470" fmla="*/ 716566 w 962025"/>
                  <a:gd name="connsiteY470" fmla="*/ 234886 h 876300"/>
                  <a:gd name="connsiteX471" fmla="*/ 711518 w 962025"/>
                  <a:gd name="connsiteY471" fmla="*/ 229838 h 876300"/>
                  <a:gd name="connsiteX472" fmla="*/ 708089 w 962025"/>
                  <a:gd name="connsiteY472" fmla="*/ 227267 h 876300"/>
                  <a:gd name="connsiteX473" fmla="*/ 707326 w 962025"/>
                  <a:gd name="connsiteY473" fmla="*/ 227267 h 876300"/>
                  <a:gd name="connsiteX474" fmla="*/ 705612 w 962025"/>
                  <a:gd name="connsiteY474" fmla="*/ 226409 h 876300"/>
                  <a:gd name="connsiteX475" fmla="*/ 703040 w 962025"/>
                  <a:gd name="connsiteY475" fmla="*/ 225552 h 876300"/>
                  <a:gd name="connsiteX476" fmla="*/ 700469 w 962025"/>
                  <a:gd name="connsiteY476" fmla="*/ 223933 h 876300"/>
                  <a:gd name="connsiteX477" fmla="*/ 699611 w 962025"/>
                  <a:gd name="connsiteY477" fmla="*/ 223933 h 876300"/>
                  <a:gd name="connsiteX478" fmla="*/ 698849 w 962025"/>
                  <a:gd name="connsiteY478" fmla="*/ 223933 h 876300"/>
                  <a:gd name="connsiteX479" fmla="*/ 697992 w 962025"/>
                  <a:gd name="connsiteY479" fmla="*/ 223933 h 876300"/>
                  <a:gd name="connsiteX480" fmla="*/ 697135 w 962025"/>
                  <a:gd name="connsiteY480" fmla="*/ 224790 h 876300"/>
                  <a:gd name="connsiteX481" fmla="*/ 696278 w 962025"/>
                  <a:gd name="connsiteY481" fmla="*/ 223933 h 876300"/>
                  <a:gd name="connsiteX482" fmla="*/ 695420 w 962025"/>
                  <a:gd name="connsiteY482" fmla="*/ 222218 h 876300"/>
                  <a:gd name="connsiteX483" fmla="*/ 695420 w 962025"/>
                  <a:gd name="connsiteY483" fmla="*/ 220504 h 876300"/>
                  <a:gd name="connsiteX484" fmla="*/ 696278 w 962025"/>
                  <a:gd name="connsiteY484" fmla="*/ 219646 h 876300"/>
                  <a:gd name="connsiteX485" fmla="*/ 696278 w 962025"/>
                  <a:gd name="connsiteY485" fmla="*/ 218789 h 876300"/>
                  <a:gd name="connsiteX486" fmla="*/ 694563 w 962025"/>
                  <a:gd name="connsiteY486" fmla="*/ 217932 h 876300"/>
                  <a:gd name="connsiteX487" fmla="*/ 692849 w 962025"/>
                  <a:gd name="connsiteY487" fmla="*/ 217075 h 876300"/>
                  <a:gd name="connsiteX488" fmla="*/ 687800 w 962025"/>
                  <a:gd name="connsiteY488" fmla="*/ 212884 h 876300"/>
                  <a:gd name="connsiteX489" fmla="*/ 685229 w 962025"/>
                  <a:gd name="connsiteY489" fmla="*/ 208598 h 876300"/>
                  <a:gd name="connsiteX490" fmla="*/ 683609 w 962025"/>
                  <a:gd name="connsiteY490" fmla="*/ 206978 h 876300"/>
                  <a:gd name="connsiteX491" fmla="*/ 683609 w 962025"/>
                  <a:gd name="connsiteY491" fmla="*/ 206978 h 876300"/>
                  <a:gd name="connsiteX492" fmla="*/ 682752 w 962025"/>
                  <a:gd name="connsiteY492" fmla="*/ 206121 h 876300"/>
                  <a:gd name="connsiteX493" fmla="*/ 679323 w 962025"/>
                  <a:gd name="connsiteY493" fmla="*/ 201835 h 876300"/>
                  <a:gd name="connsiteX494" fmla="*/ 677609 w 962025"/>
                  <a:gd name="connsiteY494" fmla="*/ 200120 h 876300"/>
                  <a:gd name="connsiteX495" fmla="*/ 675894 w 962025"/>
                  <a:gd name="connsiteY495" fmla="*/ 197644 h 876300"/>
                  <a:gd name="connsiteX496" fmla="*/ 675132 w 962025"/>
                  <a:gd name="connsiteY496" fmla="*/ 194215 h 876300"/>
                  <a:gd name="connsiteX497" fmla="*/ 671703 w 962025"/>
                  <a:gd name="connsiteY497" fmla="*/ 183166 h 876300"/>
                  <a:gd name="connsiteX498" fmla="*/ 669131 w 962025"/>
                  <a:gd name="connsiteY498" fmla="*/ 178975 h 876300"/>
                  <a:gd name="connsiteX499" fmla="*/ 668274 w 962025"/>
                  <a:gd name="connsiteY499" fmla="*/ 177260 h 876300"/>
                  <a:gd name="connsiteX500" fmla="*/ 669131 w 962025"/>
                  <a:gd name="connsiteY500" fmla="*/ 175546 h 876300"/>
                  <a:gd name="connsiteX501" fmla="*/ 668274 w 962025"/>
                  <a:gd name="connsiteY501" fmla="*/ 173831 h 876300"/>
                  <a:gd name="connsiteX502" fmla="*/ 666655 w 962025"/>
                  <a:gd name="connsiteY502" fmla="*/ 169640 h 876300"/>
                  <a:gd name="connsiteX503" fmla="*/ 665798 w 962025"/>
                  <a:gd name="connsiteY503" fmla="*/ 167926 h 876300"/>
                  <a:gd name="connsiteX504" fmla="*/ 664940 w 962025"/>
                  <a:gd name="connsiteY504" fmla="*/ 164497 h 876300"/>
                  <a:gd name="connsiteX505" fmla="*/ 664083 w 962025"/>
                  <a:gd name="connsiteY505" fmla="*/ 162020 h 876300"/>
                  <a:gd name="connsiteX506" fmla="*/ 664083 w 962025"/>
                  <a:gd name="connsiteY506" fmla="*/ 161163 h 876300"/>
                  <a:gd name="connsiteX507" fmla="*/ 664940 w 962025"/>
                  <a:gd name="connsiteY507" fmla="*/ 160306 h 876300"/>
                  <a:gd name="connsiteX508" fmla="*/ 664940 w 962025"/>
                  <a:gd name="connsiteY508" fmla="*/ 159448 h 876300"/>
                  <a:gd name="connsiteX509" fmla="*/ 666655 w 962025"/>
                  <a:gd name="connsiteY509" fmla="*/ 158591 h 876300"/>
                  <a:gd name="connsiteX510" fmla="*/ 667512 w 962025"/>
                  <a:gd name="connsiteY510" fmla="*/ 157734 h 876300"/>
                  <a:gd name="connsiteX511" fmla="*/ 668274 w 962025"/>
                  <a:gd name="connsiteY511" fmla="*/ 156877 h 876300"/>
                  <a:gd name="connsiteX512" fmla="*/ 668274 w 962025"/>
                  <a:gd name="connsiteY512" fmla="*/ 155162 h 876300"/>
                  <a:gd name="connsiteX513" fmla="*/ 667512 w 962025"/>
                  <a:gd name="connsiteY513" fmla="*/ 154305 h 876300"/>
                  <a:gd name="connsiteX514" fmla="*/ 667512 w 962025"/>
                  <a:gd name="connsiteY514" fmla="*/ 152686 h 876300"/>
                  <a:gd name="connsiteX515" fmla="*/ 666655 w 962025"/>
                  <a:gd name="connsiteY515" fmla="*/ 152686 h 876300"/>
                  <a:gd name="connsiteX516" fmla="*/ 665798 w 962025"/>
                  <a:gd name="connsiteY516" fmla="*/ 151829 h 876300"/>
                  <a:gd name="connsiteX517" fmla="*/ 661511 w 962025"/>
                  <a:gd name="connsiteY517" fmla="*/ 150114 h 876300"/>
                  <a:gd name="connsiteX518" fmla="*/ 660654 w 962025"/>
                  <a:gd name="connsiteY518" fmla="*/ 149257 h 876300"/>
                  <a:gd name="connsiteX519" fmla="*/ 657320 w 962025"/>
                  <a:gd name="connsiteY519" fmla="*/ 144971 h 876300"/>
                  <a:gd name="connsiteX520" fmla="*/ 655606 w 962025"/>
                  <a:gd name="connsiteY520" fmla="*/ 142494 h 876300"/>
                  <a:gd name="connsiteX521" fmla="*/ 654749 w 962025"/>
                  <a:gd name="connsiteY521" fmla="*/ 140779 h 876300"/>
                  <a:gd name="connsiteX522" fmla="*/ 653891 w 962025"/>
                  <a:gd name="connsiteY522" fmla="*/ 139065 h 876300"/>
                  <a:gd name="connsiteX523" fmla="*/ 653891 w 962025"/>
                  <a:gd name="connsiteY523" fmla="*/ 138208 h 876300"/>
                  <a:gd name="connsiteX524" fmla="*/ 653891 w 962025"/>
                  <a:gd name="connsiteY524" fmla="*/ 137350 h 876300"/>
                  <a:gd name="connsiteX525" fmla="*/ 653891 w 962025"/>
                  <a:gd name="connsiteY525" fmla="*/ 136493 h 876300"/>
                  <a:gd name="connsiteX526" fmla="*/ 653891 w 962025"/>
                  <a:gd name="connsiteY526" fmla="*/ 135636 h 876300"/>
                  <a:gd name="connsiteX527" fmla="*/ 653891 w 962025"/>
                  <a:gd name="connsiteY527" fmla="*/ 134874 h 876300"/>
                  <a:gd name="connsiteX528" fmla="*/ 653034 w 962025"/>
                  <a:gd name="connsiteY528" fmla="*/ 133159 h 876300"/>
                  <a:gd name="connsiteX529" fmla="*/ 652177 w 962025"/>
                  <a:gd name="connsiteY529" fmla="*/ 132302 h 876300"/>
                  <a:gd name="connsiteX530" fmla="*/ 652177 w 962025"/>
                  <a:gd name="connsiteY530" fmla="*/ 131445 h 876300"/>
                  <a:gd name="connsiteX531" fmla="*/ 652177 w 962025"/>
                  <a:gd name="connsiteY531" fmla="*/ 130588 h 876300"/>
                  <a:gd name="connsiteX532" fmla="*/ 653034 w 962025"/>
                  <a:gd name="connsiteY532" fmla="*/ 129731 h 876300"/>
                  <a:gd name="connsiteX533" fmla="*/ 653034 w 962025"/>
                  <a:gd name="connsiteY533" fmla="*/ 129731 h 876300"/>
                  <a:gd name="connsiteX534" fmla="*/ 654749 w 962025"/>
                  <a:gd name="connsiteY534" fmla="*/ 128873 h 876300"/>
                  <a:gd name="connsiteX535" fmla="*/ 655606 w 962025"/>
                  <a:gd name="connsiteY535" fmla="*/ 128873 h 876300"/>
                  <a:gd name="connsiteX536" fmla="*/ 655606 w 962025"/>
                  <a:gd name="connsiteY536" fmla="*/ 128873 h 876300"/>
                  <a:gd name="connsiteX537" fmla="*/ 655606 w 962025"/>
                  <a:gd name="connsiteY537" fmla="*/ 128016 h 876300"/>
                  <a:gd name="connsiteX538" fmla="*/ 655606 w 962025"/>
                  <a:gd name="connsiteY538" fmla="*/ 127159 h 876300"/>
                  <a:gd name="connsiteX539" fmla="*/ 655606 w 962025"/>
                  <a:gd name="connsiteY539" fmla="*/ 126397 h 876300"/>
                  <a:gd name="connsiteX540" fmla="*/ 655606 w 962025"/>
                  <a:gd name="connsiteY540" fmla="*/ 125540 h 876300"/>
                  <a:gd name="connsiteX541" fmla="*/ 653891 w 962025"/>
                  <a:gd name="connsiteY541" fmla="*/ 122968 h 876300"/>
                  <a:gd name="connsiteX542" fmla="*/ 653891 w 962025"/>
                  <a:gd name="connsiteY542" fmla="*/ 121253 h 876300"/>
                  <a:gd name="connsiteX543" fmla="*/ 653891 w 962025"/>
                  <a:gd name="connsiteY543" fmla="*/ 120396 h 876300"/>
                  <a:gd name="connsiteX544" fmla="*/ 653034 w 962025"/>
                  <a:gd name="connsiteY544" fmla="*/ 120396 h 876300"/>
                  <a:gd name="connsiteX545" fmla="*/ 651415 w 962025"/>
                  <a:gd name="connsiteY545" fmla="*/ 121253 h 876300"/>
                  <a:gd name="connsiteX546" fmla="*/ 649700 w 962025"/>
                  <a:gd name="connsiteY546" fmla="*/ 122111 h 876300"/>
                  <a:gd name="connsiteX547" fmla="*/ 648843 w 962025"/>
                  <a:gd name="connsiteY547" fmla="*/ 122111 h 876300"/>
                  <a:gd name="connsiteX548" fmla="*/ 648843 w 962025"/>
                  <a:gd name="connsiteY548" fmla="*/ 122968 h 876300"/>
                  <a:gd name="connsiteX549" fmla="*/ 647986 w 962025"/>
                  <a:gd name="connsiteY549" fmla="*/ 122968 h 876300"/>
                  <a:gd name="connsiteX550" fmla="*/ 647129 w 962025"/>
                  <a:gd name="connsiteY550" fmla="*/ 122111 h 876300"/>
                  <a:gd name="connsiteX551" fmla="*/ 646271 w 962025"/>
                  <a:gd name="connsiteY551" fmla="*/ 121253 h 876300"/>
                  <a:gd name="connsiteX552" fmla="*/ 646271 w 962025"/>
                  <a:gd name="connsiteY552" fmla="*/ 120396 h 876300"/>
                  <a:gd name="connsiteX553" fmla="*/ 646271 w 962025"/>
                  <a:gd name="connsiteY553" fmla="*/ 119539 h 876300"/>
                  <a:gd name="connsiteX554" fmla="*/ 647129 w 962025"/>
                  <a:gd name="connsiteY554" fmla="*/ 117062 h 876300"/>
                  <a:gd name="connsiteX555" fmla="*/ 647129 w 962025"/>
                  <a:gd name="connsiteY555" fmla="*/ 116205 h 876300"/>
                  <a:gd name="connsiteX556" fmla="*/ 647129 w 962025"/>
                  <a:gd name="connsiteY556" fmla="*/ 115348 h 876300"/>
                  <a:gd name="connsiteX557" fmla="*/ 646271 w 962025"/>
                  <a:gd name="connsiteY557" fmla="*/ 114490 h 876300"/>
                  <a:gd name="connsiteX558" fmla="*/ 645414 w 962025"/>
                  <a:gd name="connsiteY558" fmla="*/ 115348 h 876300"/>
                  <a:gd name="connsiteX559" fmla="*/ 641223 w 962025"/>
                  <a:gd name="connsiteY559" fmla="*/ 117062 h 876300"/>
                  <a:gd name="connsiteX560" fmla="*/ 641223 w 962025"/>
                  <a:gd name="connsiteY560" fmla="*/ 117062 h 876300"/>
                  <a:gd name="connsiteX561" fmla="*/ 640366 w 962025"/>
                  <a:gd name="connsiteY561" fmla="*/ 117824 h 876300"/>
                  <a:gd name="connsiteX562" fmla="*/ 640366 w 962025"/>
                  <a:gd name="connsiteY562" fmla="*/ 118681 h 876300"/>
                  <a:gd name="connsiteX563" fmla="*/ 640366 w 962025"/>
                  <a:gd name="connsiteY563" fmla="*/ 119539 h 876300"/>
                  <a:gd name="connsiteX564" fmla="*/ 639509 w 962025"/>
                  <a:gd name="connsiteY564" fmla="*/ 119539 h 876300"/>
                  <a:gd name="connsiteX565" fmla="*/ 637794 w 962025"/>
                  <a:gd name="connsiteY565" fmla="*/ 120396 h 876300"/>
                  <a:gd name="connsiteX566" fmla="*/ 636175 w 962025"/>
                  <a:gd name="connsiteY566" fmla="*/ 120396 h 876300"/>
                  <a:gd name="connsiteX567" fmla="*/ 634460 w 962025"/>
                  <a:gd name="connsiteY567" fmla="*/ 120396 h 876300"/>
                  <a:gd name="connsiteX568" fmla="*/ 632746 w 962025"/>
                  <a:gd name="connsiteY568" fmla="*/ 119539 h 876300"/>
                  <a:gd name="connsiteX569" fmla="*/ 631889 w 962025"/>
                  <a:gd name="connsiteY569" fmla="*/ 118681 h 876300"/>
                  <a:gd name="connsiteX570" fmla="*/ 631031 w 962025"/>
                  <a:gd name="connsiteY570" fmla="*/ 118681 h 876300"/>
                  <a:gd name="connsiteX571" fmla="*/ 629317 w 962025"/>
                  <a:gd name="connsiteY571" fmla="*/ 118681 h 876300"/>
                  <a:gd name="connsiteX572" fmla="*/ 628460 w 962025"/>
                  <a:gd name="connsiteY572" fmla="*/ 120396 h 876300"/>
                  <a:gd name="connsiteX573" fmla="*/ 626840 w 962025"/>
                  <a:gd name="connsiteY573" fmla="*/ 121253 h 876300"/>
                  <a:gd name="connsiteX574" fmla="*/ 625126 w 962025"/>
                  <a:gd name="connsiteY574" fmla="*/ 121253 h 876300"/>
                  <a:gd name="connsiteX575" fmla="*/ 624269 w 962025"/>
                  <a:gd name="connsiteY575" fmla="*/ 121253 h 876300"/>
                  <a:gd name="connsiteX576" fmla="*/ 622554 w 962025"/>
                  <a:gd name="connsiteY576" fmla="*/ 122968 h 876300"/>
                  <a:gd name="connsiteX577" fmla="*/ 621697 w 962025"/>
                  <a:gd name="connsiteY577" fmla="*/ 122968 h 876300"/>
                  <a:gd name="connsiteX578" fmla="*/ 620840 w 962025"/>
                  <a:gd name="connsiteY578" fmla="*/ 122968 h 876300"/>
                  <a:gd name="connsiteX579" fmla="*/ 619220 w 962025"/>
                  <a:gd name="connsiteY579" fmla="*/ 122968 h 876300"/>
                  <a:gd name="connsiteX580" fmla="*/ 618363 w 962025"/>
                  <a:gd name="connsiteY580" fmla="*/ 122111 h 876300"/>
                  <a:gd name="connsiteX581" fmla="*/ 617506 w 962025"/>
                  <a:gd name="connsiteY581" fmla="*/ 121253 h 876300"/>
                  <a:gd name="connsiteX582" fmla="*/ 616649 w 962025"/>
                  <a:gd name="connsiteY582" fmla="*/ 118681 h 876300"/>
                  <a:gd name="connsiteX583" fmla="*/ 615791 w 962025"/>
                  <a:gd name="connsiteY583" fmla="*/ 117824 h 876300"/>
                  <a:gd name="connsiteX584" fmla="*/ 614934 w 962025"/>
                  <a:gd name="connsiteY584" fmla="*/ 116205 h 876300"/>
                  <a:gd name="connsiteX585" fmla="*/ 614077 w 962025"/>
                  <a:gd name="connsiteY585" fmla="*/ 116205 h 876300"/>
                  <a:gd name="connsiteX586" fmla="*/ 612458 w 962025"/>
                  <a:gd name="connsiteY586" fmla="*/ 116205 h 876300"/>
                  <a:gd name="connsiteX587" fmla="*/ 610743 w 962025"/>
                  <a:gd name="connsiteY587" fmla="*/ 117062 h 876300"/>
                  <a:gd name="connsiteX588" fmla="*/ 609886 w 962025"/>
                  <a:gd name="connsiteY588" fmla="*/ 117062 h 876300"/>
                  <a:gd name="connsiteX589" fmla="*/ 609029 w 962025"/>
                  <a:gd name="connsiteY589" fmla="*/ 117062 h 876300"/>
                  <a:gd name="connsiteX590" fmla="*/ 608171 w 962025"/>
                  <a:gd name="connsiteY590" fmla="*/ 117062 h 876300"/>
                  <a:gd name="connsiteX591" fmla="*/ 607314 w 962025"/>
                  <a:gd name="connsiteY591" fmla="*/ 117062 h 876300"/>
                  <a:gd name="connsiteX592" fmla="*/ 606457 w 962025"/>
                  <a:gd name="connsiteY592" fmla="*/ 116205 h 876300"/>
                  <a:gd name="connsiteX593" fmla="*/ 605599 w 962025"/>
                  <a:gd name="connsiteY593" fmla="*/ 114490 h 876300"/>
                  <a:gd name="connsiteX594" fmla="*/ 604742 w 962025"/>
                  <a:gd name="connsiteY594" fmla="*/ 111919 h 876300"/>
                  <a:gd name="connsiteX595" fmla="*/ 603980 w 962025"/>
                  <a:gd name="connsiteY595" fmla="*/ 109347 h 876300"/>
                  <a:gd name="connsiteX596" fmla="*/ 603123 w 962025"/>
                  <a:gd name="connsiteY596" fmla="*/ 108490 h 876300"/>
                  <a:gd name="connsiteX597" fmla="*/ 603123 w 962025"/>
                  <a:gd name="connsiteY597" fmla="*/ 107728 h 876300"/>
                  <a:gd name="connsiteX598" fmla="*/ 602266 w 962025"/>
                  <a:gd name="connsiteY598" fmla="*/ 106871 h 876300"/>
                  <a:gd name="connsiteX599" fmla="*/ 600551 w 962025"/>
                  <a:gd name="connsiteY599" fmla="*/ 105156 h 876300"/>
                  <a:gd name="connsiteX600" fmla="*/ 598837 w 962025"/>
                  <a:gd name="connsiteY600" fmla="*/ 104299 h 876300"/>
                  <a:gd name="connsiteX601" fmla="*/ 597980 w 962025"/>
                  <a:gd name="connsiteY601" fmla="*/ 103442 h 876300"/>
                  <a:gd name="connsiteX602" fmla="*/ 595503 w 962025"/>
                  <a:gd name="connsiteY602" fmla="*/ 103442 h 876300"/>
                  <a:gd name="connsiteX603" fmla="*/ 594646 w 962025"/>
                  <a:gd name="connsiteY603" fmla="*/ 102584 h 876300"/>
                  <a:gd name="connsiteX604" fmla="*/ 592931 w 962025"/>
                  <a:gd name="connsiteY604" fmla="*/ 101727 h 876300"/>
                  <a:gd name="connsiteX605" fmla="*/ 592074 w 962025"/>
                  <a:gd name="connsiteY605" fmla="*/ 101727 h 876300"/>
                  <a:gd name="connsiteX606" fmla="*/ 591217 w 962025"/>
                  <a:gd name="connsiteY606" fmla="*/ 101727 h 876300"/>
                  <a:gd name="connsiteX607" fmla="*/ 589502 w 962025"/>
                  <a:gd name="connsiteY607" fmla="*/ 102584 h 876300"/>
                  <a:gd name="connsiteX608" fmla="*/ 588740 w 962025"/>
                  <a:gd name="connsiteY608" fmla="*/ 103442 h 876300"/>
                  <a:gd name="connsiteX609" fmla="*/ 587026 w 962025"/>
                  <a:gd name="connsiteY609" fmla="*/ 104299 h 876300"/>
                  <a:gd name="connsiteX610" fmla="*/ 586169 w 962025"/>
                  <a:gd name="connsiteY610" fmla="*/ 106013 h 876300"/>
                  <a:gd name="connsiteX611" fmla="*/ 585311 w 962025"/>
                  <a:gd name="connsiteY611" fmla="*/ 106871 h 876300"/>
                  <a:gd name="connsiteX612" fmla="*/ 583597 w 962025"/>
                  <a:gd name="connsiteY612" fmla="*/ 106871 h 876300"/>
                  <a:gd name="connsiteX613" fmla="*/ 582740 w 962025"/>
                  <a:gd name="connsiteY613" fmla="*/ 106871 h 876300"/>
                  <a:gd name="connsiteX614" fmla="*/ 578549 w 962025"/>
                  <a:gd name="connsiteY614" fmla="*/ 106013 h 876300"/>
                  <a:gd name="connsiteX615" fmla="*/ 577691 w 962025"/>
                  <a:gd name="connsiteY615" fmla="*/ 106013 h 876300"/>
                  <a:gd name="connsiteX616" fmla="*/ 575120 w 962025"/>
                  <a:gd name="connsiteY616" fmla="*/ 106871 h 876300"/>
                  <a:gd name="connsiteX617" fmla="*/ 573405 w 962025"/>
                  <a:gd name="connsiteY617" fmla="*/ 106871 h 876300"/>
                  <a:gd name="connsiteX618" fmla="*/ 572643 w 962025"/>
                  <a:gd name="connsiteY618" fmla="*/ 106871 h 876300"/>
                  <a:gd name="connsiteX619" fmla="*/ 571786 w 962025"/>
                  <a:gd name="connsiteY619" fmla="*/ 106871 h 876300"/>
                  <a:gd name="connsiteX620" fmla="*/ 571786 w 962025"/>
                  <a:gd name="connsiteY620" fmla="*/ 107728 h 876300"/>
                  <a:gd name="connsiteX621" fmla="*/ 570929 w 962025"/>
                  <a:gd name="connsiteY621" fmla="*/ 108490 h 876300"/>
                  <a:gd name="connsiteX622" fmla="*/ 570929 w 962025"/>
                  <a:gd name="connsiteY622" fmla="*/ 110204 h 876300"/>
                  <a:gd name="connsiteX623" fmla="*/ 570929 w 962025"/>
                  <a:gd name="connsiteY623" fmla="*/ 110204 h 876300"/>
                  <a:gd name="connsiteX624" fmla="*/ 570071 w 962025"/>
                  <a:gd name="connsiteY624" fmla="*/ 111061 h 876300"/>
                  <a:gd name="connsiteX625" fmla="*/ 569214 w 962025"/>
                  <a:gd name="connsiteY625" fmla="*/ 111061 h 876300"/>
                  <a:gd name="connsiteX626" fmla="*/ 567499 w 962025"/>
                  <a:gd name="connsiteY626" fmla="*/ 111061 h 876300"/>
                  <a:gd name="connsiteX627" fmla="*/ 566642 w 962025"/>
                  <a:gd name="connsiteY627" fmla="*/ 110204 h 876300"/>
                  <a:gd name="connsiteX628" fmla="*/ 566642 w 962025"/>
                  <a:gd name="connsiteY628" fmla="*/ 108490 h 876300"/>
                  <a:gd name="connsiteX629" fmla="*/ 565023 w 962025"/>
                  <a:gd name="connsiteY629" fmla="*/ 106871 h 876300"/>
                  <a:gd name="connsiteX630" fmla="*/ 564166 w 962025"/>
                  <a:gd name="connsiteY630" fmla="*/ 105156 h 876300"/>
                  <a:gd name="connsiteX631" fmla="*/ 562451 w 962025"/>
                  <a:gd name="connsiteY631" fmla="*/ 102584 h 876300"/>
                  <a:gd name="connsiteX632" fmla="*/ 562451 w 962025"/>
                  <a:gd name="connsiteY632" fmla="*/ 101727 h 876300"/>
                  <a:gd name="connsiteX633" fmla="*/ 561594 w 962025"/>
                  <a:gd name="connsiteY633" fmla="*/ 100013 h 876300"/>
                  <a:gd name="connsiteX634" fmla="*/ 560737 w 962025"/>
                  <a:gd name="connsiteY634" fmla="*/ 98393 h 876300"/>
                  <a:gd name="connsiteX635" fmla="*/ 559880 w 962025"/>
                  <a:gd name="connsiteY635" fmla="*/ 97536 h 876300"/>
                  <a:gd name="connsiteX636" fmla="*/ 559880 w 962025"/>
                  <a:gd name="connsiteY636" fmla="*/ 96679 h 876300"/>
                  <a:gd name="connsiteX637" fmla="*/ 559880 w 962025"/>
                  <a:gd name="connsiteY637" fmla="*/ 95821 h 876300"/>
                  <a:gd name="connsiteX638" fmla="*/ 559880 w 962025"/>
                  <a:gd name="connsiteY638" fmla="*/ 94964 h 876300"/>
                  <a:gd name="connsiteX639" fmla="*/ 560737 w 962025"/>
                  <a:gd name="connsiteY639" fmla="*/ 94107 h 876300"/>
                  <a:gd name="connsiteX640" fmla="*/ 561594 w 962025"/>
                  <a:gd name="connsiteY640" fmla="*/ 94107 h 876300"/>
                  <a:gd name="connsiteX641" fmla="*/ 565023 w 962025"/>
                  <a:gd name="connsiteY641" fmla="*/ 94107 h 876300"/>
                  <a:gd name="connsiteX642" fmla="*/ 565785 w 962025"/>
                  <a:gd name="connsiteY642" fmla="*/ 94107 h 876300"/>
                  <a:gd name="connsiteX643" fmla="*/ 566642 w 962025"/>
                  <a:gd name="connsiteY643" fmla="*/ 93250 h 876300"/>
                  <a:gd name="connsiteX644" fmla="*/ 567499 w 962025"/>
                  <a:gd name="connsiteY644" fmla="*/ 92392 h 876300"/>
                  <a:gd name="connsiteX645" fmla="*/ 567499 w 962025"/>
                  <a:gd name="connsiteY645" fmla="*/ 90678 h 876300"/>
                  <a:gd name="connsiteX646" fmla="*/ 567499 w 962025"/>
                  <a:gd name="connsiteY646" fmla="*/ 87344 h 876300"/>
                  <a:gd name="connsiteX647" fmla="*/ 567499 w 962025"/>
                  <a:gd name="connsiteY647" fmla="*/ 85630 h 876300"/>
                  <a:gd name="connsiteX648" fmla="*/ 566642 w 962025"/>
                  <a:gd name="connsiteY648" fmla="*/ 83915 h 876300"/>
                  <a:gd name="connsiteX649" fmla="*/ 565023 w 962025"/>
                  <a:gd name="connsiteY649" fmla="*/ 82201 h 876300"/>
                  <a:gd name="connsiteX650" fmla="*/ 564166 w 962025"/>
                  <a:gd name="connsiteY650" fmla="*/ 80581 h 876300"/>
                  <a:gd name="connsiteX651" fmla="*/ 564166 w 962025"/>
                  <a:gd name="connsiteY651" fmla="*/ 78010 h 876300"/>
                  <a:gd name="connsiteX652" fmla="*/ 565023 w 962025"/>
                  <a:gd name="connsiteY652" fmla="*/ 67818 h 876300"/>
                  <a:gd name="connsiteX653" fmla="*/ 565023 w 962025"/>
                  <a:gd name="connsiteY653" fmla="*/ 65246 h 876300"/>
                  <a:gd name="connsiteX654" fmla="*/ 566642 w 962025"/>
                  <a:gd name="connsiteY654" fmla="*/ 61055 h 876300"/>
                  <a:gd name="connsiteX655" fmla="*/ 567499 w 962025"/>
                  <a:gd name="connsiteY655" fmla="*/ 59341 h 876300"/>
                  <a:gd name="connsiteX656" fmla="*/ 566642 w 962025"/>
                  <a:gd name="connsiteY656" fmla="*/ 57626 h 876300"/>
                  <a:gd name="connsiteX657" fmla="*/ 565785 w 962025"/>
                  <a:gd name="connsiteY657" fmla="*/ 55912 h 876300"/>
                  <a:gd name="connsiteX658" fmla="*/ 565785 w 962025"/>
                  <a:gd name="connsiteY658" fmla="*/ 55912 h 876300"/>
                  <a:gd name="connsiteX659" fmla="*/ 565023 w 962025"/>
                  <a:gd name="connsiteY659" fmla="*/ 55054 h 876300"/>
                  <a:gd name="connsiteX660" fmla="*/ 564166 w 962025"/>
                  <a:gd name="connsiteY660" fmla="*/ 55912 h 876300"/>
                  <a:gd name="connsiteX661" fmla="*/ 564166 w 962025"/>
                  <a:gd name="connsiteY661" fmla="*/ 55912 h 876300"/>
                  <a:gd name="connsiteX662" fmla="*/ 563309 w 962025"/>
                  <a:gd name="connsiteY662" fmla="*/ 56769 h 876300"/>
                  <a:gd name="connsiteX663" fmla="*/ 562451 w 962025"/>
                  <a:gd name="connsiteY663" fmla="*/ 56769 h 876300"/>
                  <a:gd name="connsiteX664" fmla="*/ 562451 w 962025"/>
                  <a:gd name="connsiteY664" fmla="*/ 57626 h 876300"/>
                  <a:gd name="connsiteX665" fmla="*/ 560737 w 962025"/>
                  <a:gd name="connsiteY665" fmla="*/ 57626 h 876300"/>
                  <a:gd name="connsiteX666" fmla="*/ 559880 w 962025"/>
                  <a:gd name="connsiteY666" fmla="*/ 57626 h 876300"/>
                  <a:gd name="connsiteX667" fmla="*/ 559022 w 962025"/>
                  <a:gd name="connsiteY667" fmla="*/ 57626 h 876300"/>
                  <a:gd name="connsiteX668" fmla="*/ 558165 w 962025"/>
                  <a:gd name="connsiteY668" fmla="*/ 58483 h 876300"/>
                  <a:gd name="connsiteX669" fmla="*/ 557308 w 962025"/>
                  <a:gd name="connsiteY669" fmla="*/ 59341 h 876300"/>
                  <a:gd name="connsiteX670" fmla="*/ 556546 w 962025"/>
                  <a:gd name="connsiteY670" fmla="*/ 59341 h 876300"/>
                  <a:gd name="connsiteX671" fmla="*/ 555689 w 962025"/>
                  <a:gd name="connsiteY671" fmla="*/ 59341 h 876300"/>
                  <a:gd name="connsiteX672" fmla="*/ 553974 w 962025"/>
                  <a:gd name="connsiteY672" fmla="*/ 59341 h 876300"/>
                  <a:gd name="connsiteX673" fmla="*/ 553117 w 962025"/>
                  <a:gd name="connsiteY673" fmla="*/ 59341 h 876300"/>
                  <a:gd name="connsiteX674" fmla="*/ 552260 w 962025"/>
                  <a:gd name="connsiteY674" fmla="*/ 58483 h 876300"/>
                  <a:gd name="connsiteX675" fmla="*/ 551402 w 962025"/>
                  <a:gd name="connsiteY675" fmla="*/ 57626 h 876300"/>
                  <a:gd name="connsiteX676" fmla="*/ 551402 w 962025"/>
                  <a:gd name="connsiteY676" fmla="*/ 55912 h 876300"/>
                  <a:gd name="connsiteX677" fmla="*/ 551402 w 962025"/>
                  <a:gd name="connsiteY677" fmla="*/ 54292 h 876300"/>
                  <a:gd name="connsiteX678" fmla="*/ 551402 w 962025"/>
                  <a:gd name="connsiteY678" fmla="*/ 51721 h 876300"/>
                  <a:gd name="connsiteX679" fmla="*/ 553117 w 962025"/>
                  <a:gd name="connsiteY679" fmla="*/ 49149 h 876300"/>
                  <a:gd name="connsiteX680" fmla="*/ 553117 w 962025"/>
                  <a:gd name="connsiteY680" fmla="*/ 48292 h 876300"/>
                  <a:gd name="connsiteX681" fmla="*/ 553974 w 962025"/>
                  <a:gd name="connsiteY681" fmla="*/ 48292 h 876300"/>
                  <a:gd name="connsiteX682" fmla="*/ 554831 w 962025"/>
                  <a:gd name="connsiteY682" fmla="*/ 48292 h 876300"/>
                  <a:gd name="connsiteX683" fmla="*/ 558165 w 962025"/>
                  <a:gd name="connsiteY683" fmla="*/ 46577 h 876300"/>
                  <a:gd name="connsiteX684" fmla="*/ 559022 w 962025"/>
                  <a:gd name="connsiteY684" fmla="*/ 45720 h 876300"/>
                  <a:gd name="connsiteX685" fmla="*/ 559880 w 962025"/>
                  <a:gd name="connsiteY685" fmla="*/ 44958 h 876300"/>
                  <a:gd name="connsiteX686" fmla="*/ 560737 w 962025"/>
                  <a:gd name="connsiteY686" fmla="*/ 44101 h 876300"/>
                  <a:gd name="connsiteX687" fmla="*/ 560737 w 962025"/>
                  <a:gd name="connsiteY687" fmla="*/ 43244 h 876300"/>
                  <a:gd name="connsiteX688" fmla="*/ 560737 w 962025"/>
                  <a:gd name="connsiteY688" fmla="*/ 41529 h 876300"/>
                  <a:gd name="connsiteX689" fmla="*/ 560737 w 962025"/>
                  <a:gd name="connsiteY689" fmla="*/ 40672 h 876300"/>
                  <a:gd name="connsiteX690" fmla="*/ 559022 w 962025"/>
                  <a:gd name="connsiteY690" fmla="*/ 39815 h 876300"/>
                  <a:gd name="connsiteX691" fmla="*/ 558165 w 962025"/>
                  <a:gd name="connsiteY691" fmla="*/ 38957 h 876300"/>
                  <a:gd name="connsiteX692" fmla="*/ 557308 w 962025"/>
                  <a:gd name="connsiteY692" fmla="*/ 37243 h 876300"/>
                  <a:gd name="connsiteX693" fmla="*/ 557308 w 962025"/>
                  <a:gd name="connsiteY693" fmla="*/ 37243 h 876300"/>
                  <a:gd name="connsiteX694" fmla="*/ 557308 w 962025"/>
                  <a:gd name="connsiteY694" fmla="*/ 33052 h 876300"/>
                  <a:gd name="connsiteX695" fmla="*/ 542925 w 962025"/>
                  <a:gd name="connsiteY695" fmla="*/ 31337 h 876300"/>
                  <a:gd name="connsiteX696" fmla="*/ 532829 w 962025"/>
                  <a:gd name="connsiteY696" fmla="*/ 31337 h 876300"/>
                  <a:gd name="connsiteX697" fmla="*/ 491299 w 962025"/>
                  <a:gd name="connsiteY697" fmla="*/ 28765 h 876300"/>
                  <a:gd name="connsiteX698" fmla="*/ 487871 w 962025"/>
                  <a:gd name="connsiteY698" fmla="*/ 27908 h 876300"/>
                  <a:gd name="connsiteX699" fmla="*/ 487013 w 962025"/>
                  <a:gd name="connsiteY699" fmla="*/ 26289 h 876300"/>
                  <a:gd name="connsiteX700" fmla="*/ 487013 w 962025"/>
                  <a:gd name="connsiteY700" fmla="*/ 26289 h 876300"/>
                  <a:gd name="connsiteX701" fmla="*/ 487871 w 962025"/>
                  <a:gd name="connsiteY701" fmla="*/ 25432 h 876300"/>
                  <a:gd name="connsiteX702" fmla="*/ 488728 w 962025"/>
                  <a:gd name="connsiteY702" fmla="*/ 22003 h 876300"/>
                  <a:gd name="connsiteX703" fmla="*/ 497205 w 962025"/>
                  <a:gd name="connsiteY703" fmla="*/ 8477 h 876300"/>
                  <a:gd name="connsiteX704" fmla="*/ 497205 w 962025"/>
                  <a:gd name="connsiteY704" fmla="*/ 8477 h 876300"/>
                  <a:gd name="connsiteX705" fmla="*/ 497205 w 962025"/>
                  <a:gd name="connsiteY705" fmla="*/ 5906 h 876300"/>
                  <a:gd name="connsiteX706" fmla="*/ 498062 w 962025"/>
                  <a:gd name="connsiteY706" fmla="*/ 3334 h 876300"/>
                  <a:gd name="connsiteX707" fmla="*/ 497205 w 962025"/>
                  <a:gd name="connsiteY707" fmla="*/ 1619 h 876300"/>
                  <a:gd name="connsiteX708" fmla="*/ 494633 w 962025"/>
                  <a:gd name="connsiteY708" fmla="*/ 0 h 876300"/>
                  <a:gd name="connsiteX709" fmla="*/ 493871 w 962025"/>
                  <a:gd name="connsiteY709" fmla="*/ 2477 h 876300"/>
                  <a:gd name="connsiteX710" fmla="*/ 476059 w 962025"/>
                  <a:gd name="connsiteY710" fmla="*/ 17812 h 876300"/>
                  <a:gd name="connsiteX711" fmla="*/ 471773 w 962025"/>
                  <a:gd name="connsiteY711" fmla="*/ 20288 h 876300"/>
                  <a:gd name="connsiteX712" fmla="*/ 451485 w 962025"/>
                  <a:gd name="connsiteY712" fmla="*/ 24575 h 876300"/>
                  <a:gd name="connsiteX713" fmla="*/ 431959 w 962025"/>
                  <a:gd name="connsiteY713" fmla="*/ 33909 h 876300"/>
                  <a:gd name="connsiteX714" fmla="*/ 431102 w 962025"/>
                  <a:gd name="connsiteY714" fmla="*/ 35623 h 876300"/>
                  <a:gd name="connsiteX715" fmla="*/ 426053 w 962025"/>
                  <a:gd name="connsiteY715" fmla="*/ 50863 h 876300"/>
                  <a:gd name="connsiteX716" fmla="*/ 421005 w 962025"/>
                  <a:gd name="connsiteY716" fmla="*/ 66104 h 876300"/>
                  <a:gd name="connsiteX717" fmla="*/ 415861 w 962025"/>
                  <a:gd name="connsiteY717" fmla="*/ 84773 h 876300"/>
                  <a:gd name="connsiteX718" fmla="*/ 409956 w 962025"/>
                  <a:gd name="connsiteY718" fmla="*/ 96679 h 876300"/>
                  <a:gd name="connsiteX719" fmla="*/ 404051 w 962025"/>
                  <a:gd name="connsiteY719" fmla="*/ 107728 h 876300"/>
                  <a:gd name="connsiteX720" fmla="*/ 395573 w 962025"/>
                  <a:gd name="connsiteY720" fmla="*/ 123825 h 876300"/>
                  <a:gd name="connsiteX721" fmla="*/ 388811 w 962025"/>
                  <a:gd name="connsiteY721" fmla="*/ 133159 h 876300"/>
                  <a:gd name="connsiteX722" fmla="*/ 386239 w 962025"/>
                  <a:gd name="connsiteY722" fmla="*/ 138208 h 876300"/>
                  <a:gd name="connsiteX723" fmla="*/ 382048 w 962025"/>
                  <a:gd name="connsiteY723" fmla="*/ 146685 h 876300"/>
                  <a:gd name="connsiteX724" fmla="*/ 381191 w 962025"/>
                  <a:gd name="connsiteY724" fmla="*/ 148400 h 876300"/>
                  <a:gd name="connsiteX725" fmla="*/ 379476 w 962025"/>
                  <a:gd name="connsiteY725" fmla="*/ 150114 h 876300"/>
                  <a:gd name="connsiteX726" fmla="*/ 365093 w 962025"/>
                  <a:gd name="connsiteY726" fmla="*/ 156877 h 876300"/>
                  <a:gd name="connsiteX727" fmla="*/ 352330 w 962025"/>
                  <a:gd name="connsiteY727" fmla="*/ 163640 h 876300"/>
                  <a:gd name="connsiteX728" fmla="*/ 337947 w 962025"/>
                  <a:gd name="connsiteY728" fmla="*/ 171355 h 876300"/>
                  <a:gd name="connsiteX729" fmla="*/ 321850 w 962025"/>
                  <a:gd name="connsiteY729" fmla="*/ 179832 h 876300"/>
                  <a:gd name="connsiteX730" fmla="*/ 318516 w 962025"/>
                  <a:gd name="connsiteY730" fmla="*/ 181451 h 876300"/>
                  <a:gd name="connsiteX731" fmla="*/ 310896 w 962025"/>
                  <a:gd name="connsiteY731" fmla="*/ 191643 h 876300"/>
                  <a:gd name="connsiteX732" fmla="*/ 307467 w 962025"/>
                  <a:gd name="connsiteY732" fmla="*/ 196786 h 876300"/>
                  <a:gd name="connsiteX733" fmla="*/ 301561 w 962025"/>
                  <a:gd name="connsiteY733" fmla="*/ 222218 h 876300"/>
                  <a:gd name="connsiteX734" fmla="*/ 298990 w 962025"/>
                  <a:gd name="connsiteY734" fmla="*/ 228124 h 876300"/>
                  <a:gd name="connsiteX735" fmla="*/ 296513 w 962025"/>
                  <a:gd name="connsiteY735" fmla="*/ 233267 h 876300"/>
                  <a:gd name="connsiteX736" fmla="*/ 291370 w 962025"/>
                  <a:gd name="connsiteY736" fmla="*/ 238315 h 876300"/>
                  <a:gd name="connsiteX737" fmla="*/ 277844 w 962025"/>
                  <a:gd name="connsiteY737" fmla="*/ 249365 h 876300"/>
                  <a:gd name="connsiteX738" fmla="*/ 269367 w 962025"/>
                  <a:gd name="connsiteY738" fmla="*/ 261271 h 876300"/>
                  <a:gd name="connsiteX739" fmla="*/ 268510 w 962025"/>
                  <a:gd name="connsiteY739" fmla="*/ 262890 h 876300"/>
                  <a:gd name="connsiteX740" fmla="*/ 267653 w 962025"/>
                  <a:gd name="connsiteY740" fmla="*/ 265462 h 876300"/>
                  <a:gd name="connsiteX741" fmla="*/ 265938 w 962025"/>
                  <a:gd name="connsiteY741" fmla="*/ 280702 h 876300"/>
                  <a:gd name="connsiteX742" fmla="*/ 265938 w 962025"/>
                  <a:gd name="connsiteY742" fmla="*/ 282416 h 876300"/>
                  <a:gd name="connsiteX743" fmla="*/ 264319 w 962025"/>
                  <a:gd name="connsiteY743" fmla="*/ 284131 h 876300"/>
                  <a:gd name="connsiteX744" fmla="*/ 246507 w 962025"/>
                  <a:gd name="connsiteY744" fmla="*/ 289179 h 876300"/>
                  <a:gd name="connsiteX745" fmla="*/ 231267 w 962025"/>
                  <a:gd name="connsiteY745" fmla="*/ 294323 h 876300"/>
                  <a:gd name="connsiteX746" fmla="*/ 221933 w 962025"/>
                  <a:gd name="connsiteY746" fmla="*/ 295180 h 876300"/>
                  <a:gd name="connsiteX747" fmla="*/ 213455 w 962025"/>
                  <a:gd name="connsiteY747" fmla="*/ 294323 h 876300"/>
                  <a:gd name="connsiteX748" fmla="*/ 203263 w 962025"/>
                  <a:gd name="connsiteY748" fmla="*/ 295180 h 876300"/>
                  <a:gd name="connsiteX749" fmla="*/ 194024 w 962025"/>
                  <a:gd name="connsiteY749" fmla="*/ 296894 h 876300"/>
                  <a:gd name="connsiteX750" fmla="*/ 185547 w 962025"/>
                  <a:gd name="connsiteY750" fmla="*/ 300228 h 876300"/>
                  <a:gd name="connsiteX751" fmla="*/ 171926 w 962025"/>
                  <a:gd name="connsiteY751" fmla="*/ 306991 h 876300"/>
                  <a:gd name="connsiteX752" fmla="*/ 159258 w 962025"/>
                  <a:gd name="connsiteY752" fmla="*/ 312992 h 876300"/>
                  <a:gd name="connsiteX753" fmla="*/ 150781 w 962025"/>
                  <a:gd name="connsiteY753" fmla="*/ 314706 h 876300"/>
                  <a:gd name="connsiteX754" fmla="*/ 143161 w 962025"/>
                  <a:gd name="connsiteY754" fmla="*/ 313849 h 876300"/>
                  <a:gd name="connsiteX755" fmla="*/ 137255 w 962025"/>
                  <a:gd name="connsiteY755" fmla="*/ 309563 h 876300"/>
                  <a:gd name="connsiteX756" fmla="*/ 132969 w 962025"/>
                  <a:gd name="connsiteY756" fmla="*/ 303657 h 876300"/>
                  <a:gd name="connsiteX757" fmla="*/ 129635 w 962025"/>
                  <a:gd name="connsiteY757" fmla="*/ 296037 h 876300"/>
                  <a:gd name="connsiteX758" fmla="*/ 128778 w 962025"/>
                  <a:gd name="connsiteY758" fmla="*/ 293465 h 876300"/>
                  <a:gd name="connsiteX759" fmla="*/ 129635 w 962025"/>
                  <a:gd name="connsiteY759" fmla="*/ 288322 h 876300"/>
                  <a:gd name="connsiteX760" fmla="*/ 128778 w 962025"/>
                  <a:gd name="connsiteY760" fmla="*/ 285845 h 876300"/>
                  <a:gd name="connsiteX761" fmla="*/ 127064 w 962025"/>
                  <a:gd name="connsiteY761" fmla="*/ 284988 h 876300"/>
                  <a:gd name="connsiteX762" fmla="*/ 124492 w 962025"/>
                  <a:gd name="connsiteY762" fmla="*/ 282416 h 876300"/>
                  <a:gd name="connsiteX763" fmla="*/ 120301 w 962025"/>
                  <a:gd name="connsiteY763" fmla="*/ 278225 h 876300"/>
                  <a:gd name="connsiteX764" fmla="*/ 117729 w 962025"/>
                  <a:gd name="connsiteY764" fmla="*/ 275654 h 876300"/>
                  <a:gd name="connsiteX765" fmla="*/ 114395 w 962025"/>
                  <a:gd name="connsiteY765" fmla="*/ 273939 h 876300"/>
                  <a:gd name="connsiteX766" fmla="*/ 111824 w 962025"/>
                  <a:gd name="connsiteY766" fmla="*/ 273082 h 876300"/>
                  <a:gd name="connsiteX767" fmla="*/ 109252 w 962025"/>
                  <a:gd name="connsiteY767" fmla="*/ 273082 h 876300"/>
                  <a:gd name="connsiteX768" fmla="*/ 106775 w 962025"/>
                  <a:gd name="connsiteY768" fmla="*/ 273082 h 876300"/>
                  <a:gd name="connsiteX769" fmla="*/ 102489 w 962025"/>
                  <a:gd name="connsiteY769" fmla="*/ 274796 h 876300"/>
                  <a:gd name="connsiteX770" fmla="*/ 98298 w 962025"/>
                  <a:gd name="connsiteY770" fmla="*/ 275654 h 876300"/>
                  <a:gd name="connsiteX771" fmla="*/ 96583 w 962025"/>
                  <a:gd name="connsiteY771" fmla="*/ 276511 h 876300"/>
                  <a:gd name="connsiteX772" fmla="*/ 94869 w 962025"/>
                  <a:gd name="connsiteY772" fmla="*/ 278225 h 876300"/>
                  <a:gd name="connsiteX773" fmla="*/ 88106 w 962025"/>
                  <a:gd name="connsiteY773" fmla="*/ 284988 h 876300"/>
                  <a:gd name="connsiteX774" fmla="*/ 80486 w 962025"/>
                  <a:gd name="connsiteY774" fmla="*/ 290036 h 876300"/>
                  <a:gd name="connsiteX775" fmla="*/ 79629 w 962025"/>
                  <a:gd name="connsiteY775" fmla="*/ 290894 h 876300"/>
                  <a:gd name="connsiteX776" fmla="*/ 70294 w 962025"/>
                  <a:gd name="connsiteY776" fmla="*/ 301085 h 876300"/>
                  <a:gd name="connsiteX777" fmla="*/ 68580 w 962025"/>
                  <a:gd name="connsiteY777" fmla="*/ 303657 h 876300"/>
                  <a:gd name="connsiteX778" fmla="*/ 60960 w 962025"/>
                  <a:gd name="connsiteY778" fmla="*/ 327374 h 876300"/>
                  <a:gd name="connsiteX779" fmla="*/ 57626 w 962025"/>
                  <a:gd name="connsiteY779" fmla="*/ 330803 h 876300"/>
                  <a:gd name="connsiteX780" fmla="*/ 49149 w 962025"/>
                  <a:gd name="connsiteY780" fmla="*/ 340138 h 876300"/>
                  <a:gd name="connsiteX781" fmla="*/ 42386 w 962025"/>
                  <a:gd name="connsiteY781" fmla="*/ 351187 h 876300"/>
                  <a:gd name="connsiteX782" fmla="*/ 28766 w 962025"/>
                  <a:gd name="connsiteY782" fmla="*/ 362998 h 876300"/>
                  <a:gd name="connsiteX783" fmla="*/ 22003 w 962025"/>
                  <a:gd name="connsiteY783" fmla="*/ 368141 h 876300"/>
                  <a:gd name="connsiteX784" fmla="*/ 11906 w 962025"/>
                  <a:gd name="connsiteY784" fmla="*/ 378333 h 876300"/>
                  <a:gd name="connsiteX785" fmla="*/ 7620 w 962025"/>
                  <a:gd name="connsiteY785" fmla="*/ 385953 h 876300"/>
                  <a:gd name="connsiteX786" fmla="*/ 4286 w 962025"/>
                  <a:gd name="connsiteY786" fmla="*/ 395287 h 876300"/>
                  <a:gd name="connsiteX787" fmla="*/ 1714 w 962025"/>
                  <a:gd name="connsiteY787" fmla="*/ 410528 h 876300"/>
                  <a:gd name="connsiteX788" fmla="*/ 0 w 962025"/>
                  <a:gd name="connsiteY788" fmla="*/ 425768 h 876300"/>
                  <a:gd name="connsiteX789" fmla="*/ 857 w 962025"/>
                  <a:gd name="connsiteY789" fmla="*/ 430911 h 876300"/>
                  <a:gd name="connsiteX790" fmla="*/ 4286 w 962025"/>
                  <a:gd name="connsiteY790" fmla="*/ 434245 h 876300"/>
                  <a:gd name="connsiteX791" fmla="*/ 21145 w 962025"/>
                  <a:gd name="connsiteY791" fmla="*/ 441865 h 876300"/>
                  <a:gd name="connsiteX792" fmla="*/ 25432 w 962025"/>
                  <a:gd name="connsiteY792" fmla="*/ 444436 h 876300"/>
                  <a:gd name="connsiteX793" fmla="*/ 33909 w 962025"/>
                  <a:gd name="connsiteY793" fmla="*/ 452057 h 876300"/>
                  <a:gd name="connsiteX794" fmla="*/ 38957 w 962025"/>
                  <a:gd name="connsiteY794" fmla="*/ 453771 h 876300"/>
                  <a:gd name="connsiteX795" fmla="*/ 65246 w 962025"/>
                  <a:gd name="connsiteY795" fmla="*/ 452057 h 876300"/>
                  <a:gd name="connsiteX796" fmla="*/ 69437 w 962025"/>
                  <a:gd name="connsiteY796" fmla="*/ 453771 h 876300"/>
                  <a:gd name="connsiteX797" fmla="*/ 72866 w 962025"/>
                  <a:gd name="connsiteY797" fmla="*/ 455486 h 876300"/>
                  <a:gd name="connsiteX798" fmla="*/ 76200 w 962025"/>
                  <a:gd name="connsiteY798" fmla="*/ 459677 h 876300"/>
                  <a:gd name="connsiteX799" fmla="*/ 77057 w 962025"/>
                  <a:gd name="connsiteY799" fmla="*/ 463963 h 876300"/>
                  <a:gd name="connsiteX800" fmla="*/ 76200 w 962025"/>
                  <a:gd name="connsiteY800" fmla="*/ 474155 h 876300"/>
                  <a:gd name="connsiteX801" fmla="*/ 76200 w 962025"/>
                  <a:gd name="connsiteY801" fmla="*/ 479203 h 876300"/>
                  <a:gd name="connsiteX802" fmla="*/ 76200 w 962025"/>
                  <a:gd name="connsiteY802" fmla="*/ 480917 h 876300"/>
                  <a:gd name="connsiteX803" fmla="*/ 75438 w 962025"/>
                  <a:gd name="connsiteY803" fmla="*/ 483489 h 876300"/>
                  <a:gd name="connsiteX804" fmla="*/ 74581 w 962025"/>
                  <a:gd name="connsiteY804" fmla="*/ 486061 h 876300"/>
                  <a:gd name="connsiteX805" fmla="*/ 74581 w 962025"/>
                  <a:gd name="connsiteY805" fmla="*/ 488537 h 876300"/>
                  <a:gd name="connsiteX806" fmla="*/ 75438 w 962025"/>
                  <a:gd name="connsiteY806" fmla="*/ 493681 h 876300"/>
                  <a:gd name="connsiteX807" fmla="*/ 75438 w 962025"/>
                  <a:gd name="connsiteY807" fmla="*/ 497872 h 876300"/>
                  <a:gd name="connsiteX808" fmla="*/ 73724 w 962025"/>
                  <a:gd name="connsiteY808" fmla="*/ 502158 h 876300"/>
                  <a:gd name="connsiteX809" fmla="*/ 67818 w 962025"/>
                  <a:gd name="connsiteY809" fmla="*/ 512350 h 876300"/>
                  <a:gd name="connsiteX810" fmla="*/ 66961 w 962025"/>
                  <a:gd name="connsiteY810" fmla="*/ 513969 h 876300"/>
                  <a:gd name="connsiteX811" fmla="*/ 66961 w 962025"/>
                  <a:gd name="connsiteY811" fmla="*/ 519112 h 876300"/>
                  <a:gd name="connsiteX812" fmla="*/ 66104 w 962025"/>
                  <a:gd name="connsiteY812" fmla="*/ 525018 h 876300"/>
                  <a:gd name="connsiteX813" fmla="*/ 66104 w 962025"/>
                  <a:gd name="connsiteY813" fmla="*/ 526732 h 876300"/>
                  <a:gd name="connsiteX814" fmla="*/ 67818 w 962025"/>
                  <a:gd name="connsiteY814" fmla="*/ 533495 h 876300"/>
                  <a:gd name="connsiteX815" fmla="*/ 71152 w 962025"/>
                  <a:gd name="connsiteY815" fmla="*/ 539496 h 876300"/>
                  <a:gd name="connsiteX816" fmla="*/ 75438 w 962025"/>
                  <a:gd name="connsiteY816" fmla="*/ 544544 h 876300"/>
                  <a:gd name="connsiteX817" fmla="*/ 80486 w 962025"/>
                  <a:gd name="connsiteY817" fmla="*/ 547973 h 876300"/>
                  <a:gd name="connsiteX818" fmla="*/ 82201 w 962025"/>
                  <a:gd name="connsiteY818" fmla="*/ 550450 h 876300"/>
                  <a:gd name="connsiteX819" fmla="*/ 84677 w 962025"/>
                  <a:gd name="connsiteY819" fmla="*/ 557308 h 876300"/>
                  <a:gd name="connsiteX820" fmla="*/ 86392 w 962025"/>
                  <a:gd name="connsiteY820" fmla="*/ 560641 h 876300"/>
                  <a:gd name="connsiteX821" fmla="*/ 88106 w 962025"/>
                  <a:gd name="connsiteY821" fmla="*/ 561499 h 876300"/>
                  <a:gd name="connsiteX822" fmla="*/ 92297 w 962025"/>
                  <a:gd name="connsiteY822" fmla="*/ 563213 h 876300"/>
                  <a:gd name="connsiteX823" fmla="*/ 98298 w 962025"/>
                  <a:gd name="connsiteY823" fmla="*/ 564928 h 876300"/>
                  <a:gd name="connsiteX824" fmla="*/ 111824 w 962025"/>
                  <a:gd name="connsiteY824" fmla="*/ 564070 h 876300"/>
                  <a:gd name="connsiteX825" fmla="*/ 116015 w 962025"/>
                  <a:gd name="connsiteY825" fmla="*/ 563213 h 876300"/>
                  <a:gd name="connsiteX826" fmla="*/ 120301 w 962025"/>
                  <a:gd name="connsiteY826" fmla="*/ 561499 h 876300"/>
                  <a:gd name="connsiteX827" fmla="*/ 124492 w 962025"/>
                  <a:gd name="connsiteY827" fmla="*/ 560641 h 876300"/>
                  <a:gd name="connsiteX828" fmla="*/ 128778 w 962025"/>
                  <a:gd name="connsiteY828" fmla="*/ 561499 h 876300"/>
                  <a:gd name="connsiteX829" fmla="*/ 131255 w 962025"/>
                  <a:gd name="connsiteY829" fmla="*/ 564070 h 876300"/>
                  <a:gd name="connsiteX830" fmla="*/ 131255 w 962025"/>
                  <a:gd name="connsiteY830" fmla="*/ 569119 h 876300"/>
                  <a:gd name="connsiteX831" fmla="*/ 131255 w 962025"/>
                  <a:gd name="connsiteY831" fmla="*/ 580168 h 876300"/>
                  <a:gd name="connsiteX832" fmla="*/ 130492 w 962025"/>
                  <a:gd name="connsiteY832" fmla="*/ 593789 h 876300"/>
                  <a:gd name="connsiteX833" fmla="*/ 131255 w 962025"/>
                  <a:gd name="connsiteY833" fmla="*/ 597980 h 876300"/>
                  <a:gd name="connsiteX834" fmla="*/ 132969 w 962025"/>
                  <a:gd name="connsiteY834" fmla="*/ 600551 h 876300"/>
                  <a:gd name="connsiteX835" fmla="*/ 137255 w 962025"/>
                  <a:gd name="connsiteY835" fmla="*/ 605599 h 876300"/>
                  <a:gd name="connsiteX836" fmla="*/ 138113 w 962025"/>
                  <a:gd name="connsiteY836" fmla="*/ 609028 h 876300"/>
                  <a:gd name="connsiteX837" fmla="*/ 138875 w 962025"/>
                  <a:gd name="connsiteY837" fmla="*/ 611600 h 876300"/>
                  <a:gd name="connsiteX838" fmla="*/ 139732 w 962025"/>
                  <a:gd name="connsiteY838" fmla="*/ 614077 h 876300"/>
                  <a:gd name="connsiteX839" fmla="*/ 144018 w 962025"/>
                  <a:gd name="connsiteY839" fmla="*/ 618363 h 876300"/>
                  <a:gd name="connsiteX840" fmla="*/ 150781 w 962025"/>
                  <a:gd name="connsiteY840" fmla="*/ 624269 h 876300"/>
                  <a:gd name="connsiteX841" fmla="*/ 152495 w 962025"/>
                  <a:gd name="connsiteY841" fmla="*/ 626840 h 876300"/>
                  <a:gd name="connsiteX842" fmla="*/ 154210 w 962025"/>
                  <a:gd name="connsiteY842" fmla="*/ 629412 h 876300"/>
                  <a:gd name="connsiteX843" fmla="*/ 157543 w 962025"/>
                  <a:gd name="connsiteY843" fmla="*/ 646366 h 876300"/>
                  <a:gd name="connsiteX844" fmla="*/ 160115 w 962025"/>
                  <a:gd name="connsiteY844" fmla="*/ 653129 h 876300"/>
                  <a:gd name="connsiteX845" fmla="*/ 162592 w 962025"/>
                  <a:gd name="connsiteY845" fmla="*/ 659035 h 876300"/>
                  <a:gd name="connsiteX846" fmla="*/ 169450 w 962025"/>
                  <a:gd name="connsiteY846" fmla="*/ 670084 h 876300"/>
                  <a:gd name="connsiteX847" fmla="*/ 173641 w 962025"/>
                  <a:gd name="connsiteY847" fmla="*/ 680276 h 876300"/>
                  <a:gd name="connsiteX848" fmla="*/ 175355 w 962025"/>
                  <a:gd name="connsiteY848" fmla="*/ 683705 h 876300"/>
                  <a:gd name="connsiteX849" fmla="*/ 178689 w 962025"/>
                  <a:gd name="connsiteY849" fmla="*/ 684466 h 876300"/>
                  <a:gd name="connsiteX850" fmla="*/ 183833 w 962025"/>
                  <a:gd name="connsiteY850" fmla="*/ 687895 h 876300"/>
                  <a:gd name="connsiteX851" fmla="*/ 194024 w 962025"/>
                  <a:gd name="connsiteY851" fmla="*/ 690467 h 876300"/>
                  <a:gd name="connsiteX852" fmla="*/ 194786 w 962025"/>
                  <a:gd name="connsiteY852" fmla="*/ 690467 h 876300"/>
                  <a:gd name="connsiteX853" fmla="*/ 196501 w 962025"/>
                  <a:gd name="connsiteY853" fmla="*/ 690467 h 876300"/>
                  <a:gd name="connsiteX854" fmla="*/ 198215 w 962025"/>
                  <a:gd name="connsiteY854" fmla="*/ 689610 h 876300"/>
                  <a:gd name="connsiteX855" fmla="*/ 199930 w 962025"/>
                  <a:gd name="connsiteY855" fmla="*/ 688753 h 876300"/>
                  <a:gd name="connsiteX856" fmla="*/ 201644 w 962025"/>
                  <a:gd name="connsiteY856" fmla="*/ 687895 h 876300"/>
                  <a:gd name="connsiteX857" fmla="*/ 204978 w 962025"/>
                  <a:gd name="connsiteY857" fmla="*/ 687038 h 876300"/>
                  <a:gd name="connsiteX858" fmla="*/ 206692 w 962025"/>
                  <a:gd name="connsiteY858" fmla="*/ 687895 h 876300"/>
                  <a:gd name="connsiteX859" fmla="*/ 208407 w 962025"/>
                  <a:gd name="connsiteY859" fmla="*/ 688753 h 876300"/>
                  <a:gd name="connsiteX860" fmla="*/ 210884 w 962025"/>
                  <a:gd name="connsiteY860" fmla="*/ 689610 h 876300"/>
                  <a:gd name="connsiteX861" fmla="*/ 212598 w 962025"/>
                  <a:gd name="connsiteY861" fmla="*/ 689610 h 876300"/>
                  <a:gd name="connsiteX862" fmla="*/ 214312 w 962025"/>
                  <a:gd name="connsiteY862" fmla="*/ 687895 h 876300"/>
                  <a:gd name="connsiteX863" fmla="*/ 217741 w 962025"/>
                  <a:gd name="connsiteY863" fmla="*/ 685324 h 876300"/>
                  <a:gd name="connsiteX864" fmla="*/ 218504 w 962025"/>
                  <a:gd name="connsiteY864" fmla="*/ 685324 h 876300"/>
                  <a:gd name="connsiteX865" fmla="*/ 221075 w 962025"/>
                  <a:gd name="connsiteY865" fmla="*/ 684466 h 876300"/>
                  <a:gd name="connsiteX866" fmla="*/ 229553 w 962025"/>
                  <a:gd name="connsiteY866" fmla="*/ 684466 h 876300"/>
                  <a:gd name="connsiteX867" fmla="*/ 232124 w 962025"/>
                  <a:gd name="connsiteY867" fmla="*/ 684466 h 876300"/>
                  <a:gd name="connsiteX868" fmla="*/ 234601 w 962025"/>
                  <a:gd name="connsiteY868" fmla="*/ 685324 h 876300"/>
                  <a:gd name="connsiteX869" fmla="*/ 236315 w 962025"/>
                  <a:gd name="connsiteY869" fmla="*/ 687038 h 876300"/>
                  <a:gd name="connsiteX870" fmla="*/ 238030 w 962025"/>
                  <a:gd name="connsiteY870" fmla="*/ 687038 h 876300"/>
                  <a:gd name="connsiteX871" fmla="*/ 239744 w 962025"/>
                  <a:gd name="connsiteY871" fmla="*/ 687895 h 876300"/>
                  <a:gd name="connsiteX872" fmla="*/ 241459 w 962025"/>
                  <a:gd name="connsiteY872" fmla="*/ 687895 h 876300"/>
                  <a:gd name="connsiteX873" fmla="*/ 251555 w 962025"/>
                  <a:gd name="connsiteY873" fmla="*/ 685324 h 876300"/>
                  <a:gd name="connsiteX874" fmla="*/ 253270 w 962025"/>
                  <a:gd name="connsiteY874" fmla="*/ 685324 h 876300"/>
                  <a:gd name="connsiteX875" fmla="*/ 254127 w 962025"/>
                  <a:gd name="connsiteY875" fmla="*/ 686181 h 876300"/>
                  <a:gd name="connsiteX876" fmla="*/ 254127 w 962025"/>
                  <a:gd name="connsiteY876" fmla="*/ 687895 h 876300"/>
                  <a:gd name="connsiteX877" fmla="*/ 254984 w 962025"/>
                  <a:gd name="connsiteY877" fmla="*/ 688753 h 876300"/>
                  <a:gd name="connsiteX878" fmla="*/ 255841 w 962025"/>
                  <a:gd name="connsiteY878" fmla="*/ 689610 h 876300"/>
                  <a:gd name="connsiteX879" fmla="*/ 258318 w 962025"/>
                  <a:gd name="connsiteY879" fmla="*/ 690467 h 876300"/>
                  <a:gd name="connsiteX880" fmla="*/ 260033 w 962025"/>
                  <a:gd name="connsiteY880" fmla="*/ 690467 h 876300"/>
                  <a:gd name="connsiteX881" fmla="*/ 260890 w 962025"/>
                  <a:gd name="connsiteY881" fmla="*/ 690467 h 876300"/>
                  <a:gd name="connsiteX882" fmla="*/ 260890 w 962025"/>
                  <a:gd name="connsiteY882" fmla="*/ 689610 h 876300"/>
                  <a:gd name="connsiteX883" fmla="*/ 260890 w 962025"/>
                  <a:gd name="connsiteY883" fmla="*/ 687895 h 876300"/>
                  <a:gd name="connsiteX884" fmla="*/ 260890 w 962025"/>
                  <a:gd name="connsiteY884" fmla="*/ 687038 h 876300"/>
                  <a:gd name="connsiteX885" fmla="*/ 260890 w 962025"/>
                  <a:gd name="connsiteY885" fmla="*/ 686181 h 876300"/>
                  <a:gd name="connsiteX886" fmla="*/ 261747 w 962025"/>
                  <a:gd name="connsiteY886" fmla="*/ 685324 h 876300"/>
                  <a:gd name="connsiteX887" fmla="*/ 263461 w 962025"/>
                  <a:gd name="connsiteY887" fmla="*/ 684466 h 876300"/>
                  <a:gd name="connsiteX888" fmla="*/ 265176 w 962025"/>
                  <a:gd name="connsiteY888" fmla="*/ 684466 h 876300"/>
                  <a:gd name="connsiteX889" fmla="*/ 265938 w 962025"/>
                  <a:gd name="connsiteY889" fmla="*/ 684466 h 876300"/>
                  <a:gd name="connsiteX890" fmla="*/ 266795 w 962025"/>
                  <a:gd name="connsiteY890" fmla="*/ 685324 h 876300"/>
                  <a:gd name="connsiteX891" fmla="*/ 267653 w 962025"/>
                  <a:gd name="connsiteY891" fmla="*/ 687038 h 876300"/>
                  <a:gd name="connsiteX892" fmla="*/ 268510 w 962025"/>
                  <a:gd name="connsiteY892" fmla="*/ 687038 h 876300"/>
                  <a:gd name="connsiteX893" fmla="*/ 271082 w 962025"/>
                  <a:gd name="connsiteY893" fmla="*/ 687895 h 876300"/>
                  <a:gd name="connsiteX894" fmla="*/ 271939 w 962025"/>
                  <a:gd name="connsiteY894" fmla="*/ 687895 h 876300"/>
                  <a:gd name="connsiteX895" fmla="*/ 273558 w 962025"/>
                  <a:gd name="connsiteY895" fmla="*/ 687038 h 876300"/>
                  <a:gd name="connsiteX896" fmla="*/ 275273 w 962025"/>
                  <a:gd name="connsiteY896" fmla="*/ 686181 h 876300"/>
                  <a:gd name="connsiteX897" fmla="*/ 276987 w 962025"/>
                  <a:gd name="connsiteY897" fmla="*/ 684466 h 876300"/>
                  <a:gd name="connsiteX898" fmla="*/ 276987 w 962025"/>
                  <a:gd name="connsiteY898" fmla="*/ 683705 h 876300"/>
                  <a:gd name="connsiteX899" fmla="*/ 277844 w 962025"/>
                  <a:gd name="connsiteY899" fmla="*/ 683705 h 876300"/>
                  <a:gd name="connsiteX900" fmla="*/ 282893 w 962025"/>
                  <a:gd name="connsiteY900" fmla="*/ 681990 h 876300"/>
                  <a:gd name="connsiteX901" fmla="*/ 285464 w 962025"/>
                  <a:gd name="connsiteY901" fmla="*/ 681990 h 876300"/>
                  <a:gd name="connsiteX902" fmla="*/ 286322 w 962025"/>
                  <a:gd name="connsiteY902" fmla="*/ 682847 h 876300"/>
                  <a:gd name="connsiteX903" fmla="*/ 287179 w 962025"/>
                  <a:gd name="connsiteY903" fmla="*/ 683705 h 876300"/>
                  <a:gd name="connsiteX904" fmla="*/ 288893 w 962025"/>
                  <a:gd name="connsiteY904" fmla="*/ 686181 h 876300"/>
                  <a:gd name="connsiteX905" fmla="*/ 290512 w 962025"/>
                  <a:gd name="connsiteY905" fmla="*/ 687895 h 876300"/>
                  <a:gd name="connsiteX906" fmla="*/ 298990 w 962025"/>
                  <a:gd name="connsiteY906" fmla="*/ 691324 h 876300"/>
                  <a:gd name="connsiteX907" fmla="*/ 302419 w 962025"/>
                  <a:gd name="connsiteY907" fmla="*/ 691324 h 876300"/>
                  <a:gd name="connsiteX908" fmla="*/ 309182 w 962025"/>
                  <a:gd name="connsiteY908" fmla="*/ 690467 h 876300"/>
                  <a:gd name="connsiteX909" fmla="*/ 312515 w 962025"/>
                  <a:gd name="connsiteY909" fmla="*/ 689610 h 876300"/>
                  <a:gd name="connsiteX910" fmla="*/ 315087 w 962025"/>
                  <a:gd name="connsiteY910" fmla="*/ 689610 h 876300"/>
                  <a:gd name="connsiteX911" fmla="*/ 315944 w 962025"/>
                  <a:gd name="connsiteY911" fmla="*/ 689610 h 876300"/>
                  <a:gd name="connsiteX912" fmla="*/ 315944 w 962025"/>
                  <a:gd name="connsiteY912" fmla="*/ 690467 h 876300"/>
                  <a:gd name="connsiteX913" fmla="*/ 316802 w 962025"/>
                  <a:gd name="connsiteY913" fmla="*/ 692182 h 876300"/>
                  <a:gd name="connsiteX914" fmla="*/ 315944 w 962025"/>
                  <a:gd name="connsiteY914" fmla="*/ 692182 h 876300"/>
                  <a:gd name="connsiteX915" fmla="*/ 315944 w 962025"/>
                  <a:gd name="connsiteY915" fmla="*/ 693039 h 876300"/>
                  <a:gd name="connsiteX916" fmla="*/ 315087 w 962025"/>
                  <a:gd name="connsiteY916" fmla="*/ 693039 h 876300"/>
                  <a:gd name="connsiteX917" fmla="*/ 313373 w 962025"/>
                  <a:gd name="connsiteY917" fmla="*/ 693801 h 876300"/>
                  <a:gd name="connsiteX918" fmla="*/ 308324 w 962025"/>
                  <a:gd name="connsiteY918" fmla="*/ 693801 h 876300"/>
                  <a:gd name="connsiteX919" fmla="*/ 307467 w 962025"/>
                  <a:gd name="connsiteY919" fmla="*/ 693801 h 876300"/>
                  <a:gd name="connsiteX920" fmla="*/ 307467 w 962025"/>
                  <a:gd name="connsiteY920" fmla="*/ 694658 h 876300"/>
                  <a:gd name="connsiteX921" fmla="*/ 306610 w 962025"/>
                  <a:gd name="connsiteY921" fmla="*/ 694658 h 876300"/>
                  <a:gd name="connsiteX922" fmla="*/ 306610 w 962025"/>
                  <a:gd name="connsiteY922" fmla="*/ 695515 h 876300"/>
                  <a:gd name="connsiteX923" fmla="*/ 307467 w 962025"/>
                  <a:gd name="connsiteY923" fmla="*/ 697230 h 876300"/>
                  <a:gd name="connsiteX924" fmla="*/ 310039 w 962025"/>
                  <a:gd name="connsiteY924" fmla="*/ 698945 h 876300"/>
                  <a:gd name="connsiteX925" fmla="*/ 311753 w 962025"/>
                  <a:gd name="connsiteY925" fmla="*/ 699802 h 876300"/>
                  <a:gd name="connsiteX926" fmla="*/ 312515 w 962025"/>
                  <a:gd name="connsiteY926" fmla="*/ 699802 h 876300"/>
                  <a:gd name="connsiteX927" fmla="*/ 314230 w 962025"/>
                  <a:gd name="connsiteY927" fmla="*/ 699802 h 876300"/>
                  <a:gd name="connsiteX928" fmla="*/ 315944 w 962025"/>
                  <a:gd name="connsiteY928" fmla="*/ 700659 h 876300"/>
                  <a:gd name="connsiteX929" fmla="*/ 316802 w 962025"/>
                  <a:gd name="connsiteY929" fmla="*/ 700659 h 876300"/>
                  <a:gd name="connsiteX930" fmla="*/ 317659 w 962025"/>
                  <a:gd name="connsiteY930" fmla="*/ 701516 h 876300"/>
                  <a:gd name="connsiteX931" fmla="*/ 317659 w 962025"/>
                  <a:gd name="connsiteY931" fmla="*/ 702278 h 876300"/>
                  <a:gd name="connsiteX932" fmla="*/ 318516 w 962025"/>
                  <a:gd name="connsiteY932" fmla="*/ 703136 h 876300"/>
                  <a:gd name="connsiteX933" fmla="*/ 318516 w 962025"/>
                  <a:gd name="connsiteY933" fmla="*/ 703993 h 876300"/>
                  <a:gd name="connsiteX934" fmla="*/ 319373 w 962025"/>
                  <a:gd name="connsiteY934" fmla="*/ 704850 h 876300"/>
                  <a:gd name="connsiteX935" fmla="*/ 320993 w 962025"/>
                  <a:gd name="connsiteY935" fmla="*/ 704850 h 876300"/>
                  <a:gd name="connsiteX936" fmla="*/ 321850 w 962025"/>
                  <a:gd name="connsiteY936" fmla="*/ 703993 h 876300"/>
                  <a:gd name="connsiteX937" fmla="*/ 323564 w 962025"/>
                  <a:gd name="connsiteY937" fmla="*/ 703993 h 876300"/>
                  <a:gd name="connsiteX938" fmla="*/ 325279 w 962025"/>
                  <a:gd name="connsiteY938" fmla="*/ 703993 h 876300"/>
                  <a:gd name="connsiteX939" fmla="*/ 326136 w 962025"/>
                  <a:gd name="connsiteY939" fmla="*/ 704850 h 876300"/>
                  <a:gd name="connsiteX940" fmla="*/ 326136 w 962025"/>
                  <a:gd name="connsiteY940" fmla="*/ 705707 h 876300"/>
                  <a:gd name="connsiteX941" fmla="*/ 326136 w 962025"/>
                  <a:gd name="connsiteY941" fmla="*/ 707422 h 876300"/>
                  <a:gd name="connsiteX942" fmla="*/ 326136 w 962025"/>
                  <a:gd name="connsiteY942" fmla="*/ 707422 h 876300"/>
                  <a:gd name="connsiteX943" fmla="*/ 326136 w 962025"/>
                  <a:gd name="connsiteY943" fmla="*/ 708279 h 876300"/>
                  <a:gd name="connsiteX944" fmla="*/ 326136 w 962025"/>
                  <a:gd name="connsiteY944" fmla="*/ 709136 h 876300"/>
                  <a:gd name="connsiteX945" fmla="*/ 326993 w 962025"/>
                  <a:gd name="connsiteY945" fmla="*/ 711613 h 876300"/>
                  <a:gd name="connsiteX946" fmla="*/ 327851 w 962025"/>
                  <a:gd name="connsiteY946" fmla="*/ 713327 h 876300"/>
                  <a:gd name="connsiteX947" fmla="*/ 329470 w 962025"/>
                  <a:gd name="connsiteY947" fmla="*/ 715042 h 876300"/>
                  <a:gd name="connsiteX948" fmla="*/ 330327 w 962025"/>
                  <a:gd name="connsiteY948" fmla="*/ 715899 h 876300"/>
                  <a:gd name="connsiteX949" fmla="*/ 331184 w 962025"/>
                  <a:gd name="connsiteY949" fmla="*/ 715899 h 876300"/>
                  <a:gd name="connsiteX950" fmla="*/ 331184 w 962025"/>
                  <a:gd name="connsiteY950" fmla="*/ 715899 h 876300"/>
                  <a:gd name="connsiteX951" fmla="*/ 332042 w 962025"/>
                  <a:gd name="connsiteY951" fmla="*/ 715042 h 876300"/>
                  <a:gd name="connsiteX952" fmla="*/ 332042 w 962025"/>
                  <a:gd name="connsiteY952" fmla="*/ 715042 h 876300"/>
                  <a:gd name="connsiteX953" fmla="*/ 332899 w 962025"/>
                  <a:gd name="connsiteY953" fmla="*/ 714185 h 876300"/>
                  <a:gd name="connsiteX954" fmla="*/ 332899 w 962025"/>
                  <a:gd name="connsiteY954" fmla="*/ 714185 h 876300"/>
                  <a:gd name="connsiteX955" fmla="*/ 334613 w 962025"/>
                  <a:gd name="connsiteY955" fmla="*/ 707422 h 876300"/>
                  <a:gd name="connsiteX956" fmla="*/ 335471 w 962025"/>
                  <a:gd name="connsiteY956" fmla="*/ 707422 h 876300"/>
                  <a:gd name="connsiteX957" fmla="*/ 335471 w 962025"/>
                  <a:gd name="connsiteY957" fmla="*/ 706565 h 876300"/>
                  <a:gd name="connsiteX958" fmla="*/ 335471 w 962025"/>
                  <a:gd name="connsiteY958" fmla="*/ 706565 h 876300"/>
                  <a:gd name="connsiteX959" fmla="*/ 336233 w 962025"/>
                  <a:gd name="connsiteY959" fmla="*/ 705707 h 876300"/>
                  <a:gd name="connsiteX960" fmla="*/ 337090 w 962025"/>
                  <a:gd name="connsiteY960" fmla="*/ 705707 h 876300"/>
                  <a:gd name="connsiteX961" fmla="*/ 339661 w 962025"/>
                  <a:gd name="connsiteY961" fmla="*/ 705707 h 876300"/>
                  <a:gd name="connsiteX962" fmla="*/ 340519 w 962025"/>
                  <a:gd name="connsiteY962" fmla="*/ 706565 h 876300"/>
                  <a:gd name="connsiteX963" fmla="*/ 345567 w 962025"/>
                  <a:gd name="connsiteY963" fmla="*/ 709136 h 876300"/>
                  <a:gd name="connsiteX964" fmla="*/ 347282 w 962025"/>
                  <a:gd name="connsiteY964" fmla="*/ 709994 h 876300"/>
                  <a:gd name="connsiteX965" fmla="*/ 348996 w 962025"/>
                  <a:gd name="connsiteY965" fmla="*/ 710851 h 876300"/>
                  <a:gd name="connsiteX966" fmla="*/ 351568 w 962025"/>
                  <a:gd name="connsiteY966" fmla="*/ 710851 h 876300"/>
                  <a:gd name="connsiteX967" fmla="*/ 352330 w 962025"/>
                  <a:gd name="connsiteY967" fmla="*/ 710851 h 876300"/>
                  <a:gd name="connsiteX968" fmla="*/ 353187 w 962025"/>
                  <a:gd name="connsiteY968" fmla="*/ 711613 h 876300"/>
                  <a:gd name="connsiteX969" fmla="*/ 354044 w 962025"/>
                  <a:gd name="connsiteY969" fmla="*/ 712470 h 876300"/>
                  <a:gd name="connsiteX970" fmla="*/ 354044 w 962025"/>
                  <a:gd name="connsiteY970" fmla="*/ 713327 h 876300"/>
                  <a:gd name="connsiteX971" fmla="*/ 355759 w 962025"/>
                  <a:gd name="connsiteY971" fmla="*/ 717614 h 876300"/>
                  <a:gd name="connsiteX972" fmla="*/ 356616 w 962025"/>
                  <a:gd name="connsiteY972" fmla="*/ 718471 h 876300"/>
                  <a:gd name="connsiteX973" fmla="*/ 357473 w 962025"/>
                  <a:gd name="connsiteY973" fmla="*/ 719328 h 876300"/>
                  <a:gd name="connsiteX974" fmla="*/ 359188 w 962025"/>
                  <a:gd name="connsiteY974" fmla="*/ 720185 h 876300"/>
                  <a:gd name="connsiteX975" fmla="*/ 360807 w 962025"/>
                  <a:gd name="connsiteY975" fmla="*/ 720947 h 876300"/>
                  <a:gd name="connsiteX976" fmla="*/ 361664 w 962025"/>
                  <a:gd name="connsiteY976" fmla="*/ 721805 h 876300"/>
                  <a:gd name="connsiteX977" fmla="*/ 367665 w 962025"/>
                  <a:gd name="connsiteY977" fmla="*/ 721805 h 876300"/>
                  <a:gd name="connsiteX978" fmla="*/ 371856 w 962025"/>
                  <a:gd name="connsiteY978" fmla="*/ 721805 h 876300"/>
                  <a:gd name="connsiteX979" fmla="*/ 374428 w 962025"/>
                  <a:gd name="connsiteY979" fmla="*/ 722662 h 876300"/>
                  <a:gd name="connsiteX980" fmla="*/ 378619 w 962025"/>
                  <a:gd name="connsiteY980" fmla="*/ 723519 h 876300"/>
                  <a:gd name="connsiteX981" fmla="*/ 380333 w 962025"/>
                  <a:gd name="connsiteY981" fmla="*/ 724376 h 876300"/>
                  <a:gd name="connsiteX982" fmla="*/ 381191 w 962025"/>
                  <a:gd name="connsiteY982" fmla="*/ 723519 h 876300"/>
                  <a:gd name="connsiteX983" fmla="*/ 384524 w 962025"/>
                  <a:gd name="connsiteY983" fmla="*/ 721805 h 876300"/>
                  <a:gd name="connsiteX984" fmla="*/ 384524 w 962025"/>
                  <a:gd name="connsiteY984" fmla="*/ 720947 h 876300"/>
                  <a:gd name="connsiteX985" fmla="*/ 385382 w 962025"/>
                  <a:gd name="connsiteY985" fmla="*/ 720185 h 876300"/>
                  <a:gd name="connsiteX986" fmla="*/ 385382 w 962025"/>
                  <a:gd name="connsiteY986" fmla="*/ 719328 h 876300"/>
                  <a:gd name="connsiteX987" fmla="*/ 385382 w 962025"/>
                  <a:gd name="connsiteY987" fmla="*/ 719328 h 876300"/>
                  <a:gd name="connsiteX988" fmla="*/ 385382 w 962025"/>
                  <a:gd name="connsiteY988" fmla="*/ 717614 h 876300"/>
                  <a:gd name="connsiteX989" fmla="*/ 385382 w 962025"/>
                  <a:gd name="connsiteY989" fmla="*/ 717614 h 876300"/>
                  <a:gd name="connsiteX990" fmla="*/ 386239 w 962025"/>
                  <a:gd name="connsiteY990" fmla="*/ 716756 h 876300"/>
                  <a:gd name="connsiteX991" fmla="*/ 386239 w 962025"/>
                  <a:gd name="connsiteY991" fmla="*/ 716756 h 876300"/>
                  <a:gd name="connsiteX992" fmla="*/ 386239 w 962025"/>
                  <a:gd name="connsiteY992" fmla="*/ 715899 h 876300"/>
                  <a:gd name="connsiteX993" fmla="*/ 387096 w 962025"/>
                  <a:gd name="connsiteY993" fmla="*/ 715042 h 876300"/>
                  <a:gd name="connsiteX994" fmla="*/ 387096 w 962025"/>
                  <a:gd name="connsiteY994" fmla="*/ 714185 h 876300"/>
                  <a:gd name="connsiteX995" fmla="*/ 387096 w 962025"/>
                  <a:gd name="connsiteY995" fmla="*/ 712470 h 876300"/>
                  <a:gd name="connsiteX996" fmla="*/ 387096 w 962025"/>
                  <a:gd name="connsiteY996" fmla="*/ 712470 h 876300"/>
                  <a:gd name="connsiteX997" fmla="*/ 387096 w 962025"/>
                  <a:gd name="connsiteY997" fmla="*/ 711613 h 876300"/>
                  <a:gd name="connsiteX998" fmla="*/ 387953 w 962025"/>
                  <a:gd name="connsiteY998" fmla="*/ 710851 h 876300"/>
                  <a:gd name="connsiteX999" fmla="*/ 387953 w 962025"/>
                  <a:gd name="connsiteY999" fmla="*/ 709136 h 876300"/>
                  <a:gd name="connsiteX1000" fmla="*/ 389668 w 962025"/>
                  <a:gd name="connsiteY1000" fmla="*/ 708279 h 876300"/>
                  <a:gd name="connsiteX1001" fmla="*/ 389668 w 962025"/>
                  <a:gd name="connsiteY1001" fmla="*/ 708279 h 876300"/>
                  <a:gd name="connsiteX1002" fmla="*/ 390525 w 962025"/>
                  <a:gd name="connsiteY1002" fmla="*/ 707422 h 876300"/>
                  <a:gd name="connsiteX1003" fmla="*/ 391382 w 962025"/>
                  <a:gd name="connsiteY1003" fmla="*/ 707422 h 876300"/>
                  <a:gd name="connsiteX1004" fmla="*/ 393002 w 962025"/>
                  <a:gd name="connsiteY1004" fmla="*/ 707422 h 876300"/>
                  <a:gd name="connsiteX1005" fmla="*/ 397288 w 962025"/>
                  <a:gd name="connsiteY1005" fmla="*/ 706565 h 876300"/>
                  <a:gd name="connsiteX1006" fmla="*/ 399002 w 962025"/>
                  <a:gd name="connsiteY1006" fmla="*/ 705707 h 876300"/>
                  <a:gd name="connsiteX1007" fmla="*/ 399764 w 962025"/>
                  <a:gd name="connsiteY1007" fmla="*/ 706565 h 876300"/>
                  <a:gd name="connsiteX1008" fmla="*/ 400622 w 962025"/>
                  <a:gd name="connsiteY1008" fmla="*/ 706565 h 876300"/>
                  <a:gd name="connsiteX1009" fmla="*/ 400622 w 962025"/>
                  <a:gd name="connsiteY1009" fmla="*/ 706565 h 876300"/>
                  <a:gd name="connsiteX1010" fmla="*/ 400622 w 962025"/>
                  <a:gd name="connsiteY1010" fmla="*/ 707422 h 876300"/>
                  <a:gd name="connsiteX1011" fmla="*/ 400622 w 962025"/>
                  <a:gd name="connsiteY1011" fmla="*/ 708279 h 876300"/>
                  <a:gd name="connsiteX1012" fmla="*/ 400622 w 962025"/>
                  <a:gd name="connsiteY1012" fmla="*/ 709136 h 876300"/>
                  <a:gd name="connsiteX1013" fmla="*/ 400622 w 962025"/>
                  <a:gd name="connsiteY1013" fmla="*/ 711613 h 876300"/>
                  <a:gd name="connsiteX1014" fmla="*/ 400622 w 962025"/>
                  <a:gd name="connsiteY1014" fmla="*/ 714185 h 876300"/>
                  <a:gd name="connsiteX1015" fmla="*/ 399764 w 962025"/>
                  <a:gd name="connsiteY1015" fmla="*/ 716756 h 876300"/>
                  <a:gd name="connsiteX1016" fmla="*/ 399764 w 962025"/>
                  <a:gd name="connsiteY1016" fmla="*/ 717614 h 876300"/>
                  <a:gd name="connsiteX1017" fmla="*/ 399764 w 962025"/>
                  <a:gd name="connsiteY1017" fmla="*/ 717614 h 876300"/>
                  <a:gd name="connsiteX1018" fmla="*/ 400622 w 962025"/>
                  <a:gd name="connsiteY1018" fmla="*/ 718471 h 876300"/>
                  <a:gd name="connsiteX1019" fmla="*/ 401479 w 962025"/>
                  <a:gd name="connsiteY1019" fmla="*/ 719328 h 876300"/>
                  <a:gd name="connsiteX1020" fmla="*/ 402336 w 962025"/>
                  <a:gd name="connsiteY1020" fmla="*/ 720185 h 876300"/>
                  <a:gd name="connsiteX1021" fmla="*/ 408242 w 962025"/>
                  <a:gd name="connsiteY1021" fmla="*/ 721805 h 876300"/>
                  <a:gd name="connsiteX1022" fmla="*/ 409099 w 962025"/>
                  <a:gd name="connsiteY1022" fmla="*/ 721805 h 876300"/>
                  <a:gd name="connsiteX1023" fmla="*/ 409956 w 962025"/>
                  <a:gd name="connsiteY1023" fmla="*/ 721805 h 876300"/>
                  <a:gd name="connsiteX1024" fmla="*/ 410813 w 962025"/>
                  <a:gd name="connsiteY1024" fmla="*/ 720947 h 876300"/>
                  <a:gd name="connsiteX1025" fmla="*/ 411671 w 962025"/>
                  <a:gd name="connsiteY1025" fmla="*/ 720185 h 876300"/>
                  <a:gd name="connsiteX1026" fmla="*/ 412528 w 962025"/>
                  <a:gd name="connsiteY1026" fmla="*/ 720185 h 876300"/>
                  <a:gd name="connsiteX1027" fmla="*/ 413385 w 962025"/>
                  <a:gd name="connsiteY1027" fmla="*/ 720947 h 876300"/>
                  <a:gd name="connsiteX1028" fmla="*/ 413385 w 962025"/>
                  <a:gd name="connsiteY1028" fmla="*/ 721805 h 876300"/>
                  <a:gd name="connsiteX1029" fmla="*/ 413385 w 962025"/>
                  <a:gd name="connsiteY1029" fmla="*/ 722662 h 876300"/>
                  <a:gd name="connsiteX1030" fmla="*/ 413385 w 962025"/>
                  <a:gd name="connsiteY1030" fmla="*/ 724376 h 876300"/>
                  <a:gd name="connsiteX1031" fmla="*/ 412528 w 962025"/>
                  <a:gd name="connsiteY1031" fmla="*/ 725233 h 876300"/>
                  <a:gd name="connsiteX1032" fmla="*/ 411671 w 962025"/>
                  <a:gd name="connsiteY1032" fmla="*/ 726091 h 876300"/>
                  <a:gd name="connsiteX1033" fmla="*/ 410813 w 962025"/>
                  <a:gd name="connsiteY1033" fmla="*/ 726948 h 876300"/>
                  <a:gd name="connsiteX1034" fmla="*/ 409956 w 962025"/>
                  <a:gd name="connsiteY1034" fmla="*/ 726948 h 876300"/>
                  <a:gd name="connsiteX1035" fmla="*/ 408242 w 962025"/>
                  <a:gd name="connsiteY1035" fmla="*/ 726948 h 876300"/>
                  <a:gd name="connsiteX1036" fmla="*/ 406622 w 962025"/>
                  <a:gd name="connsiteY1036" fmla="*/ 726948 h 876300"/>
                  <a:gd name="connsiteX1037" fmla="*/ 405765 w 962025"/>
                  <a:gd name="connsiteY1037" fmla="*/ 726948 h 876300"/>
                  <a:gd name="connsiteX1038" fmla="*/ 404908 w 962025"/>
                  <a:gd name="connsiteY1038" fmla="*/ 726948 h 876300"/>
                  <a:gd name="connsiteX1039" fmla="*/ 404908 w 962025"/>
                  <a:gd name="connsiteY1039" fmla="*/ 727805 h 876300"/>
                  <a:gd name="connsiteX1040" fmla="*/ 404908 w 962025"/>
                  <a:gd name="connsiteY1040" fmla="*/ 728662 h 876300"/>
                  <a:gd name="connsiteX1041" fmla="*/ 404051 w 962025"/>
                  <a:gd name="connsiteY1041" fmla="*/ 729424 h 876300"/>
                  <a:gd name="connsiteX1042" fmla="*/ 403193 w 962025"/>
                  <a:gd name="connsiteY1042" fmla="*/ 730282 h 876300"/>
                  <a:gd name="connsiteX1043" fmla="*/ 402336 w 962025"/>
                  <a:gd name="connsiteY1043" fmla="*/ 731139 h 876300"/>
                  <a:gd name="connsiteX1044" fmla="*/ 401479 w 962025"/>
                  <a:gd name="connsiteY1044" fmla="*/ 731996 h 876300"/>
                  <a:gd name="connsiteX1045" fmla="*/ 399002 w 962025"/>
                  <a:gd name="connsiteY1045" fmla="*/ 739616 h 876300"/>
                  <a:gd name="connsiteX1046" fmla="*/ 398145 w 962025"/>
                  <a:gd name="connsiteY1046" fmla="*/ 741331 h 876300"/>
                  <a:gd name="connsiteX1047" fmla="*/ 399002 w 962025"/>
                  <a:gd name="connsiteY1047" fmla="*/ 743045 h 876300"/>
                  <a:gd name="connsiteX1048" fmla="*/ 400622 w 962025"/>
                  <a:gd name="connsiteY1048" fmla="*/ 745617 h 876300"/>
                  <a:gd name="connsiteX1049" fmla="*/ 401479 w 962025"/>
                  <a:gd name="connsiteY1049" fmla="*/ 748094 h 876300"/>
                  <a:gd name="connsiteX1050" fmla="*/ 401479 w 962025"/>
                  <a:gd name="connsiteY1050" fmla="*/ 748951 h 876300"/>
                  <a:gd name="connsiteX1051" fmla="*/ 403193 w 962025"/>
                  <a:gd name="connsiteY1051" fmla="*/ 750665 h 876300"/>
                  <a:gd name="connsiteX1052" fmla="*/ 404908 w 962025"/>
                  <a:gd name="connsiteY1052" fmla="*/ 751523 h 876300"/>
                  <a:gd name="connsiteX1053" fmla="*/ 406622 w 962025"/>
                  <a:gd name="connsiteY1053" fmla="*/ 752380 h 876300"/>
                  <a:gd name="connsiteX1054" fmla="*/ 408242 w 962025"/>
                  <a:gd name="connsiteY1054" fmla="*/ 754094 h 876300"/>
                  <a:gd name="connsiteX1055" fmla="*/ 408242 w 962025"/>
                  <a:gd name="connsiteY1055" fmla="*/ 754952 h 876300"/>
                  <a:gd name="connsiteX1056" fmla="*/ 410813 w 962025"/>
                  <a:gd name="connsiteY1056" fmla="*/ 756571 h 876300"/>
                  <a:gd name="connsiteX1057" fmla="*/ 411671 w 962025"/>
                  <a:gd name="connsiteY1057" fmla="*/ 757428 h 876300"/>
                  <a:gd name="connsiteX1058" fmla="*/ 411671 w 962025"/>
                  <a:gd name="connsiteY1058" fmla="*/ 758285 h 876300"/>
                  <a:gd name="connsiteX1059" fmla="*/ 412528 w 962025"/>
                  <a:gd name="connsiteY1059" fmla="*/ 760000 h 876300"/>
                  <a:gd name="connsiteX1060" fmla="*/ 412528 w 962025"/>
                  <a:gd name="connsiteY1060" fmla="*/ 760857 h 876300"/>
                  <a:gd name="connsiteX1061" fmla="*/ 415100 w 962025"/>
                  <a:gd name="connsiteY1061" fmla="*/ 764286 h 876300"/>
                  <a:gd name="connsiteX1062" fmla="*/ 416719 w 962025"/>
                  <a:gd name="connsiteY1062" fmla="*/ 765143 h 876300"/>
                  <a:gd name="connsiteX1063" fmla="*/ 418433 w 962025"/>
                  <a:gd name="connsiteY1063" fmla="*/ 765905 h 876300"/>
                  <a:gd name="connsiteX1064" fmla="*/ 422720 w 962025"/>
                  <a:gd name="connsiteY1064" fmla="*/ 762572 h 876300"/>
                  <a:gd name="connsiteX1065" fmla="*/ 423482 w 962025"/>
                  <a:gd name="connsiteY1065" fmla="*/ 761714 h 876300"/>
                  <a:gd name="connsiteX1066" fmla="*/ 424339 w 962025"/>
                  <a:gd name="connsiteY1066" fmla="*/ 760857 h 876300"/>
                  <a:gd name="connsiteX1067" fmla="*/ 425196 w 962025"/>
                  <a:gd name="connsiteY1067" fmla="*/ 759143 h 876300"/>
                  <a:gd name="connsiteX1068" fmla="*/ 426911 w 962025"/>
                  <a:gd name="connsiteY1068" fmla="*/ 756571 h 876300"/>
                  <a:gd name="connsiteX1069" fmla="*/ 426911 w 962025"/>
                  <a:gd name="connsiteY1069" fmla="*/ 754952 h 876300"/>
                  <a:gd name="connsiteX1070" fmla="*/ 428625 w 962025"/>
                  <a:gd name="connsiteY1070" fmla="*/ 754094 h 876300"/>
                  <a:gd name="connsiteX1071" fmla="*/ 429482 w 962025"/>
                  <a:gd name="connsiteY1071" fmla="*/ 754952 h 876300"/>
                  <a:gd name="connsiteX1072" fmla="*/ 432816 w 962025"/>
                  <a:gd name="connsiteY1072" fmla="*/ 760857 h 876300"/>
                  <a:gd name="connsiteX1073" fmla="*/ 433673 w 962025"/>
                  <a:gd name="connsiteY1073" fmla="*/ 762572 h 876300"/>
                  <a:gd name="connsiteX1074" fmla="*/ 433673 w 962025"/>
                  <a:gd name="connsiteY1074" fmla="*/ 764286 h 876300"/>
                  <a:gd name="connsiteX1075" fmla="*/ 433673 w 962025"/>
                  <a:gd name="connsiteY1075" fmla="*/ 766762 h 876300"/>
                  <a:gd name="connsiteX1076" fmla="*/ 433673 w 962025"/>
                  <a:gd name="connsiteY1076" fmla="*/ 766762 h 876300"/>
                  <a:gd name="connsiteX1077" fmla="*/ 433673 w 962025"/>
                  <a:gd name="connsiteY1077" fmla="*/ 767620 h 876300"/>
                  <a:gd name="connsiteX1078" fmla="*/ 434531 w 962025"/>
                  <a:gd name="connsiteY1078" fmla="*/ 769334 h 876300"/>
                  <a:gd name="connsiteX1079" fmla="*/ 436245 w 962025"/>
                  <a:gd name="connsiteY1079" fmla="*/ 771049 h 876300"/>
                  <a:gd name="connsiteX1080" fmla="*/ 437102 w 962025"/>
                  <a:gd name="connsiteY1080" fmla="*/ 774382 h 876300"/>
                  <a:gd name="connsiteX1081" fmla="*/ 436245 w 962025"/>
                  <a:gd name="connsiteY1081" fmla="*/ 775240 h 876300"/>
                  <a:gd name="connsiteX1082" fmla="*/ 434531 w 962025"/>
                  <a:gd name="connsiteY1082" fmla="*/ 776097 h 876300"/>
                  <a:gd name="connsiteX1083" fmla="*/ 432816 w 962025"/>
                  <a:gd name="connsiteY1083" fmla="*/ 776954 h 876300"/>
                  <a:gd name="connsiteX1084" fmla="*/ 431102 w 962025"/>
                  <a:gd name="connsiteY1084" fmla="*/ 778669 h 876300"/>
                  <a:gd name="connsiteX1085" fmla="*/ 430340 w 962025"/>
                  <a:gd name="connsiteY1085" fmla="*/ 779526 h 876300"/>
                  <a:gd name="connsiteX1086" fmla="*/ 430340 w 962025"/>
                  <a:gd name="connsiteY1086" fmla="*/ 780383 h 876300"/>
                  <a:gd name="connsiteX1087" fmla="*/ 430340 w 962025"/>
                  <a:gd name="connsiteY1087" fmla="*/ 782098 h 876300"/>
                  <a:gd name="connsiteX1088" fmla="*/ 430340 w 962025"/>
                  <a:gd name="connsiteY1088" fmla="*/ 785432 h 876300"/>
                  <a:gd name="connsiteX1089" fmla="*/ 430340 w 962025"/>
                  <a:gd name="connsiteY1089" fmla="*/ 787146 h 876300"/>
                  <a:gd name="connsiteX1090" fmla="*/ 429482 w 962025"/>
                  <a:gd name="connsiteY1090" fmla="*/ 792290 h 876300"/>
                  <a:gd name="connsiteX1091" fmla="*/ 429482 w 962025"/>
                  <a:gd name="connsiteY1091" fmla="*/ 793052 h 876300"/>
                  <a:gd name="connsiteX1092" fmla="*/ 429482 w 962025"/>
                  <a:gd name="connsiteY1092" fmla="*/ 793052 h 876300"/>
                  <a:gd name="connsiteX1093" fmla="*/ 433673 w 962025"/>
                  <a:gd name="connsiteY1093" fmla="*/ 793052 h 876300"/>
                  <a:gd name="connsiteX1094" fmla="*/ 434531 w 962025"/>
                  <a:gd name="connsiteY1094" fmla="*/ 793052 h 876300"/>
                  <a:gd name="connsiteX1095" fmla="*/ 435388 w 962025"/>
                  <a:gd name="connsiteY1095" fmla="*/ 793909 h 876300"/>
                  <a:gd name="connsiteX1096" fmla="*/ 436245 w 962025"/>
                  <a:gd name="connsiteY1096" fmla="*/ 794766 h 876300"/>
                  <a:gd name="connsiteX1097" fmla="*/ 437102 w 962025"/>
                  <a:gd name="connsiteY1097" fmla="*/ 796481 h 876300"/>
                  <a:gd name="connsiteX1098" fmla="*/ 437960 w 962025"/>
                  <a:gd name="connsiteY1098" fmla="*/ 798195 h 876300"/>
                  <a:gd name="connsiteX1099" fmla="*/ 438817 w 962025"/>
                  <a:gd name="connsiteY1099" fmla="*/ 799910 h 876300"/>
                  <a:gd name="connsiteX1100" fmla="*/ 439579 w 962025"/>
                  <a:gd name="connsiteY1100" fmla="*/ 800767 h 876300"/>
                  <a:gd name="connsiteX1101" fmla="*/ 441293 w 962025"/>
                  <a:gd name="connsiteY1101" fmla="*/ 801529 h 876300"/>
                  <a:gd name="connsiteX1102" fmla="*/ 443865 w 962025"/>
                  <a:gd name="connsiteY1102" fmla="*/ 802386 h 876300"/>
                  <a:gd name="connsiteX1103" fmla="*/ 444722 w 962025"/>
                  <a:gd name="connsiteY1103" fmla="*/ 802386 h 876300"/>
                  <a:gd name="connsiteX1104" fmla="*/ 445580 w 962025"/>
                  <a:gd name="connsiteY1104" fmla="*/ 803243 h 876300"/>
                  <a:gd name="connsiteX1105" fmla="*/ 446437 w 962025"/>
                  <a:gd name="connsiteY1105" fmla="*/ 804101 h 876300"/>
                  <a:gd name="connsiteX1106" fmla="*/ 446437 w 962025"/>
                  <a:gd name="connsiteY1106" fmla="*/ 804958 h 876300"/>
                  <a:gd name="connsiteX1107" fmla="*/ 445580 w 962025"/>
                  <a:gd name="connsiteY1107" fmla="*/ 805815 h 876300"/>
                  <a:gd name="connsiteX1108" fmla="*/ 445580 w 962025"/>
                  <a:gd name="connsiteY1108" fmla="*/ 806672 h 876300"/>
                  <a:gd name="connsiteX1109" fmla="*/ 445580 w 962025"/>
                  <a:gd name="connsiteY1109" fmla="*/ 808387 h 876300"/>
                  <a:gd name="connsiteX1110" fmla="*/ 445580 w 962025"/>
                  <a:gd name="connsiteY1110" fmla="*/ 811720 h 876300"/>
                  <a:gd name="connsiteX1111" fmla="*/ 444722 w 962025"/>
                  <a:gd name="connsiteY1111" fmla="*/ 813435 h 876300"/>
                  <a:gd name="connsiteX1112" fmla="*/ 444722 w 962025"/>
                  <a:gd name="connsiteY1112" fmla="*/ 814292 h 876300"/>
                  <a:gd name="connsiteX1113" fmla="*/ 445580 w 962025"/>
                  <a:gd name="connsiteY1113" fmla="*/ 815149 h 876300"/>
                  <a:gd name="connsiteX1114" fmla="*/ 446437 w 962025"/>
                  <a:gd name="connsiteY1114" fmla="*/ 815149 h 876300"/>
                  <a:gd name="connsiteX1115" fmla="*/ 448056 w 962025"/>
                  <a:gd name="connsiteY1115" fmla="*/ 815149 h 876300"/>
                  <a:gd name="connsiteX1116" fmla="*/ 448913 w 962025"/>
                  <a:gd name="connsiteY1116" fmla="*/ 814292 h 876300"/>
                  <a:gd name="connsiteX1117" fmla="*/ 451485 w 962025"/>
                  <a:gd name="connsiteY1117" fmla="*/ 811720 h 876300"/>
                  <a:gd name="connsiteX1118" fmla="*/ 452342 w 962025"/>
                  <a:gd name="connsiteY1118" fmla="*/ 810863 h 876300"/>
                  <a:gd name="connsiteX1119" fmla="*/ 454057 w 962025"/>
                  <a:gd name="connsiteY1119" fmla="*/ 811720 h 876300"/>
                  <a:gd name="connsiteX1120" fmla="*/ 455676 w 962025"/>
                  <a:gd name="connsiteY1120" fmla="*/ 812578 h 876300"/>
                  <a:gd name="connsiteX1121" fmla="*/ 458248 w 962025"/>
                  <a:gd name="connsiteY1121" fmla="*/ 815149 h 876300"/>
                  <a:gd name="connsiteX1122" fmla="*/ 458248 w 962025"/>
                  <a:gd name="connsiteY1122" fmla="*/ 817721 h 876300"/>
                  <a:gd name="connsiteX1123" fmla="*/ 458248 w 962025"/>
                  <a:gd name="connsiteY1123" fmla="*/ 820198 h 876300"/>
                  <a:gd name="connsiteX1124" fmla="*/ 458248 w 962025"/>
                  <a:gd name="connsiteY1124" fmla="*/ 821912 h 876300"/>
                  <a:gd name="connsiteX1125" fmla="*/ 458248 w 962025"/>
                  <a:gd name="connsiteY1125" fmla="*/ 824484 h 876300"/>
                  <a:gd name="connsiteX1126" fmla="*/ 458248 w 962025"/>
                  <a:gd name="connsiteY1126" fmla="*/ 826199 h 876300"/>
                  <a:gd name="connsiteX1127" fmla="*/ 459105 w 962025"/>
                  <a:gd name="connsiteY1127" fmla="*/ 827913 h 876300"/>
                  <a:gd name="connsiteX1128" fmla="*/ 459962 w 962025"/>
                  <a:gd name="connsiteY1128" fmla="*/ 828675 h 876300"/>
                  <a:gd name="connsiteX1129" fmla="*/ 459105 w 962025"/>
                  <a:gd name="connsiteY1129" fmla="*/ 830390 h 876300"/>
                  <a:gd name="connsiteX1130" fmla="*/ 458248 w 962025"/>
                  <a:gd name="connsiteY1130" fmla="*/ 832961 h 876300"/>
                  <a:gd name="connsiteX1131" fmla="*/ 459105 w 962025"/>
                  <a:gd name="connsiteY1131" fmla="*/ 834676 h 876300"/>
                  <a:gd name="connsiteX1132" fmla="*/ 463296 w 962025"/>
                  <a:gd name="connsiteY1132" fmla="*/ 834676 h 876300"/>
                  <a:gd name="connsiteX1133" fmla="*/ 464153 w 962025"/>
                  <a:gd name="connsiteY1133" fmla="*/ 835533 h 876300"/>
                  <a:gd name="connsiteX1134" fmla="*/ 466725 w 962025"/>
                  <a:gd name="connsiteY1134" fmla="*/ 837248 h 876300"/>
                  <a:gd name="connsiteX1135" fmla="*/ 468440 w 962025"/>
                  <a:gd name="connsiteY1135" fmla="*/ 838010 h 876300"/>
                  <a:gd name="connsiteX1136" fmla="*/ 476917 w 962025"/>
                  <a:gd name="connsiteY1136" fmla="*/ 834676 h 876300"/>
                  <a:gd name="connsiteX1137" fmla="*/ 478536 w 962025"/>
                  <a:gd name="connsiteY1137" fmla="*/ 834676 h 876300"/>
                  <a:gd name="connsiteX1138" fmla="*/ 479393 w 962025"/>
                  <a:gd name="connsiteY1138" fmla="*/ 835533 h 876300"/>
                  <a:gd name="connsiteX1139" fmla="*/ 480251 w 962025"/>
                  <a:gd name="connsiteY1139" fmla="*/ 836390 h 876300"/>
                  <a:gd name="connsiteX1140" fmla="*/ 484537 w 962025"/>
                  <a:gd name="connsiteY1140" fmla="*/ 843153 h 876300"/>
                  <a:gd name="connsiteX1141" fmla="*/ 487871 w 962025"/>
                  <a:gd name="connsiteY1141" fmla="*/ 846487 h 876300"/>
                  <a:gd name="connsiteX1142" fmla="*/ 488728 w 962025"/>
                  <a:gd name="connsiteY1142" fmla="*/ 847344 h 876300"/>
                  <a:gd name="connsiteX1143" fmla="*/ 489585 w 962025"/>
                  <a:gd name="connsiteY1143" fmla="*/ 847344 h 876300"/>
                  <a:gd name="connsiteX1144" fmla="*/ 490442 w 962025"/>
                  <a:gd name="connsiteY1144" fmla="*/ 847344 h 876300"/>
                  <a:gd name="connsiteX1145" fmla="*/ 491299 w 962025"/>
                  <a:gd name="connsiteY1145" fmla="*/ 846487 h 876300"/>
                  <a:gd name="connsiteX1146" fmla="*/ 492157 w 962025"/>
                  <a:gd name="connsiteY1146" fmla="*/ 846487 h 876300"/>
                  <a:gd name="connsiteX1147" fmla="*/ 492157 w 962025"/>
                  <a:gd name="connsiteY1147" fmla="*/ 846487 h 876300"/>
                  <a:gd name="connsiteX1148" fmla="*/ 493014 w 962025"/>
                  <a:gd name="connsiteY1148" fmla="*/ 845725 h 876300"/>
                  <a:gd name="connsiteX1149" fmla="*/ 493014 w 962025"/>
                  <a:gd name="connsiteY1149" fmla="*/ 844868 h 876300"/>
                  <a:gd name="connsiteX1150" fmla="*/ 493871 w 962025"/>
                  <a:gd name="connsiteY1150" fmla="*/ 844010 h 876300"/>
                  <a:gd name="connsiteX1151" fmla="*/ 494633 w 962025"/>
                  <a:gd name="connsiteY1151" fmla="*/ 844010 h 876300"/>
                  <a:gd name="connsiteX1152" fmla="*/ 495491 w 962025"/>
                  <a:gd name="connsiteY1152" fmla="*/ 844010 h 876300"/>
                  <a:gd name="connsiteX1153" fmla="*/ 499777 w 962025"/>
                  <a:gd name="connsiteY1153" fmla="*/ 847344 h 876300"/>
                  <a:gd name="connsiteX1154" fmla="*/ 503968 w 962025"/>
                  <a:gd name="connsiteY1154" fmla="*/ 851630 h 876300"/>
                  <a:gd name="connsiteX1155" fmla="*/ 509969 w 962025"/>
                  <a:gd name="connsiteY1155" fmla="*/ 855059 h 876300"/>
                  <a:gd name="connsiteX1156" fmla="*/ 510730 w 962025"/>
                  <a:gd name="connsiteY1156" fmla="*/ 855821 h 876300"/>
                  <a:gd name="connsiteX1157" fmla="*/ 511588 w 962025"/>
                  <a:gd name="connsiteY1157" fmla="*/ 857536 h 876300"/>
                  <a:gd name="connsiteX1158" fmla="*/ 512445 w 962025"/>
                  <a:gd name="connsiteY1158" fmla="*/ 859250 h 876300"/>
                  <a:gd name="connsiteX1159" fmla="*/ 511588 w 962025"/>
                  <a:gd name="connsiteY1159" fmla="*/ 860965 h 876300"/>
                  <a:gd name="connsiteX1160" fmla="*/ 511588 w 962025"/>
                  <a:gd name="connsiteY1160" fmla="*/ 862679 h 876300"/>
                  <a:gd name="connsiteX1161" fmla="*/ 512445 w 962025"/>
                  <a:gd name="connsiteY1161" fmla="*/ 864299 h 876300"/>
                  <a:gd name="connsiteX1162" fmla="*/ 513302 w 962025"/>
                  <a:gd name="connsiteY1162" fmla="*/ 866870 h 876300"/>
                  <a:gd name="connsiteX1163" fmla="*/ 515017 w 962025"/>
                  <a:gd name="connsiteY1163" fmla="*/ 867728 h 876300"/>
                  <a:gd name="connsiteX1164" fmla="*/ 516731 w 962025"/>
                  <a:gd name="connsiteY1164" fmla="*/ 868585 h 876300"/>
                  <a:gd name="connsiteX1165" fmla="*/ 517588 w 962025"/>
                  <a:gd name="connsiteY1165" fmla="*/ 868585 h 876300"/>
                  <a:gd name="connsiteX1166" fmla="*/ 518351 w 962025"/>
                  <a:gd name="connsiteY1166" fmla="*/ 867728 h 876300"/>
                  <a:gd name="connsiteX1167" fmla="*/ 519208 w 962025"/>
                  <a:gd name="connsiteY1167" fmla="*/ 867728 h 876300"/>
                  <a:gd name="connsiteX1168" fmla="*/ 520922 w 962025"/>
                  <a:gd name="connsiteY1168" fmla="*/ 866013 h 876300"/>
                  <a:gd name="connsiteX1169" fmla="*/ 521780 w 962025"/>
                  <a:gd name="connsiteY1169" fmla="*/ 866013 h 876300"/>
                  <a:gd name="connsiteX1170" fmla="*/ 522637 w 962025"/>
                  <a:gd name="connsiteY1170" fmla="*/ 866870 h 876300"/>
                  <a:gd name="connsiteX1171" fmla="*/ 525971 w 962025"/>
                  <a:gd name="connsiteY1171" fmla="*/ 868585 h 876300"/>
                  <a:gd name="connsiteX1172" fmla="*/ 526828 w 962025"/>
                  <a:gd name="connsiteY1172" fmla="*/ 870299 h 876300"/>
                  <a:gd name="connsiteX1173" fmla="*/ 527685 w 962025"/>
                  <a:gd name="connsiteY1173" fmla="*/ 872014 h 876300"/>
                  <a:gd name="connsiteX1174" fmla="*/ 528542 w 962025"/>
                  <a:gd name="connsiteY1174" fmla="*/ 872871 h 876300"/>
                  <a:gd name="connsiteX1175" fmla="*/ 530257 w 962025"/>
                  <a:gd name="connsiteY1175" fmla="*/ 877062 h 876300"/>
                  <a:gd name="connsiteX1176" fmla="*/ 531114 w 962025"/>
                  <a:gd name="connsiteY1176" fmla="*/ 877062 h 876300"/>
                  <a:gd name="connsiteX1177" fmla="*/ 532829 w 962025"/>
                  <a:gd name="connsiteY1177" fmla="*/ 877919 h 876300"/>
                  <a:gd name="connsiteX1178" fmla="*/ 533591 w 962025"/>
                  <a:gd name="connsiteY1178" fmla="*/ 878777 h 876300"/>
                  <a:gd name="connsiteX1179" fmla="*/ 534448 w 962025"/>
                  <a:gd name="connsiteY1179" fmla="*/ 878777 h 876300"/>
                  <a:gd name="connsiteX1180" fmla="*/ 535305 w 962025"/>
                  <a:gd name="connsiteY1180" fmla="*/ 880491 h 876300"/>
                  <a:gd name="connsiteX1181" fmla="*/ 536162 w 962025"/>
                  <a:gd name="connsiteY1181" fmla="*/ 882968 h 876300"/>
                  <a:gd name="connsiteX1182" fmla="*/ 537877 w 962025"/>
                  <a:gd name="connsiteY1182" fmla="*/ 882206 h 876300"/>
                  <a:gd name="connsiteX1183" fmla="*/ 539591 w 962025"/>
                  <a:gd name="connsiteY1183" fmla="*/ 880491 h 876300"/>
                  <a:gd name="connsiteX1184" fmla="*/ 540449 w 962025"/>
                  <a:gd name="connsiteY1184" fmla="*/ 879634 h 876300"/>
                  <a:gd name="connsiteX1185" fmla="*/ 542068 w 962025"/>
                  <a:gd name="connsiteY1185" fmla="*/ 878777 h 876300"/>
                  <a:gd name="connsiteX1186" fmla="*/ 542925 w 962025"/>
                  <a:gd name="connsiteY1186" fmla="*/ 878777 h 876300"/>
                  <a:gd name="connsiteX1187" fmla="*/ 545497 w 962025"/>
                  <a:gd name="connsiteY1187" fmla="*/ 878777 h 876300"/>
                  <a:gd name="connsiteX1188" fmla="*/ 547211 w 962025"/>
                  <a:gd name="connsiteY1188" fmla="*/ 878777 h 876300"/>
                  <a:gd name="connsiteX1189" fmla="*/ 548926 w 962025"/>
                  <a:gd name="connsiteY1189" fmla="*/ 879634 h 876300"/>
                  <a:gd name="connsiteX1190" fmla="*/ 550545 w 962025"/>
                  <a:gd name="connsiteY1190" fmla="*/ 880491 h 876300"/>
                  <a:gd name="connsiteX1191" fmla="*/ 553117 w 962025"/>
                  <a:gd name="connsiteY1191" fmla="*/ 879634 h 876300"/>
                  <a:gd name="connsiteX1192" fmla="*/ 560737 w 962025"/>
                  <a:gd name="connsiteY1192" fmla="*/ 875348 h 876300"/>
                  <a:gd name="connsiteX1193" fmla="*/ 567499 w 962025"/>
                  <a:gd name="connsiteY1193" fmla="*/ 873633 h 876300"/>
                  <a:gd name="connsiteX1194" fmla="*/ 574262 w 962025"/>
                  <a:gd name="connsiteY1194" fmla="*/ 869442 h 876300"/>
                  <a:gd name="connsiteX1195" fmla="*/ 578549 w 962025"/>
                  <a:gd name="connsiteY1195" fmla="*/ 867728 h 876300"/>
                  <a:gd name="connsiteX1196" fmla="*/ 579406 w 962025"/>
                  <a:gd name="connsiteY1196" fmla="*/ 866870 h 876300"/>
                  <a:gd name="connsiteX1197" fmla="*/ 579406 w 962025"/>
                  <a:gd name="connsiteY1197" fmla="*/ 866013 h 876300"/>
                  <a:gd name="connsiteX1198" fmla="*/ 576834 w 962025"/>
                  <a:gd name="connsiteY1198" fmla="*/ 864299 h 876300"/>
                  <a:gd name="connsiteX1199" fmla="*/ 575977 w 962025"/>
                  <a:gd name="connsiteY1199" fmla="*/ 863536 h 876300"/>
                  <a:gd name="connsiteX1200" fmla="*/ 575120 w 962025"/>
                  <a:gd name="connsiteY1200" fmla="*/ 861822 h 876300"/>
                  <a:gd name="connsiteX1201" fmla="*/ 574262 w 962025"/>
                  <a:gd name="connsiteY1201" fmla="*/ 860965 h 876300"/>
                  <a:gd name="connsiteX1202" fmla="*/ 572643 w 962025"/>
                  <a:gd name="connsiteY1202" fmla="*/ 860107 h 876300"/>
                  <a:gd name="connsiteX1203" fmla="*/ 571786 w 962025"/>
                  <a:gd name="connsiteY1203" fmla="*/ 860107 h 876300"/>
                  <a:gd name="connsiteX1204" fmla="*/ 569214 w 962025"/>
                  <a:gd name="connsiteY1204" fmla="*/ 860107 h 876300"/>
                  <a:gd name="connsiteX1205" fmla="*/ 567499 w 962025"/>
                  <a:gd name="connsiteY1205" fmla="*/ 860107 h 876300"/>
                  <a:gd name="connsiteX1206" fmla="*/ 564166 w 962025"/>
                  <a:gd name="connsiteY1206" fmla="*/ 858393 h 876300"/>
                  <a:gd name="connsiteX1207" fmla="*/ 560737 w 962025"/>
                  <a:gd name="connsiteY1207" fmla="*/ 858393 h 876300"/>
                  <a:gd name="connsiteX1208" fmla="*/ 559880 w 962025"/>
                  <a:gd name="connsiteY1208" fmla="*/ 857536 h 876300"/>
                  <a:gd name="connsiteX1209" fmla="*/ 559880 w 962025"/>
                  <a:gd name="connsiteY1209" fmla="*/ 857536 h 876300"/>
                  <a:gd name="connsiteX1210" fmla="*/ 559022 w 962025"/>
                  <a:gd name="connsiteY1210" fmla="*/ 856678 h 876300"/>
                  <a:gd name="connsiteX1211" fmla="*/ 558165 w 962025"/>
                  <a:gd name="connsiteY1211" fmla="*/ 855821 h 876300"/>
                  <a:gd name="connsiteX1212" fmla="*/ 557308 w 962025"/>
                  <a:gd name="connsiteY1212" fmla="*/ 854202 h 876300"/>
                  <a:gd name="connsiteX1213" fmla="*/ 557308 w 962025"/>
                  <a:gd name="connsiteY1213" fmla="*/ 852487 h 876300"/>
                  <a:gd name="connsiteX1214" fmla="*/ 561594 w 962025"/>
                  <a:gd name="connsiteY1214" fmla="*/ 844868 h 876300"/>
                  <a:gd name="connsiteX1215" fmla="*/ 563309 w 962025"/>
                  <a:gd name="connsiteY1215" fmla="*/ 843153 h 876300"/>
                  <a:gd name="connsiteX1216" fmla="*/ 570071 w 962025"/>
                  <a:gd name="connsiteY1216" fmla="*/ 837248 h 876300"/>
                  <a:gd name="connsiteX1217" fmla="*/ 571786 w 962025"/>
                  <a:gd name="connsiteY1217" fmla="*/ 835533 h 876300"/>
                  <a:gd name="connsiteX1218" fmla="*/ 577691 w 962025"/>
                  <a:gd name="connsiteY1218" fmla="*/ 833819 h 876300"/>
                  <a:gd name="connsiteX1219" fmla="*/ 580263 w 962025"/>
                  <a:gd name="connsiteY1219" fmla="*/ 832961 h 876300"/>
                  <a:gd name="connsiteX1220" fmla="*/ 586169 w 962025"/>
                  <a:gd name="connsiteY1220" fmla="*/ 828675 h 876300"/>
                  <a:gd name="connsiteX1221" fmla="*/ 587026 w 962025"/>
                  <a:gd name="connsiteY1221" fmla="*/ 828675 h 876300"/>
                  <a:gd name="connsiteX1222" fmla="*/ 590360 w 962025"/>
                  <a:gd name="connsiteY1222" fmla="*/ 827913 h 876300"/>
                  <a:gd name="connsiteX1223" fmla="*/ 591217 w 962025"/>
                  <a:gd name="connsiteY1223" fmla="*/ 827913 h 876300"/>
                  <a:gd name="connsiteX1224" fmla="*/ 594646 w 962025"/>
                  <a:gd name="connsiteY1224" fmla="*/ 824484 h 876300"/>
                  <a:gd name="connsiteX1225" fmla="*/ 595503 w 962025"/>
                  <a:gd name="connsiteY1225" fmla="*/ 822770 h 876300"/>
                  <a:gd name="connsiteX1226" fmla="*/ 596360 w 962025"/>
                  <a:gd name="connsiteY1226" fmla="*/ 821055 h 876300"/>
                  <a:gd name="connsiteX1227" fmla="*/ 597122 w 962025"/>
                  <a:gd name="connsiteY1227" fmla="*/ 819340 h 876300"/>
                  <a:gd name="connsiteX1228" fmla="*/ 598837 w 962025"/>
                  <a:gd name="connsiteY1228" fmla="*/ 814292 h 876300"/>
                  <a:gd name="connsiteX1229" fmla="*/ 599694 w 962025"/>
                  <a:gd name="connsiteY1229" fmla="*/ 813435 h 876300"/>
                  <a:gd name="connsiteX1230" fmla="*/ 600551 w 962025"/>
                  <a:gd name="connsiteY1230" fmla="*/ 811720 h 876300"/>
                  <a:gd name="connsiteX1231" fmla="*/ 601409 w 962025"/>
                  <a:gd name="connsiteY1231" fmla="*/ 810863 h 876300"/>
                  <a:gd name="connsiteX1232" fmla="*/ 602266 w 962025"/>
                  <a:gd name="connsiteY1232" fmla="*/ 809244 h 876300"/>
                  <a:gd name="connsiteX1233" fmla="*/ 603123 w 962025"/>
                  <a:gd name="connsiteY1233" fmla="*/ 807530 h 876300"/>
                  <a:gd name="connsiteX1234" fmla="*/ 603980 w 962025"/>
                  <a:gd name="connsiteY1234" fmla="*/ 804958 h 876300"/>
                  <a:gd name="connsiteX1235" fmla="*/ 603980 w 962025"/>
                  <a:gd name="connsiteY1235" fmla="*/ 803243 h 876300"/>
                  <a:gd name="connsiteX1236" fmla="*/ 603980 w 962025"/>
                  <a:gd name="connsiteY1236" fmla="*/ 800767 h 876300"/>
                  <a:gd name="connsiteX1237" fmla="*/ 603123 w 962025"/>
                  <a:gd name="connsiteY1237" fmla="*/ 797338 h 876300"/>
                  <a:gd name="connsiteX1238" fmla="*/ 601409 w 962025"/>
                  <a:gd name="connsiteY1238" fmla="*/ 793909 h 876300"/>
                  <a:gd name="connsiteX1239" fmla="*/ 600551 w 962025"/>
                  <a:gd name="connsiteY1239" fmla="*/ 792290 h 876300"/>
                  <a:gd name="connsiteX1240" fmla="*/ 599694 w 962025"/>
                  <a:gd name="connsiteY1240" fmla="*/ 790575 h 876300"/>
                  <a:gd name="connsiteX1241" fmla="*/ 599694 w 962025"/>
                  <a:gd name="connsiteY1241" fmla="*/ 788861 h 876300"/>
                  <a:gd name="connsiteX1242" fmla="*/ 599694 w 962025"/>
                  <a:gd name="connsiteY1242" fmla="*/ 784574 h 876300"/>
                  <a:gd name="connsiteX1243" fmla="*/ 600551 w 962025"/>
                  <a:gd name="connsiteY1243" fmla="*/ 779526 h 876300"/>
                  <a:gd name="connsiteX1244" fmla="*/ 604742 w 962025"/>
                  <a:gd name="connsiteY1244" fmla="*/ 766762 h 876300"/>
                  <a:gd name="connsiteX1245" fmla="*/ 605599 w 962025"/>
                  <a:gd name="connsiteY1245" fmla="*/ 765905 h 876300"/>
                  <a:gd name="connsiteX1246" fmla="*/ 606457 w 962025"/>
                  <a:gd name="connsiteY1246" fmla="*/ 764286 h 876300"/>
                  <a:gd name="connsiteX1247" fmla="*/ 607314 w 962025"/>
                  <a:gd name="connsiteY1247" fmla="*/ 763429 h 876300"/>
                  <a:gd name="connsiteX1248" fmla="*/ 607314 w 962025"/>
                  <a:gd name="connsiteY1248" fmla="*/ 762572 h 876300"/>
                  <a:gd name="connsiteX1249" fmla="*/ 606457 w 962025"/>
                  <a:gd name="connsiteY1249" fmla="*/ 760857 h 876300"/>
                  <a:gd name="connsiteX1250" fmla="*/ 605599 w 962025"/>
                  <a:gd name="connsiteY1250" fmla="*/ 760000 h 876300"/>
                  <a:gd name="connsiteX1251" fmla="*/ 603123 w 962025"/>
                  <a:gd name="connsiteY1251" fmla="*/ 758285 h 876300"/>
                  <a:gd name="connsiteX1252" fmla="*/ 601409 w 962025"/>
                  <a:gd name="connsiteY1252" fmla="*/ 756571 h 876300"/>
                  <a:gd name="connsiteX1253" fmla="*/ 600551 w 962025"/>
                  <a:gd name="connsiteY1253" fmla="*/ 754952 h 876300"/>
                  <a:gd name="connsiteX1254" fmla="*/ 599694 w 962025"/>
                  <a:gd name="connsiteY1254" fmla="*/ 753237 h 876300"/>
                  <a:gd name="connsiteX1255" fmla="*/ 598837 w 962025"/>
                  <a:gd name="connsiteY1255" fmla="*/ 751523 h 876300"/>
                  <a:gd name="connsiteX1256" fmla="*/ 597980 w 962025"/>
                  <a:gd name="connsiteY1256" fmla="*/ 748951 h 876300"/>
                  <a:gd name="connsiteX1257" fmla="*/ 597980 w 962025"/>
                  <a:gd name="connsiteY1257" fmla="*/ 743045 h 876300"/>
                  <a:gd name="connsiteX1258" fmla="*/ 597122 w 962025"/>
                  <a:gd name="connsiteY1258" fmla="*/ 740474 h 876300"/>
                  <a:gd name="connsiteX1259" fmla="*/ 596360 w 962025"/>
                  <a:gd name="connsiteY1259" fmla="*/ 738759 h 876300"/>
                  <a:gd name="connsiteX1260" fmla="*/ 594646 w 962025"/>
                  <a:gd name="connsiteY1260" fmla="*/ 737997 h 876300"/>
                  <a:gd name="connsiteX1261" fmla="*/ 592931 w 962025"/>
                  <a:gd name="connsiteY1261" fmla="*/ 736282 h 876300"/>
                  <a:gd name="connsiteX1262" fmla="*/ 591217 w 962025"/>
                  <a:gd name="connsiteY1262" fmla="*/ 736282 h 876300"/>
                  <a:gd name="connsiteX1263" fmla="*/ 589502 w 962025"/>
                  <a:gd name="connsiteY1263" fmla="*/ 735425 h 876300"/>
                  <a:gd name="connsiteX1264" fmla="*/ 584454 w 962025"/>
                  <a:gd name="connsiteY1264" fmla="*/ 736282 h 876300"/>
                  <a:gd name="connsiteX1265" fmla="*/ 582740 w 962025"/>
                  <a:gd name="connsiteY1265" fmla="*/ 736282 h 876300"/>
                  <a:gd name="connsiteX1266" fmla="*/ 581025 w 962025"/>
                  <a:gd name="connsiteY1266" fmla="*/ 736282 h 876300"/>
                  <a:gd name="connsiteX1267" fmla="*/ 581025 w 962025"/>
                  <a:gd name="connsiteY1267" fmla="*/ 735425 h 876300"/>
                  <a:gd name="connsiteX1268" fmla="*/ 581025 w 962025"/>
                  <a:gd name="connsiteY1268" fmla="*/ 733711 h 876300"/>
                  <a:gd name="connsiteX1269" fmla="*/ 582740 w 962025"/>
                  <a:gd name="connsiteY1269" fmla="*/ 731996 h 876300"/>
                  <a:gd name="connsiteX1270" fmla="*/ 583597 w 962025"/>
                  <a:gd name="connsiteY1270" fmla="*/ 731139 h 876300"/>
                  <a:gd name="connsiteX1271" fmla="*/ 584454 w 962025"/>
                  <a:gd name="connsiteY1271" fmla="*/ 728662 h 876300"/>
                  <a:gd name="connsiteX1272" fmla="*/ 584454 w 962025"/>
                  <a:gd name="connsiteY1272" fmla="*/ 726948 h 876300"/>
                  <a:gd name="connsiteX1273" fmla="*/ 584454 w 962025"/>
                  <a:gd name="connsiteY1273" fmla="*/ 725233 h 876300"/>
                  <a:gd name="connsiteX1274" fmla="*/ 584454 w 962025"/>
                  <a:gd name="connsiteY1274" fmla="*/ 724376 h 876300"/>
                  <a:gd name="connsiteX1275" fmla="*/ 591217 w 962025"/>
                  <a:gd name="connsiteY1275" fmla="*/ 718471 h 876300"/>
                  <a:gd name="connsiteX1276" fmla="*/ 592931 w 962025"/>
                  <a:gd name="connsiteY1276" fmla="*/ 716756 h 876300"/>
                  <a:gd name="connsiteX1277" fmla="*/ 593789 w 962025"/>
                  <a:gd name="connsiteY1277" fmla="*/ 715042 h 876300"/>
                  <a:gd name="connsiteX1278" fmla="*/ 593789 w 962025"/>
                  <a:gd name="connsiteY1278" fmla="*/ 712470 h 876300"/>
                  <a:gd name="connsiteX1279" fmla="*/ 592074 w 962025"/>
                  <a:gd name="connsiteY1279" fmla="*/ 710851 h 876300"/>
                  <a:gd name="connsiteX1280" fmla="*/ 590360 w 962025"/>
                  <a:gd name="connsiteY1280" fmla="*/ 709994 h 876300"/>
                  <a:gd name="connsiteX1281" fmla="*/ 580263 w 962025"/>
                  <a:gd name="connsiteY1281" fmla="*/ 707422 h 876300"/>
                  <a:gd name="connsiteX1282" fmla="*/ 579406 w 962025"/>
                  <a:gd name="connsiteY1282" fmla="*/ 706565 h 876300"/>
                  <a:gd name="connsiteX1283" fmla="*/ 578549 w 962025"/>
                  <a:gd name="connsiteY1283" fmla="*/ 705707 h 876300"/>
                  <a:gd name="connsiteX1284" fmla="*/ 578549 w 962025"/>
                  <a:gd name="connsiteY1284" fmla="*/ 703993 h 876300"/>
                  <a:gd name="connsiteX1285" fmla="*/ 579406 w 962025"/>
                  <a:gd name="connsiteY1285" fmla="*/ 703136 h 876300"/>
                  <a:gd name="connsiteX1286" fmla="*/ 579406 w 962025"/>
                  <a:gd name="connsiteY1286" fmla="*/ 701516 h 876300"/>
                  <a:gd name="connsiteX1287" fmla="*/ 582740 w 962025"/>
                  <a:gd name="connsiteY1287" fmla="*/ 696373 h 876300"/>
                  <a:gd name="connsiteX1288" fmla="*/ 587026 w 962025"/>
                  <a:gd name="connsiteY1288" fmla="*/ 687038 h 876300"/>
                  <a:gd name="connsiteX1289" fmla="*/ 587026 w 962025"/>
                  <a:gd name="connsiteY1289" fmla="*/ 685324 h 876300"/>
                  <a:gd name="connsiteX1290" fmla="*/ 585311 w 962025"/>
                  <a:gd name="connsiteY1290" fmla="*/ 683705 h 876300"/>
                  <a:gd name="connsiteX1291" fmla="*/ 585311 w 962025"/>
                  <a:gd name="connsiteY1291" fmla="*/ 681990 h 876300"/>
                  <a:gd name="connsiteX1292" fmla="*/ 585311 w 962025"/>
                  <a:gd name="connsiteY1292" fmla="*/ 679418 h 876300"/>
                  <a:gd name="connsiteX1293" fmla="*/ 585311 w 962025"/>
                  <a:gd name="connsiteY1293" fmla="*/ 675227 h 876300"/>
                  <a:gd name="connsiteX1294" fmla="*/ 586169 w 962025"/>
                  <a:gd name="connsiteY1294" fmla="*/ 673513 h 876300"/>
                  <a:gd name="connsiteX1295" fmla="*/ 586169 w 962025"/>
                  <a:gd name="connsiteY1295" fmla="*/ 672656 h 876300"/>
                  <a:gd name="connsiteX1296" fmla="*/ 587883 w 962025"/>
                  <a:gd name="connsiteY1296" fmla="*/ 672656 h 876300"/>
                  <a:gd name="connsiteX1297" fmla="*/ 587883 w 962025"/>
                  <a:gd name="connsiteY1297" fmla="*/ 673513 h 876300"/>
                  <a:gd name="connsiteX1298" fmla="*/ 588740 w 962025"/>
                  <a:gd name="connsiteY1298" fmla="*/ 675227 h 876300"/>
                  <a:gd name="connsiteX1299" fmla="*/ 589502 w 962025"/>
                  <a:gd name="connsiteY1299" fmla="*/ 678561 h 876300"/>
                  <a:gd name="connsiteX1300" fmla="*/ 589502 w 962025"/>
                  <a:gd name="connsiteY1300" fmla="*/ 679418 h 876300"/>
                  <a:gd name="connsiteX1301" fmla="*/ 590360 w 962025"/>
                  <a:gd name="connsiteY1301" fmla="*/ 680276 h 876300"/>
                  <a:gd name="connsiteX1302" fmla="*/ 592074 w 962025"/>
                  <a:gd name="connsiteY1302" fmla="*/ 681990 h 876300"/>
                  <a:gd name="connsiteX1303" fmla="*/ 592931 w 962025"/>
                  <a:gd name="connsiteY1303" fmla="*/ 681990 h 876300"/>
                  <a:gd name="connsiteX1304" fmla="*/ 594646 w 962025"/>
                  <a:gd name="connsiteY1304" fmla="*/ 685324 h 876300"/>
                  <a:gd name="connsiteX1305" fmla="*/ 594646 w 962025"/>
                  <a:gd name="connsiteY1305" fmla="*/ 686181 h 876300"/>
                  <a:gd name="connsiteX1306" fmla="*/ 596360 w 962025"/>
                  <a:gd name="connsiteY1306" fmla="*/ 687038 h 876300"/>
                  <a:gd name="connsiteX1307" fmla="*/ 597122 w 962025"/>
                  <a:gd name="connsiteY1307" fmla="*/ 687038 h 876300"/>
                  <a:gd name="connsiteX1308" fmla="*/ 601409 w 962025"/>
                  <a:gd name="connsiteY1308" fmla="*/ 687038 h 876300"/>
                  <a:gd name="connsiteX1309" fmla="*/ 603123 w 962025"/>
                  <a:gd name="connsiteY1309" fmla="*/ 686181 h 876300"/>
                  <a:gd name="connsiteX1310" fmla="*/ 604742 w 962025"/>
                  <a:gd name="connsiteY1310" fmla="*/ 686181 h 876300"/>
                  <a:gd name="connsiteX1311" fmla="*/ 605599 w 962025"/>
                  <a:gd name="connsiteY1311" fmla="*/ 684466 h 876300"/>
                  <a:gd name="connsiteX1312" fmla="*/ 606457 w 962025"/>
                  <a:gd name="connsiteY1312" fmla="*/ 683705 h 876300"/>
                  <a:gd name="connsiteX1313" fmla="*/ 607314 w 962025"/>
                  <a:gd name="connsiteY1313" fmla="*/ 681133 h 876300"/>
                  <a:gd name="connsiteX1314" fmla="*/ 607314 w 962025"/>
                  <a:gd name="connsiteY1314" fmla="*/ 680276 h 876300"/>
                  <a:gd name="connsiteX1315" fmla="*/ 607314 w 962025"/>
                  <a:gd name="connsiteY1315" fmla="*/ 678561 h 876300"/>
                  <a:gd name="connsiteX1316" fmla="*/ 607314 w 962025"/>
                  <a:gd name="connsiteY1316" fmla="*/ 676847 h 876300"/>
                  <a:gd name="connsiteX1317" fmla="*/ 608171 w 962025"/>
                  <a:gd name="connsiteY1317" fmla="*/ 675227 h 876300"/>
                  <a:gd name="connsiteX1318" fmla="*/ 608171 w 962025"/>
                  <a:gd name="connsiteY1318" fmla="*/ 673513 h 876300"/>
                  <a:gd name="connsiteX1319" fmla="*/ 607314 w 962025"/>
                  <a:gd name="connsiteY1319" fmla="*/ 672656 h 876300"/>
                  <a:gd name="connsiteX1320" fmla="*/ 607314 w 962025"/>
                  <a:gd name="connsiteY1320" fmla="*/ 671798 h 876300"/>
                  <a:gd name="connsiteX1321" fmla="*/ 605599 w 962025"/>
                  <a:gd name="connsiteY1321" fmla="*/ 671798 h 876300"/>
                  <a:gd name="connsiteX1322" fmla="*/ 604742 w 962025"/>
                  <a:gd name="connsiteY1322" fmla="*/ 671798 h 876300"/>
                  <a:gd name="connsiteX1323" fmla="*/ 603980 w 962025"/>
                  <a:gd name="connsiteY1323" fmla="*/ 672656 h 876300"/>
                  <a:gd name="connsiteX1324" fmla="*/ 603123 w 962025"/>
                  <a:gd name="connsiteY1324" fmla="*/ 672656 h 876300"/>
                  <a:gd name="connsiteX1325" fmla="*/ 601409 w 962025"/>
                  <a:gd name="connsiteY1325" fmla="*/ 672656 h 876300"/>
                  <a:gd name="connsiteX1326" fmla="*/ 598837 w 962025"/>
                  <a:gd name="connsiteY1326" fmla="*/ 671798 h 876300"/>
                  <a:gd name="connsiteX1327" fmla="*/ 597122 w 962025"/>
                  <a:gd name="connsiteY1327" fmla="*/ 670941 h 876300"/>
                  <a:gd name="connsiteX1328" fmla="*/ 593789 w 962025"/>
                  <a:gd name="connsiteY1328" fmla="*/ 670941 h 876300"/>
                  <a:gd name="connsiteX1329" fmla="*/ 592931 w 962025"/>
                  <a:gd name="connsiteY1329" fmla="*/ 670941 h 876300"/>
                  <a:gd name="connsiteX1330" fmla="*/ 592074 w 962025"/>
                  <a:gd name="connsiteY1330" fmla="*/ 670941 h 876300"/>
                  <a:gd name="connsiteX1331" fmla="*/ 592074 w 962025"/>
                  <a:gd name="connsiteY1331" fmla="*/ 670084 h 876300"/>
                  <a:gd name="connsiteX1332" fmla="*/ 592931 w 962025"/>
                  <a:gd name="connsiteY1332" fmla="*/ 666655 h 876300"/>
                  <a:gd name="connsiteX1333" fmla="*/ 592931 w 962025"/>
                  <a:gd name="connsiteY1333" fmla="*/ 665036 h 876300"/>
                  <a:gd name="connsiteX1334" fmla="*/ 592931 w 962025"/>
                  <a:gd name="connsiteY1334" fmla="*/ 663321 h 876300"/>
                  <a:gd name="connsiteX1335" fmla="*/ 592074 w 962025"/>
                  <a:gd name="connsiteY1335" fmla="*/ 661607 h 876300"/>
                  <a:gd name="connsiteX1336" fmla="*/ 590360 w 962025"/>
                  <a:gd name="connsiteY1336" fmla="*/ 656558 h 876300"/>
                  <a:gd name="connsiteX1337" fmla="*/ 590360 w 962025"/>
                  <a:gd name="connsiteY1337" fmla="*/ 655701 h 876300"/>
                  <a:gd name="connsiteX1338" fmla="*/ 591217 w 962025"/>
                  <a:gd name="connsiteY1338" fmla="*/ 654844 h 876300"/>
                  <a:gd name="connsiteX1339" fmla="*/ 593789 w 962025"/>
                  <a:gd name="connsiteY1339" fmla="*/ 654844 h 876300"/>
                  <a:gd name="connsiteX1340" fmla="*/ 595503 w 962025"/>
                  <a:gd name="connsiteY1340" fmla="*/ 655701 h 876300"/>
                  <a:gd name="connsiteX1341" fmla="*/ 597122 w 962025"/>
                  <a:gd name="connsiteY1341" fmla="*/ 656558 h 876300"/>
                  <a:gd name="connsiteX1342" fmla="*/ 598837 w 962025"/>
                  <a:gd name="connsiteY1342" fmla="*/ 658178 h 876300"/>
                  <a:gd name="connsiteX1343" fmla="*/ 599694 w 962025"/>
                  <a:gd name="connsiteY1343" fmla="*/ 659035 h 876300"/>
                  <a:gd name="connsiteX1344" fmla="*/ 600551 w 962025"/>
                  <a:gd name="connsiteY1344" fmla="*/ 659035 h 876300"/>
                  <a:gd name="connsiteX1345" fmla="*/ 602266 w 962025"/>
                  <a:gd name="connsiteY1345" fmla="*/ 659892 h 876300"/>
                  <a:gd name="connsiteX1346" fmla="*/ 603123 w 962025"/>
                  <a:gd name="connsiteY1346" fmla="*/ 659892 h 876300"/>
                  <a:gd name="connsiteX1347" fmla="*/ 605599 w 962025"/>
                  <a:gd name="connsiteY1347" fmla="*/ 661607 h 876300"/>
                  <a:gd name="connsiteX1348" fmla="*/ 607314 w 962025"/>
                  <a:gd name="connsiteY1348" fmla="*/ 662464 h 876300"/>
                  <a:gd name="connsiteX1349" fmla="*/ 608171 w 962025"/>
                  <a:gd name="connsiteY1349" fmla="*/ 663321 h 876300"/>
                  <a:gd name="connsiteX1350" fmla="*/ 609886 w 962025"/>
                  <a:gd name="connsiteY1350" fmla="*/ 663321 h 876300"/>
                  <a:gd name="connsiteX1351" fmla="*/ 610743 w 962025"/>
                  <a:gd name="connsiteY1351" fmla="*/ 662464 h 876300"/>
                  <a:gd name="connsiteX1352" fmla="*/ 612458 w 962025"/>
                  <a:gd name="connsiteY1352" fmla="*/ 661607 h 876300"/>
                  <a:gd name="connsiteX1353" fmla="*/ 615791 w 962025"/>
                  <a:gd name="connsiteY1353" fmla="*/ 659035 h 876300"/>
                  <a:gd name="connsiteX1354" fmla="*/ 615791 w 962025"/>
                  <a:gd name="connsiteY1354" fmla="*/ 659035 h 876300"/>
                  <a:gd name="connsiteX1355" fmla="*/ 616649 w 962025"/>
                  <a:gd name="connsiteY1355" fmla="*/ 659035 h 876300"/>
                  <a:gd name="connsiteX1356" fmla="*/ 618363 w 962025"/>
                  <a:gd name="connsiteY1356" fmla="*/ 659892 h 876300"/>
                  <a:gd name="connsiteX1357" fmla="*/ 619220 w 962025"/>
                  <a:gd name="connsiteY1357" fmla="*/ 659892 h 876300"/>
                  <a:gd name="connsiteX1358" fmla="*/ 620078 w 962025"/>
                  <a:gd name="connsiteY1358" fmla="*/ 659892 h 876300"/>
                  <a:gd name="connsiteX1359" fmla="*/ 620840 w 962025"/>
                  <a:gd name="connsiteY1359" fmla="*/ 659892 h 876300"/>
                  <a:gd name="connsiteX1360" fmla="*/ 620840 w 962025"/>
                  <a:gd name="connsiteY1360" fmla="*/ 659035 h 876300"/>
                  <a:gd name="connsiteX1361" fmla="*/ 621697 w 962025"/>
                  <a:gd name="connsiteY1361" fmla="*/ 658178 h 876300"/>
                  <a:gd name="connsiteX1362" fmla="*/ 622554 w 962025"/>
                  <a:gd name="connsiteY1362" fmla="*/ 655701 h 876300"/>
                  <a:gd name="connsiteX1363" fmla="*/ 621697 w 962025"/>
                  <a:gd name="connsiteY1363" fmla="*/ 653986 h 876300"/>
                  <a:gd name="connsiteX1364" fmla="*/ 620840 w 962025"/>
                  <a:gd name="connsiteY1364" fmla="*/ 649700 h 876300"/>
                  <a:gd name="connsiteX1365" fmla="*/ 621697 w 962025"/>
                  <a:gd name="connsiteY1365" fmla="*/ 648081 h 876300"/>
                  <a:gd name="connsiteX1366" fmla="*/ 621697 w 962025"/>
                  <a:gd name="connsiteY1366" fmla="*/ 648081 h 876300"/>
                  <a:gd name="connsiteX1367" fmla="*/ 621697 w 962025"/>
                  <a:gd name="connsiteY1367" fmla="*/ 647224 h 876300"/>
                  <a:gd name="connsiteX1368" fmla="*/ 623411 w 962025"/>
                  <a:gd name="connsiteY1368" fmla="*/ 646366 h 876300"/>
                  <a:gd name="connsiteX1369" fmla="*/ 623411 w 962025"/>
                  <a:gd name="connsiteY1369" fmla="*/ 645509 h 876300"/>
                  <a:gd name="connsiteX1370" fmla="*/ 624269 w 962025"/>
                  <a:gd name="connsiteY1370" fmla="*/ 644652 h 876300"/>
                  <a:gd name="connsiteX1371" fmla="*/ 624269 w 962025"/>
                  <a:gd name="connsiteY1371" fmla="*/ 644652 h 876300"/>
                  <a:gd name="connsiteX1372" fmla="*/ 625126 w 962025"/>
                  <a:gd name="connsiteY1372" fmla="*/ 642937 h 876300"/>
                  <a:gd name="connsiteX1373" fmla="*/ 625126 w 962025"/>
                  <a:gd name="connsiteY1373" fmla="*/ 642080 h 876300"/>
                  <a:gd name="connsiteX1374" fmla="*/ 625126 w 962025"/>
                  <a:gd name="connsiteY1374" fmla="*/ 642080 h 876300"/>
                  <a:gd name="connsiteX1375" fmla="*/ 625983 w 962025"/>
                  <a:gd name="connsiteY1375" fmla="*/ 641223 h 876300"/>
                  <a:gd name="connsiteX1376" fmla="*/ 627698 w 962025"/>
                  <a:gd name="connsiteY1376" fmla="*/ 641223 h 876300"/>
                  <a:gd name="connsiteX1377" fmla="*/ 633603 w 962025"/>
                  <a:gd name="connsiteY1377" fmla="*/ 641223 h 876300"/>
                  <a:gd name="connsiteX1378" fmla="*/ 636937 w 962025"/>
                  <a:gd name="connsiteY1378" fmla="*/ 641223 h 876300"/>
                  <a:gd name="connsiteX1379" fmla="*/ 640366 w 962025"/>
                  <a:gd name="connsiteY1379" fmla="*/ 640366 h 876300"/>
                  <a:gd name="connsiteX1380" fmla="*/ 644557 w 962025"/>
                  <a:gd name="connsiteY1380" fmla="*/ 639508 h 876300"/>
                  <a:gd name="connsiteX1381" fmla="*/ 645414 w 962025"/>
                  <a:gd name="connsiteY1381" fmla="*/ 639508 h 876300"/>
                  <a:gd name="connsiteX1382" fmla="*/ 646271 w 962025"/>
                  <a:gd name="connsiteY1382" fmla="*/ 639508 h 876300"/>
                  <a:gd name="connsiteX1383" fmla="*/ 646271 w 962025"/>
                  <a:gd name="connsiteY1383" fmla="*/ 639508 h 876300"/>
                  <a:gd name="connsiteX1384" fmla="*/ 646271 w 962025"/>
                  <a:gd name="connsiteY1384" fmla="*/ 640366 h 876300"/>
                  <a:gd name="connsiteX1385" fmla="*/ 646271 w 962025"/>
                  <a:gd name="connsiteY1385" fmla="*/ 641223 h 876300"/>
                  <a:gd name="connsiteX1386" fmla="*/ 644557 w 962025"/>
                  <a:gd name="connsiteY1386" fmla="*/ 642937 h 876300"/>
                  <a:gd name="connsiteX1387" fmla="*/ 642938 w 962025"/>
                  <a:gd name="connsiteY1387" fmla="*/ 647224 h 876300"/>
                  <a:gd name="connsiteX1388" fmla="*/ 642938 w 962025"/>
                  <a:gd name="connsiteY1388" fmla="*/ 648081 h 876300"/>
                  <a:gd name="connsiteX1389" fmla="*/ 642938 w 962025"/>
                  <a:gd name="connsiteY1389" fmla="*/ 648081 h 876300"/>
                  <a:gd name="connsiteX1390" fmla="*/ 643795 w 962025"/>
                  <a:gd name="connsiteY1390" fmla="*/ 649700 h 876300"/>
                  <a:gd name="connsiteX1391" fmla="*/ 645414 w 962025"/>
                  <a:gd name="connsiteY1391" fmla="*/ 652272 h 876300"/>
                  <a:gd name="connsiteX1392" fmla="*/ 646271 w 962025"/>
                  <a:gd name="connsiteY1392" fmla="*/ 653129 h 876300"/>
                  <a:gd name="connsiteX1393" fmla="*/ 646271 w 962025"/>
                  <a:gd name="connsiteY1393" fmla="*/ 654844 h 876300"/>
                  <a:gd name="connsiteX1394" fmla="*/ 645414 w 962025"/>
                  <a:gd name="connsiteY1394" fmla="*/ 654844 h 876300"/>
                  <a:gd name="connsiteX1395" fmla="*/ 644557 w 962025"/>
                  <a:gd name="connsiteY1395" fmla="*/ 655701 h 876300"/>
                  <a:gd name="connsiteX1396" fmla="*/ 642938 w 962025"/>
                  <a:gd name="connsiteY1396" fmla="*/ 655701 h 876300"/>
                  <a:gd name="connsiteX1397" fmla="*/ 642080 w 962025"/>
                  <a:gd name="connsiteY1397" fmla="*/ 654844 h 876300"/>
                  <a:gd name="connsiteX1398" fmla="*/ 640366 w 962025"/>
                  <a:gd name="connsiteY1398" fmla="*/ 653986 h 876300"/>
                  <a:gd name="connsiteX1399" fmla="*/ 638651 w 962025"/>
                  <a:gd name="connsiteY1399" fmla="*/ 653986 h 876300"/>
                  <a:gd name="connsiteX1400" fmla="*/ 638651 w 962025"/>
                  <a:gd name="connsiteY1400" fmla="*/ 653986 h 876300"/>
                  <a:gd name="connsiteX1401" fmla="*/ 637794 w 962025"/>
                  <a:gd name="connsiteY1401" fmla="*/ 654844 h 876300"/>
                  <a:gd name="connsiteX1402" fmla="*/ 637794 w 962025"/>
                  <a:gd name="connsiteY1402" fmla="*/ 655701 h 876300"/>
                  <a:gd name="connsiteX1403" fmla="*/ 637794 w 962025"/>
                  <a:gd name="connsiteY1403" fmla="*/ 656558 h 876300"/>
                  <a:gd name="connsiteX1404" fmla="*/ 637794 w 962025"/>
                  <a:gd name="connsiteY1404" fmla="*/ 657320 h 876300"/>
                  <a:gd name="connsiteX1405" fmla="*/ 638651 w 962025"/>
                  <a:gd name="connsiteY1405" fmla="*/ 658178 h 876300"/>
                  <a:gd name="connsiteX1406" fmla="*/ 640366 w 962025"/>
                  <a:gd name="connsiteY1406" fmla="*/ 659035 h 876300"/>
                  <a:gd name="connsiteX1407" fmla="*/ 643795 w 962025"/>
                  <a:gd name="connsiteY1407" fmla="*/ 659892 h 876300"/>
                  <a:gd name="connsiteX1408" fmla="*/ 646271 w 962025"/>
                  <a:gd name="connsiteY1408" fmla="*/ 659892 h 876300"/>
                  <a:gd name="connsiteX1409" fmla="*/ 648843 w 962025"/>
                  <a:gd name="connsiteY1409" fmla="*/ 659892 h 876300"/>
                  <a:gd name="connsiteX1410" fmla="*/ 653034 w 962025"/>
                  <a:gd name="connsiteY1410" fmla="*/ 658178 h 876300"/>
                  <a:gd name="connsiteX1411" fmla="*/ 654749 w 962025"/>
                  <a:gd name="connsiteY1411" fmla="*/ 658178 h 876300"/>
                  <a:gd name="connsiteX1412" fmla="*/ 655606 w 962025"/>
                  <a:gd name="connsiteY1412" fmla="*/ 658178 h 876300"/>
                  <a:gd name="connsiteX1413" fmla="*/ 655606 w 962025"/>
                  <a:gd name="connsiteY1413" fmla="*/ 659035 h 876300"/>
                  <a:gd name="connsiteX1414" fmla="*/ 655606 w 962025"/>
                  <a:gd name="connsiteY1414" fmla="*/ 659892 h 876300"/>
                  <a:gd name="connsiteX1415" fmla="*/ 654749 w 962025"/>
                  <a:gd name="connsiteY1415" fmla="*/ 660749 h 876300"/>
                  <a:gd name="connsiteX1416" fmla="*/ 653891 w 962025"/>
                  <a:gd name="connsiteY1416" fmla="*/ 661607 h 876300"/>
                  <a:gd name="connsiteX1417" fmla="*/ 653034 w 962025"/>
                  <a:gd name="connsiteY1417" fmla="*/ 663321 h 876300"/>
                  <a:gd name="connsiteX1418" fmla="*/ 651415 w 962025"/>
                  <a:gd name="connsiteY1418" fmla="*/ 664178 h 876300"/>
                  <a:gd name="connsiteX1419" fmla="*/ 649700 w 962025"/>
                  <a:gd name="connsiteY1419" fmla="*/ 665036 h 876300"/>
                  <a:gd name="connsiteX1420" fmla="*/ 647986 w 962025"/>
                  <a:gd name="connsiteY1420" fmla="*/ 665893 h 876300"/>
                  <a:gd name="connsiteX1421" fmla="*/ 645414 w 962025"/>
                  <a:gd name="connsiteY1421" fmla="*/ 665893 h 876300"/>
                  <a:gd name="connsiteX1422" fmla="*/ 643795 w 962025"/>
                  <a:gd name="connsiteY1422" fmla="*/ 665893 h 876300"/>
                  <a:gd name="connsiteX1423" fmla="*/ 641223 w 962025"/>
                  <a:gd name="connsiteY1423" fmla="*/ 665893 h 876300"/>
                  <a:gd name="connsiteX1424" fmla="*/ 639509 w 962025"/>
                  <a:gd name="connsiteY1424" fmla="*/ 665036 h 876300"/>
                  <a:gd name="connsiteX1425" fmla="*/ 637794 w 962025"/>
                  <a:gd name="connsiteY1425" fmla="*/ 664178 h 876300"/>
                  <a:gd name="connsiteX1426" fmla="*/ 636175 w 962025"/>
                  <a:gd name="connsiteY1426" fmla="*/ 663321 h 876300"/>
                  <a:gd name="connsiteX1427" fmla="*/ 634460 w 962025"/>
                  <a:gd name="connsiteY1427" fmla="*/ 660749 h 876300"/>
                  <a:gd name="connsiteX1428" fmla="*/ 632746 w 962025"/>
                  <a:gd name="connsiteY1428" fmla="*/ 659035 h 876300"/>
                  <a:gd name="connsiteX1429" fmla="*/ 631889 w 962025"/>
                  <a:gd name="connsiteY1429" fmla="*/ 659035 h 876300"/>
                  <a:gd name="connsiteX1430" fmla="*/ 631031 w 962025"/>
                  <a:gd name="connsiteY1430" fmla="*/ 659035 h 876300"/>
                  <a:gd name="connsiteX1431" fmla="*/ 631031 w 962025"/>
                  <a:gd name="connsiteY1431" fmla="*/ 659892 h 876300"/>
                  <a:gd name="connsiteX1432" fmla="*/ 631031 w 962025"/>
                  <a:gd name="connsiteY1432" fmla="*/ 661607 h 876300"/>
                  <a:gd name="connsiteX1433" fmla="*/ 631889 w 962025"/>
                  <a:gd name="connsiteY1433" fmla="*/ 662464 h 876300"/>
                  <a:gd name="connsiteX1434" fmla="*/ 632746 w 962025"/>
                  <a:gd name="connsiteY1434" fmla="*/ 665036 h 876300"/>
                  <a:gd name="connsiteX1435" fmla="*/ 633603 w 962025"/>
                  <a:gd name="connsiteY1435" fmla="*/ 666655 h 876300"/>
                  <a:gd name="connsiteX1436" fmla="*/ 633603 w 962025"/>
                  <a:gd name="connsiteY1436" fmla="*/ 668369 h 876300"/>
                  <a:gd name="connsiteX1437" fmla="*/ 633603 w 962025"/>
                  <a:gd name="connsiteY1437" fmla="*/ 669227 h 876300"/>
                  <a:gd name="connsiteX1438" fmla="*/ 632746 w 962025"/>
                  <a:gd name="connsiteY1438" fmla="*/ 670941 h 876300"/>
                  <a:gd name="connsiteX1439" fmla="*/ 631031 w 962025"/>
                  <a:gd name="connsiteY1439" fmla="*/ 672656 h 876300"/>
                  <a:gd name="connsiteX1440" fmla="*/ 629317 w 962025"/>
                  <a:gd name="connsiteY1440" fmla="*/ 673513 h 876300"/>
                  <a:gd name="connsiteX1441" fmla="*/ 629317 w 962025"/>
                  <a:gd name="connsiteY1441" fmla="*/ 675227 h 876300"/>
                  <a:gd name="connsiteX1442" fmla="*/ 630174 w 962025"/>
                  <a:gd name="connsiteY1442" fmla="*/ 676847 h 876300"/>
                  <a:gd name="connsiteX1443" fmla="*/ 631031 w 962025"/>
                  <a:gd name="connsiteY1443" fmla="*/ 677704 h 876300"/>
                  <a:gd name="connsiteX1444" fmla="*/ 631889 w 962025"/>
                  <a:gd name="connsiteY1444" fmla="*/ 679418 h 876300"/>
                  <a:gd name="connsiteX1445" fmla="*/ 633603 w 962025"/>
                  <a:gd name="connsiteY1445" fmla="*/ 680276 h 876300"/>
                  <a:gd name="connsiteX1446" fmla="*/ 635318 w 962025"/>
                  <a:gd name="connsiteY1446" fmla="*/ 680276 h 876300"/>
                  <a:gd name="connsiteX1447" fmla="*/ 636937 w 962025"/>
                  <a:gd name="connsiteY1447" fmla="*/ 680276 h 876300"/>
                  <a:gd name="connsiteX1448" fmla="*/ 641223 w 962025"/>
                  <a:gd name="connsiteY1448" fmla="*/ 680276 h 876300"/>
                  <a:gd name="connsiteX1449" fmla="*/ 644557 w 962025"/>
                  <a:gd name="connsiteY1449" fmla="*/ 680276 h 876300"/>
                  <a:gd name="connsiteX1450" fmla="*/ 647986 w 962025"/>
                  <a:gd name="connsiteY1450" fmla="*/ 680276 h 876300"/>
                  <a:gd name="connsiteX1451" fmla="*/ 653034 w 962025"/>
                  <a:gd name="connsiteY1451" fmla="*/ 681990 h 876300"/>
                  <a:gd name="connsiteX1452" fmla="*/ 656463 w 962025"/>
                  <a:gd name="connsiteY1452" fmla="*/ 682847 h 876300"/>
                  <a:gd name="connsiteX1453" fmla="*/ 659892 w 962025"/>
                  <a:gd name="connsiteY1453" fmla="*/ 682847 h 876300"/>
                  <a:gd name="connsiteX1454" fmla="*/ 671703 w 962025"/>
                  <a:gd name="connsiteY1454" fmla="*/ 679418 h 876300"/>
                  <a:gd name="connsiteX1455" fmla="*/ 676751 w 962025"/>
                  <a:gd name="connsiteY1455" fmla="*/ 679418 h 876300"/>
                  <a:gd name="connsiteX1456" fmla="*/ 682752 w 962025"/>
                  <a:gd name="connsiteY1456" fmla="*/ 678561 h 876300"/>
                  <a:gd name="connsiteX1457" fmla="*/ 689515 w 962025"/>
                  <a:gd name="connsiteY1457" fmla="*/ 673513 h 876300"/>
                  <a:gd name="connsiteX1458" fmla="*/ 691229 w 962025"/>
                  <a:gd name="connsiteY1458" fmla="*/ 673513 h 876300"/>
                  <a:gd name="connsiteX1459" fmla="*/ 692849 w 962025"/>
                  <a:gd name="connsiteY1459" fmla="*/ 673513 h 876300"/>
                  <a:gd name="connsiteX1460" fmla="*/ 694563 w 962025"/>
                  <a:gd name="connsiteY1460" fmla="*/ 673513 h 876300"/>
                  <a:gd name="connsiteX1461" fmla="*/ 695420 w 962025"/>
                  <a:gd name="connsiteY1461" fmla="*/ 674370 h 876300"/>
                  <a:gd name="connsiteX1462" fmla="*/ 697135 w 962025"/>
                  <a:gd name="connsiteY1462" fmla="*/ 675989 h 876300"/>
                  <a:gd name="connsiteX1463" fmla="*/ 700469 w 962025"/>
                  <a:gd name="connsiteY1463" fmla="*/ 681133 h 876300"/>
                  <a:gd name="connsiteX1464" fmla="*/ 700469 w 962025"/>
                  <a:gd name="connsiteY1464" fmla="*/ 682847 h 876300"/>
                  <a:gd name="connsiteX1465" fmla="*/ 700469 w 962025"/>
                  <a:gd name="connsiteY1465" fmla="*/ 684466 h 876300"/>
                  <a:gd name="connsiteX1466" fmla="*/ 700469 w 962025"/>
                  <a:gd name="connsiteY1466" fmla="*/ 686181 h 876300"/>
                  <a:gd name="connsiteX1467" fmla="*/ 700469 w 962025"/>
                  <a:gd name="connsiteY1467" fmla="*/ 687038 h 876300"/>
                  <a:gd name="connsiteX1468" fmla="*/ 701326 w 962025"/>
                  <a:gd name="connsiteY1468" fmla="*/ 688753 h 876300"/>
                  <a:gd name="connsiteX1469" fmla="*/ 703040 w 962025"/>
                  <a:gd name="connsiteY1469" fmla="*/ 691324 h 876300"/>
                  <a:gd name="connsiteX1470" fmla="*/ 706469 w 962025"/>
                  <a:gd name="connsiteY1470" fmla="*/ 694658 h 876300"/>
                  <a:gd name="connsiteX1471" fmla="*/ 707326 w 962025"/>
                  <a:gd name="connsiteY1471" fmla="*/ 705707 h 876300"/>
                  <a:gd name="connsiteX1472" fmla="*/ 707326 w 962025"/>
                  <a:gd name="connsiteY1472" fmla="*/ 707422 h 876300"/>
                  <a:gd name="connsiteX1473" fmla="*/ 707326 w 962025"/>
                  <a:gd name="connsiteY1473" fmla="*/ 707422 h 876300"/>
                  <a:gd name="connsiteX1474" fmla="*/ 706469 w 962025"/>
                  <a:gd name="connsiteY1474" fmla="*/ 708279 h 876300"/>
                  <a:gd name="connsiteX1475" fmla="*/ 705612 w 962025"/>
                  <a:gd name="connsiteY1475" fmla="*/ 709136 h 876300"/>
                  <a:gd name="connsiteX1476" fmla="*/ 704755 w 962025"/>
                  <a:gd name="connsiteY1476" fmla="*/ 709994 h 876300"/>
                  <a:gd name="connsiteX1477" fmla="*/ 703040 w 962025"/>
                  <a:gd name="connsiteY1477" fmla="*/ 710851 h 876300"/>
                  <a:gd name="connsiteX1478" fmla="*/ 701326 w 962025"/>
                  <a:gd name="connsiteY1478" fmla="*/ 709994 h 876300"/>
                  <a:gd name="connsiteX1479" fmla="*/ 697992 w 962025"/>
                  <a:gd name="connsiteY1479" fmla="*/ 707422 h 876300"/>
                  <a:gd name="connsiteX1480" fmla="*/ 696278 w 962025"/>
                  <a:gd name="connsiteY1480" fmla="*/ 707422 h 876300"/>
                  <a:gd name="connsiteX1481" fmla="*/ 695420 w 962025"/>
                  <a:gd name="connsiteY1481" fmla="*/ 708279 h 876300"/>
                  <a:gd name="connsiteX1482" fmla="*/ 693706 w 962025"/>
                  <a:gd name="connsiteY1482" fmla="*/ 709136 h 876300"/>
                  <a:gd name="connsiteX1483" fmla="*/ 692849 w 962025"/>
                  <a:gd name="connsiteY1483" fmla="*/ 710851 h 876300"/>
                  <a:gd name="connsiteX1484" fmla="*/ 691991 w 962025"/>
                  <a:gd name="connsiteY1484" fmla="*/ 714185 h 876300"/>
                  <a:gd name="connsiteX1485" fmla="*/ 691229 w 962025"/>
                  <a:gd name="connsiteY1485" fmla="*/ 716756 h 876300"/>
                  <a:gd name="connsiteX1486" fmla="*/ 691991 w 962025"/>
                  <a:gd name="connsiteY1486" fmla="*/ 717614 h 876300"/>
                  <a:gd name="connsiteX1487" fmla="*/ 692849 w 962025"/>
                  <a:gd name="connsiteY1487" fmla="*/ 719328 h 876300"/>
                  <a:gd name="connsiteX1488" fmla="*/ 692849 w 962025"/>
                  <a:gd name="connsiteY1488" fmla="*/ 724376 h 876300"/>
                  <a:gd name="connsiteX1489" fmla="*/ 693706 w 962025"/>
                  <a:gd name="connsiteY1489" fmla="*/ 726091 h 876300"/>
                  <a:gd name="connsiteX1490" fmla="*/ 694563 w 962025"/>
                  <a:gd name="connsiteY1490" fmla="*/ 726948 h 876300"/>
                  <a:gd name="connsiteX1491" fmla="*/ 695420 w 962025"/>
                  <a:gd name="connsiteY1491" fmla="*/ 727805 h 876300"/>
                  <a:gd name="connsiteX1492" fmla="*/ 697135 w 962025"/>
                  <a:gd name="connsiteY1492" fmla="*/ 727805 h 876300"/>
                  <a:gd name="connsiteX1493" fmla="*/ 697992 w 962025"/>
                  <a:gd name="connsiteY1493" fmla="*/ 728662 h 876300"/>
                  <a:gd name="connsiteX1494" fmla="*/ 698849 w 962025"/>
                  <a:gd name="connsiteY1494" fmla="*/ 729424 h 876300"/>
                  <a:gd name="connsiteX1495" fmla="*/ 698849 w 962025"/>
                  <a:gd name="connsiteY1495" fmla="*/ 730282 h 876300"/>
                  <a:gd name="connsiteX1496" fmla="*/ 699611 w 962025"/>
                  <a:gd name="connsiteY1496" fmla="*/ 731996 h 876300"/>
                  <a:gd name="connsiteX1497" fmla="*/ 698849 w 962025"/>
                  <a:gd name="connsiteY1497" fmla="*/ 734568 h 876300"/>
                  <a:gd name="connsiteX1498" fmla="*/ 697992 w 962025"/>
                  <a:gd name="connsiteY1498" fmla="*/ 737140 h 876300"/>
                  <a:gd name="connsiteX1499" fmla="*/ 694563 w 962025"/>
                  <a:gd name="connsiteY1499" fmla="*/ 742188 h 876300"/>
                  <a:gd name="connsiteX1500" fmla="*/ 692849 w 962025"/>
                  <a:gd name="connsiteY1500" fmla="*/ 744760 h 876300"/>
                  <a:gd name="connsiteX1501" fmla="*/ 692849 w 962025"/>
                  <a:gd name="connsiteY1501" fmla="*/ 746474 h 876300"/>
                  <a:gd name="connsiteX1502" fmla="*/ 693706 w 962025"/>
                  <a:gd name="connsiteY1502" fmla="*/ 748951 h 876300"/>
                  <a:gd name="connsiteX1503" fmla="*/ 694563 w 962025"/>
                  <a:gd name="connsiteY1503" fmla="*/ 750665 h 876300"/>
                  <a:gd name="connsiteX1504" fmla="*/ 699611 w 962025"/>
                  <a:gd name="connsiteY1504" fmla="*/ 753237 h 876300"/>
                  <a:gd name="connsiteX1505" fmla="*/ 699611 w 962025"/>
                  <a:gd name="connsiteY1505" fmla="*/ 754094 h 876300"/>
                  <a:gd name="connsiteX1506" fmla="*/ 699611 w 962025"/>
                  <a:gd name="connsiteY1506" fmla="*/ 755809 h 876300"/>
                  <a:gd name="connsiteX1507" fmla="*/ 697992 w 962025"/>
                  <a:gd name="connsiteY1507" fmla="*/ 757428 h 876300"/>
                  <a:gd name="connsiteX1508" fmla="*/ 695420 w 962025"/>
                  <a:gd name="connsiteY1508" fmla="*/ 760857 h 876300"/>
                  <a:gd name="connsiteX1509" fmla="*/ 693706 w 962025"/>
                  <a:gd name="connsiteY1509" fmla="*/ 763429 h 876300"/>
                  <a:gd name="connsiteX1510" fmla="*/ 692849 w 962025"/>
                  <a:gd name="connsiteY1510" fmla="*/ 765143 h 876300"/>
                  <a:gd name="connsiteX1511" fmla="*/ 691991 w 962025"/>
                  <a:gd name="connsiteY1511" fmla="*/ 765905 h 876300"/>
                  <a:gd name="connsiteX1512" fmla="*/ 691229 w 962025"/>
                  <a:gd name="connsiteY1512" fmla="*/ 767620 h 876300"/>
                  <a:gd name="connsiteX1513" fmla="*/ 691229 w 962025"/>
                  <a:gd name="connsiteY1513" fmla="*/ 767620 h 876300"/>
                  <a:gd name="connsiteX1514" fmla="*/ 690372 w 962025"/>
                  <a:gd name="connsiteY1514" fmla="*/ 766762 h 876300"/>
                  <a:gd name="connsiteX1515" fmla="*/ 689515 w 962025"/>
                  <a:gd name="connsiteY1515" fmla="*/ 766762 h 876300"/>
                  <a:gd name="connsiteX1516" fmla="*/ 686943 w 962025"/>
                  <a:gd name="connsiteY1516" fmla="*/ 765143 h 876300"/>
                  <a:gd name="connsiteX1517" fmla="*/ 686086 w 962025"/>
                  <a:gd name="connsiteY1517" fmla="*/ 764286 h 876300"/>
                  <a:gd name="connsiteX1518" fmla="*/ 685229 w 962025"/>
                  <a:gd name="connsiteY1518" fmla="*/ 764286 h 876300"/>
                  <a:gd name="connsiteX1519" fmla="*/ 681895 w 962025"/>
                  <a:gd name="connsiteY1519" fmla="*/ 767620 h 876300"/>
                  <a:gd name="connsiteX1520" fmla="*/ 680180 w 962025"/>
                  <a:gd name="connsiteY1520" fmla="*/ 767620 h 876300"/>
                  <a:gd name="connsiteX1521" fmla="*/ 679323 w 962025"/>
                  <a:gd name="connsiteY1521" fmla="*/ 767620 h 876300"/>
                  <a:gd name="connsiteX1522" fmla="*/ 677609 w 962025"/>
                  <a:gd name="connsiteY1522" fmla="*/ 767620 h 876300"/>
                  <a:gd name="connsiteX1523" fmla="*/ 676751 w 962025"/>
                  <a:gd name="connsiteY1523" fmla="*/ 765905 h 876300"/>
                  <a:gd name="connsiteX1524" fmla="*/ 675894 w 962025"/>
                  <a:gd name="connsiteY1524" fmla="*/ 765905 h 876300"/>
                  <a:gd name="connsiteX1525" fmla="*/ 674275 w 962025"/>
                  <a:gd name="connsiteY1525" fmla="*/ 765143 h 876300"/>
                  <a:gd name="connsiteX1526" fmla="*/ 673418 w 962025"/>
                  <a:gd name="connsiteY1526" fmla="*/ 765143 h 876300"/>
                  <a:gd name="connsiteX1527" fmla="*/ 671703 w 962025"/>
                  <a:gd name="connsiteY1527" fmla="*/ 763429 h 876300"/>
                  <a:gd name="connsiteX1528" fmla="*/ 669989 w 962025"/>
                  <a:gd name="connsiteY1528" fmla="*/ 762572 h 876300"/>
                  <a:gd name="connsiteX1529" fmla="*/ 669131 w 962025"/>
                  <a:gd name="connsiteY1529" fmla="*/ 762572 h 876300"/>
                  <a:gd name="connsiteX1530" fmla="*/ 668274 w 962025"/>
                  <a:gd name="connsiteY1530" fmla="*/ 762572 h 876300"/>
                  <a:gd name="connsiteX1531" fmla="*/ 667512 w 962025"/>
                  <a:gd name="connsiteY1531" fmla="*/ 763429 h 876300"/>
                  <a:gd name="connsiteX1532" fmla="*/ 665798 w 962025"/>
                  <a:gd name="connsiteY1532" fmla="*/ 765905 h 876300"/>
                  <a:gd name="connsiteX1533" fmla="*/ 664083 w 962025"/>
                  <a:gd name="connsiteY1533" fmla="*/ 768477 h 876300"/>
                  <a:gd name="connsiteX1534" fmla="*/ 664083 w 962025"/>
                  <a:gd name="connsiteY1534" fmla="*/ 770191 h 876300"/>
                  <a:gd name="connsiteX1535" fmla="*/ 664940 w 962025"/>
                  <a:gd name="connsiteY1535" fmla="*/ 774382 h 876300"/>
                  <a:gd name="connsiteX1536" fmla="*/ 665798 w 962025"/>
                  <a:gd name="connsiteY1536" fmla="*/ 776954 h 876300"/>
                  <a:gd name="connsiteX1537" fmla="*/ 666655 w 962025"/>
                  <a:gd name="connsiteY1537" fmla="*/ 777811 h 876300"/>
                  <a:gd name="connsiteX1538" fmla="*/ 668274 w 962025"/>
                  <a:gd name="connsiteY1538" fmla="*/ 778669 h 876300"/>
                  <a:gd name="connsiteX1539" fmla="*/ 674275 w 962025"/>
                  <a:gd name="connsiteY1539" fmla="*/ 782098 h 876300"/>
                  <a:gd name="connsiteX1540" fmla="*/ 675132 w 962025"/>
                  <a:gd name="connsiteY1540" fmla="*/ 783717 h 876300"/>
                  <a:gd name="connsiteX1541" fmla="*/ 675894 w 962025"/>
                  <a:gd name="connsiteY1541" fmla="*/ 784574 h 876300"/>
                  <a:gd name="connsiteX1542" fmla="*/ 675894 w 962025"/>
                  <a:gd name="connsiteY1542" fmla="*/ 787146 h 876300"/>
                  <a:gd name="connsiteX1543" fmla="*/ 676751 w 962025"/>
                  <a:gd name="connsiteY1543" fmla="*/ 789718 h 876300"/>
                  <a:gd name="connsiteX1544" fmla="*/ 681038 w 962025"/>
                  <a:gd name="connsiteY1544" fmla="*/ 789718 h 876300"/>
                  <a:gd name="connsiteX1545" fmla="*/ 682752 w 962025"/>
                  <a:gd name="connsiteY1545" fmla="*/ 790575 h 876300"/>
                  <a:gd name="connsiteX1546" fmla="*/ 684371 w 962025"/>
                  <a:gd name="connsiteY1546" fmla="*/ 790575 h 876300"/>
                  <a:gd name="connsiteX1547" fmla="*/ 686086 w 962025"/>
                  <a:gd name="connsiteY1547" fmla="*/ 792290 h 876300"/>
                  <a:gd name="connsiteX1548" fmla="*/ 686943 w 962025"/>
                  <a:gd name="connsiteY1548" fmla="*/ 793052 h 876300"/>
                  <a:gd name="connsiteX1549" fmla="*/ 687800 w 962025"/>
                  <a:gd name="connsiteY1549" fmla="*/ 792290 h 876300"/>
                  <a:gd name="connsiteX1550" fmla="*/ 688658 w 962025"/>
                  <a:gd name="connsiteY1550" fmla="*/ 791432 h 876300"/>
                  <a:gd name="connsiteX1551" fmla="*/ 688658 w 962025"/>
                  <a:gd name="connsiteY1551" fmla="*/ 789718 h 876300"/>
                  <a:gd name="connsiteX1552" fmla="*/ 688658 w 962025"/>
                  <a:gd name="connsiteY1552" fmla="*/ 788861 h 876300"/>
                  <a:gd name="connsiteX1553" fmla="*/ 689515 w 962025"/>
                  <a:gd name="connsiteY1553" fmla="*/ 788003 h 876300"/>
                  <a:gd name="connsiteX1554" fmla="*/ 690372 w 962025"/>
                  <a:gd name="connsiteY1554" fmla="*/ 784574 h 876300"/>
                  <a:gd name="connsiteX1555" fmla="*/ 691229 w 962025"/>
                  <a:gd name="connsiteY1555" fmla="*/ 783717 h 876300"/>
                  <a:gd name="connsiteX1556" fmla="*/ 691229 w 962025"/>
                  <a:gd name="connsiteY1556" fmla="*/ 782098 h 876300"/>
                  <a:gd name="connsiteX1557" fmla="*/ 690372 w 962025"/>
                  <a:gd name="connsiteY1557" fmla="*/ 779526 h 876300"/>
                  <a:gd name="connsiteX1558" fmla="*/ 690372 w 962025"/>
                  <a:gd name="connsiteY1558" fmla="*/ 778669 h 876300"/>
                  <a:gd name="connsiteX1559" fmla="*/ 690372 w 962025"/>
                  <a:gd name="connsiteY1559" fmla="*/ 777811 h 876300"/>
                  <a:gd name="connsiteX1560" fmla="*/ 691229 w 962025"/>
                  <a:gd name="connsiteY1560" fmla="*/ 777811 h 876300"/>
                  <a:gd name="connsiteX1561" fmla="*/ 691991 w 962025"/>
                  <a:gd name="connsiteY1561" fmla="*/ 776954 h 876300"/>
                  <a:gd name="connsiteX1562" fmla="*/ 692849 w 962025"/>
                  <a:gd name="connsiteY1562" fmla="*/ 777811 h 876300"/>
                  <a:gd name="connsiteX1563" fmla="*/ 694563 w 962025"/>
                  <a:gd name="connsiteY1563" fmla="*/ 778669 h 876300"/>
                  <a:gd name="connsiteX1564" fmla="*/ 695420 w 962025"/>
                  <a:gd name="connsiteY1564" fmla="*/ 780383 h 876300"/>
                  <a:gd name="connsiteX1565" fmla="*/ 696278 w 962025"/>
                  <a:gd name="connsiteY1565" fmla="*/ 781240 h 876300"/>
                  <a:gd name="connsiteX1566" fmla="*/ 697992 w 962025"/>
                  <a:gd name="connsiteY1566" fmla="*/ 781240 h 876300"/>
                  <a:gd name="connsiteX1567" fmla="*/ 700469 w 962025"/>
                  <a:gd name="connsiteY1567" fmla="*/ 781240 h 876300"/>
                  <a:gd name="connsiteX1568" fmla="*/ 703898 w 962025"/>
                  <a:gd name="connsiteY1568" fmla="*/ 778669 h 876300"/>
                  <a:gd name="connsiteX1569" fmla="*/ 709803 w 962025"/>
                  <a:gd name="connsiteY1569" fmla="*/ 776954 h 876300"/>
                  <a:gd name="connsiteX1570" fmla="*/ 718280 w 962025"/>
                  <a:gd name="connsiteY1570" fmla="*/ 772763 h 876300"/>
                  <a:gd name="connsiteX1571" fmla="*/ 719138 w 962025"/>
                  <a:gd name="connsiteY1571" fmla="*/ 771906 h 876300"/>
                  <a:gd name="connsiteX1572" fmla="*/ 719995 w 962025"/>
                  <a:gd name="connsiteY1572" fmla="*/ 770191 h 876300"/>
                  <a:gd name="connsiteX1573" fmla="*/ 720852 w 962025"/>
                  <a:gd name="connsiteY1573" fmla="*/ 769334 h 876300"/>
                  <a:gd name="connsiteX1574" fmla="*/ 720852 w 962025"/>
                  <a:gd name="connsiteY1574" fmla="*/ 767620 h 876300"/>
                  <a:gd name="connsiteX1575" fmla="*/ 720852 w 962025"/>
                  <a:gd name="connsiteY1575" fmla="*/ 767620 h 876300"/>
                  <a:gd name="connsiteX1576" fmla="*/ 720852 w 962025"/>
                  <a:gd name="connsiteY1576" fmla="*/ 767620 h 876300"/>
                  <a:gd name="connsiteX1577" fmla="*/ 720852 w 962025"/>
                  <a:gd name="connsiteY1577" fmla="*/ 766762 h 876300"/>
                  <a:gd name="connsiteX1578" fmla="*/ 719138 w 962025"/>
                  <a:gd name="connsiteY1578" fmla="*/ 765143 h 876300"/>
                  <a:gd name="connsiteX1579" fmla="*/ 719138 w 962025"/>
                  <a:gd name="connsiteY1579" fmla="*/ 764286 h 876300"/>
                  <a:gd name="connsiteX1580" fmla="*/ 719138 w 962025"/>
                  <a:gd name="connsiteY1580" fmla="*/ 762572 h 876300"/>
                  <a:gd name="connsiteX1581" fmla="*/ 720852 w 962025"/>
                  <a:gd name="connsiteY1581" fmla="*/ 760857 h 876300"/>
                  <a:gd name="connsiteX1582" fmla="*/ 730187 w 962025"/>
                  <a:gd name="connsiteY1582" fmla="*/ 755809 h 876300"/>
                  <a:gd name="connsiteX1583" fmla="*/ 733520 w 962025"/>
                  <a:gd name="connsiteY1583" fmla="*/ 751523 h 876300"/>
                  <a:gd name="connsiteX1584" fmla="*/ 734378 w 962025"/>
                  <a:gd name="connsiteY1584" fmla="*/ 748951 h 876300"/>
                  <a:gd name="connsiteX1585" fmla="*/ 734378 w 962025"/>
                  <a:gd name="connsiteY1585" fmla="*/ 748094 h 876300"/>
                  <a:gd name="connsiteX1586" fmla="*/ 733520 w 962025"/>
                  <a:gd name="connsiteY1586" fmla="*/ 745617 h 876300"/>
                  <a:gd name="connsiteX1587" fmla="*/ 733520 w 962025"/>
                  <a:gd name="connsiteY1587" fmla="*/ 743903 h 876300"/>
                  <a:gd name="connsiteX1588" fmla="*/ 734378 w 962025"/>
                  <a:gd name="connsiteY1588" fmla="*/ 739616 h 876300"/>
                  <a:gd name="connsiteX1589" fmla="*/ 734378 w 962025"/>
                  <a:gd name="connsiteY1589" fmla="*/ 737140 h 876300"/>
                  <a:gd name="connsiteX1590" fmla="*/ 734378 w 962025"/>
                  <a:gd name="connsiteY1590" fmla="*/ 736282 h 876300"/>
                  <a:gd name="connsiteX1591" fmla="*/ 734378 w 962025"/>
                  <a:gd name="connsiteY1591" fmla="*/ 733711 h 876300"/>
                  <a:gd name="connsiteX1592" fmla="*/ 734378 w 962025"/>
                  <a:gd name="connsiteY1592" fmla="*/ 729424 h 876300"/>
                  <a:gd name="connsiteX1593" fmla="*/ 735235 w 962025"/>
                  <a:gd name="connsiteY1593" fmla="*/ 728662 h 876300"/>
                  <a:gd name="connsiteX1594" fmla="*/ 736092 w 962025"/>
                  <a:gd name="connsiteY1594" fmla="*/ 727805 h 876300"/>
                  <a:gd name="connsiteX1595" fmla="*/ 736949 w 962025"/>
                  <a:gd name="connsiteY1595" fmla="*/ 726948 h 876300"/>
                  <a:gd name="connsiteX1596" fmla="*/ 737807 w 962025"/>
                  <a:gd name="connsiteY1596" fmla="*/ 726091 h 876300"/>
                  <a:gd name="connsiteX1597" fmla="*/ 740283 w 962025"/>
                  <a:gd name="connsiteY1597" fmla="*/ 725233 h 876300"/>
                  <a:gd name="connsiteX1598" fmla="*/ 741140 w 962025"/>
                  <a:gd name="connsiteY1598" fmla="*/ 725233 h 876300"/>
                  <a:gd name="connsiteX1599" fmla="*/ 741998 w 962025"/>
                  <a:gd name="connsiteY1599" fmla="*/ 725233 h 876300"/>
                  <a:gd name="connsiteX1600" fmla="*/ 741998 w 962025"/>
                  <a:gd name="connsiteY1600" fmla="*/ 726091 h 876300"/>
                  <a:gd name="connsiteX1601" fmla="*/ 741998 w 962025"/>
                  <a:gd name="connsiteY1601" fmla="*/ 726948 h 876300"/>
                  <a:gd name="connsiteX1602" fmla="*/ 741998 w 962025"/>
                  <a:gd name="connsiteY1602" fmla="*/ 728662 h 876300"/>
                  <a:gd name="connsiteX1603" fmla="*/ 741998 w 962025"/>
                  <a:gd name="connsiteY1603" fmla="*/ 729424 h 876300"/>
                  <a:gd name="connsiteX1604" fmla="*/ 741998 w 962025"/>
                  <a:gd name="connsiteY1604" fmla="*/ 730282 h 876300"/>
                  <a:gd name="connsiteX1605" fmla="*/ 741998 w 962025"/>
                  <a:gd name="connsiteY1605" fmla="*/ 731139 h 876300"/>
                  <a:gd name="connsiteX1606" fmla="*/ 743712 w 962025"/>
                  <a:gd name="connsiteY1606" fmla="*/ 731996 h 876300"/>
                  <a:gd name="connsiteX1607" fmla="*/ 744569 w 962025"/>
                  <a:gd name="connsiteY1607" fmla="*/ 732853 h 876300"/>
                  <a:gd name="connsiteX1608" fmla="*/ 746284 w 962025"/>
                  <a:gd name="connsiteY1608" fmla="*/ 733711 h 876300"/>
                  <a:gd name="connsiteX1609" fmla="*/ 748760 w 962025"/>
                  <a:gd name="connsiteY1609" fmla="*/ 733711 h 876300"/>
                  <a:gd name="connsiteX1610" fmla="*/ 752189 w 962025"/>
                  <a:gd name="connsiteY1610" fmla="*/ 732853 h 876300"/>
                  <a:gd name="connsiteX1611" fmla="*/ 754761 w 962025"/>
                  <a:gd name="connsiteY1611" fmla="*/ 733711 h 876300"/>
                  <a:gd name="connsiteX1612" fmla="*/ 760667 w 962025"/>
                  <a:gd name="connsiteY1612" fmla="*/ 735425 h 876300"/>
                  <a:gd name="connsiteX1613" fmla="*/ 763143 w 962025"/>
                  <a:gd name="connsiteY1613" fmla="*/ 736282 h 876300"/>
                  <a:gd name="connsiteX1614" fmla="*/ 765715 w 962025"/>
                  <a:gd name="connsiteY1614" fmla="*/ 736282 h 876300"/>
                  <a:gd name="connsiteX1615" fmla="*/ 771620 w 962025"/>
                  <a:gd name="connsiteY1615" fmla="*/ 735425 h 876300"/>
                  <a:gd name="connsiteX1616" fmla="*/ 772478 w 962025"/>
                  <a:gd name="connsiteY1616" fmla="*/ 735425 h 876300"/>
                  <a:gd name="connsiteX1617" fmla="*/ 774192 w 962025"/>
                  <a:gd name="connsiteY1617" fmla="*/ 737140 h 876300"/>
                  <a:gd name="connsiteX1618" fmla="*/ 774192 w 962025"/>
                  <a:gd name="connsiteY1618" fmla="*/ 737997 h 876300"/>
                  <a:gd name="connsiteX1619" fmla="*/ 775049 w 962025"/>
                  <a:gd name="connsiteY1619" fmla="*/ 740474 h 876300"/>
                  <a:gd name="connsiteX1620" fmla="*/ 775907 w 962025"/>
                  <a:gd name="connsiteY1620" fmla="*/ 741331 h 876300"/>
                  <a:gd name="connsiteX1621" fmla="*/ 776764 w 962025"/>
                  <a:gd name="connsiteY1621" fmla="*/ 742188 h 876300"/>
                  <a:gd name="connsiteX1622" fmla="*/ 777621 w 962025"/>
                  <a:gd name="connsiteY1622" fmla="*/ 742188 h 876300"/>
                  <a:gd name="connsiteX1623" fmla="*/ 779240 w 962025"/>
                  <a:gd name="connsiteY1623" fmla="*/ 742188 h 876300"/>
                  <a:gd name="connsiteX1624" fmla="*/ 780955 w 962025"/>
                  <a:gd name="connsiteY1624" fmla="*/ 741331 h 876300"/>
                  <a:gd name="connsiteX1625" fmla="*/ 781812 w 962025"/>
                  <a:gd name="connsiteY1625" fmla="*/ 740474 h 876300"/>
                  <a:gd name="connsiteX1626" fmla="*/ 782669 w 962025"/>
                  <a:gd name="connsiteY1626" fmla="*/ 739616 h 876300"/>
                  <a:gd name="connsiteX1627" fmla="*/ 783526 w 962025"/>
                  <a:gd name="connsiteY1627" fmla="*/ 735425 h 876300"/>
                  <a:gd name="connsiteX1628" fmla="*/ 784384 w 962025"/>
                  <a:gd name="connsiteY1628" fmla="*/ 734568 h 876300"/>
                  <a:gd name="connsiteX1629" fmla="*/ 785241 w 962025"/>
                  <a:gd name="connsiteY1629" fmla="*/ 733711 h 876300"/>
                  <a:gd name="connsiteX1630" fmla="*/ 786860 w 962025"/>
                  <a:gd name="connsiteY1630" fmla="*/ 732853 h 876300"/>
                  <a:gd name="connsiteX1631" fmla="*/ 789432 w 962025"/>
                  <a:gd name="connsiteY1631" fmla="*/ 731139 h 876300"/>
                  <a:gd name="connsiteX1632" fmla="*/ 792861 w 962025"/>
                  <a:gd name="connsiteY1632" fmla="*/ 730282 h 876300"/>
                  <a:gd name="connsiteX1633" fmla="*/ 793718 w 962025"/>
                  <a:gd name="connsiteY1633" fmla="*/ 730282 h 876300"/>
                  <a:gd name="connsiteX1634" fmla="*/ 795338 w 962025"/>
                  <a:gd name="connsiteY1634" fmla="*/ 730282 h 876300"/>
                  <a:gd name="connsiteX1635" fmla="*/ 795338 w 962025"/>
                  <a:gd name="connsiteY1635" fmla="*/ 731996 h 876300"/>
                  <a:gd name="connsiteX1636" fmla="*/ 795338 w 962025"/>
                  <a:gd name="connsiteY1636" fmla="*/ 732853 h 876300"/>
                  <a:gd name="connsiteX1637" fmla="*/ 794480 w 962025"/>
                  <a:gd name="connsiteY1637" fmla="*/ 734568 h 876300"/>
                  <a:gd name="connsiteX1638" fmla="*/ 793718 w 962025"/>
                  <a:gd name="connsiteY1638" fmla="*/ 736282 h 876300"/>
                  <a:gd name="connsiteX1639" fmla="*/ 792861 w 962025"/>
                  <a:gd name="connsiteY1639" fmla="*/ 737140 h 876300"/>
                  <a:gd name="connsiteX1640" fmla="*/ 792861 w 962025"/>
                  <a:gd name="connsiteY1640" fmla="*/ 737997 h 876300"/>
                  <a:gd name="connsiteX1641" fmla="*/ 793718 w 962025"/>
                  <a:gd name="connsiteY1641" fmla="*/ 738759 h 876300"/>
                  <a:gd name="connsiteX1642" fmla="*/ 794480 w 962025"/>
                  <a:gd name="connsiteY1642" fmla="*/ 740474 h 876300"/>
                  <a:gd name="connsiteX1643" fmla="*/ 801338 w 962025"/>
                  <a:gd name="connsiteY1643" fmla="*/ 744760 h 876300"/>
                  <a:gd name="connsiteX1644" fmla="*/ 802958 w 962025"/>
                  <a:gd name="connsiteY1644" fmla="*/ 746474 h 876300"/>
                  <a:gd name="connsiteX1645" fmla="*/ 805529 w 962025"/>
                  <a:gd name="connsiteY1645" fmla="*/ 748094 h 876300"/>
                  <a:gd name="connsiteX1646" fmla="*/ 808958 w 962025"/>
                  <a:gd name="connsiteY1646" fmla="*/ 748094 h 876300"/>
                  <a:gd name="connsiteX1647" fmla="*/ 810578 w 962025"/>
                  <a:gd name="connsiteY1647" fmla="*/ 746474 h 876300"/>
                  <a:gd name="connsiteX1648" fmla="*/ 811435 w 962025"/>
                  <a:gd name="connsiteY1648" fmla="*/ 746474 h 876300"/>
                  <a:gd name="connsiteX1649" fmla="*/ 812292 w 962025"/>
                  <a:gd name="connsiteY1649" fmla="*/ 746474 h 876300"/>
                  <a:gd name="connsiteX1650" fmla="*/ 814007 w 962025"/>
                  <a:gd name="connsiteY1650" fmla="*/ 746474 h 876300"/>
                  <a:gd name="connsiteX1651" fmla="*/ 814864 w 962025"/>
                  <a:gd name="connsiteY1651" fmla="*/ 746474 h 876300"/>
                  <a:gd name="connsiteX1652" fmla="*/ 816578 w 962025"/>
                  <a:gd name="connsiteY1652" fmla="*/ 746474 h 876300"/>
                  <a:gd name="connsiteX1653" fmla="*/ 817436 w 962025"/>
                  <a:gd name="connsiteY1653" fmla="*/ 745617 h 876300"/>
                  <a:gd name="connsiteX1654" fmla="*/ 817436 w 962025"/>
                  <a:gd name="connsiteY1654" fmla="*/ 744760 h 876300"/>
                  <a:gd name="connsiteX1655" fmla="*/ 818198 w 962025"/>
                  <a:gd name="connsiteY1655" fmla="*/ 743045 h 876300"/>
                  <a:gd name="connsiteX1656" fmla="*/ 819055 w 962025"/>
                  <a:gd name="connsiteY1656" fmla="*/ 741331 h 876300"/>
                  <a:gd name="connsiteX1657" fmla="*/ 819055 w 962025"/>
                  <a:gd name="connsiteY1657" fmla="*/ 740474 h 876300"/>
                  <a:gd name="connsiteX1658" fmla="*/ 819912 w 962025"/>
                  <a:gd name="connsiteY1658" fmla="*/ 739616 h 876300"/>
                  <a:gd name="connsiteX1659" fmla="*/ 819055 w 962025"/>
                  <a:gd name="connsiteY1659" fmla="*/ 737997 h 876300"/>
                  <a:gd name="connsiteX1660" fmla="*/ 818198 w 962025"/>
                  <a:gd name="connsiteY1660" fmla="*/ 736282 h 876300"/>
                  <a:gd name="connsiteX1661" fmla="*/ 812292 w 962025"/>
                  <a:gd name="connsiteY1661" fmla="*/ 729424 h 876300"/>
                  <a:gd name="connsiteX1662" fmla="*/ 811435 w 962025"/>
                  <a:gd name="connsiteY1662" fmla="*/ 726948 h 876300"/>
                  <a:gd name="connsiteX1663" fmla="*/ 810578 w 962025"/>
                  <a:gd name="connsiteY1663" fmla="*/ 724376 h 876300"/>
                  <a:gd name="connsiteX1664" fmla="*/ 811435 w 962025"/>
                  <a:gd name="connsiteY1664" fmla="*/ 715899 h 876300"/>
                  <a:gd name="connsiteX1665" fmla="*/ 810578 w 962025"/>
                  <a:gd name="connsiteY1665" fmla="*/ 712470 h 876300"/>
                  <a:gd name="connsiteX1666" fmla="*/ 809816 w 962025"/>
                  <a:gd name="connsiteY1666" fmla="*/ 711613 h 876300"/>
                  <a:gd name="connsiteX1667" fmla="*/ 809816 w 962025"/>
                  <a:gd name="connsiteY1667" fmla="*/ 710851 h 876300"/>
                  <a:gd name="connsiteX1668" fmla="*/ 809816 w 962025"/>
                  <a:gd name="connsiteY1668" fmla="*/ 709994 h 876300"/>
                  <a:gd name="connsiteX1669" fmla="*/ 810578 w 962025"/>
                  <a:gd name="connsiteY1669" fmla="*/ 706565 h 876300"/>
                  <a:gd name="connsiteX1670" fmla="*/ 810578 w 962025"/>
                  <a:gd name="connsiteY1670" fmla="*/ 706565 h 876300"/>
                  <a:gd name="connsiteX1671" fmla="*/ 810578 w 962025"/>
                  <a:gd name="connsiteY1671" fmla="*/ 705707 h 876300"/>
                  <a:gd name="connsiteX1672" fmla="*/ 810578 w 962025"/>
                  <a:gd name="connsiteY1672" fmla="*/ 704850 h 876300"/>
                  <a:gd name="connsiteX1673" fmla="*/ 809816 w 962025"/>
                  <a:gd name="connsiteY1673" fmla="*/ 700659 h 876300"/>
                  <a:gd name="connsiteX1674" fmla="*/ 809816 w 962025"/>
                  <a:gd name="connsiteY1674" fmla="*/ 698945 h 876300"/>
                  <a:gd name="connsiteX1675" fmla="*/ 810578 w 962025"/>
                  <a:gd name="connsiteY1675" fmla="*/ 698087 h 876300"/>
                  <a:gd name="connsiteX1676" fmla="*/ 811435 w 962025"/>
                  <a:gd name="connsiteY1676" fmla="*/ 698087 h 876300"/>
                  <a:gd name="connsiteX1677" fmla="*/ 812292 w 962025"/>
                  <a:gd name="connsiteY1677" fmla="*/ 698087 h 876300"/>
                  <a:gd name="connsiteX1678" fmla="*/ 813149 w 962025"/>
                  <a:gd name="connsiteY1678" fmla="*/ 698087 h 876300"/>
                  <a:gd name="connsiteX1679" fmla="*/ 814007 w 962025"/>
                  <a:gd name="connsiteY1679" fmla="*/ 698087 h 876300"/>
                  <a:gd name="connsiteX1680" fmla="*/ 814864 w 962025"/>
                  <a:gd name="connsiteY1680" fmla="*/ 698945 h 876300"/>
                  <a:gd name="connsiteX1681" fmla="*/ 815721 w 962025"/>
                  <a:gd name="connsiteY1681" fmla="*/ 698945 h 876300"/>
                  <a:gd name="connsiteX1682" fmla="*/ 817436 w 962025"/>
                  <a:gd name="connsiteY1682" fmla="*/ 698945 h 876300"/>
                  <a:gd name="connsiteX1683" fmla="*/ 817436 w 962025"/>
                  <a:gd name="connsiteY1683" fmla="*/ 698945 h 876300"/>
                  <a:gd name="connsiteX1684" fmla="*/ 818198 w 962025"/>
                  <a:gd name="connsiteY1684" fmla="*/ 699802 h 876300"/>
                  <a:gd name="connsiteX1685" fmla="*/ 819055 w 962025"/>
                  <a:gd name="connsiteY1685" fmla="*/ 700659 h 876300"/>
                  <a:gd name="connsiteX1686" fmla="*/ 819055 w 962025"/>
                  <a:gd name="connsiteY1686" fmla="*/ 700659 h 876300"/>
                  <a:gd name="connsiteX1687" fmla="*/ 819912 w 962025"/>
                  <a:gd name="connsiteY1687" fmla="*/ 703136 h 876300"/>
                  <a:gd name="connsiteX1688" fmla="*/ 819912 w 962025"/>
                  <a:gd name="connsiteY1688" fmla="*/ 703993 h 876300"/>
                  <a:gd name="connsiteX1689" fmla="*/ 819912 w 962025"/>
                  <a:gd name="connsiteY1689" fmla="*/ 704850 h 876300"/>
                  <a:gd name="connsiteX1690" fmla="*/ 819912 w 962025"/>
                  <a:gd name="connsiteY1690" fmla="*/ 706565 h 876300"/>
                  <a:gd name="connsiteX1691" fmla="*/ 819912 w 962025"/>
                  <a:gd name="connsiteY1691" fmla="*/ 707422 h 876300"/>
                  <a:gd name="connsiteX1692" fmla="*/ 819912 w 962025"/>
                  <a:gd name="connsiteY1692" fmla="*/ 707422 h 876300"/>
                  <a:gd name="connsiteX1693" fmla="*/ 820769 w 962025"/>
                  <a:gd name="connsiteY1693" fmla="*/ 707422 h 876300"/>
                  <a:gd name="connsiteX1694" fmla="*/ 821626 w 962025"/>
                  <a:gd name="connsiteY1694" fmla="*/ 707422 h 876300"/>
                  <a:gd name="connsiteX1695" fmla="*/ 822484 w 962025"/>
                  <a:gd name="connsiteY1695" fmla="*/ 707422 h 876300"/>
                  <a:gd name="connsiteX1696" fmla="*/ 825056 w 962025"/>
                  <a:gd name="connsiteY1696" fmla="*/ 707422 h 876300"/>
                  <a:gd name="connsiteX1697" fmla="*/ 825056 w 962025"/>
                  <a:gd name="connsiteY1697" fmla="*/ 707422 h 876300"/>
                  <a:gd name="connsiteX1698" fmla="*/ 835152 w 962025"/>
                  <a:gd name="connsiteY1698" fmla="*/ 702278 h 876300"/>
                  <a:gd name="connsiteX1699" fmla="*/ 836867 w 962025"/>
                  <a:gd name="connsiteY1699" fmla="*/ 701516 h 876300"/>
                  <a:gd name="connsiteX1700" fmla="*/ 836867 w 962025"/>
                  <a:gd name="connsiteY1700" fmla="*/ 700659 h 876300"/>
                  <a:gd name="connsiteX1701" fmla="*/ 837724 w 962025"/>
                  <a:gd name="connsiteY1701" fmla="*/ 699802 h 876300"/>
                  <a:gd name="connsiteX1702" fmla="*/ 837724 w 962025"/>
                  <a:gd name="connsiteY1702" fmla="*/ 697230 h 876300"/>
                  <a:gd name="connsiteX1703" fmla="*/ 837724 w 962025"/>
                  <a:gd name="connsiteY1703" fmla="*/ 694658 h 876300"/>
                  <a:gd name="connsiteX1704" fmla="*/ 836867 w 962025"/>
                  <a:gd name="connsiteY1704" fmla="*/ 688753 h 876300"/>
                  <a:gd name="connsiteX1705" fmla="*/ 835152 w 962025"/>
                  <a:gd name="connsiteY1705" fmla="*/ 686181 h 876300"/>
                  <a:gd name="connsiteX1706" fmla="*/ 834295 w 962025"/>
                  <a:gd name="connsiteY1706" fmla="*/ 684466 h 876300"/>
                  <a:gd name="connsiteX1707" fmla="*/ 832676 w 962025"/>
                  <a:gd name="connsiteY1707" fmla="*/ 682847 h 876300"/>
                  <a:gd name="connsiteX1708" fmla="*/ 827532 w 962025"/>
                  <a:gd name="connsiteY1708" fmla="*/ 678561 h 876300"/>
                  <a:gd name="connsiteX1709" fmla="*/ 826675 w 962025"/>
                  <a:gd name="connsiteY1709" fmla="*/ 677704 h 876300"/>
                  <a:gd name="connsiteX1710" fmla="*/ 825818 w 962025"/>
                  <a:gd name="connsiteY1710" fmla="*/ 677704 h 876300"/>
                  <a:gd name="connsiteX1711" fmla="*/ 825056 w 962025"/>
                  <a:gd name="connsiteY1711" fmla="*/ 677704 h 876300"/>
                  <a:gd name="connsiteX1712" fmla="*/ 823341 w 962025"/>
                  <a:gd name="connsiteY1712" fmla="*/ 677704 h 876300"/>
                  <a:gd name="connsiteX1713" fmla="*/ 822484 w 962025"/>
                  <a:gd name="connsiteY1713" fmla="*/ 678561 h 876300"/>
                  <a:gd name="connsiteX1714" fmla="*/ 818198 w 962025"/>
                  <a:gd name="connsiteY1714" fmla="*/ 677704 h 876300"/>
                  <a:gd name="connsiteX1715" fmla="*/ 814864 w 962025"/>
                  <a:gd name="connsiteY1715" fmla="*/ 675989 h 876300"/>
                  <a:gd name="connsiteX1716" fmla="*/ 808958 w 962025"/>
                  <a:gd name="connsiteY1716" fmla="*/ 668369 h 876300"/>
                  <a:gd name="connsiteX1717" fmla="*/ 807244 w 962025"/>
                  <a:gd name="connsiteY1717" fmla="*/ 667512 h 876300"/>
                  <a:gd name="connsiteX1718" fmla="*/ 807244 w 962025"/>
                  <a:gd name="connsiteY1718" fmla="*/ 666655 h 876300"/>
                  <a:gd name="connsiteX1719" fmla="*/ 808101 w 962025"/>
                  <a:gd name="connsiteY1719" fmla="*/ 665036 h 876300"/>
                  <a:gd name="connsiteX1720" fmla="*/ 808101 w 962025"/>
                  <a:gd name="connsiteY1720" fmla="*/ 665036 h 876300"/>
                  <a:gd name="connsiteX1721" fmla="*/ 808958 w 962025"/>
                  <a:gd name="connsiteY1721" fmla="*/ 664178 h 876300"/>
                  <a:gd name="connsiteX1722" fmla="*/ 809816 w 962025"/>
                  <a:gd name="connsiteY1722" fmla="*/ 664178 h 876300"/>
                  <a:gd name="connsiteX1723" fmla="*/ 812292 w 962025"/>
                  <a:gd name="connsiteY1723" fmla="*/ 664178 h 876300"/>
                  <a:gd name="connsiteX1724" fmla="*/ 814864 w 962025"/>
                  <a:gd name="connsiteY1724" fmla="*/ 663321 h 876300"/>
                  <a:gd name="connsiteX1725" fmla="*/ 815721 w 962025"/>
                  <a:gd name="connsiteY1725" fmla="*/ 662464 h 876300"/>
                  <a:gd name="connsiteX1726" fmla="*/ 816578 w 962025"/>
                  <a:gd name="connsiteY1726" fmla="*/ 661607 h 876300"/>
                  <a:gd name="connsiteX1727" fmla="*/ 818198 w 962025"/>
                  <a:gd name="connsiteY1727" fmla="*/ 660749 h 876300"/>
                  <a:gd name="connsiteX1728" fmla="*/ 818198 w 962025"/>
                  <a:gd name="connsiteY1728" fmla="*/ 659892 h 876300"/>
                  <a:gd name="connsiteX1729" fmla="*/ 818198 w 962025"/>
                  <a:gd name="connsiteY1729" fmla="*/ 659035 h 876300"/>
                  <a:gd name="connsiteX1730" fmla="*/ 818198 w 962025"/>
                  <a:gd name="connsiteY1730" fmla="*/ 656558 h 876300"/>
                  <a:gd name="connsiteX1731" fmla="*/ 818198 w 962025"/>
                  <a:gd name="connsiteY1731" fmla="*/ 653986 h 876300"/>
                  <a:gd name="connsiteX1732" fmla="*/ 816578 w 962025"/>
                  <a:gd name="connsiteY1732" fmla="*/ 650557 h 876300"/>
                  <a:gd name="connsiteX1733" fmla="*/ 814864 w 962025"/>
                  <a:gd name="connsiteY1733" fmla="*/ 647224 h 876300"/>
                  <a:gd name="connsiteX1734" fmla="*/ 814864 w 962025"/>
                  <a:gd name="connsiteY1734" fmla="*/ 646366 h 876300"/>
                  <a:gd name="connsiteX1735" fmla="*/ 814864 w 962025"/>
                  <a:gd name="connsiteY1735" fmla="*/ 646366 h 876300"/>
                  <a:gd name="connsiteX1736" fmla="*/ 814007 w 962025"/>
                  <a:gd name="connsiteY1736" fmla="*/ 645509 h 876300"/>
                  <a:gd name="connsiteX1737" fmla="*/ 814864 w 962025"/>
                  <a:gd name="connsiteY1737" fmla="*/ 644652 h 876300"/>
                  <a:gd name="connsiteX1738" fmla="*/ 814864 w 962025"/>
                  <a:gd name="connsiteY1738" fmla="*/ 643795 h 876300"/>
                  <a:gd name="connsiteX1739" fmla="*/ 815721 w 962025"/>
                  <a:gd name="connsiteY1739" fmla="*/ 642080 h 876300"/>
                  <a:gd name="connsiteX1740" fmla="*/ 816578 w 962025"/>
                  <a:gd name="connsiteY1740" fmla="*/ 642080 h 876300"/>
                  <a:gd name="connsiteX1741" fmla="*/ 818198 w 962025"/>
                  <a:gd name="connsiteY1741" fmla="*/ 641223 h 876300"/>
                  <a:gd name="connsiteX1742" fmla="*/ 821626 w 962025"/>
                  <a:gd name="connsiteY1742" fmla="*/ 640366 h 876300"/>
                  <a:gd name="connsiteX1743" fmla="*/ 830961 w 962025"/>
                  <a:gd name="connsiteY1743" fmla="*/ 636175 h 876300"/>
                  <a:gd name="connsiteX1744" fmla="*/ 831818 w 962025"/>
                  <a:gd name="connsiteY1744" fmla="*/ 635318 h 876300"/>
                  <a:gd name="connsiteX1745" fmla="*/ 833533 w 962025"/>
                  <a:gd name="connsiteY1745" fmla="*/ 635318 h 876300"/>
                  <a:gd name="connsiteX1746" fmla="*/ 836009 w 962025"/>
                  <a:gd name="connsiteY1746" fmla="*/ 636175 h 876300"/>
                  <a:gd name="connsiteX1747" fmla="*/ 841153 w 962025"/>
                  <a:gd name="connsiteY1747" fmla="*/ 635318 h 876300"/>
                  <a:gd name="connsiteX1748" fmla="*/ 852107 w 962025"/>
                  <a:gd name="connsiteY1748" fmla="*/ 631031 h 876300"/>
                  <a:gd name="connsiteX1749" fmla="*/ 853821 w 962025"/>
                  <a:gd name="connsiteY1749" fmla="*/ 631031 h 876300"/>
                  <a:gd name="connsiteX1750" fmla="*/ 855536 w 962025"/>
                  <a:gd name="connsiteY1750" fmla="*/ 631031 h 876300"/>
                  <a:gd name="connsiteX1751" fmla="*/ 857250 w 962025"/>
                  <a:gd name="connsiteY1751" fmla="*/ 631889 h 876300"/>
                  <a:gd name="connsiteX1752" fmla="*/ 859726 w 962025"/>
                  <a:gd name="connsiteY1752" fmla="*/ 631031 h 876300"/>
                  <a:gd name="connsiteX1753" fmla="*/ 860584 w 962025"/>
                  <a:gd name="connsiteY1753" fmla="*/ 631031 h 876300"/>
                  <a:gd name="connsiteX1754" fmla="*/ 862298 w 962025"/>
                  <a:gd name="connsiteY1754" fmla="*/ 631031 h 876300"/>
                  <a:gd name="connsiteX1755" fmla="*/ 864013 w 962025"/>
                  <a:gd name="connsiteY1755" fmla="*/ 631889 h 876300"/>
                  <a:gd name="connsiteX1756" fmla="*/ 865632 w 962025"/>
                  <a:gd name="connsiteY1756" fmla="*/ 632746 h 876300"/>
                  <a:gd name="connsiteX1757" fmla="*/ 867347 w 962025"/>
                  <a:gd name="connsiteY1757" fmla="*/ 633603 h 876300"/>
                  <a:gd name="connsiteX1758" fmla="*/ 869061 w 962025"/>
                  <a:gd name="connsiteY1758" fmla="*/ 632746 h 876300"/>
                  <a:gd name="connsiteX1759" fmla="*/ 869918 w 962025"/>
                  <a:gd name="connsiteY1759" fmla="*/ 631889 h 876300"/>
                  <a:gd name="connsiteX1760" fmla="*/ 870776 w 962025"/>
                  <a:gd name="connsiteY1760" fmla="*/ 631031 h 876300"/>
                  <a:gd name="connsiteX1761" fmla="*/ 870776 w 962025"/>
                  <a:gd name="connsiteY1761" fmla="*/ 630269 h 876300"/>
                  <a:gd name="connsiteX1762" fmla="*/ 871633 w 962025"/>
                  <a:gd name="connsiteY1762" fmla="*/ 630269 h 876300"/>
                  <a:gd name="connsiteX1763" fmla="*/ 872490 w 962025"/>
                  <a:gd name="connsiteY1763" fmla="*/ 629412 h 876300"/>
                  <a:gd name="connsiteX1764" fmla="*/ 873252 w 962025"/>
                  <a:gd name="connsiteY1764" fmla="*/ 629412 h 876300"/>
                  <a:gd name="connsiteX1765" fmla="*/ 874109 w 962025"/>
                  <a:gd name="connsiteY1765" fmla="*/ 628555 h 876300"/>
                  <a:gd name="connsiteX1766" fmla="*/ 874109 w 962025"/>
                  <a:gd name="connsiteY1766" fmla="*/ 626840 h 876300"/>
                  <a:gd name="connsiteX1767" fmla="*/ 874109 w 962025"/>
                  <a:gd name="connsiteY1767" fmla="*/ 624269 h 876300"/>
                  <a:gd name="connsiteX1768" fmla="*/ 874109 w 962025"/>
                  <a:gd name="connsiteY1768" fmla="*/ 623411 h 876300"/>
                  <a:gd name="connsiteX1769" fmla="*/ 874109 w 962025"/>
                  <a:gd name="connsiteY1769" fmla="*/ 622554 h 876300"/>
                  <a:gd name="connsiteX1770" fmla="*/ 874967 w 962025"/>
                  <a:gd name="connsiteY1770" fmla="*/ 621697 h 876300"/>
                  <a:gd name="connsiteX1771" fmla="*/ 875824 w 962025"/>
                  <a:gd name="connsiteY1771" fmla="*/ 620935 h 876300"/>
                  <a:gd name="connsiteX1772" fmla="*/ 874967 w 962025"/>
                  <a:gd name="connsiteY1772" fmla="*/ 620078 h 876300"/>
                  <a:gd name="connsiteX1773" fmla="*/ 874109 w 962025"/>
                  <a:gd name="connsiteY1773" fmla="*/ 618363 h 876300"/>
                  <a:gd name="connsiteX1774" fmla="*/ 872490 w 962025"/>
                  <a:gd name="connsiteY1774" fmla="*/ 615791 h 876300"/>
                  <a:gd name="connsiteX1775" fmla="*/ 871633 w 962025"/>
                  <a:gd name="connsiteY1775" fmla="*/ 614934 h 876300"/>
                  <a:gd name="connsiteX1776" fmla="*/ 870776 w 962025"/>
                  <a:gd name="connsiteY1776" fmla="*/ 614077 h 876300"/>
                  <a:gd name="connsiteX1777" fmla="*/ 870776 w 962025"/>
                  <a:gd name="connsiteY1777" fmla="*/ 612362 h 876300"/>
                  <a:gd name="connsiteX1778" fmla="*/ 870776 w 962025"/>
                  <a:gd name="connsiteY1778" fmla="*/ 611600 h 876300"/>
                  <a:gd name="connsiteX1779" fmla="*/ 870776 w 962025"/>
                  <a:gd name="connsiteY1779" fmla="*/ 610743 h 876300"/>
                  <a:gd name="connsiteX1780" fmla="*/ 871633 w 962025"/>
                  <a:gd name="connsiteY1780" fmla="*/ 609886 h 876300"/>
                  <a:gd name="connsiteX1781" fmla="*/ 871633 w 962025"/>
                  <a:gd name="connsiteY1781" fmla="*/ 608171 h 876300"/>
                  <a:gd name="connsiteX1782" fmla="*/ 871633 w 962025"/>
                  <a:gd name="connsiteY1782" fmla="*/ 608171 h 876300"/>
                  <a:gd name="connsiteX1783" fmla="*/ 871633 w 962025"/>
                  <a:gd name="connsiteY1783" fmla="*/ 607314 h 876300"/>
                  <a:gd name="connsiteX1784" fmla="*/ 871633 w 962025"/>
                  <a:gd name="connsiteY1784" fmla="*/ 606457 h 876300"/>
                  <a:gd name="connsiteX1785" fmla="*/ 869918 w 962025"/>
                  <a:gd name="connsiteY1785" fmla="*/ 603885 h 876300"/>
                  <a:gd name="connsiteX1786" fmla="*/ 869061 w 962025"/>
                  <a:gd name="connsiteY1786" fmla="*/ 603123 h 876300"/>
                  <a:gd name="connsiteX1787" fmla="*/ 869061 w 962025"/>
                  <a:gd name="connsiteY1787" fmla="*/ 602266 h 876300"/>
                  <a:gd name="connsiteX1788" fmla="*/ 869061 w 962025"/>
                  <a:gd name="connsiteY1788" fmla="*/ 600551 h 876300"/>
                  <a:gd name="connsiteX1789" fmla="*/ 869918 w 962025"/>
                  <a:gd name="connsiteY1789" fmla="*/ 599694 h 876300"/>
                  <a:gd name="connsiteX1790" fmla="*/ 869918 w 962025"/>
                  <a:gd name="connsiteY1790" fmla="*/ 598837 h 876300"/>
                  <a:gd name="connsiteX1791" fmla="*/ 870776 w 962025"/>
                  <a:gd name="connsiteY1791" fmla="*/ 597980 h 876300"/>
                  <a:gd name="connsiteX1792" fmla="*/ 870776 w 962025"/>
                  <a:gd name="connsiteY1792" fmla="*/ 597122 h 876300"/>
                  <a:gd name="connsiteX1793" fmla="*/ 870776 w 962025"/>
                  <a:gd name="connsiteY1793" fmla="*/ 596265 h 876300"/>
                  <a:gd name="connsiteX1794" fmla="*/ 870776 w 962025"/>
                  <a:gd name="connsiteY1794" fmla="*/ 595408 h 876300"/>
                  <a:gd name="connsiteX1795" fmla="*/ 869918 w 962025"/>
                  <a:gd name="connsiteY1795" fmla="*/ 594551 h 876300"/>
                  <a:gd name="connsiteX1796" fmla="*/ 869918 w 962025"/>
                  <a:gd name="connsiteY1796" fmla="*/ 593789 h 876300"/>
                  <a:gd name="connsiteX1797" fmla="*/ 869061 w 962025"/>
                  <a:gd name="connsiteY1797" fmla="*/ 593789 h 876300"/>
                  <a:gd name="connsiteX1798" fmla="*/ 868204 w 962025"/>
                  <a:gd name="connsiteY1798" fmla="*/ 592931 h 876300"/>
                  <a:gd name="connsiteX1799" fmla="*/ 867347 w 962025"/>
                  <a:gd name="connsiteY1799" fmla="*/ 592931 h 876300"/>
                  <a:gd name="connsiteX1800" fmla="*/ 865632 w 962025"/>
                  <a:gd name="connsiteY1800" fmla="*/ 592074 h 876300"/>
                  <a:gd name="connsiteX1801" fmla="*/ 864870 w 962025"/>
                  <a:gd name="connsiteY1801" fmla="*/ 592074 h 876300"/>
                  <a:gd name="connsiteX1802" fmla="*/ 862298 w 962025"/>
                  <a:gd name="connsiteY1802" fmla="*/ 592931 h 876300"/>
                  <a:gd name="connsiteX1803" fmla="*/ 859726 w 962025"/>
                  <a:gd name="connsiteY1803" fmla="*/ 593789 h 876300"/>
                  <a:gd name="connsiteX1804" fmla="*/ 857250 w 962025"/>
                  <a:gd name="connsiteY1804" fmla="*/ 595408 h 876300"/>
                  <a:gd name="connsiteX1805" fmla="*/ 856393 w 962025"/>
                  <a:gd name="connsiteY1805" fmla="*/ 596265 h 876300"/>
                  <a:gd name="connsiteX1806" fmla="*/ 856393 w 962025"/>
                  <a:gd name="connsiteY1806" fmla="*/ 597980 h 876300"/>
                  <a:gd name="connsiteX1807" fmla="*/ 854678 w 962025"/>
                  <a:gd name="connsiteY1807" fmla="*/ 601408 h 876300"/>
                  <a:gd name="connsiteX1808" fmla="*/ 854678 w 962025"/>
                  <a:gd name="connsiteY1808" fmla="*/ 602266 h 876300"/>
                  <a:gd name="connsiteX1809" fmla="*/ 853821 w 962025"/>
                  <a:gd name="connsiteY1809" fmla="*/ 603123 h 876300"/>
                  <a:gd name="connsiteX1810" fmla="*/ 852964 w 962025"/>
                  <a:gd name="connsiteY1810" fmla="*/ 603885 h 876300"/>
                  <a:gd name="connsiteX1811" fmla="*/ 851249 w 962025"/>
                  <a:gd name="connsiteY1811" fmla="*/ 604742 h 876300"/>
                  <a:gd name="connsiteX1812" fmla="*/ 849535 w 962025"/>
                  <a:gd name="connsiteY1812" fmla="*/ 605599 h 876300"/>
                  <a:gd name="connsiteX1813" fmla="*/ 847058 w 962025"/>
                  <a:gd name="connsiteY1813" fmla="*/ 604742 h 876300"/>
                  <a:gd name="connsiteX1814" fmla="*/ 845344 w 962025"/>
                  <a:gd name="connsiteY1814" fmla="*/ 604742 h 876300"/>
                  <a:gd name="connsiteX1815" fmla="*/ 842772 w 962025"/>
                  <a:gd name="connsiteY1815" fmla="*/ 603123 h 876300"/>
                  <a:gd name="connsiteX1816" fmla="*/ 841915 w 962025"/>
                  <a:gd name="connsiteY1816" fmla="*/ 603123 h 876300"/>
                  <a:gd name="connsiteX1817" fmla="*/ 840296 w 962025"/>
                  <a:gd name="connsiteY1817" fmla="*/ 603885 h 876300"/>
                  <a:gd name="connsiteX1818" fmla="*/ 837724 w 962025"/>
                  <a:gd name="connsiteY1818" fmla="*/ 604742 h 876300"/>
                  <a:gd name="connsiteX1819" fmla="*/ 834295 w 962025"/>
                  <a:gd name="connsiteY1819" fmla="*/ 606457 h 876300"/>
                  <a:gd name="connsiteX1820" fmla="*/ 831818 w 962025"/>
                  <a:gd name="connsiteY1820" fmla="*/ 608171 h 876300"/>
                  <a:gd name="connsiteX1821" fmla="*/ 825818 w 962025"/>
                  <a:gd name="connsiteY1821" fmla="*/ 607314 h 876300"/>
                  <a:gd name="connsiteX1822" fmla="*/ 823341 w 962025"/>
                  <a:gd name="connsiteY1822" fmla="*/ 609028 h 876300"/>
                  <a:gd name="connsiteX1823" fmla="*/ 822484 w 962025"/>
                  <a:gd name="connsiteY1823" fmla="*/ 609028 h 876300"/>
                  <a:gd name="connsiteX1824" fmla="*/ 821626 w 962025"/>
                  <a:gd name="connsiteY1824" fmla="*/ 609028 h 876300"/>
                  <a:gd name="connsiteX1825" fmla="*/ 818198 w 962025"/>
                  <a:gd name="connsiteY1825" fmla="*/ 605599 h 876300"/>
                  <a:gd name="connsiteX1826" fmla="*/ 817436 w 962025"/>
                  <a:gd name="connsiteY1826" fmla="*/ 605599 h 876300"/>
                  <a:gd name="connsiteX1827" fmla="*/ 812292 w 962025"/>
                  <a:gd name="connsiteY1827" fmla="*/ 604742 h 876300"/>
                  <a:gd name="connsiteX1828" fmla="*/ 811435 w 962025"/>
                  <a:gd name="connsiteY1828" fmla="*/ 604742 h 876300"/>
                  <a:gd name="connsiteX1829" fmla="*/ 810578 w 962025"/>
                  <a:gd name="connsiteY1829" fmla="*/ 604742 h 876300"/>
                  <a:gd name="connsiteX1830" fmla="*/ 807244 w 962025"/>
                  <a:gd name="connsiteY1830" fmla="*/ 606457 h 876300"/>
                  <a:gd name="connsiteX1831" fmla="*/ 806387 w 962025"/>
                  <a:gd name="connsiteY1831" fmla="*/ 606457 h 876300"/>
                  <a:gd name="connsiteX1832" fmla="*/ 805529 w 962025"/>
                  <a:gd name="connsiteY1832" fmla="*/ 605599 h 876300"/>
                  <a:gd name="connsiteX1833" fmla="*/ 804672 w 962025"/>
                  <a:gd name="connsiteY1833" fmla="*/ 605599 h 876300"/>
                  <a:gd name="connsiteX1834" fmla="*/ 800481 w 962025"/>
                  <a:gd name="connsiteY1834" fmla="*/ 602266 h 876300"/>
                  <a:gd name="connsiteX1835" fmla="*/ 798767 w 962025"/>
                  <a:gd name="connsiteY1835" fmla="*/ 601408 h 876300"/>
                  <a:gd name="connsiteX1836" fmla="*/ 797909 w 962025"/>
                  <a:gd name="connsiteY1836" fmla="*/ 600551 h 876300"/>
                  <a:gd name="connsiteX1837" fmla="*/ 796195 w 962025"/>
                  <a:gd name="connsiteY1837" fmla="*/ 600551 h 876300"/>
                  <a:gd name="connsiteX1838" fmla="*/ 794480 w 962025"/>
                  <a:gd name="connsiteY1838" fmla="*/ 600551 h 876300"/>
                  <a:gd name="connsiteX1839" fmla="*/ 792861 w 962025"/>
                  <a:gd name="connsiteY1839" fmla="*/ 600551 h 876300"/>
                  <a:gd name="connsiteX1840" fmla="*/ 792004 w 962025"/>
                  <a:gd name="connsiteY1840" fmla="*/ 599694 h 876300"/>
                  <a:gd name="connsiteX1841" fmla="*/ 791147 w 962025"/>
                  <a:gd name="connsiteY1841" fmla="*/ 598837 h 876300"/>
                  <a:gd name="connsiteX1842" fmla="*/ 788575 w 962025"/>
                  <a:gd name="connsiteY1842" fmla="*/ 593789 h 876300"/>
                  <a:gd name="connsiteX1843" fmla="*/ 787718 w 962025"/>
                  <a:gd name="connsiteY1843" fmla="*/ 592931 h 876300"/>
                  <a:gd name="connsiteX1844" fmla="*/ 786098 w 962025"/>
                  <a:gd name="connsiteY1844" fmla="*/ 592931 h 876300"/>
                  <a:gd name="connsiteX1845" fmla="*/ 784384 w 962025"/>
                  <a:gd name="connsiteY1845" fmla="*/ 592074 h 876300"/>
                  <a:gd name="connsiteX1846" fmla="*/ 783526 w 962025"/>
                  <a:gd name="connsiteY1846" fmla="*/ 592074 h 876300"/>
                  <a:gd name="connsiteX1847" fmla="*/ 782669 w 962025"/>
                  <a:gd name="connsiteY1847" fmla="*/ 591217 h 876300"/>
                  <a:gd name="connsiteX1848" fmla="*/ 781812 w 962025"/>
                  <a:gd name="connsiteY1848" fmla="*/ 590360 h 876300"/>
                  <a:gd name="connsiteX1849" fmla="*/ 780955 w 962025"/>
                  <a:gd name="connsiteY1849" fmla="*/ 589502 h 876300"/>
                  <a:gd name="connsiteX1850" fmla="*/ 780955 w 962025"/>
                  <a:gd name="connsiteY1850" fmla="*/ 586073 h 876300"/>
                  <a:gd name="connsiteX1851" fmla="*/ 778383 w 962025"/>
                  <a:gd name="connsiteY1851" fmla="*/ 579311 h 876300"/>
                  <a:gd name="connsiteX1852" fmla="*/ 775049 w 962025"/>
                  <a:gd name="connsiteY1852" fmla="*/ 563213 h 876300"/>
                  <a:gd name="connsiteX1853" fmla="*/ 775049 w 962025"/>
                  <a:gd name="connsiteY1853" fmla="*/ 561499 h 876300"/>
                  <a:gd name="connsiteX1854" fmla="*/ 774192 w 962025"/>
                  <a:gd name="connsiteY1854" fmla="*/ 560641 h 876300"/>
                  <a:gd name="connsiteX1855" fmla="*/ 774192 w 962025"/>
                  <a:gd name="connsiteY1855" fmla="*/ 558927 h 876300"/>
                  <a:gd name="connsiteX1856" fmla="*/ 774192 w 962025"/>
                  <a:gd name="connsiteY1856" fmla="*/ 557308 h 876300"/>
                  <a:gd name="connsiteX1857" fmla="*/ 775049 w 962025"/>
                  <a:gd name="connsiteY1857" fmla="*/ 557308 h 876300"/>
                  <a:gd name="connsiteX1858" fmla="*/ 776764 w 962025"/>
                  <a:gd name="connsiteY1858" fmla="*/ 556451 h 876300"/>
                  <a:gd name="connsiteX1859" fmla="*/ 777621 w 962025"/>
                  <a:gd name="connsiteY1859" fmla="*/ 555593 h 876300"/>
                  <a:gd name="connsiteX1860" fmla="*/ 778383 w 962025"/>
                  <a:gd name="connsiteY1860" fmla="*/ 553879 h 876300"/>
                  <a:gd name="connsiteX1861" fmla="*/ 778383 w 962025"/>
                  <a:gd name="connsiteY1861" fmla="*/ 550450 h 876300"/>
                  <a:gd name="connsiteX1862" fmla="*/ 778383 w 962025"/>
                  <a:gd name="connsiteY1862" fmla="*/ 549593 h 876300"/>
                  <a:gd name="connsiteX1863" fmla="*/ 778383 w 962025"/>
                  <a:gd name="connsiteY1863" fmla="*/ 547973 h 876300"/>
                  <a:gd name="connsiteX1864" fmla="*/ 780955 w 962025"/>
                  <a:gd name="connsiteY1864" fmla="*/ 543687 h 876300"/>
                  <a:gd name="connsiteX1865" fmla="*/ 781812 w 962025"/>
                  <a:gd name="connsiteY1865" fmla="*/ 542830 h 876300"/>
                  <a:gd name="connsiteX1866" fmla="*/ 782669 w 962025"/>
                  <a:gd name="connsiteY1866" fmla="*/ 541973 h 876300"/>
                  <a:gd name="connsiteX1867" fmla="*/ 785241 w 962025"/>
                  <a:gd name="connsiteY1867" fmla="*/ 539496 h 876300"/>
                  <a:gd name="connsiteX1868" fmla="*/ 786098 w 962025"/>
                  <a:gd name="connsiteY1868" fmla="*/ 539496 h 876300"/>
                  <a:gd name="connsiteX1869" fmla="*/ 788575 w 962025"/>
                  <a:gd name="connsiteY1869" fmla="*/ 539496 h 876300"/>
                  <a:gd name="connsiteX1870" fmla="*/ 789432 w 962025"/>
                  <a:gd name="connsiteY1870" fmla="*/ 538639 h 876300"/>
                  <a:gd name="connsiteX1871" fmla="*/ 790289 w 962025"/>
                  <a:gd name="connsiteY1871" fmla="*/ 537782 h 876300"/>
                  <a:gd name="connsiteX1872" fmla="*/ 791147 w 962025"/>
                  <a:gd name="connsiteY1872" fmla="*/ 535210 h 876300"/>
                  <a:gd name="connsiteX1873" fmla="*/ 792004 w 962025"/>
                  <a:gd name="connsiteY1873" fmla="*/ 534353 h 876300"/>
                  <a:gd name="connsiteX1874" fmla="*/ 792861 w 962025"/>
                  <a:gd name="connsiteY1874" fmla="*/ 534353 h 876300"/>
                  <a:gd name="connsiteX1875" fmla="*/ 798767 w 962025"/>
                  <a:gd name="connsiteY1875" fmla="*/ 534353 h 876300"/>
                  <a:gd name="connsiteX1876" fmla="*/ 799624 w 962025"/>
                  <a:gd name="connsiteY1876" fmla="*/ 535210 h 876300"/>
                  <a:gd name="connsiteX1877" fmla="*/ 801338 w 962025"/>
                  <a:gd name="connsiteY1877" fmla="*/ 535210 h 876300"/>
                  <a:gd name="connsiteX1878" fmla="*/ 802958 w 962025"/>
                  <a:gd name="connsiteY1878" fmla="*/ 534353 h 876300"/>
                  <a:gd name="connsiteX1879" fmla="*/ 804672 w 962025"/>
                  <a:gd name="connsiteY1879" fmla="*/ 531019 h 876300"/>
                  <a:gd name="connsiteX1880" fmla="*/ 806387 w 962025"/>
                  <a:gd name="connsiteY1880" fmla="*/ 530161 h 876300"/>
                  <a:gd name="connsiteX1881" fmla="*/ 807244 w 962025"/>
                  <a:gd name="connsiteY1881" fmla="*/ 530161 h 876300"/>
                  <a:gd name="connsiteX1882" fmla="*/ 808101 w 962025"/>
                  <a:gd name="connsiteY1882" fmla="*/ 529304 h 876300"/>
                  <a:gd name="connsiteX1883" fmla="*/ 808958 w 962025"/>
                  <a:gd name="connsiteY1883" fmla="*/ 529304 h 876300"/>
                  <a:gd name="connsiteX1884" fmla="*/ 809816 w 962025"/>
                  <a:gd name="connsiteY1884" fmla="*/ 527590 h 876300"/>
                  <a:gd name="connsiteX1885" fmla="*/ 809816 w 962025"/>
                  <a:gd name="connsiteY1885" fmla="*/ 526732 h 876300"/>
                  <a:gd name="connsiteX1886" fmla="*/ 809816 w 962025"/>
                  <a:gd name="connsiteY1886" fmla="*/ 525018 h 876300"/>
                  <a:gd name="connsiteX1887" fmla="*/ 810578 w 962025"/>
                  <a:gd name="connsiteY1887" fmla="*/ 523303 h 876300"/>
                  <a:gd name="connsiteX1888" fmla="*/ 810578 w 962025"/>
                  <a:gd name="connsiteY1888" fmla="*/ 522446 h 876300"/>
                  <a:gd name="connsiteX1889" fmla="*/ 817436 w 962025"/>
                  <a:gd name="connsiteY1889" fmla="*/ 518255 h 876300"/>
                  <a:gd name="connsiteX1890" fmla="*/ 819055 w 962025"/>
                  <a:gd name="connsiteY1890" fmla="*/ 516541 h 876300"/>
                  <a:gd name="connsiteX1891" fmla="*/ 819912 w 962025"/>
                  <a:gd name="connsiteY1891" fmla="*/ 515683 h 876300"/>
                  <a:gd name="connsiteX1892" fmla="*/ 819912 w 962025"/>
                  <a:gd name="connsiteY1892" fmla="*/ 514826 h 876300"/>
                  <a:gd name="connsiteX1893" fmla="*/ 819912 w 962025"/>
                  <a:gd name="connsiteY1893" fmla="*/ 513207 h 876300"/>
                  <a:gd name="connsiteX1894" fmla="*/ 820769 w 962025"/>
                  <a:gd name="connsiteY1894" fmla="*/ 512350 h 876300"/>
                  <a:gd name="connsiteX1895" fmla="*/ 824198 w 962025"/>
                  <a:gd name="connsiteY1895" fmla="*/ 511493 h 876300"/>
                  <a:gd name="connsiteX1896" fmla="*/ 825818 w 962025"/>
                  <a:gd name="connsiteY1896" fmla="*/ 511493 h 876300"/>
                  <a:gd name="connsiteX1897" fmla="*/ 826675 w 962025"/>
                  <a:gd name="connsiteY1897" fmla="*/ 509778 h 876300"/>
                  <a:gd name="connsiteX1898" fmla="*/ 828389 w 962025"/>
                  <a:gd name="connsiteY1898" fmla="*/ 508921 h 876300"/>
                  <a:gd name="connsiteX1899" fmla="*/ 830104 w 962025"/>
                  <a:gd name="connsiteY1899" fmla="*/ 508064 h 876300"/>
                  <a:gd name="connsiteX1900" fmla="*/ 830961 w 962025"/>
                  <a:gd name="connsiteY1900" fmla="*/ 507206 h 876300"/>
                  <a:gd name="connsiteX1901" fmla="*/ 831818 w 962025"/>
                  <a:gd name="connsiteY1901" fmla="*/ 505492 h 876300"/>
                  <a:gd name="connsiteX1902" fmla="*/ 832676 w 962025"/>
                  <a:gd name="connsiteY1902" fmla="*/ 504635 h 876300"/>
                  <a:gd name="connsiteX1903" fmla="*/ 833533 w 962025"/>
                  <a:gd name="connsiteY1903" fmla="*/ 503873 h 876300"/>
                  <a:gd name="connsiteX1904" fmla="*/ 836867 w 962025"/>
                  <a:gd name="connsiteY1904" fmla="*/ 502158 h 876300"/>
                  <a:gd name="connsiteX1905" fmla="*/ 838581 w 962025"/>
                  <a:gd name="connsiteY1905" fmla="*/ 502158 h 876300"/>
                  <a:gd name="connsiteX1906" fmla="*/ 839438 w 962025"/>
                  <a:gd name="connsiteY1906" fmla="*/ 502158 h 876300"/>
                  <a:gd name="connsiteX1907" fmla="*/ 840296 w 962025"/>
                  <a:gd name="connsiteY1907" fmla="*/ 502158 h 876300"/>
                  <a:gd name="connsiteX1908" fmla="*/ 841153 w 962025"/>
                  <a:gd name="connsiteY1908" fmla="*/ 501301 h 876300"/>
                  <a:gd name="connsiteX1909" fmla="*/ 841915 w 962025"/>
                  <a:gd name="connsiteY1909" fmla="*/ 500444 h 876300"/>
                  <a:gd name="connsiteX1910" fmla="*/ 841915 w 962025"/>
                  <a:gd name="connsiteY1910" fmla="*/ 498729 h 876300"/>
                  <a:gd name="connsiteX1911" fmla="*/ 841915 w 962025"/>
                  <a:gd name="connsiteY1911" fmla="*/ 497872 h 876300"/>
                  <a:gd name="connsiteX1912" fmla="*/ 845344 w 962025"/>
                  <a:gd name="connsiteY1912" fmla="*/ 495300 h 876300"/>
                  <a:gd name="connsiteX1913" fmla="*/ 847916 w 962025"/>
                  <a:gd name="connsiteY1913" fmla="*/ 495300 h 876300"/>
                  <a:gd name="connsiteX1914" fmla="*/ 851249 w 962025"/>
                  <a:gd name="connsiteY1914" fmla="*/ 495300 h 876300"/>
                  <a:gd name="connsiteX1915" fmla="*/ 854678 w 962025"/>
                  <a:gd name="connsiteY1915" fmla="*/ 495300 h 876300"/>
                  <a:gd name="connsiteX1916" fmla="*/ 857250 w 962025"/>
                  <a:gd name="connsiteY1916" fmla="*/ 492823 h 876300"/>
                  <a:gd name="connsiteX1917" fmla="*/ 859726 w 962025"/>
                  <a:gd name="connsiteY1917" fmla="*/ 491109 h 876300"/>
                  <a:gd name="connsiteX1918" fmla="*/ 860584 w 962025"/>
                  <a:gd name="connsiteY1918" fmla="*/ 490252 h 876300"/>
                  <a:gd name="connsiteX1919" fmla="*/ 862298 w 962025"/>
                  <a:gd name="connsiteY1919" fmla="*/ 488537 h 876300"/>
                  <a:gd name="connsiteX1920" fmla="*/ 863156 w 962025"/>
                  <a:gd name="connsiteY1920" fmla="*/ 487680 h 876300"/>
                  <a:gd name="connsiteX1921" fmla="*/ 864013 w 962025"/>
                  <a:gd name="connsiteY1921" fmla="*/ 486823 h 876300"/>
                  <a:gd name="connsiteX1922" fmla="*/ 864870 w 962025"/>
                  <a:gd name="connsiteY1922" fmla="*/ 485203 h 876300"/>
                  <a:gd name="connsiteX1923" fmla="*/ 864870 w 962025"/>
                  <a:gd name="connsiteY1923" fmla="*/ 484346 h 876300"/>
                  <a:gd name="connsiteX1924" fmla="*/ 867347 w 962025"/>
                  <a:gd name="connsiteY1924" fmla="*/ 481774 h 876300"/>
                  <a:gd name="connsiteX1925" fmla="*/ 868204 w 962025"/>
                  <a:gd name="connsiteY1925" fmla="*/ 480060 h 876300"/>
                  <a:gd name="connsiteX1926" fmla="*/ 869918 w 962025"/>
                  <a:gd name="connsiteY1926" fmla="*/ 480060 h 876300"/>
                  <a:gd name="connsiteX1927" fmla="*/ 873252 w 962025"/>
                  <a:gd name="connsiteY1927" fmla="*/ 480060 h 876300"/>
                  <a:gd name="connsiteX1928" fmla="*/ 874967 w 962025"/>
                  <a:gd name="connsiteY1928" fmla="*/ 480060 h 876300"/>
                  <a:gd name="connsiteX1929" fmla="*/ 876681 w 962025"/>
                  <a:gd name="connsiteY1929" fmla="*/ 479203 h 876300"/>
                  <a:gd name="connsiteX1930" fmla="*/ 877538 w 962025"/>
                  <a:gd name="connsiteY1930" fmla="*/ 480060 h 876300"/>
                  <a:gd name="connsiteX1931" fmla="*/ 879253 w 962025"/>
                  <a:gd name="connsiteY1931" fmla="*/ 479203 h 876300"/>
                  <a:gd name="connsiteX1932" fmla="*/ 879253 w 962025"/>
                  <a:gd name="connsiteY1932" fmla="*/ 477488 h 876300"/>
                  <a:gd name="connsiteX1933" fmla="*/ 879253 w 962025"/>
                  <a:gd name="connsiteY1933" fmla="*/ 475869 h 876300"/>
                  <a:gd name="connsiteX1934" fmla="*/ 880110 w 962025"/>
                  <a:gd name="connsiteY1934" fmla="*/ 474155 h 876300"/>
                  <a:gd name="connsiteX1935" fmla="*/ 881729 w 962025"/>
                  <a:gd name="connsiteY1935" fmla="*/ 473297 h 876300"/>
                  <a:gd name="connsiteX1936" fmla="*/ 886873 w 962025"/>
                  <a:gd name="connsiteY1936" fmla="*/ 474155 h 876300"/>
                  <a:gd name="connsiteX1937" fmla="*/ 888587 w 962025"/>
                  <a:gd name="connsiteY1937" fmla="*/ 473297 h 876300"/>
                  <a:gd name="connsiteX1938" fmla="*/ 889349 w 962025"/>
                  <a:gd name="connsiteY1938" fmla="*/ 472440 h 876300"/>
                  <a:gd name="connsiteX1939" fmla="*/ 893636 w 962025"/>
                  <a:gd name="connsiteY1939" fmla="*/ 469868 h 876300"/>
                  <a:gd name="connsiteX1940" fmla="*/ 899541 w 962025"/>
                  <a:gd name="connsiteY1940" fmla="*/ 465677 h 876300"/>
                  <a:gd name="connsiteX1941" fmla="*/ 901256 w 962025"/>
                  <a:gd name="connsiteY1941" fmla="*/ 464820 h 876300"/>
                  <a:gd name="connsiteX1942" fmla="*/ 902970 w 962025"/>
                  <a:gd name="connsiteY1942" fmla="*/ 464820 h 876300"/>
                  <a:gd name="connsiteX1943" fmla="*/ 906304 w 962025"/>
                  <a:gd name="connsiteY1943" fmla="*/ 463106 h 876300"/>
                  <a:gd name="connsiteX1944" fmla="*/ 908876 w 962025"/>
                  <a:gd name="connsiteY1944" fmla="*/ 463106 h 876300"/>
                  <a:gd name="connsiteX1945" fmla="*/ 910590 w 962025"/>
                  <a:gd name="connsiteY1945" fmla="*/ 462248 h 876300"/>
                  <a:gd name="connsiteX1946" fmla="*/ 911447 w 962025"/>
                  <a:gd name="connsiteY1946" fmla="*/ 461391 h 876300"/>
                  <a:gd name="connsiteX1947" fmla="*/ 913067 w 962025"/>
                  <a:gd name="connsiteY1947" fmla="*/ 458915 h 876300"/>
                  <a:gd name="connsiteX1948" fmla="*/ 916496 w 962025"/>
                  <a:gd name="connsiteY1948" fmla="*/ 457200 h 876300"/>
                  <a:gd name="connsiteX1949" fmla="*/ 920687 w 962025"/>
                  <a:gd name="connsiteY1949" fmla="*/ 456343 h 876300"/>
                  <a:gd name="connsiteX1950" fmla="*/ 923258 w 962025"/>
                  <a:gd name="connsiteY1950" fmla="*/ 453771 h 876300"/>
                  <a:gd name="connsiteX1951" fmla="*/ 921544 w 962025"/>
                  <a:gd name="connsiteY1951" fmla="*/ 450342 h 876300"/>
                  <a:gd name="connsiteX1952" fmla="*/ 927545 w 962025"/>
                  <a:gd name="connsiteY1952" fmla="*/ 448723 h 876300"/>
                  <a:gd name="connsiteX1953" fmla="*/ 928402 w 962025"/>
                  <a:gd name="connsiteY1953" fmla="*/ 447865 h 876300"/>
                  <a:gd name="connsiteX1954" fmla="*/ 929164 w 962025"/>
                  <a:gd name="connsiteY1954" fmla="*/ 447008 h 876300"/>
                  <a:gd name="connsiteX1955" fmla="*/ 929164 w 962025"/>
                  <a:gd name="connsiteY1955" fmla="*/ 444436 h 876300"/>
                  <a:gd name="connsiteX1956" fmla="*/ 930021 w 962025"/>
                  <a:gd name="connsiteY1956" fmla="*/ 443579 h 876300"/>
                  <a:gd name="connsiteX1957" fmla="*/ 930878 w 962025"/>
                  <a:gd name="connsiteY1957" fmla="*/ 443579 h 876300"/>
                  <a:gd name="connsiteX1958" fmla="*/ 932593 w 962025"/>
                  <a:gd name="connsiteY1958" fmla="*/ 442722 h 876300"/>
                  <a:gd name="connsiteX1959" fmla="*/ 934307 w 962025"/>
                  <a:gd name="connsiteY1959" fmla="*/ 442722 h 876300"/>
                  <a:gd name="connsiteX1960" fmla="*/ 936022 w 962025"/>
                  <a:gd name="connsiteY1960" fmla="*/ 442722 h 876300"/>
                  <a:gd name="connsiteX1961" fmla="*/ 939356 w 962025"/>
                  <a:gd name="connsiteY1961" fmla="*/ 441103 h 876300"/>
                  <a:gd name="connsiteX1962" fmla="*/ 941927 w 962025"/>
                  <a:gd name="connsiteY1962" fmla="*/ 439388 h 876300"/>
                  <a:gd name="connsiteX1963" fmla="*/ 942785 w 962025"/>
                  <a:gd name="connsiteY1963" fmla="*/ 439388 h 876300"/>
                  <a:gd name="connsiteX1964" fmla="*/ 944404 w 962025"/>
                  <a:gd name="connsiteY1964" fmla="*/ 440245 h 876300"/>
                  <a:gd name="connsiteX1965" fmla="*/ 945261 w 962025"/>
                  <a:gd name="connsiteY1965" fmla="*/ 440245 h 876300"/>
                  <a:gd name="connsiteX1966" fmla="*/ 946118 w 962025"/>
                  <a:gd name="connsiteY1966" fmla="*/ 441103 h 876300"/>
                  <a:gd name="connsiteX1967" fmla="*/ 946976 w 962025"/>
                  <a:gd name="connsiteY1967" fmla="*/ 441103 h 876300"/>
                  <a:gd name="connsiteX1968" fmla="*/ 948690 w 962025"/>
                  <a:gd name="connsiteY1968" fmla="*/ 441103 h 876300"/>
                  <a:gd name="connsiteX1969" fmla="*/ 950405 w 962025"/>
                  <a:gd name="connsiteY1969" fmla="*/ 441103 h 876300"/>
                  <a:gd name="connsiteX1970" fmla="*/ 951262 w 962025"/>
                  <a:gd name="connsiteY1970" fmla="*/ 440245 h 876300"/>
                  <a:gd name="connsiteX1971" fmla="*/ 951262 w 962025"/>
                  <a:gd name="connsiteY1971" fmla="*/ 438531 h 876300"/>
                  <a:gd name="connsiteX1972" fmla="*/ 951262 w 962025"/>
                  <a:gd name="connsiteY1972" fmla="*/ 435959 h 876300"/>
                  <a:gd name="connsiteX1973" fmla="*/ 952119 w 962025"/>
                  <a:gd name="connsiteY1973" fmla="*/ 435102 h 876300"/>
                  <a:gd name="connsiteX1974" fmla="*/ 952881 w 962025"/>
                  <a:gd name="connsiteY1974" fmla="*/ 433387 h 876300"/>
                  <a:gd name="connsiteX1975" fmla="*/ 952881 w 962025"/>
                  <a:gd name="connsiteY1975" fmla="*/ 433387 h 876300"/>
                  <a:gd name="connsiteX1976" fmla="*/ 952881 w 962025"/>
                  <a:gd name="connsiteY1976" fmla="*/ 431768 h 876300"/>
                  <a:gd name="connsiteX1977" fmla="*/ 952119 w 962025"/>
                  <a:gd name="connsiteY1977" fmla="*/ 430054 h 876300"/>
                  <a:gd name="connsiteX1978" fmla="*/ 952119 w 962025"/>
                  <a:gd name="connsiteY1978" fmla="*/ 429197 h 876300"/>
                  <a:gd name="connsiteX1979" fmla="*/ 952881 w 962025"/>
                  <a:gd name="connsiteY1979" fmla="*/ 427482 h 876300"/>
                  <a:gd name="connsiteX1980" fmla="*/ 954596 w 962025"/>
                  <a:gd name="connsiteY1980" fmla="*/ 427482 h 876300"/>
                  <a:gd name="connsiteX1981" fmla="*/ 958882 w 962025"/>
                  <a:gd name="connsiteY1981" fmla="*/ 428339 h 876300"/>
                  <a:gd name="connsiteX1982" fmla="*/ 959739 w 962025"/>
                  <a:gd name="connsiteY1982" fmla="*/ 427482 h 876300"/>
                  <a:gd name="connsiteX1983" fmla="*/ 960501 w 962025"/>
                  <a:gd name="connsiteY1983" fmla="*/ 424053 h 876300"/>
                  <a:gd name="connsiteX1984" fmla="*/ 962216 w 962025"/>
                  <a:gd name="connsiteY1984" fmla="*/ 424053 h 876300"/>
                  <a:gd name="connsiteX1985" fmla="*/ 963930 w 962025"/>
                  <a:gd name="connsiteY1985" fmla="*/ 423291 h 876300"/>
                  <a:gd name="connsiteX1986" fmla="*/ 963930 w 962025"/>
                  <a:gd name="connsiteY1986" fmla="*/ 422434 h 876300"/>
                  <a:gd name="connsiteX1987" fmla="*/ 963073 w 962025"/>
                  <a:gd name="connsiteY1987" fmla="*/ 421577 h 876300"/>
                  <a:gd name="connsiteX1988" fmla="*/ 962216 w 962025"/>
                  <a:gd name="connsiteY1988" fmla="*/ 420719 h 876300"/>
                  <a:gd name="connsiteX1989" fmla="*/ 961358 w 962025"/>
                  <a:gd name="connsiteY1989" fmla="*/ 419005 h 876300"/>
                  <a:gd name="connsiteX1990" fmla="*/ 960501 w 962025"/>
                  <a:gd name="connsiteY1990" fmla="*/ 419005 h 876300"/>
                  <a:gd name="connsiteX1991" fmla="*/ 960501 w 962025"/>
                  <a:gd name="connsiteY1991" fmla="*/ 418148 h 876300"/>
                  <a:gd name="connsiteX1992" fmla="*/ 961358 w 962025"/>
                  <a:gd name="connsiteY1992" fmla="*/ 417290 h 876300"/>
                  <a:gd name="connsiteX1993" fmla="*/ 961358 w 962025"/>
                  <a:gd name="connsiteY1993" fmla="*/ 417290 h 876300"/>
                  <a:gd name="connsiteX1994" fmla="*/ 962216 w 962025"/>
                  <a:gd name="connsiteY1994" fmla="*/ 417290 h 876300"/>
                  <a:gd name="connsiteX1995" fmla="*/ 963930 w 962025"/>
                  <a:gd name="connsiteY1995" fmla="*/ 417290 h 876300"/>
                  <a:gd name="connsiteX1996" fmla="*/ 964787 w 962025"/>
                  <a:gd name="connsiteY1996" fmla="*/ 416433 h 876300"/>
                  <a:gd name="connsiteX1997" fmla="*/ 968121 w 962025"/>
                  <a:gd name="connsiteY1997" fmla="*/ 413099 h 876300"/>
                  <a:gd name="connsiteX1998" fmla="*/ 968978 w 962025"/>
                  <a:gd name="connsiteY1998" fmla="*/ 412242 h 876300"/>
                  <a:gd name="connsiteX1999" fmla="*/ 968978 w 962025"/>
                  <a:gd name="connsiteY1999" fmla="*/ 411385 h 876300"/>
                  <a:gd name="connsiteX2000" fmla="*/ 968978 w 962025"/>
                  <a:gd name="connsiteY2000" fmla="*/ 411385 h 876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</a:cxnLst>
                <a:rect l="l" t="t" r="r" b="b"/>
                <a:pathLst>
                  <a:path w="962025" h="876300">
                    <a:moveTo>
                      <a:pt x="968978" y="411385"/>
                    </a:moveTo>
                    <a:lnTo>
                      <a:pt x="968978" y="410528"/>
                    </a:lnTo>
                    <a:lnTo>
                      <a:pt x="968121" y="410528"/>
                    </a:lnTo>
                    <a:lnTo>
                      <a:pt x="967359" y="409670"/>
                    </a:lnTo>
                    <a:lnTo>
                      <a:pt x="966502" y="409670"/>
                    </a:lnTo>
                    <a:lnTo>
                      <a:pt x="963930" y="408813"/>
                    </a:lnTo>
                    <a:lnTo>
                      <a:pt x="963073" y="408813"/>
                    </a:lnTo>
                    <a:lnTo>
                      <a:pt x="961358" y="407956"/>
                    </a:lnTo>
                    <a:lnTo>
                      <a:pt x="960501" y="407956"/>
                    </a:lnTo>
                    <a:lnTo>
                      <a:pt x="958882" y="407956"/>
                    </a:lnTo>
                    <a:lnTo>
                      <a:pt x="955453" y="407956"/>
                    </a:lnTo>
                    <a:lnTo>
                      <a:pt x="953738" y="407956"/>
                    </a:lnTo>
                    <a:lnTo>
                      <a:pt x="952119" y="408813"/>
                    </a:lnTo>
                    <a:lnTo>
                      <a:pt x="951262" y="409670"/>
                    </a:lnTo>
                    <a:lnTo>
                      <a:pt x="950405" y="410528"/>
                    </a:lnTo>
                    <a:lnTo>
                      <a:pt x="950405" y="411385"/>
                    </a:lnTo>
                    <a:lnTo>
                      <a:pt x="949547" y="412242"/>
                    </a:lnTo>
                    <a:lnTo>
                      <a:pt x="948690" y="413099"/>
                    </a:lnTo>
                    <a:lnTo>
                      <a:pt x="947833" y="413099"/>
                    </a:lnTo>
                    <a:lnTo>
                      <a:pt x="946118" y="413099"/>
                    </a:lnTo>
                    <a:lnTo>
                      <a:pt x="945261" y="413099"/>
                    </a:lnTo>
                    <a:lnTo>
                      <a:pt x="944404" y="413957"/>
                    </a:lnTo>
                    <a:lnTo>
                      <a:pt x="944404" y="413957"/>
                    </a:lnTo>
                    <a:lnTo>
                      <a:pt x="943642" y="414719"/>
                    </a:lnTo>
                    <a:lnTo>
                      <a:pt x="944404" y="417290"/>
                    </a:lnTo>
                    <a:lnTo>
                      <a:pt x="943642" y="418148"/>
                    </a:lnTo>
                    <a:lnTo>
                      <a:pt x="943642" y="418148"/>
                    </a:lnTo>
                    <a:lnTo>
                      <a:pt x="942785" y="418148"/>
                    </a:lnTo>
                    <a:lnTo>
                      <a:pt x="942785" y="417290"/>
                    </a:lnTo>
                    <a:lnTo>
                      <a:pt x="941927" y="416433"/>
                    </a:lnTo>
                    <a:lnTo>
                      <a:pt x="941927" y="415576"/>
                    </a:lnTo>
                    <a:lnTo>
                      <a:pt x="941070" y="414719"/>
                    </a:lnTo>
                    <a:lnTo>
                      <a:pt x="940213" y="413957"/>
                    </a:lnTo>
                    <a:lnTo>
                      <a:pt x="939356" y="413957"/>
                    </a:lnTo>
                    <a:lnTo>
                      <a:pt x="932593" y="413099"/>
                    </a:lnTo>
                    <a:lnTo>
                      <a:pt x="929164" y="412242"/>
                    </a:lnTo>
                    <a:lnTo>
                      <a:pt x="928402" y="412242"/>
                    </a:lnTo>
                    <a:lnTo>
                      <a:pt x="927545" y="412242"/>
                    </a:lnTo>
                    <a:lnTo>
                      <a:pt x="925830" y="413957"/>
                    </a:lnTo>
                    <a:lnTo>
                      <a:pt x="924973" y="413957"/>
                    </a:lnTo>
                    <a:lnTo>
                      <a:pt x="924973" y="413099"/>
                    </a:lnTo>
                    <a:lnTo>
                      <a:pt x="924116" y="413099"/>
                    </a:lnTo>
                    <a:lnTo>
                      <a:pt x="924116" y="412242"/>
                    </a:lnTo>
                    <a:lnTo>
                      <a:pt x="923258" y="412242"/>
                    </a:lnTo>
                    <a:lnTo>
                      <a:pt x="922401" y="412242"/>
                    </a:lnTo>
                    <a:lnTo>
                      <a:pt x="915638" y="410528"/>
                    </a:lnTo>
                    <a:lnTo>
                      <a:pt x="912305" y="409670"/>
                    </a:lnTo>
                    <a:lnTo>
                      <a:pt x="910590" y="409670"/>
                    </a:lnTo>
                    <a:lnTo>
                      <a:pt x="908876" y="410528"/>
                    </a:lnTo>
                    <a:lnTo>
                      <a:pt x="908018" y="411385"/>
                    </a:lnTo>
                    <a:lnTo>
                      <a:pt x="904685" y="414719"/>
                    </a:lnTo>
                    <a:lnTo>
                      <a:pt x="902113" y="416433"/>
                    </a:lnTo>
                    <a:lnTo>
                      <a:pt x="887730" y="422434"/>
                    </a:lnTo>
                    <a:lnTo>
                      <a:pt x="886873" y="422434"/>
                    </a:lnTo>
                    <a:lnTo>
                      <a:pt x="886016" y="422434"/>
                    </a:lnTo>
                    <a:lnTo>
                      <a:pt x="884301" y="421577"/>
                    </a:lnTo>
                    <a:lnTo>
                      <a:pt x="883444" y="421577"/>
                    </a:lnTo>
                    <a:lnTo>
                      <a:pt x="882587" y="422434"/>
                    </a:lnTo>
                    <a:lnTo>
                      <a:pt x="881729" y="425768"/>
                    </a:lnTo>
                    <a:lnTo>
                      <a:pt x="880967" y="426625"/>
                    </a:lnTo>
                    <a:lnTo>
                      <a:pt x="879253" y="429197"/>
                    </a:lnTo>
                    <a:lnTo>
                      <a:pt x="876681" y="429197"/>
                    </a:lnTo>
                    <a:lnTo>
                      <a:pt x="874967" y="429197"/>
                    </a:lnTo>
                    <a:lnTo>
                      <a:pt x="874967" y="428339"/>
                    </a:lnTo>
                    <a:lnTo>
                      <a:pt x="874967" y="427482"/>
                    </a:lnTo>
                    <a:lnTo>
                      <a:pt x="875824" y="424910"/>
                    </a:lnTo>
                    <a:lnTo>
                      <a:pt x="875824" y="422434"/>
                    </a:lnTo>
                    <a:lnTo>
                      <a:pt x="875824" y="420719"/>
                    </a:lnTo>
                    <a:lnTo>
                      <a:pt x="875824" y="419862"/>
                    </a:lnTo>
                    <a:lnTo>
                      <a:pt x="875824" y="418148"/>
                    </a:lnTo>
                    <a:lnTo>
                      <a:pt x="876681" y="417290"/>
                    </a:lnTo>
                    <a:lnTo>
                      <a:pt x="878396" y="416433"/>
                    </a:lnTo>
                    <a:lnTo>
                      <a:pt x="882587" y="413957"/>
                    </a:lnTo>
                    <a:lnTo>
                      <a:pt x="900398" y="405384"/>
                    </a:lnTo>
                    <a:lnTo>
                      <a:pt x="902970" y="404622"/>
                    </a:lnTo>
                    <a:lnTo>
                      <a:pt x="908876" y="402907"/>
                    </a:lnTo>
                    <a:lnTo>
                      <a:pt x="909733" y="402050"/>
                    </a:lnTo>
                    <a:lnTo>
                      <a:pt x="910590" y="401193"/>
                    </a:lnTo>
                    <a:lnTo>
                      <a:pt x="910590" y="399478"/>
                    </a:lnTo>
                    <a:lnTo>
                      <a:pt x="910590" y="398621"/>
                    </a:lnTo>
                    <a:lnTo>
                      <a:pt x="909733" y="398621"/>
                    </a:lnTo>
                    <a:lnTo>
                      <a:pt x="908876" y="398621"/>
                    </a:lnTo>
                    <a:lnTo>
                      <a:pt x="908018" y="399478"/>
                    </a:lnTo>
                    <a:lnTo>
                      <a:pt x="908018" y="399478"/>
                    </a:lnTo>
                    <a:lnTo>
                      <a:pt x="907161" y="401193"/>
                    </a:lnTo>
                    <a:lnTo>
                      <a:pt x="906304" y="401193"/>
                    </a:lnTo>
                    <a:lnTo>
                      <a:pt x="905447" y="401193"/>
                    </a:lnTo>
                    <a:lnTo>
                      <a:pt x="904685" y="400336"/>
                    </a:lnTo>
                    <a:lnTo>
                      <a:pt x="902970" y="396907"/>
                    </a:lnTo>
                    <a:lnTo>
                      <a:pt x="902970" y="396145"/>
                    </a:lnTo>
                    <a:lnTo>
                      <a:pt x="902113" y="396145"/>
                    </a:lnTo>
                    <a:lnTo>
                      <a:pt x="902113" y="396145"/>
                    </a:lnTo>
                    <a:lnTo>
                      <a:pt x="901256" y="396145"/>
                    </a:lnTo>
                    <a:lnTo>
                      <a:pt x="901256" y="396907"/>
                    </a:lnTo>
                    <a:lnTo>
                      <a:pt x="900398" y="397764"/>
                    </a:lnTo>
                    <a:lnTo>
                      <a:pt x="900398" y="397764"/>
                    </a:lnTo>
                    <a:lnTo>
                      <a:pt x="899541" y="397764"/>
                    </a:lnTo>
                    <a:lnTo>
                      <a:pt x="896969" y="397764"/>
                    </a:lnTo>
                    <a:lnTo>
                      <a:pt x="892778" y="396907"/>
                    </a:lnTo>
                    <a:lnTo>
                      <a:pt x="891921" y="396907"/>
                    </a:lnTo>
                    <a:lnTo>
                      <a:pt x="891064" y="396145"/>
                    </a:lnTo>
                    <a:lnTo>
                      <a:pt x="891064" y="395287"/>
                    </a:lnTo>
                    <a:lnTo>
                      <a:pt x="890207" y="393573"/>
                    </a:lnTo>
                    <a:lnTo>
                      <a:pt x="890207" y="392716"/>
                    </a:lnTo>
                    <a:lnTo>
                      <a:pt x="889349" y="392716"/>
                    </a:lnTo>
                    <a:lnTo>
                      <a:pt x="888587" y="392716"/>
                    </a:lnTo>
                    <a:lnTo>
                      <a:pt x="887730" y="392716"/>
                    </a:lnTo>
                    <a:lnTo>
                      <a:pt x="887730" y="392716"/>
                    </a:lnTo>
                    <a:lnTo>
                      <a:pt x="886873" y="391858"/>
                    </a:lnTo>
                    <a:lnTo>
                      <a:pt x="886873" y="391001"/>
                    </a:lnTo>
                    <a:lnTo>
                      <a:pt x="886873" y="391001"/>
                    </a:lnTo>
                    <a:lnTo>
                      <a:pt x="886873" y="390144"/>
                    </a:lnTo>
                    <a:lnTo>
                      <a:pt x="886873" y="389287"/>
                    </a:lnTo>
                    <a:lnTo>
                      <a:pt x="886873" y="388430"/>
                    </a:lnTo>
                    <a:lnTo>
                      <a:pt x="887730" y="388430"/>
                    </a:lnTo>
                    <a:lnTo>
                      <a:pt x="894493" y="386810"/>
                    </a:lnTo>
                    <a:lnTo>
                      <a:pt x="896969" y="385953"/>
                    </a:lnTo>
                    <a:lnTo>
                      <a:pt x="897826" y="384239"/>
                    </a:lnTo>
                    <a:lnTo>
                      <a:pt x="897826" y="382524"/>
                    </a:lnTo>
                    <a:lnTo>
                      <a:pt x="897826" y="381667"/>
                    </a:lnTo>
                    <a:lnTo>
                      <a:pt x="899541" y="380810"/>
                    </a:lnTo>
                    <a:lnTo>
                      <a:pt x="902113" y="379952"/>
                    </a:lnTo>
                    <a:lnTo>
                      <a:pt x="903827" y="376619"/>
                    </a:lnTo>
                    <a:lnTo>
                      <a:pt x="902970" y="374904"/>
                    </a:lnTo>
                    <a:lnTo>
                      <a:pt x="902970" y="374904"/>
                    </a:lnTo>
                    <a:lnTo>
                      <a:pt x="902113" y="374904"/>
                    </a:lnTo>
                    <a:lnTo>
                      <a:pt x="901256" y="374047"/>
                    </a:lnTo>
                    <a:lnTo>
                      <a:pt x="900398" y="371475"/>
                    </a:lnTo>
                    <a:lnTo>
                      <a:pt x="900398" y="369761"/>
                    </a:lnTo>
                    <a:lnTo>
                      <a:pt x="899541" y="368141"/>
                    </a:lnTo>
                    <a:lnTo>
                      <a:pt x="898684" y="367284"/>
                    </a:lnTo>
                    <a:lnTo>
                      <a:pt x="897826" y="364712"/>
                    </a:lnTo>
                    <a:lnTo>
                      <a:pt x="898684" y="363855"/>
                    </a:lnTo>
                    <a:lnTo>
                      <a:pt x="898684" y="362140"/>
                    </a:lnTo>
                    <a:lnTo>
                      <a:pt x="898684" y="362140"/>
                    </a:lnTo>
                    <a:lnTo>
                      <a:pt x="897826" y="361283"/>
                    </a:lnTo>
                    <a:lnTo>
                      <a:pt x="896969" y="360426"/>
                    </a:lnTo>
                    <a:lnTo>
                      <a:pt x="894493" y="360426"/>
                    </a:lnTo>
                    <a:lnTo>
                      <a:pt x="893636" y="360426"/>
                    </a:lnTo>
                    <a:lnTo>
                      <a:pt x="892778" y="359664"/>
                    </a:lnTo>
                    <a:lnTo>
                      <a:pt x="886873" y="355378"/>
                    </a:lnTo>
                    <a:lnTo>
                      <a:pt x="886016" y="354520"/>
                    </a:lnTo>
                    <a:lnTo>
                      <a:pt x="885158" y="354520"/>
                    </a:lnTo>
                    <a:lnTo>
                      <a:pt x="882587" y="354520"/>
                    </a:lnTo>
                    <a:lnTo>
                      <a:pt x="881729" y="353663"/>
                    </a:lnTo>
                    <a:lnTo>
                      <a:pt x="880967" y="353663"/>
                    </a:lnTo>
                    <a:lnTo>
                      <a:pt x="880110" y="352806"/>
                    </a:lnTo>
                    <a:lnTo>
                      <a:pt x="879253" y="351187"/>
                    </a:lnTo>
                    <a:lnTo>
                      <a:pt x="878396" y="350330"/>
                    </a:lnTo>
                    <a:lnTo>
                      <a:pt x="877538" y="345186"/>
                    </a:lnTo>
                    <a:lnTo>
                      <a:pt x="875824" y="343472"/>
                    </a:lnTo>
                    <a:lnTo>
                      <a:pt x="874109" y="340138"/>
                    </a:lnTo>
                    <a:lnTo>
                      <a:pt x="869918" y="334994"/>
                    </a:lnTo>
                    <a:lnTo>
                      <a:pt x="869061" y="333280"/>
                    </a:lnTo>
                    <a:lnTo>
                      <a:pt x="868204" y="332518"/>
                    </a:lnTo>
                    <a:lnTo>
                      <a:pt x="869061" y="329946"/>
                    </a:lnTo>
                    <a:lnTo>
                      <a:pt x="869061" y="329089"/>
                    </a:lnTo>
                    <a:lnTo>
                      <a:pt x="869061" y="328232"/>
                    </a:lnTo>
                    <a:lnTo>
                      <a:pt x="869061" y="327374"/>
                    </a:lnTo>
                    <a:lnTo>
                      <a:pt x="868204" y="326517"/>
                    </a:lnTo>
                    <a:lnTo>
                      <a:pt x="867347" y="325660"/>
                    </a:lnTo>
                    <a:lnTo>
                      <a:pt x="866489" y="325660"/>
                    </a:lnTo>
                    <a:lnTo>
                      <a:pt x="866489" y="324803"/>
                    </a:lnTo>
                    <a:lnTo>
                      <a:pt x="866489" y="324040"/>
                    </a:lnTo>
                    <a:lnTo>
                      <a:pt x="867347" y="323183"/>
                    </a:lnTo>
                    <a:lnTo>
                      <a:pt x="868204" y="322326"/>
                    </a:lnTo>
                    <a:lnTo>
                      <a:pt x="868204" y="321469"/>
                    </a:lnTo>
                    <a:lnTo>
                      <a:pt x="868204" y="320611"/>
                    </a:lnTo>
                    <a:lnTo>
                      <a:pt x="868204" y="318897"/>
                    </a:lnTo>
                    <a:lnTo>
                      <a:pt x="867347" y="316325"/>
                    </a:lnTo>
                    <a:lnTo>
                      <a:pt x="866489" y="314706"/>
                    </a:lnTo>
                    <a:lnTo>
                      <a:pt x="866489" y="313849"/>
                    </a:lnTo>
                    <a:lnTo>
                      <a:pt x="865632" y="313849"/>
                    </a:lnTo>
                    <a:lnTo>
                      <a:pt x="864870" y="313849"/>
                    </a:lnTo>
                    <a:lnTo>
                      <a:pt x="864870" y="313849"/>
                    </a:lnTo>
                    <a:lnTo>
                      <a:pt x="864013" y="312992"/>
                    </a:lnTo>
                    <a:lnTo>
                      <a:pt x="864013" y="312134"/>
                    </a:lnTo>
                    <a:lnTo>
                      <a:pt x="864013" y="309563"/>
                    </a:lnTo>
                    <a:lnTo>
                      <a:pt x="864013" y="306229"/>
                    </a:lnTo>
                    <a:lnTo>
                      <a:pt x="862298" y="301085"/>
                    </a:lnTo>
                    <a:lnTo>
                      <a:pt x="858869" y="301085"/>
                    </a:lnTo>
                    <a:lnTo>
                      <a:pt x="858012" y="302800"/>
                    </a:lnTo>
                    <a:lnTo>
                      <a:pt x="857250" y="303657"/>
                    </a:lnTo>
                    <a:lnTo>
                      <a:pt x="857250" y="303657"/>
                    </a:lnTo>
                    <a:lnTo>
                      <a:pt x="856393" y="302800"/>
                    </a:lnTo>
                    <a:lnTo>
                      <a:pt x="855536" y="301942"/>
                    </a:lnTo>
                    <a:lnTo>
                      <a:pt x="854678" y="301085"/>
                    </a:lnTo>
                    <a:lnTo>
                      <a:pt x="853821" y="300228"/>
                    </a:lnTo>
                    <a:lnTo>
                      <a:pt x="852964" y="300228"/>
                    </a:lnTo>
                    <a:lnTo>
                      <a:pt x="852964" y="301942"/>
                    </a:lnTo>
                    <a:lnTo>
                      <a:pt x="852107" y="302800"/>
                    </a:lnTo>
                    <a:lnTo>
                      <a:pt x="851249" y="302800"/>
                    </a:lnTo>
                    <a:lnTo>
                      <a:pt x="850392" y="301942"/>
                    </a:lnTo>
                    <a:lnTo>
                      <a:pt x="850392" y="301085"/>
                    </a:lnTo>
                    <a:lnTo>
                      <a:pt x="849535" y="300228"/>
                    </a:lnTo>
                    <a:lnTo>
                      <a:pt x="848773" y="300228"/>
                    </a:lnTo>
                    <a:lnTo>
                      <a:pt x="847058" y="302800"/>
                    </a:lnTo>
                    <a:lnTo>
                      <a:pt x="846201" y="303657"/>
                    </a:lnTo>
                    <a:lnTo>
                      <a:pt x="844487" y="303657"/>
                    </a:lnTo>
                    <a:lnTo>
                      <a:pt x="841915" y="302800"/>
                    </a:lnTo>
                    <a:lnTo>
                      <a:pt x="838581" y="301085"/>
                    </a:lnTo>
                    <a:lnTo>
                      <a:pt x="836867" y="301085"/>
                    </a:lnTo>
                    <a:lnTo>
                      <a:pt x="836009" y="301942"/>
                    </a:lnTo>
                    <a:lnTo>
                      <a:pt x="835152" y="303657"/>
                    </a:lnTo>
                    <a:lnTo>
                      <a:pt x="835152" y="305371"/>
                    </a:lnTo>
                    <a:lnTo>
                      <a:pt x="836009" y="306229"/>
                    </a:lnTo>
                    <a:lnTo>
                      <a:pt x="838581" y="307848"/>
                    </a:lnTo>
                    <a:lnTo>
                      <a:pt x="839438" y="308705"/>
                    </a:lnTo>
                    <a:lnTo>
                      <a:pt x="840296" y="309563"/>
                    </a:lnTo>
                    <a:lnTo>
                      <a:pt x="839438" y="309563"/>
                    </a:lnTo>
                    <a:lnTo>
                      <a:pt x="833533" y="310420"/>
                    </a:lnTo>
                    <a:lnTo>
                      <a:pt x="831818" y="311277"/>
                    </a:lnTo>
                    <a:lnTo>
                      <a:pt x="830961" y="312992"/>
                    </a:lnTo>
                    <a:lnTo>
                      <a:pt x="829247" y="316325"/>
                    </a:lnTo>
                    <a:lnTo>
                      <a:pt x="828389" y="318040"/>
                    </a:lnTo>
                    <a:lnTo>
                      <a:pt x="825056" y="317182"/>
                    </a:lnTo>
                    <a:lnTo>
                      <a:pt x="821626" y="318897"/>
                    </a:lnTo>
                    <a:lnTo>
                      <a:pt x="819912" y="318040"/>
                    </a:lnTo>
                    <a:lnTo>
                      <a:pt x="819912" y="318040"/>
                    </a:lnTo>
                    <a:lnTo>
                      <a:pt x="819055" y="317182"/>
                    </a:lnTo>
                    <a:lnTo>
                      <a:pt x="819055" y="316325"/>
                    </a:lnTo>
                    <a:lnTo>
                      <a:pt x="819912" y="315468"/>
                    </a:lnTo>
                    <a:lnTo>
                      <a:pt x="819912" y="314706"/>
                    </a:lnTo>
                    <a:lnTo>
                      <a:pt x="822484" y="314706"/>
                    </a:lnTo>
                    <a:lnTo>
                      <a:pt x="822484" y="313849"/>
                    </a:lnTo>
                    <a:lnTo>
                      <a:pt x="822484" y="313849"/>
                    </a:lnTo>
                    <a:lnTo>
                      <a:pt x="821626" y="312992"/>
                    </a:lnTo>
                    <a:lnTo>
                      <a:pt x="821626" y="312134"/>
                    </a:lnTo>
                    <a:lnTo>
                      <a:pt x="820769" y="311277"/>
                    </a:lnTo>
                    <a:lnTo>
                      <a:pt x="820769" y="310420"/>
                    </a:lnTo>
                    <a:lnTo>
                      <a:pt x="820769" y="309563"/>
                    </a:lnTo>
                    <a:lnTo>
                      <a:pt x="821626" y="301085"/>
                    </a:lnTo>
                    <a:lnTo>
                      <a:pt x="822484" y="299371"/>
                    </a:lnTo>
                    <a:lnTo>
                      <a:pt x="824198" y="296894"/>
                    </a:lnTo>
                    <a:lnTo>
                      <a:pt x="825056" y="296037"/>
                    </a:lnTo>
                    <a:lnTo>
                      <a:pt x="825056" y="295180"/>
                    </a:lnTo>
                    <a:lnTo>
                      <a:pt x="825056" y="294323"/>
                    </a:lnTo>
                    <a:lnTo>
                      <a:pt x="825056" y="290036"/>
                    </a:lnTo>
                    <a:lnTo>
                      <a:pt x="825056" y="288322"/>
                    </a:lnTo>
                    <a:lnTo>
                      <a:pt x="825056" y="287560"/>
                    </a:lnTo>
                    <a:lnTo>
                      <a:pt x="825056" y="285845"/>
                    </a:lnTo>
                    <a:lnTo>
                      <a:pt x="824198" y="284131"/>
                    </a:lnTo>
                    <a:lnTo>
                      <a:pt x="824198" y="282416"/>
                    </a:lnTo>
                    <a:lnTo>
                      <a:pt x="824198" y="281559"/>
                    </a:lnTo>
                    <a:lnTo>
                      <a:pt x="824198" y="280702"/>
                    </a:lnTo>
                    <a:lnTo>
                      <a:pt x="824198" y="279844"/>
                    </a:lnTo>
                    <a:lnTo>
                      <a:pt x="824198" y="279082"/>
                    </a:lnTo>
                    <a:lnTo>
                      <a:pt x="824198" y="278225"/>
                    </a:lnTo>
                    <a:lnTo>
                      <a:pt x="823341" y="275654"/>
                    </a:lnTo>
                    <a:lnTo>
                      <a:pt x="822484" y="273939"/>
                    </a:lnTo>
                    <a:lnTo>
                      <a:pt x="822484" y="271367"/>
                    </a:lnTo>
                    <a:lnTo>
                      <a:pt x="822484" y="269748"/>
                    </a:lnTo>
                    <a:lnTo>
                      <a:pt x="825056" y="262033"/>
                    </a:lnTo>
                    <a:lnTo>
                      <a:pt x="825056" y="261271"/>
                    </a:lnTo>
                    <a:lnTo>
                      <a:pt x="825056" y="259556"/>
                    </a:lnTo>
                    <a:lnTo>
                      <a:pt x="824198" y="257842"/>
                    </a:lnTo>
                    <a:lnTo>
                      <a:pt x="823341" y="256984"/>
                    </a:lnTo>
                    <a:lnTo>
                      <a:pt x="819055" y="253556"/>
                    </a:lnTo>
                    <a:lnTo>
                      <a:pt x="818198" y="252698"/>
                    </a:lnTo>
                    <a:lnTo>
                      <a:pt x="816578" y="250222"/>
                    </a:lnTo>
                    <a:lnTo>
                      <a:pt x="816578" y="250222"/>
                    </a:lnTo>
                    <a:lnTo>
                      <a:pt x="815721" y="249365"/>
                    </a:lnTo>
                    <a:lnTo>
                      <a:pt x="814864" y="248507"/>
                    </a:lnTo>
                    <a:lnTo>
                      <a:pt x="814007" y="248507"/>
                    </a:lnTo>
                    <a:lnTo>
                      <a:pt x="813149" y="248507"/>
                    </a:lnTo>
                    <a:lnTo>
                      <a:pt x="812292" y="248507"/>
                    </a:lnTo>
                    <a:lnTo>
                      <a:pt x="809816" y="250222"/>
                    </a:lnTo>
                    <a:lnTo>
                      <a:pt x="808958" y="251936"/>
                    </a:lnTo>
                    <a:lnTo>
                      <a:pt x="808101" y="252698"/>
                    </a:lnTo>
                    <a:lnTo>
                      <a:pt x="807244" y="254413"/>
                    </a:lnTo>
                    <a:lnTo>
                      <a:pt x="804672" y="257842"/>
                    </a:lnTo>
                    <a:lnTo>
                      <a:pt x="802100" y="259556"/>
                    </a:lnTo>
                    <a:lnTo>
                      <a:pt x="801338" y="260413"/>
                    </a:lnTo>
                    <a:lnTo>
                      <a:pt x="799624" y="261271"/>
                    </a:lnTo>
                    <a:lnTo>
                      <a:pt x="797909" y="262033"/>
                    </a:lnTo>
                    <a:lnTo>
                      <a:pt x="797909" y="262890"/>
                    </a:lnTo>
                    <a:lnTo>
                      <a:pt x="796195" y="263747"/>
                    </a:lnTo>
                    <a:lnTo>
                      <a:pt x="795338" y="264605"/>
                    </a:lnTo>
                    <a:lnTo>
                      <a:pt x="793718" y="265462"/>
                    </a:lnTo>
                    <a:lnTo>
                      <a:pt x="792861" y="266319"/>
                    </a:lnTo>
                    <a:lnTo>
                      <a:pt x="792004" y="267176"/>
                    </a:lnTo>
                    <a:lnTo>
                      <a:pt x="792004" y="268034"/>
                    </a:lnTo>
                    <a:lnTo>
                      <a:pt x="792004" y="268891"/>
                    </a:lnTo>
                    <a:lnTo>
                      <a:pt x="792004" y="269748"/>
                    </a:lnTo>
                    <a:lnTo>
                      <a:pt x="792004" y="270510"/>
                    </a:lnTo>
                    <a:lnTo>
                      <a:pt x="792861" y="271367"/>
                    </a:lnTo>
                    <a:lnTo>
                      <a:pt x="793718" y="273939"/>
                    </a:lnTo>
                    <a:lnTo>
                      <a:pt x="793718" y="274796"/>
                    </a:lnTo>
                    <a:lnTo>
                      <a:pt x="793718" y="275654"/>
                    </a:lnTo>
                    <a:lnTo>
                      <a:pt x="792861" y="275654"/>
                    </a:lnTo>
                    <a:lnTo>
                      <a:pt x="791147" y="276511"/>
                    </a:lnTo>
                    <a:lnTo>
                      <a:pt x="788575" y="276511"/>
                    </a:lnTo>
                    <a:lnTo>
                      <a:pt x="787718" y="276511"/>
                    </a:lnTo>
                    <a:lnTo>
                      <a:pt x="786098" y="277368"/>
                    </a:lnTo>
                    <a:lnTo>
                      <a:pt x="786098" y="278225"/>
                    </a:lnTo>
                    <a:lnTo>
                      <a:pt x="785241" y="278225"/>
                    </a:lnTo>
                    <a:lnTo>
                      <a:pt x="783526" y="280702"/>
                    </a:lnTo>
                    <a:lnTo>
                      <a:pt x="782669" y="281559"/>
                    </a:lnTo>
                    <a:lnTo>
                      <a:pt x="781812" y="281559"/>
                    </a:lnTo>
                    <a:lnTo>
                      <a:pt x="780955" y="280702"/>
                    </a:lnTo>
                    <a:lnTo>
                      <a:pt x="780098" y="279844"/>
                    </a:lnTo>
                    <a:lnTo>
                      <a:pt x="780098" y="279082"/>
                    </a:lnTo>
                    <a:lnTo>
                      <a:pt x="779240" y="273939"/>
                    </a:lnTo>
                    <a:lnTo>
                      <a:pt x="778383" y="273082"/>
                    </a:lnTo>
                    <a:lnTo>
                      <a:pt x="778383" y="272225"/>
                    </a:lnTo>
                    <a:lnTo>
                      <a:pt x="777621" y="272225"/>
                    </a:lnTo>
                    <a:lnTo>
                      <a:pt x="775907" y="272225"/>
                    </a:lnTo>
                    <a:lnTo>
                      <a:pt x="775049" y="272225"/>
                    </a:lnTo>
                    <a:lnTo>
                      <a:pt x="770763" y="270510"/>
                    </a:lnTo>
                    <a:lnTo>
                      <a:pt x="770001" y="269748"/>
                    </a:lnTo>
                    <a:lnTo>
                      <a:pt x="770001" y="268891"/>
                    </a:lnTo>
                    <a:lnTo>
                      <a:pt x="770763" y="268891"/>
                    </a:lnTo>
                    <a:lnTo>
                      <a:pt x="773335" y="268034"/>
                    </a:lnTo>
                    <a:lnTo>
                      <a:pt x="773335" y="268034"/>
                    </a:lnTo>
                    <a:lnTo>
                      <a:pt x="773335" y="267176"/>
                    </a:lnTo>
                    <a:lnTo>
                      <a:pt x="773335" y="267176"/>
                    </a:lnTo>
                    <a:lnTo>
                      <a:pt x="772478" y="266319"/>
                    </a:lnTo>
                    <a:lnTo>
                      <a:pt x="770001" y="264605"/>
                    </a:lnTo>
                    <a:lnTo>
                      <a:pt x="770001" y="263747"/>
                    </a:lnTo>
                    <a:lnTo>
                      <a:pt x="770001" y="262890"/>
                    </a:lnTo>
                    <a:lnTo>
                      <a:pt x="770001" y="262033"/>
                    </a:lnTo>
                    <a:lnTo>
                      <a:pt x="770001" y="262033"/>
                    </a:lnTo>
                    <a:lnTo>
                      <a:pt x="770763" y="262033"/>
                    </a:lnTo>
                    <a:lnTo>
                      <a:pt x="772478" y="262890"/>
                    </a:lnTo>
                    <a:lnTo>
                      <a:pt x="773335" y="262890"/>
                    </a:lnTo>
                    <a:lnTo>
                      <a:pt x="774192" y="262890"/>
                    </a:lnTo>
                    <a:lnTo>
                      <a:pt x="774192" y="262890"/>
                    </a:lnTo>
                    <a:lnTo>
                      <a:pt x="774192" y="262033"/>
                    </a:lnTo>
                    <a:lnTo>
                      <a:pt x="774192" y="261271"/>
                    </a:lnTo>
                    <a:lnTo>
                      <a:pt x="770763" y="257842"/>
                    </a:lnTo>
                    <a:lnTo>
                      <a:pt x="770001" y="256984"/>
                    </a:lnTo>
                    <a:lnTo>
                      <a:pt x="769144" y="256984"/>
                    </a:lnTo>
                    <a:lnTo>
                      <a:pt x="766572" y="257842"/>
                    </a:lnTo>
                    <a:lnTo>
                      <a:pt x="761524" y="258699"/>
                    </a:lnTo>
                    <a:lnTo>
                      <a:pt x="760667" y="257842"/>
                    </a:lnTo>
                    <a:lnTo>
                      <a:pt x="760667" y="257842"/>
                    </a:lnTo>
                    <a:lnTo>
                      <a:pt x="759809" y="256984"/>
                    </a:lnTo>
                    <a:lnTo>
                      <a:pt x="759809" y="256127"/>
                    </a:lnTo>
                    <a:lnTo>
                      <a:pt x="758952" y="255270"/>
                    </a:lnTo>
                    <a:lnTo>
                      <a:pt x="758952" y="254413"/>
                    </a:lnTo>
                    <a:lnTo>
                      <a:pt x="758095" y="254413"/>
                    </a:lnTo>
                    <a:lnTo>
                      <a:pt x="758095" y="253556"/>
                    </a:lnTo>
                    <a:lnTo>
                      <a:pt x="756380" y="253556"/>
                    </a:lnTo>
                    <a:lnTo>
                      <a:pt x="755523" y="252698"/>
                    </a:lnTo>
                    <a:lnTo>
                      <a:pt x="754761" y="252698"/>
                    </a:lnTo>
                    <a:lnTo>
                      <a:pt x="753904" y="253556"/>
                    </a:lnTo>
                    <a:lnTo>
                      <a:pt x="753904" y="256127"/>
                    </a:lnTo>
                    <a:lnTo>
                      <a:pt x="754761" y="256984"/>
                    </a:lnTo>
                    <a:lnTo>
                      <a:pt x="755523" y="257842"/>
                    </a:lnTo>
                    <a:lnTo>
                      <a:pt x="757238" y="258699"/>
                    </a:lnTo>
                    <a:lnTo>
                      <a:pt x="758095" y="259556"/>
                    </a:lnTo>
                    <a:lnTo>
                      <a:pt x="758952" y="260413"/>
                    </a:lnTo>
                    <a:lnTo>
                      <a:pt x="758095" y="261271"/>
                    </a:lnTo>
                    <a:lnTo>
                      <a:pt x="758095" y="261271"/>
                    </a:lnTo>
                    <a:lnTo>
                      <a:pt x="755523" y="262033"/>
                    </a:lnTo>
                    <a:lnTo>
                      <a:pt x="755523" y="262033"/>
                    </a:lnTo>
                    <a:lnTo>
                      <a:pt x="754761" y="262890"/>
                    </a:lnTo>
                    <a:lnTo>
                      <a:pt x="754761" y="264605"/>
                    </a:lnTo>
                    <a:lnTo>
                      <a:pt x="755523" y="264605"/>
                    </a:lnTo>
                    <a:lnTo>
                      <a:pt x="757238" y="265462"/>
                    </a:lnTo>
                    <a:lnTo>
                      <a:pt x="758095" y="266319"/>
                    </a:lnTo>
                    <a:lnTo>
                      <a:pt x="758952" y="267176"/>
                    </a:lnTo>
                    <a:lnTo>
                      <a:pt x="758952" y="268034"/>
                    </a:lnTo>
                    <a:lnTo>
                      <a:pt x="758952" y="269748"/>
                    </a:lnTo>
                    <a:lnTo>
                      <a:pt x="758095" y="271367"/>
                    </a:lnTo>
                    <a:lnTo>
                      <a:pt x="756380" y="271367"/>
                    </a:lnTo>
                    <a:lnTo>
                      <a:pt x="754761" y="271367"/>
                    </a:lnTo>
                    <a:lnTo>
                      <a:pt x="750475" y="268034"/>
                    </a:lnTo>
                    <a:lnTo>
                      <a:pt x="748760" y="268034"/>
                    </a:lnTo>
                    <a:lnTo>
                      <a:pt x="747903" y="268034"/>
                    </a:lnTo>
                    <a:lnTo>
                      <a:pt x="747903" y="268034"/>
                    </a:lnTo>
                    <a:lnTo>
                      <a:pt x="746284" y="268891"/>
                    </a:lnTo>
                    <a:lnTo>
                      <a:pt x="746284" y="268891"/>
                    </a:lnTo>
                    <a:lnTo>
                      <a:pt x="744569" y="269748"/>
                    </a:lnTo>
                    <a:lnTo>
                      <a:pt x="743712" y="268891"/>
                    </a:lnTo>
                    <a:lnTo>
                      <a:pt x="741140" y="268891"/>
                    </a:lnTo>
                    <a:lnTo>
                      <a:pt x="741140" y="268891"/>
                    </a:lnTo>
                    <a:lnTo>
                      <a:pt x="740283" y="268891"/>
                    </a:lnTo>
                    <a:lnTo>
                      <a:pt x="739426" y="268891"/>
                    </a:lnTo>
                    <a:lnTo>
                      <a:pt x="739426" y="269748"/>
                    </a:lnTo>
                    <a:lnTo>
                      <a:pt x="738664" y="270510"/>
                    </a:lnTo>
                    <a:lnTo>
                      <a:pt x="738664" y="272225"/>
                    </a:lnTo>
                    <a:lnTo>
                      <a:pt x="738664" y="273939"/>
                    </a:lnTo>
                    <a:lnTo>
                      <a:pt x="738664" y="275654"/>
                    </a:lnTo>
                    <a:lnTo>
                      <a:pt x="739426" y="279082"/>
                    </a:lnTo>
                    <a:lnTo>
                      <a:pt x="740283" y="283273"/>
                    </a:lnTo>
                    <a:lnTo>
                      <a:pt x="741140" y="284988"/>
                    </a:lnTo>
                    <a:lnTo>
                      <a:pt x="741140" y="287560"/>
                    </a:lnTo>
                    <a:lnTo>
                      <a:pt x="741140" y="289179"/>
                    </a:lnTo>
                    <a:lnTo>
                      <a:pt x="741140" y="290036"/>
                    </a:lnTo>
                    <a:lnTo>
                      <a:pt x="742855" y="291751"/>
                    </a:lnTo>
                    <a:lnTo>
                      <a:pt x="743712" y="291751"/>
                    </a:lnTo>
                    <a:lnTo>
                      <a:pt x="743712" y="292608"/>
                    </a:lnTo>
                    <a:lnTo>
                      <a:pt x="743712" y="294323"/>
                    </a:lnTo>
                    <a:lnTo>
                      <a:pt x="743712" y="296037"/>
                    </a:lnTo>
                    <a:lnTo>
                      <a:pt x="744569" y="296894"/>
                    </a:lnTo>
                    <a:lnTo>
                      <a:pt x="744569" y="297656"/>
                    </a:lnTo>
                    <a:lnTo>
                      <a:pt x="744569" y="298513"/>
                    </a:lnTo>
                    <a:lnTo>
                      <a:pt x="744569" y="299371"/>
                    </a:lnTo>
                    <a:lnTo>
                      <a:pt x="740283" y="301942"/>
                    </a:lnTo>
                    <a:lnTo>
                      <a:pt x="736949" y="298513"/>
                    </a:lnTo>
                    <a:lnTo>
                      <a:pt x="734378" y="296037"/>
                    </a:lnTo>
                    <a:lnTo>
                      <a:pt x="731044" y="296037"/>
                    </a:lnTo>
                    <a:lnTo>
                      <a:pt x="720852" y="297656"/>
                    </a:lnTo>
                    <a:lnTo>
                      <a:pt x="719995" y="296894"/>
                    </a:lnTo>
                    <a:lnTo>
                      <a:pt x="719138" y="296037"/>
                    </a:lnTo>
                    <a:lnTo>
                      <a:pt x="718280" y="294323"/>
                    </a:lnTo>
                    <a:lnTo>
                      <a:pt x="718280" y="292608"/>
                    </a:lnTo>
                    <a:lnTo>
                      <a:pt x="718280" y="291751"/>
                    </a:lnTo>
                    <a:lnTo>
                      <a:pt x="717423" y="290894"/>
                    </a:lnTo>
                    <a:lnTo>
                      <a:pt x="716566" y="290036"/>
                    </a:lnTo>
                    <a:lnTo>
                      <a:pt x="713232" y="287560"/>
                    </a:lnTo>
                    <a:lnTo>
                      <a:pt x="713232" y="285845"/>
                    </a:lnTo>
                    <a:lnTo>
                      <a:pt x="713232" y="283273"/>
                    </a:lnTo>
                    <a:lnTo>
                      <a:pt x="714089" y="283273"/>
                    </a:lnTo>
                    <a:lnTo>
                      <a:pt x="716566" y="283273"/>
                    </a:lnTo>
                    <a:lnTo>
                      <a:pt x="717423" y="283273"/>
                    </a:lnTo>
                    <a:lnTo>
                      <a:pt x="718280" y="283273"/>
                    </a:lnTo>
                    <a:lnTo>
                      <a:pt x="718280" y="282416"/>
                    </a:lnTo>
                    <a:lnTo>
                      <a:pt x="719138" y="281559"/>
                    </a:lnTo>
                    <a:lnTo>
                      <a:pt x="719138" y="280702"/>
                    </a:lnTo>
                    <a:lnTo>
                      <a:pt x="719138" y="279082"/>
                    </a:lnTo>
                    <a:lnTo>
                      <a:pt x="718280" y="279082"/>
                    </a:lnTo>
                    <a:lnTo>
                      <a:pt x="717423" y="278225"/>
                    </a:lnTo>
                    <a:lnTo>
                      <a:pt x="717423" y="277368"/>
                    </a:lnTo>
                    <a:lnTo>
                      <a:pt x="717423" y="277368"/>
                    </a:lnTo>
                    <a:lnTo>
                      <a:pt x="718280" y="276511"/>
                    </a:lnTo>
                    <a:lnTo>
                      <a:pt x="718280" y="275654"/>
                    </a:lnTo>
                    <a:lnTo>
                      <a:pt x="719138" y="274796"/>
                    </a:lnTo>
                    <a:lnTo>
                      <a:pt x="719138" y="273939"/>
                    </a:lnTo>
                    <a:lnTo>
                      <a:pt x="719995" y="272225"/>
                    </a:lnTo>
                    <a:lnTo>
                      <a:pt x="719995" y="271367"/>
                    </a:lnTo>
                    <a:lnTo>
                      <a:pt x="722567" y="269748"/>
                    </a:lnTo>
                    <a:lnTo>
                      <a:pt x="724186" y="267176"/>
                    </a:lnTo>
                    <a:lnTo>
                      <a:pt x="724186" y="266319"/>
                    </a:lnTo>
                    <a:lnTo>
                      <a:pt x="724186" y="265462"/>
                    </a:lnTo>
                    <a:lnTo>
                      <a:pt x="723329" y="264605"/>
                    </a:lnTo>
                    <a:lnTo>
                      <a:pt x="722567" y="263747"/>
                    </a:lnTo>
                    <a:lnTo>
                      <a:pt x="721709" y="264605"/>
                    </a:lnTo>
                    <a:lnTo>
                      <a:pt x="720852" y="264605"/>
                    </a:lnTo>
                    <a:lnTo>
                      <a:pt x="720852" y="265462"/>
                    </a:lnTo>
                    <a:lnTo>
                      <a:pt x="719995" y="266319"/>
                    </a:lnTo>
                    <a:lnTo>
                      <a:pt x="719138" y="267176"/>
                    </a:lnTo>
                    <a:lnTo>
                      <a:pt x="718280" y="267176"/>
                    </a:lnTo>
                    <a:lnTo>
                      <a:pt x="718280" y="267176"/>
                    </a:lnTo>
                    <a:lnTo>
                      <a:pt x="715709" y="264605"/>
                    </a:lnTo>
                    <a:lnTo>
                      <a:pt x="714947" y="263747"/>
                    </a:lnTo>
                    <a:lnTo>
                      <a:pt x="714947" y="262890"/>
                    </a:lnTo>
                    <a:lnTo>
                      <a:pt x="714947" y="262033"/>
                    </a:lnTo>
                    <a:lnTo>
                      <a:pt x="715709" y="261271"/>
                    </a:lnTo>
                    <a:lnTo>
                      <a:pt x="716566" y="260413"/>
                    </a:lnTo>
                    <a:lnTo>
                      <a:pt x="718280" y="259556"/>
                    </a:lnTo>
                    <a:lnTo>
                      <a:pt x="719995" y="258699"/>
                    </a:lnTo>
                    <a:lnTo>
                      <a:pt x="720852" y="258699"/>
                    </a:lnTo>
                    <a:lnTo>
                      <a:pt x="721709" y="257842"/>
                    </a:lnTo>
                    <a:lnTo>
                      <a:pt x="723329" y="255270"/>
                    </a:lnTo>
                    <a:lnTo>
                      <a:pt x="724186" y="254413"/>
                    </a:lnTo>
                    <a:lnTo>
                      <a:pt x="725043" y="254413"/>
                    </a:lnTo>
                    <a:lnTo>
                      <a:pt x="725043" y="254413"/>
                    </a:lnTo>
                    <a:lnTo>
                      <a:pt x="726758" y="256984"/>
                    </a:lnTo>
                    <a:lnTo>
                      <a:pt x="727615" y="257842"/>
                    </a:lnTo>
                    <a:lnTo>
                      <a:pt x="729329" y="257842"/>
                    </a:lnTo>
                    <a:lnTo>
                      <a:pt x="730187" y="256984"/>
                    </a:lnTo>
                    <a:lnTo>
                      <a:pt x="730187" y="256127"/>
                    </a:lnTo>
                    <a:lnTo>
                      <a:pt x="728472" y="253556"/>
                    </a:lnTo>
                    <a:lnTo>
                      <a:pt x="727615" y="251936"/>
                    </a:lnTo>
                    <a:lnTo>
                      <a:pt x="726758" y="251079"/>
                    </a:lnTo>
                    <a:lnTo>
                      <a:pt x="725900" y="250222"/>
                    </a:lnTo>
                    <a:lnTo>
                      <a:pt x="725043" y="247650"/>
                    </a:lnTo>
                    <a:lnTo>
                      <a:pt x="724186" y="245078"/>
                    </a:lnTo>
                    <a:lnTo>
                      <a:pt x="716566" y="234886"/>
                    </a:lnTo>
                    <a:lnTo>
                      <a:pt x="711518" y="229838"/>
                    </a:lnTo>
                    <a:lnTo>
                      <a:pt x="708089" y="227267"/>
                    </a:lnTo>
                    <a:lnTo>
                      <a:pt x="707326" y="227267"/>
                    </a:lnTo>
                    <a:lnTo>
                      <a:pt x="705612" y="226409"/>
                    </a:lnTo>
                    <a:lnTo>
                      <a:pt x="703040" y="225552"/>
                    </a:lnTo>
                    <a:lnTo>
                      <a:pt x="700469" y="223933"/>
                    </a:lnTo>
                    <a:lnTo>
                      <a:pt x="699611" y="223933"/>
                    </a:lnTo>
                    <a:lnTo>
                      <a:pt x="698849" y="223933"/>
                    </a:lnTo>
                    <a:lnTo>
                      <a:pt x="697992" y="223933"/>
                    </a:lnTo>
                    <a:lnTo>
                      <a:pt x="697135" y="224790"/>
                    </a:lnTo>
                    <a:lnTo>
                      <a:pt x="696278" y="223933"/>
                    </a:lnTo>
                    <a:lnTo>
                      <a:pt x="695420" y="222218"/>
                    </a:lnTo>
                    <a:lnTo>
                      <a:pt x="695420" y="220504"/>
                    </a:lnTo>
                    <a:lnTo>
                      <a:pt x="696278" y="219646"/>
                    </a:lnTo>
                    <a:lnTo>
                      <a:pt x="696278" y="218789"/>
                    </a:lnTo>
                    <a:lnTo>
                      <a:pt x="694563" y="217932"/>
                    </a:lnTo>
                    <a:lnTo>
                      <a:pt x="692849" y="217075"/>
                    </a:lnTo>
                    <a:lnTo>
                      <a:pt x="687800" y="212884"/>
                    </a:lnTo>
                    <a:lnTo>
                      <a:pt x="685229" y="208598"/>
                    </a:lnTo>
                    <a:lnTo>
                      <a:pt x="683609" y="206978"/>
                    </a:lnTo>
                    <a:lnTo>
                      <a:pt x="683609" y="206978"/>
                    </a:lnTo>
                    <a:lnTo>
                      <a:pt x="682752" y="206121"/>
                    </a:lnTo>
                    <a:lnTo>
                      <a:pt x="679323" y="201835"/>
                    </a:lnTo>
                    <a:lnTo>
                      <a:pt x="677609" y="200120"/>
                    </a:lnTo>
                    <a:lnTo>
                      <a:pt x="675894" y="197644"/>
                    </a:lnTo>
                    <a:lnTo>
                      <a:pt x="675132" y="194215"/>
                    </a:lnTo>
                    <a:lnTo>
                      <a:pt x="671703" y="183166"/>
                    </a:lnTo>
                    <a:lnTo>
                      <a:pt x="669131" y="178975"/>
                    </a:lnTo>
                    <a:lnTo>
                      <a:pt x="668274" y="177260"/>
                    </a:lnTo>
                    <a:lnTo>
                      <a:pt x="669131" y="175546"/>
                    </a:lnTo>
                    <a:lnTo>
                      <a:pt x="668274" y="173831"/>
                    </a:lnTo>
                    <a:lnTo>
                      <a:pt x="666655" y="169640"/>
                    </a:lnTo>
                    <a:lnTo>
                      <a:pt x="665798" y="167926"/>
                    </a:lnTo>
                    <a:lnTo>
                      <a:pt x="664940" y="164497"/>
                    </a:lnTo>
                    <a:lnTo>
                      <a:pt x="664083" y="162020"/>
                    </a:lnTo>
                    <a:lnTo>
                      <a:pt x="664083" y="161163"/>
                    </a:lnTo>
                    <a:lnTo>
                      <a:pt x="664940" y="160306"/>
                    </a:lnTo>
                    <a:lnTo>
                      <a:pt x="664940" y="159448"/>
                    </a:lnTo>
                    <a:lnTo>
                      <a:pt x="666655" y="158591"/>
                    </a:lnTo>
                    <a:lnTo>
                      <a:pt x="667512" y="157734"/>
                    </a:lnTo>
                    <a:lnTo>
                      <a:pt x="668274" y="156877"/>
                    </a:lnTo>
                    <a:lnTo>
                      <a:pt x="668274" y="155162"/>
                    </a:lnTo>
                    <a:lnTo>
                      <a:pt x="667512" y="154305"/>
                    </a:lnTo>
                    <a:lnTo>
                      <a:pt x="667512" y="152686"/>
                    </a:lnTo>
                    <a:lnTo>
                      <a:pt x="666655" y="152686"/>
                    </a:lnTo>
                    <a:lnTo>
                      <a:pt x="665798" y="151829"/>
                    </a:lnTo>
                    <a:lnTo>
                      <a:pt x="661511" y="150114"/>
                    </a:lnTo>
                    <a:lnTo>
                      <a:pt x="660654" y="149257"/>
                    </a:lnTo>
                    <a:lnTo>
                      <a:pt x="657320" y="144971"/>
                    </a:lnTo>
                    <a:lnTo>
                      <a:pt x="655606" y="142494"/>
                    </a:lnTo>
                    <a:lnTo>
                      <a:pt x="654749" y="140779"/>
                    </a:lnTo>
                    <a:lnTo>
                      <a:pt x="653891" y="139065"/>
                    </a:lnTo>
                    <a:lnTo>
                      <a:pt x="653891" y="138208"/>
                    </a:lnTo>
                    <a:lnTo>
                      <a:pt x="653891" y="137350"/>
                    </a:lnTo>
                    <a:lnTo>
                      <a:pt x="653891" y="136493"/>
                    </a:lnTo>
                    <a:lnTo>
                      <a:pt x="653891" y="135636"/>
                    </a:lnTo>
                    <a:lnTo>
                      <a:pt x="653891" y="134874"/>
                    </a:lnTo>
                    <a:lnTo>
                      <a:pt x="653034" y="133159"/>
                    </a:lnTo>
                    <a:lnTo>
                      <a:pt x="652177" y="132302"/>
                    </a:lnTo>
                    <a:lnTo>
                      <a:pt x="652177" y="131445"/>
                    </a:lnTo>
                    <a:lnTo>
                      <a:pt x="652177" y="130588"/>
                    </a:lnTo>
                    <a:lnTo>
                      <a:pt x="653034" y="129731"/>
                    </a:lnTo>
                    <a:lnTo>
                      <a:pt x="653034" y="129731"/>
                    </a:lnTo>
                    <a:lnTo>
                      <a:pt x="654749" y="128873"/>
                    </a:lnTo>
                    <a:lnTo>
                      <a:pt x="655606" y="128873"/>
                    </a:lnTo>
                    <a:lnTo>
                      <a:pt x="655606" y="128873"/>
                    </a:lnTo>
                    <a:lnTo>
                      <a:pt x="655606" y="128016"/>
                    </a:lnTo>
                    <a:lnTo>
                      <a:pt x="655606" y="127159"/>
                    </a:lnTo>
                    <a:lnTo>
                      <a:pt x="655606" y="126397"/>
                    </a:lnTo>
                    <a:lnTo>
                      <a:pt x="655606" y="125540"/>
                    </a:lnTo>
                    <a:lnTo>
                      <a:pt x="653891" y="122968"/>
                    </a:lnTo>
                    <a:lnTo>
                      <a:pt x="653891" y="121253"/>
                    </a:lnTo>
                    <a:lnTo>
                      <a:pt x="653891" y="120396"/>
                    </a:lnTo>
                    <a:lnTo>
                      <a:pt x="653034" y="120396"/>
                    </a:lnTo>
                    <a:lnTo>
                      <a:pt x="651415" y="121253"/>
                    </a:lnTo>
                    <a:lnTo>
                      <a:pt x="649700" y="122111"/>
                    </a:lnTo>
                    <a:lnTo>
                      <a:pt x="648843" y="122111"/>
                    </a:lnTo>
                    <a:lnTo>
                      <a:pt x="648843" y="122968"/>
                    </a:lnTo>
                    <a:lnTo>
                      <a:pt x="647986" y="122968"/>
                    </a:lnTo>
                    <a:lnTo>
                      <a:pt x="647129" y="122111"/>
                    </a:lnTo>
                    <a:lnTo>
                      <a:pt x="646271" y="121253"/>
                    </a:lnTo>
                    <a:lnTo>
                      <a:pt x="646271" y="120396"/>
                    </a:lnTo>
                    <a:lnTo>
                      <a:pt x="646271" y="119539"/>
                    </a:lnTo>
                    <a:lnTo>
                      <a:pt x="647129" y="117062"/>
                    </a:lnTo>
                    <a:lnTo>
                      <a:pt x="647129" y="116205"/>
                    </a:lnTo>
                    <a:lnTo>
                      <a:pt x="647129" y="115348"/>
                    </a:lnTo>
                    <a:lnTo>
                      <a:pt x="646271" y="114490"/>
                    </a:lnTo>
                    <a:lnTo>
                      <a:pt x="645414" y="115348"/>
                    </a:lnTo>
                    <a:lnTo>
                      <a:pt x="641223" y="117062"/>
                    </a:lnTo>
                    <a:lnTo>
                      <a:pt x="641223" y="117062"/>
                    </a:lnTo>
                    <a:lnTo>
                      <a:pt x="640366" y="117824"/>
                    </a:lnTo>
                    <a:lnTo>
                      <a:pt x="640366" y="118681"/>
                    </a:lnTo>
                    <a:lnTo>
                      <a:pt x="640366" y="119539"/>
                    </a:lnTo>
                    <a:lnTo>
                      <a:pt x="639509" y="119539"/>
                    </a:lnTo>
                    <a:lnTo>
                      <a:pt x="637794" y="120396"/>
                    </a:lnTo>
                    <a:lnTo>
                      <a:pt x="636175" y="120396"/>
                    </a:lnTo>
                    <a:lnTo>
                      <a:pt x="634460" y="120396"/>
                    </a:lnTo>
                    <a:lnTo>
                      <a:pt x="632746" y="119539"/>
                    </a:lnTo>
                    <a:lnTo>
                      <a:pt x="631889" y="118681"/>
                    </a:lnTo>
                    <a:lnTo>
                      <a:pt x="631031" y="118681"/>
                    </a:lnTo>
                    <a:lnTo>
                      <a:pt x="629317" y="118681"/>
                    </a:lnTo>
                    <a:lnTo>
                      <a:pt x="628460" y="120396"/>
                    </a:lnTo>
                    <a:lnTo>
                      <a:pt x="626840" y="121253"/>
                    </a:lnTo>
                    <a:lnTo>
                      <a:pt x="625126" y="121253"/>
                    </a:lnTo>
                    <a:lnTo>
                      <a:pt x="624269" y="121253"/>
                    </a:lnTo>
                    <a:lnTo>
                      <a:pt x="622554" y="122968"/>
                    </a:lnTo>
                    <a:lnTo>
                      <a:pt x="621697" y="122968"/>
                    </a:lnTo>
                    <a:lnTo>
                      <a:pt x="620840" y="122968"/>
                    </a:lnTo>
                    <a:lnTo>
                      <a:pt x="619220" y="122968"/>
                    </a:lnTo>
                    <a:lnTo>
                      <a:pt x="618363" y="122111"/>
                    </a:lnTo>
                    <a:lnTo>
                      <a:pt x="617506" y="121253"/>
                    </a:lnTo>
                    <a:lnTo>
                      <a:pt x="616649" y="118681"/>
                    </a:lnTo>
                    <a:lnTo>
                      <a:pt x="615791" y="117824"/>
                    </a:lnTo>
                    <a:lnTo>
                      <a:pt x="614934" y="116205"/>
                    </a:lnTo>
                    <a:lnTo>
                      <a:pt x="614077" y="116205"/>
                    </a:lnTo>
                    <a:lnTo>
                      <a:pt x="612458" y="116205"/>
                    </a:lnTo>
                    <a:lnTo>
                      <a:pt x="610743" y="117062"/>
                    </a:lnTo>
                    <a:lnTo>
                      <a:pt x="609886" y="117062"/>
                    </a:lnTo>
                    <a:lnTo>
                      <a:pt x="609029" y="117062"/>
                    </a:lnTo>
                    <a:lnTo>
                      <a:pt x="608171" y="117062"/>
                    </a:lnTo>
                    <a:lnTo>
                      <a:pt x="607314" y="117062"/>
                    </a:lnTo>
                    <a:lnTo>
                      <a:pt x="606457" y="116205"/>
                    </a:lnTo>
                    <a:lnTo>
                      <a:pt x="605599" y="114490"/>
                    </a:lnTo>
                    <a:lnTo>
                      <a:pt x="604742" y="111919"/>
                    </a:lnTo>
                    <a:lnTo>
                      <a:pt x="603980" y="109347"/>
                    </a:lnTo>
                    <a:lnTo>
                      <a:pt x="603123" y="108490"/>
                    </a:lnTo>
                    <a:lnTo>
                      <a:pt x="603123" y="107728"/>
                    </a:lnTo>
                    <a:lnTo>
                      <a:pt x="602266" y="106871"/>
                    </a:lnTo>
                    <a:lnTo>
                      <a:pt x="600551" y="105156"/>
                    </a:lnTo>
                    <a:lnTo>
                      <a:pt x="598837" y="104299"/>
                    </a:lnTo>
                    <a:lnTo>
                      <a:pt x="597980" y="103442"/>
                    </a:lnTo>
                    <a:lnTo>
                      <a:pt x="595503" y="103442"/>
                    </a:lnTo>
                    <a:lnTo>
                      <a:pt x="594646" y="102584"/>
                    </a:lnTo>
                    <a:lnTo>
                      <a:pt x="592931" y="101727"/>
                    </a:lnTo>
                    <a:lnTo>
                      <a:pt x="592074" y="101727"/>
                    </a:lnTo>
                    <a:lnTo>
                      <a:pt x="591217" y="101727"/>
                    </a:lnTo>
                    <a:lnTo>
                      <a:pt x="589502" y="102584"/>
                    </a:lnTo>
                    <a:lnTo>
                      <a:pt x="588740" y="103442"/>
                    </a:lnTo>
                    <a:lnTo>
                      <a:pt x="587026" y="104299"/>
                    </a:lnTo>
                    <a:lnTo>
                      <a:pt x="586169" y="106013"/>
                    </a:lnTo>
                    <a:lnTo>
                      <a:pt x="585311" y="106871"/>
                    </a:lnTo>
                    <a:lnTo>
                      <a:pt x="583597" y="106871"/>
                    </a:lnTo>
                    <a:lnTo>
                      <a:pt x="582740" y="106871"/>
                    </a:lnTo>
                    <a:lnTo>
                      <a:pt x="578549" y="106013"/>
                    </a:lnTo>
                    <a:lnTo>
                      <a:pt x="577691" y="106013"/>
                    </a:lnTo>
                    <a:lnTo>
                      <a:pt x="575120" y="106871"/>
                    </a:lnTo>
                    <a:lnTo>
                      <a:pt x="573405" y="106871"/>
                    </a:lnTo>
                    <a:lnTo>
                      <a:pt x="572643" y="106871"/>
                    </a:lnTo>
                    <a:lnTo>
                      <a:pt x="571786" y="106871"/>
                    </a:lnTo>
                    <a:lnTo>
                      <a:pt x="571786" y="107728"/>
                    </a:lnTo>
                    <a:lnTo>
                      <a:pt x="570929" y="108490"/>
                    </a:lnTo>
                    <a:lnTo>
                      <a:pt x="570929" y="110204"/>
                    </a:lnTo>
                    <a:lnTo>
                      <a:pt x="570929" y="110204"/>
                    </a:lnTo>
                    <a:lnTo>
                      <a:pt x="570071" y="111061"/>
                    </a:lnTo>
                    <a:lnTo>
                      <a:pt x="569214" y="111061"/>
                    </a:lnTo>
                    <a:lnTo>
                      <a:pt x="567499" y="111061"/>
                    </a:lnTo>
                    <a:lnTo>
                      <a:pt x="566642" y="110204"/>
                    </a:lnTo>
                    <a:lnTo>
                      <a:pt x="566642" y="108490"/>
                    </a:lnTo>
                    <a:lnTo>
                      <a:pt x="565023" y="106871"/>
                    </a:lnTo>
                    <a:lnTo>
                      <a:pt x="564166" y="105156"/>
                    </a:lnTo>
                    <a:lnTo>
                      <a:pt x="562451" y="102584"/>
                    </a:lnTo>
                    <a:lnTo>
                      <a:pt x="562451" y="101727"/>
                    </a:lnTo>
                    <a:lnTo>
                      <a:pt x="561594" y="100013"/>
                    </a:lnTo>
                    <a:lnTo>
                      <a:pt x="560737" y="98393"/>
                    </a:lnTo>
                    <a:lnTo>
                      <a:pt x="559880" y="97536"/>
                    </a:lnTo>
                    <a:lnTo>
                      <a:pt x="559880" y="96679"/>
                    </a:lnTo>
                    <a:lnTo>
                      <a:pt x="559880" y="95821"/>
                    </a:lnTo>
                    <a:lnTo>
                      <a:pt x="559880" y="94964"/>
                    </a:lnTo>
                    <a:lnTo>
                      <a:pt x="560737" y="94107"/>
                    </a:lnTo>
                    <a:lnTo>
                      <a:pt x="561594" y="94107"/>
                    </a:lnTo>
                    <a:lnTo>
                      <a:pt x="565023" y="94107"/>
                    </a:lnTo>
                    <a:lnTo>
                      <a:pt x="565785" y="94107"/>
                    </a:lnTo>
                    <a:lnTo>
                      <a:pt x="566642" y="93250"/>
                    </a:lnTo>
                    <a:lnTo>
                      <a:pt x="567499" y="92392"/>
                    </a:lnTo>
                    <a:lnTo>
                      <a:pt x="567499" y="90678"/>
                    </a:lnTo>
                    <a:lnTo>
                      <a:pt x="567499" y="87344"/>
                    </a:lnTo>
                    <a:lnTo>
                      <a:pt x="567499" y="85630"/>
                    </a:lnTo>
                    <a:lnTo>
                      <a:pt x="566642" y="83915"/>
                    </a:lnTo>
                    <a:lnTo>
                      <a:pt x="565023" y="82201"/>
                    </a:lnTo>
                    <a:lnTo>
                      <a:pt x="564166" y="80581"/>
                    </a:lnTo>
                    <a:lnTo>
                      <a:pt x="564166" y="78010"/>
                    </a:lnTo>
                    <a:lnTo>
                      <a:pt x="565023" y="67818"/>
                    </a:lnTo>
                    <a:lnTo>
                      <a:pt x="565023" y="65246"/>
                    </a:lnTo>
                    <a:lnTo>
                      <a:pt x="566642" y="61055"/>
                    </a:lnTo>
                    <a:lnTo>
                      <a:pt x="567499" y="59341"/>
                    </a:lnTo>
                    <a:lnTo>
                      <a:pt x="566642" y="57626"/>
                    </a:lnTo>
                    <a:lnTo>
                      <a:pt x="565785" y="55912"/>
                    </a:lnTo>
                    <a:lnTo>
                      <a:pt x="565785" y="55912"/>
                    </a:lnTo>
                    <a:lnTo>
                      <a:pt x="565023" y="55054"/>
                    </a:lnTo>
                    <a:lnTo>
                      <a:pt x="564166" y="55912"/>
                    </a:lnTo>
                    <a:lnTo>
                      <a:pt x="564166" y="55912"/>
                    </a:lnTo>
                    <a:lnTo>
                      <a:pt x="563309" y="56769"/>
                    </a:lnTo>
                    <a:lnTo>
                      <a:pt x="562451" y="56769"/>
                    </a:lnTo>
                    <a:lnTo>
                      <a:pt x="562451" y="57626"/>
                    </a:lnTo>
                    <a:lnTo>
                      <a:pt x="560737" y="57626"/>
                    </a:lnTo>
                    <a:lnTo>
                      <a:pt x="559880" y="57626"/>
                    </a:lnTo>
                    <a:lnTo>
                      <a:pt x="559022" y="57626"/>
                    </a:lnTo>
                    <a:lnTo>
                      <a:pt x="558165" y="58483"/>
                    </a:lnTo>
                    <a:lnTo>
                      <a:pt x="557308" y="59341"/>
                    </a:lnTo>
                    <a:lnTo>
                      <a:pt x="556546" y="59341"/>
                    </a:lnTo>
                    <a:lnTo>
                      <a:pt x="555689" y="59341"/>
                    </a:lnTo>
                    <a:lnTo>
                      <a:pt x="553974" y="59341"/>
                    </a:lnTo>
                    <a:lnTo>
                      <a:pt x="553117" y="59341"/>
                    </a:lnTo>
                    <a:lnTo>
                      <a:pt x="552260" y="58483"/>
                    </a:lnTo>
                    <a:lnTo>
                      <a:pt x="551402" y="57626"/>
                    </a:lnTo>
                    <a:lnTo>
                      <a:pt x="551402" y="55912"/>
                    </a:lnTo>
                    <a:lnTo>
                      <a:pt x="551402" y="54292"/>
                    </a:lnTo>
                    <a:lnTo>
                      <a:pt x="551402" y="51721"/>
                    </a:lnTo>
                    <a:lnTo>
                      <a:pt x="553117" y="49149"/>
                    </a:lnTo>
                    <a:lnTo>
                      <a:pt x="553117" y="48292"/>
                    </a:lnTo>
                    <a:lnTo>
                      <a:pt x="553974" y="48292"/>
                    </a:lnTo>
                    <a:lnTo>
                      <a:pt x="554831" y="48292"/>
                    </a:lnTo>
                    <a:lnTo>
                      <a:pt x="558165" y="46577"/>
                    </a:lnTo>
                    <a:lnTo>
                      <a:pt x="559022" y="45720"/>
                    </a:lnTo>
                    <a:lnTo>
                      <a:pt x="559880" y="44958"/>
                    </a:lnTo>
                    <a:lnTo>
                      <a:pt x="560737" y="44101"/>
                    </a:lnTo>
                    <a:lnTo>
                      <a:pt x="560737" y="43244"/>
                    </a:lnTo>
                    <a:lnTo>
                      <a:pt x="560737" y="41529"/>
                    </a:lnTo>
                    <a:lnTo>
                      <a:pt x="560737" y="40672"/>
                    </a:lnTo>
                    <a:lnTo>
                      <a:pt x="559022" y="39815"/>
                    </a:lnTo>
                    <a:lnTo>
                      <a:pt x="558165" y="38957"/>
                    </a:lnTo>
                    <a:lnTo>
                      <a:pt x="557308" y="37243"/>
                    </a:lnTo>
                    <a:lnTo>
                      <a:pt x="557308" y="37243"/>
                    </a:lnTo>
                    <a:lnTo>
                      <a:pt x="557308" y="33052"/>
                    </a:lnTo>
                    <a:lnTo>
                      <a:pt x="542925" y="31337"/>
                    </a:lnTo>
                    <a:lnTo>
                      <a:pt x="532829" y="31337"/>
                    </a:lnTo>
                    <a:lnTo>
                      <a:pt x="491299" y="28765"/>
                    </a:lnTo>
                    <a:lnTo>
                      <a:pt x="487871" y="27908"/>
                    </a:lnTo>
                    <a:lnTo>
                      <a:pt x="487013" y="26289"/>
                    </a:lnTo>
                    <a:lnTo>
                      <a:pt x="487013" y="26289"/>
                    </a:lnTo>
                    <a:lnTo>
                      <a:pt x="487871" y="25432"/>
                    </a:lnTo>
                    <a:lnTo>
                      <a:pt x="488728" y="22003"/>
                    </a:lnTo>
                    <a:lnTo>
                      <a:pt x="497205" y="8477"/>
                    </a:lnTo>
                    <a:lnTo>
                      <a:pt x="497205" y="8477"/>
                    </a:lnTo>
                    <a:lnTo>
                      <a:pt x="497205" y="5906"/>
                    </a:lnTo>
                    <a:lnTo>
                      <a:pt x="498062" y="3334"/>
                    </a:lnTo>
                    <a:lnTo>
                      <a:pt x="497205" y="1619"/>
                    </a:lnTo>
                    <a:lnTo>
                      <a:pt x="494633" y="0"/>
                    </a:lnTo>
                    <a:lnTo>
                      <a:pt x="493871" y="2477"/>
                    </a:lnTo>
                    <a:lnTo>
                      <a:pt x="476059" y="17812"/>
                    </a:lnTo>
                    <a:lnTo>
                      <a:pt x="471773" y="20288"/>
                    </a:lnTo>
                    <a:lnTo>
                      <a:pt x="451485" y="24575"/>
                    </a:lnTo>
                    <a:lnTo>
                      <a:pt x="431959" y="33909"/>
                    </a:lnTo>
                    <a:lnTo>
                      <a:pt x="431102" y="35623"/>
                    </a:lnTo>
                    <a:lnTo>
                      <a:pt x="426053" y="50863"/>
                    </a:lnTo>
                    <a:lnTo>
                      <a:pt x="421005" y="66104"/>
                    </a:lnTo>
                    <a:lnTo>
                      <a:pt x="415861" y="84773"/>
                    </a:lnTo>
                    <a:lnTo>
                      <a:pt x="409956" y="96679"/>
                    </a:lnTo>
                    <a:lnTo>
                      <a:pt x="404051" y="107728"/>
                    </a:lnTo>
                    <a:lnTo>
                      <a:pt x="395573" y="123825"/>
                    </a:lnTo>
                    <a:lnTo>
                      <a:pt x="388811" y="133159"/>
                    </a:lnTo>
                    <a:lnTo>
                      <a:pt x="386239" y="138208"/>
                    </a:lnTo>
                    <a:lnTo>
                      <a:pt x="382048" y="146685"/>
                    </a:lnTo>
                    <a:lnTo>
                      <a:pt x="381191" y="148400"/>
                    </a:lnTo>
                    <a:lnTo>
                      <a:pt x="379476" y="150114"/>
                    </a:lnTo>
                    <a:lnTo>
                      <a:pt x="365093" y="156877"/>
                    </a:lnTo>
                    <a:lnTo>
                      <a:pt x="352330" y="163640"/>
                    </a:lnTo>
                    <a:lnTo>
                      <a:pt x="337947" y="171355"/>
                    </a:lnTo>
                    <a:lnTo>
                      <a:pt x="321850" y="179832"/>
                    </a:lnTo>
                    <a:lnTo>
                      <a:pt x="318516" y="181451"/>
                    </a:lnTo>
                    <a:lnTo>
                      <a:pt x="310896" y="191643"/>
                    </a:lnTo>
                    <a:lnTo>
                      <a:pt x="307467" y="196786"/>
                    </a:lnTo>
                    <a:lnTo>
                      <a:pt x="301561" y="222218"/>
                    </a:lnTo>
                    <a:lnTo>
                      <a:pt x="298990" y="228124"/>
                    </a:lnTo>
                    <a:lnTo>
                      <a:pt x="296513" y="233267"/>
                    </a:lnTo>
                    <a:lnTo>
                      <a:pt x="291370" y="238315"/>
                    </a:lnTo>
                    <a:lnTo>
                      <a:pt x="277844" y="249365"/>
                    </a:lnTo>
                    <a:lnTo>
                      <a:pt x="269367" y="261271"/>
                    </a:lnTo>
                    <a:lnTo>
                      <a:pt x="268510" y="262890"/>
                    </a:lnTo>
                    <a:lnTo>
                      <a:pt x="267653" y="265462"/>
                    </a:lnTo>
                    <a:lnTo>
                      <a:pt x="265938" y="280702"/>
                    </a:lnTo>
                    <a:lnTo>
                      <a:pt x="265938" y="282416"/>
                    </a:lnTo>
                    <a:lnTo>
                      <a:pt x="264319" y="284131"/>
                    </a:lnTo>
                    <a:lnTo>
                      <a:pt x="246507" y="289179"/>
                    </a:lnTo>
                    <a:lnTo>
                      <a:pt x="231267" y="294323"/>
                    </a:lnTo>
                    <a:lnTo>
                      <a:pt x="221933" y="295180"/>
                    </a:lnTo>
                    <a:lnTo>
                      <a:pt x="213455" y="294323"/>
                    </a:lnTo>
                    <a:lnTo>
                      <a:pt x="203263" y="295180"/>
                    </a:lnTo>
                    <a:lnTo>
                      <a:pt x="194024" y="296894"/>
                    </a:lnTo>
                    <a:lnTo>
                      <a:pt x="185547" y="300228"/>
                    </a:lnTo>
                    <a:lnTo>
                      <a:pt x="171926" y="306991"/>
                    </a:lnTo>
                    <a:lnTo>
                      <a:pt x="159258" y="312992"/>
                    </a:lnTo>
                    <a:lnTo>
                      <a:pt x="150781" y="314706"/>
                    </a:lnTo>
                    <a:lnTo>
                      <a:pt x="143161" y="313849"/>
                    </a:lnTo>
                    <a:lnTo>
                      <a:pt x="137255" y="309563"/>
                    </a:lnTo>
                    <a:lnTo>
                      <a:pt x="132969" y="303657"/>
                    </a:lnTo>
                    <a:lnTo>
                      <a:pt x="129635" y="296037"/>
                    </a:lnTo>
                    <a:lnTo>
                      <a:pt x="128778" y="293465"/>
                    </a:lnTo>
                    <a:lnTo>
                      <a:pt x="129635" y="288322"/>
                    </a:lnTo>
                    <a:lnTo>
                      <a:pt x="128778" y="285845"/>
                    </a:lnTo>
                    <a:lnTo>
                      <a:pt x="127064" y="284988"/>
                    </a:lnTo>
                    <a:lnTo>
                      <a:pt x="124492" y="282416"/>
                    </a:lnTo>
                    <a:lnTo>
                      <a:pt x="120301" y="278225"/>
                    </a:lnTo>
                    <a:lnTo>
                      <a:pt x="117729" y="275654"/>
                    </a:lnTo>
                    <a:lnTo>
                      <a:pt x="114395" y="273939"/>
                    </a:lnTo>
                    <a:lnTo>
                      <a:pt x="111824" y="273082"/>
                    </a:lnTo>
                    <a:lnTo>
                      <a:pt x="109252" y="273082"/>
                    </a:lnTo>
                    <a:lnTo>
                      <a:pt x="106775" y="273082"/>
                    </a:lnTo>
                    <a:lnTo>
                      <a:pt x="102489" y="274796"/>
                    </a:lnTo>
                    <a:lnTo>
                      <a:pt x="98298" y="275654"/>
                    </a:lnTo>
                    <a:lnTo>
                      <a:pt x="96583" y="276511"/>
                    </a:lnTo>
                    <a:lnTo>
                      <a:pt x="94869" y="278225"/>
                    </a:lnTo>
                    <a:lnTo>
                      <a:pt x="88106" y="284988"/>
                    </a:lnTo>
                    <a:lnTo>
                      <a:pt x="80486" y="290036"/>
                    </a:lnTo>
                    <a:lnTo>
                      <a:pt x="79629" y="290894"/>
                    </a:lnTo>
                    <a:lnTo>
                      <a:pt x="70294" y="301085"/>
                    </a:lnTo>
                    <a:lnTo>
                      <a:pt x="68580" y="303657"/>
                    </a:lnTo>
                    <a:lnTo>
                      <a:pt x="60960" y="327374"/>
                    </a:lnTo>
                    <a:lnTo>
                      <a:pt x="57626" y="330803"/>
                    </a:lnTo>
                    <a:lnTo>
                      <a:pt x="49149" y="340138"/>
                    </a:lnTo>
                    <a:lnTo>
                      <a:pt x="42386" y="351187"/>
                    </a:lnTo>
                    <a:lnTo>
                      <a:pt x="28766" y="362998"/>
                    </a:lnTo>
                    <a:lnTo>
                      <a:pt x="22003" y="368141"/>
                    </a:lnTo>
                    <a:lnTo>
                      <a:pt x="11906" y="378333"/>
                    </a:lnTo>
                    <a:lnTo>
                      <a:pt x="7620" y="385953"/>
                    </a:lnTo>
                    <a:lnTo>
                      <a:pt x="4286" y="395287"/>
                    </a:lnTo>
                    <a:lnTo>
                      <a:pt x="1714" y="410528"/>
                    </a:lnTo>
                    <a:lnTo>
                      <a:pt x="0" y="425768"/>
                    </a:lnTo>
                    <a:lnTo>
                      <a:pt x="857" y="430911"/>
                    </a:lnTo>
                    <a:lnTo>
                      <a:pt x="4286" y="434245"/>
                    </a:lnTo>
                    <a:lnTo>
                      <a:pt x="21145" y="441865"/>
                    </a:lnTo>
                    <a:lnTo>
                      <a:pt x="25432" y="444436"/>
                    </a:lnTo>
                    <a:lnTo>
                      <a:pt x="33909" y="452057"/>
                    </a:lnTo>
                    <a:lnTo>
                      <a:pt x="38957" y="453771"/>
                    </a:lnTo>
                    <a:lnTo>
                      <a:pt x="65246" y="452057"/>
                    </a:lnTo>
                    <a:lnTo>
                      <a:pt x="69437" y="453771"/>
                    </a:lnTo>
                    <a:lnTo>
                      <a:pt x="72866" y="455486"/>
                    </a:lnTo>
                    <a:lnTo>
                      <a:pt x="76200" y="459677"/>
                    </a:lnTo>
                    <a:lnTo>
                      <a:pt x="77057" y="463963"/>
                    </a:lnTo>
                    <a:lnTo>
                      <a:pt x="76200" y="474155"/>
                    </a:lnTo>
                    <a:lnTo>
                      <a:pt x="76200" y="479203"/>
                    </a:lnTo>
                    <a:lnTo>
                      <a:pt x="76200" y="480917"/>
                    </a:lnTo>
                    <a:lnTo>
                      <a:pt x="75438" y="483489"/>
                    </a:lnTo>
                    <a:lnTo>
                      <a:pt x="74581" y="486061"/>
                    </a:lnTo>
                    <a:lnTo>
                      <a:pt x="74581" y="488537"/>
                    </a:lnTo>
                    <a:lnTo>
                      <a:pt x="75438" y="493681"/>
                    </a:lnTo>
                    <a:lnTo>
                      <a:pt x="75438" y="497872"/>
                    </a:lnTo>
                    <a:lnTo>
                      <a:pt x="73724" y="502158"/>
                    </a:lnTo>
                    <a:lnTo>
                      <a:pt x="67818" y="512350"/>
                    </a:lnTo>
                    <a:lnTo>
                      <a:pt x="66961" y="513969"/>
                    </a:lnTo>
                    <a:lnTo>
                      <a:pt x="66961" y="519112"/>
                    </a:lnTo>
                    <a:lnTo>
                      <a:pt x="66104" y="525018"/>
                    </a:lnTo>
                    <a:lnTo>
                      <a:pt x="66104" y="526732"/>
                    </a:lnTo>
                    <a:lnTo>
                      <a:pt x="67818" y="533495"/>
                    </a:lnTo>
                    <a:lnTo>
                      <a:pt x="71152" y="539496"/>
                    </a:lnTo>
                    <a:lnTo>
                      <a:pt x="75438" y="544544"/>
                    </a:lnTo>
                    <a:lnTo>
                      <a:pt x="80486" y="547973"/>
                    </a:lnTo>
                    <a:lnTo>
                      <a:pt x="82201" y="550450"/>
                    </a:lnTo>
                    <a:lnTo>
                      <a:pt x="84677" y="557308"/>
                    </a:lnTo>
                    <a:lnTo>
                      <a:pt x="86392" y="560641"/>
                    </a:lnTo>
                    <a:lnTo>
                      <a:pt x="88106" y="561499"/>
                    </a:lnTo>
                    <a:lnTo>
                      <a:pt x="92297" y="563213"/>
                    </a:lnTo>
                    <a:lnTo>
                      <a:pt x="98298" y="564928"/>
                    </a:lnTo>
                    <a:lnTo>
                      <a:pt x="111824" y="564070"/>
                    </a:lnTo>
                    <a:lnTo>
                      <a:pt x="116015" y="563213"/>
                    </a:lnTo>
                    <a:lnTo>
                      <a:pt x="120301" y="561499"/>
                    </a:lnTo>
                    <a:lnTo>
                      <a:pt x="124492" y="560641"/>
                    </a:lnTo>
                    <a:lnTo>
                      <a:pt x="128778" y="561499"/>
                    </a:lnTo>
                    <a:lnTo>
                      <a:pt x="131255" y="564070"/>
                    </a:lnTo>
                    <a:lnTo>
                      <a:pt x="131255" y="569119"/>
                    </a:lnTo>
                    <a:lnTo>
                      <a:pt x="131255" y="580168"/>
                    </a:lnTo>
                    <a:lnTo>
                      <a:pt x="130492" y="593789"/>
                    </a:lnTo>
                    <a:lnTo>
                      <a:pt x="131255" y="597980"/>
                    </a:lnTo>
                    <a:lnTo>
                      <a:pt x="132969" y="600551"/>
                    </a:lnTo>
                    <a:lnTo>
                      <a:pt x="137255" y="605599"/>
                    </a:lnTo>
                    <a:lnTo>
                      <a:pt x="138113" y="609028"/>
                    </a:lnTo>
                    <a:lnTo>
                      <a:pt x="138875" y="611600"/>
                    </a:lnTo>
                    <a:lnTo>
                      <a:pt x="139732" y="614077"/>
                    </a:lnTo>
                    <a:lnTo>
                      <a:pt x="144018" y="618363"/>
                    </a:lnTo>
                    <a:lnTo>
                      <a:pt x="150781" y="624269"/>
                    </a:lnTo>
                    <a:lnTo>
                      <a:pt x="152495" y="626840"/>
                    </a:lnTo>
                    <a:lnTo>
                      <a:pt x="154210" y="629412"/>
                    </a:lnTo>
                    <a:lnTo>
                      <a:pt x="157543" y="646366"/>
                    </a:lnTo>
                    <a:lnTo>
                      <a:pt x="160115" y="653129"/>
                    </a:lnTo>
                    <a:lnTo>
                      <a:pt x="162592" y="659035"/>
                    </a:lnTo>
                    <a:lnTo>
                      <a:pt x="169450" y="670084"/>
                    </a:lnTo>
                    <a:lnTo>
                      <a:pt x="173641" y="680276"/>
                    </a:lnTo>
                    <a:lnTo>
                      <a:pt x="175355" y="683705"/>
                    </a:lnTo>
                    <a:lnTo>
                      <a:pt x="178689" y="684466"/>
                    </a:lnTo>
                    <a:lnTo>
                      <a:pt x="183833" y="687895"/>
                    </a:lnTo>
                    <a:lnTo>
                      <a:pt x="194024" y="690467"/>
                    </a:lnTo>
                    <a:lnTo>
                      <a:pt x="194786" y="690467"/>
                    </a:lnTo>
                    <a:lnTo>
                      <a:pt x="196501" y="690467"/>
                    </a:lnTo>
                    <a:lnTo>
                      <a:pt x="198215" y="689610"/>
                    </a:lnTo>
                    <a:lnTo>
                      <a:pt x="199930" y="688753"/>
                    </a:lnTo>
                    <a:lnTo>
                      <a:pt x="201644" y="687895"/>
                    </a:lnTo>
                    <a:lnTo>
                      <a:pt x="204978" y="687038"/>
                    </a:lnTo>
                    <a:lnTo>
                      <a:pt x="206692" y="687895"/>
                    </a:lnTo>
                    <a:lnTo>
                      <a:pt x="208407" y="688753"/>
                    </a:lnTo>
                    <a:lnTo>
                      <a:pt x="210884" y="689610"/>
                    </a:lnTo>
                    <a:lnTo>
                      <a:pt x="212598" y="689610"/>
                    </a:lnTo>
                    <a:lnTo>
                      <a:pt x="214312" y="687895"/>
                    </a:lnTo>
                    <a:lnTo>
                      <a:pt x="217741" y="685324"/>
                    </a:lnTo>
                    <a:lnTo>
                      <a:pt x="218504" y="685324"/>
                    </a:lnTo>
                    <a:lnTo>
                      <a:pt x="221075" y="684466"/>
                    </a:lnTo>
                    <a:lnTo>
                      <a:pt x="229553" y="684466"/>
                    </a:lnTo>
                    <a:lnTo>
                      <a:pt x="232124" y="684466"/>
                    </a:lnTo>
                    <a:lnTo>
                      <a:pt x="234601" y="685324"/>
                    </a:lnTo>
                    <a:lnTo>
                      <a:pt x="236315" y="687038"/>
                    </a:lnTo>
                    <a:lnTo>
                      <a:pt x="238030" y="687038"/>
                    </a:lnTo>
                    <a:lnTo>
                      <a:pt x="239744" y="687895"/>
                    </a:lnTo>
                    <a:lnTo>
                      <a:pt x="241459" y="687895"/>
                    </a:lnTo>
                    <a:lnTo>
                      <a:pt x="251555" y="685324"/>
                    </a:lnTo>
                    <a:lnTo>
                      <a:pt x="253270" y="685324"/>
                    </a:lnTo>
                    <a:lnTo>
                      <a:pt x="254127" y="686181"/>
                    </a:lnTo>
                    <a:lnTo>
                      <a:pt x="254127" y="687895"/>
                    </a:lnTo>
                    <a:lnTo>
                      <a:pt x="254984" y="688753"/>
                    </a:lnTo>
                    <a:lnTo>
                      <a:pt x="255841" y="689610"/>
                    </a:lnTo>
                    <a:lnTo>
                      <a:pt x="258318" y="690467"/>
                    </a:lnTo>
                    <a:lnTo>
                      <a:pt x="260033" y="690467"/>
                    </a:lnTo>
                    <a:lnTo>
                      <a:pt x="260890" y="690467"/>
                    </a:lnTo>
                    <a:lnTo>
                      <a:pt x="260890" y="689610"/>
                    </a:lnTo>
                    <a:lnTo>
                      <a:pt x="260890" y="687895"/>
                    </a:lnTo>
                    <a:lnTo>
                      <a:pt x="260890" y="687038"/>
                    </a:lnTo>
                    <a:lnTo>
                      <a:pt x="260890" y="686181"/>
                    </a:lnTo>
                    <a:lnTo>
                      <a:pt x="261747" y="685324"/>
                    </a:lnTo>
                    <a:lnTo>
                      <a:pt x="263461" y="684466"/>
                    </a:lnTo>
                    <a:lnTo>
                      <a:pt x="265176" y="684466"/>
                    </a:lnTo>
                    <a:lnTo>
                      <a:pt x="265938" y="684466"/>
                    </a:lnTo>
                    <a:lnTo>
                      <a:pt x="266795" y="685324"/>
                    </a:lnTo>
                    <a:lnTo>
                      <a:pt x="267653" y="687038"/>
                    </a:lnTo>
                    <a:lnTo>
                      <a:pt x="268510" y="687038"/>
                    </a:lnTo>
                    <a:lnTo>
                      <a:pt x="271082" y="687895"/>
                    </a:lnTo>
                    <a:lnTo>
                      <a:pt x="271939" y="687895"/>
                    </a:lnTo>
                    <a:lnTo>
                      <a:pt x="273558" y="687038"/>
                    </a:lnTo>
                    <a:lnTo>
                      <a:pt x="275273" y="686181"/>
                    </a:lnTo>
                    <a:lnTo>
                      <a:pt x="276987" y="684466"/>
                    </a:lnTo>
                    <a:lnTo>
                      <a:pt x="276987" y="683705"/>
                    </a:lnTo>
                    <a:lnTo>
                      <a:pt x="277844" y="683705"/>
                    </a:lnTo>
                    <a:lnTo>
                      <a:pt x="282893" y="681990"/>
                    </a:lnTo>
                    <a:lnTo>
                      <a:pt x="285464" y="681990"/>
                    </a:lnTo>
                    <a:lnTo>
                      <a:pt x="286322" y="682847"/>
                    </a:lnTo>
                    <a:lnTo>
                      <a:pt x="287179" y="683705"/>
                    </a:lnTo>
                    <a:lnTo>
                      <a:pt x="288893" y="686181"/>
                    </a:lnTo>
                    <a:lnTo>
                      <a:pt x="290512" y="687895"/>
                    </a:lnTo>
                    <a:lnTo>
                      <a:pt x="298990" y="691324"/>
                    </a:lnTo>
                    <a:lnTo>
                      <a:pt x="302419" y="691324"/>
                    </a:lnTo>
                    <a:lnTo>
                      <a:pt x="309182" y="690467"/>
                    </a:lnTo>
                    <a:lnTo>
                      <a:pt x="312515" y="689610"/>
                    </a:lnTo>
                    <a:lnTo>
                      <a:pt x="315087" y="689610"/>
                    </a:lnTo>
                    <a:lnTo>
                      <a:pt x="315944" y="689610"/>
                    </a:lnTo>
                    <a:lnTo>
                      <a:pt x="315944" y="690467"/>
                    </a:lnTo>
                    <a:lnTo>
                      <a:pt x="316802" y="692182"/>
                    </a:lnTo>
                    <a:lnTo>
                      <a:pt x="315944" y="692182"/>
                    </a:lnTo>
                    <a:lnTo>
                      <a:pt x="315944" y="693039"/>
                    </a:lnTo>
                    <a:lnTo>
                      <a:pt x="315087" y="693039"/>
                    </a:lnTo>
                    <a:lnTo>
                      <a:pt x="313373" y="693801"/>
                    </a:lnTo>
                    <a:lnTo>
                      <a:pt x="308324" y="693801"/>
                    </a:lnTo>
                    <a:lnTo>
                      <a:pt x="307467" y="693801"/>
                    </a:lnTo>
                    <a:lnTo>
                      <a:pt x="307467" y="694658"/>
                    </a:lnTo>
                    <a:lnTo>
                      <a:pt x="306610" y="694658"/>
                    </a:lnTo>
                    <a:lnTo>
                      <a:pt x="306610" y="695515"/>
                    </a:lnTo>
                    <a:lnTo>
                      <a:pt x="307467" y="697230"/>
                    </a:lnTo>
                    <a:lnTo>
                      <a:pt x="310039" y="698945"/>
                    </a:lnTo>
                    <a:lnTo>
                      <a:pt x="311753" y="699802"/>
                    </a:lnTo>
                    <a:lnTo>
                      <a:pt x="312515" y="699802"/>
                    </a:lnTo>
                    <a:lnTo>
                      <a:pt x="314230" y="699802"/>
                    </a:lnTo>
                    <a:lnTo>
                      <a:pt x="315944" y="700659"/>
                    </a:lnTo>
                    <a:lnTo>
                      <a:pt x="316802" y="700659"/>
                    </a:lnTo>
                    <a:lnTo>
                      <a:pt x="317659" y="701516"/>
                    </a:lnTo>
                    <a:lnTo>
                      <a:pt x="317659" y="702278"/>
                    </a:lnTo>
                    <a:lnTo>
                      <a:pt x="318516" y="703136"/>
                    </a:lnTo>
                    <a:lnTo>
                      <a:pt x="318516" y="703993"/>
                    </a:lnTo>
                    <a:lnTo>
                      <a:pt x="319373" y="704850"/>
                    </a:lnTo>
                    <a:lnTo>
                      <a:pt x="320993" y="704850"/>
                    </a:lnTo>
                    <a:lnTo>
                      <a:pt x="321850" y="703993"/>
                    </a:lnTo>
                    <a:lnTo>
                      <a:pt x="323564" y="703993"/>
                    </a:lnTo>
                    <a:lnTo>
                      <a:pt x="325279" y="703993"/>
                    </a:lnTo>
                    <a:lnTo>
                      <a:pt x="326136" y="704850"/>
                    </a:lnTo>
                    <a:lnTo>
                      <a:pt x="326136" y="705707"/>
                    </a:lnTo>
                    <a:lnTo>
                      <a:pt x="326136" y="707422"/>
                    </a:lnTo>
                    <a:lnTo>
                      <a:pt x="326136" y="707422"/>
                    </a:lnTo>
                    <a:lnTo>
                      <a:pt x="326136" y="708279"/>
                    </a:lnTo>
                    <a:lnTo>
                      <a:pt x="326136" y="709136"/>
                    </a:lnTo>
                    <a:lnTo>
                      <a:pt x="326993" y="711613"/>
                    </a:lnTo>
                    <a:lnTo>
                      <a:pt x="327851" y="713327"/>
                    </a:lnTo>
                    <a:lnTo>
                      <a:pt x="329470" y="715042"/>
                    </a:lnTo>
                    <a:lnTo>
                      <a:pt x="330327" y="715899"/>
                    </a:lnTo>
                    <a:lnTo>
                      <a:pt x="331184" y="715899"/>
                    </a:lnTo>
                    <a:lnTo>
                      <a:pt x="331184" y="715899"/>
                    </a:lnTo>
                    <a:lnTo>
                      <a:pt x="332042" y="715042"/>
                    </a:lnTo>
                    <a:lnTo>
                      <a:pt x="332042" y="715042"/>
                    </a:lnTo>
                    <a:lnTo>
                      <a:pt x="332899" y="714185"/>
                    </a:lnTo>
                    <a:lnTo>
                      <a:pt x="332899" y="714185"/>
                    </a:lnTo>
                    <a:lnTo>
                      <a:pt x="334613" y="707422"/>
                    </a:lnTo>
                    <a:lnTo>
                      <a:pt x="335471" y="707422"/>
                    </a:lnTo>
                    <a:lnTo>
                      <a:pt x="335471" y="706565"/>
                    </a:lnTo>
                    <a:lnTo>
                      <a:pt x="335471" y="706565"/>
                    </a:lnTo>
                    <a:lnTo>
                      <a:pt x="336233" y="705707"/>
                    </a:lnTo>
                    <a:lnTo>
                      <a:pt x="337090" y="705707"/>
                    </a:lnTo>
                    <a:lnTo>
                      <a:pt x="339661" y="705707"/>
                    </a:lnTo>
                    <a:lnTo>
                      <a:pt x="340519" y="706565"/>
                    </a:lnTo>
                    <a:lnTo>
                      <a:pt x="345567" y="709136"/>
                    </a:lnTo>
                    <a:lnTo>
                      <a:pt x="347282" y="709994"/>
                    </a:lnTo>
                    <a:lnTo>
                      <a:pt x="348996" y="710851"/>
                    </a:lnTo>
                    <a:lnTo>
                      <a:pt x="351568" y="710851"/>
                    </a:lnTo>
                    <a:lnTo>
                      <a:pt x="352330" y="710851"/>
                    </a:lnTo>
                    <a:lnTo>
                      <a:pt x="353187" y="711613"/>
                    </a:lnTo>
                    <a:lnTo>
                      <a:pt x="354044" y="712470"/>
                    </a:lnTo>
                    <a:lnTo>
                      <a:pt x="354044" y="713327"/>
                    </a:lnTo>
                    <a:lnTo>
                      <a:pt x="355759" y="717614"/>
                    </a:lnTo>
                    <a:lnTo>
                      <a:pt x="356616" y="718471"/>
                    </a:lnTo>
                    <a:lnTo>
                      <a:pt x="357473" y="719328"/>
                    </a:lnTo>
                    <a:lnTo>
                      <a:pt x="359188" y="720185"/>
                    </a:lnTo>
                    <a:lnTo>
                      <a:pt x="360807" y="720947"/>
                    </a:lnTo>
                    <a:lnTo>
                      <a:pt x="361664" y="721805"/>
                    </a:lnTo>
                    <a:lnTo>
                      <a:pt x="367665" y="721805"/>
                    </a:lnTo>
                    <a:lnTo>
                      <a:pt x="371856" y="721805"/>
                    </a:lnTo>
                    <a:lnTo>
                      <a:pt x="374428" y="722662"/>
                    </a:lnTo>
                    <a:lnTo>
                      <a:pt x="378619" y="723519"/>
                    </a:lnTo>
                    <a:lnTo>
                      <a:pt x="380333" y="724376"/>
                    </a:lnTo>
                    <a:lnTo>
                      <a:pt x="381191" y="723519"/>
                    </a:lnTo>
                    <a:lnTo>
                      <a:pt x="384524" y="721805"/>
                    </a:lnTo>
                    <a:lnTo>
                      <a:pt x="384524" y="720947"/>
                    </a:lnTo>
                    <a:lnTo>
                      <a:pt x="385382" y="720185"/>
                    </a:lnTo>
                    <a:lnTo>
                      <a:pt x="385382" y="719328"/>
                    </a:lnTo>
                    <a:lnTo>
                      <a:pt x="385382" y="719328"/>
                    </a:lnTo>
                    <a:lnTo>
                      <a:pt x="385382" y="717614"/>
                    </a:lnTo>
                    <a:lnTo>
                      <a:pt x="385382" y="717614"/>
                    </a:lnTo>
                    <a:lnTo>
                      <a:pt x="386239" y="716756"/>
                    </a:lnTo>
                    <a:lnTo>
                      <a:pt x="386239" y="716756"/>
                    </a:lnTo>
                    <a:lnTo>
                      <a:pt x="386239" y="715899"/>
                    </a:lnTo>
                    <a:lnTo>
                      <a:pt x="387096" y="715042"/>
                    </a:lnTo>
                    <a:lnTo>
                      <a:pt x="387096" y="714185"/>
                    </a:lnTo>
                    <a:lnTo>
                      <a:pt x="387096" y="712470"/>
                    </a:lnTo>
                    <a:lnTo>
                      <a:pt x="387096" y="712470"/>
                    </a:lnTo>
                    <a:lnTo>
                      <a:pt x="387096" y="711613"/>
                    </a:lnTo>
                    <a:lnTo>
                      <a:pt x="387953" y="710851"/>
                    </a:lnTo>
                    <a:lnTo>
                      <a:pt x="387953" y="709136"/>
                    </a:lnTo>
                    <a:lnTo>
                      <a:pt x="389668" y="708279"/>
                    </a:lnTo>
                    <a:lnTo>
                      <a:pt x="389668" y="708279"/>
                    </a:lnTo>
                    <a:lnTo>
                      <a:pt x="390525" y="707422"/>
                    </a:lnTo>
                    <a:lnTo>
                      <a:pt x="391382" y="707422"/>
                    </a:lnTo>
                    <a:lnTo>
                      <a:pt x="393002" y="707422"/>
                    </a:lnTo>
                    <a:lnTo>
                      <a:pt x="397288" y="706565"/>
                    </a:lnTo>
                    <a:lnTo>
                      <a:pt x="399002" y="705707"/>
                    </a:lnTo>
                    <a:lnTo>
                      <a:pt x="399764" y="706565"/>
                    </a:lnTo>
                    <a:lnTo>
                      <a:pt x="400622" y="706565"/>
                    </a:lnTo>
                    <a:lnTo>
                      <a:pt x="400622" y="706565"/>
                    </a:lnTo>
                    <a:lnTo>
                      <a:pt x="400622" y="707422"/>
                    </a:lnTo>
                    <a:lnTo>
                      <a:pt x="400622" y="708279"/>
                    </a:lnTo>
                    <a:lnTo>
                      <a:pt x="400622" y="709136"/>
                    </a:lnTo>
                    <a:lnTo>
                      <a:pt x="400622" y="711613"/>
                    </a:lnTo>
                    <a:lnTo>
                      <a:pt x="400622" y="714185"/>
                    </a:lnTo>
                    <a:lnTo>
                      <a:pt x="399764" y="716756"/>
                    </a:lnTo>
                    <a:lnTo>
                      <a:pt x="399764" y="717614"/>
                    </a:lnTo>
                    <a:lnTo>
                      <a:pt x="399764" y="717614"/>
                    </a:lnTo>
                    <a:lnTo>
                      <a:pt x="400622" y="718471"/>
                    </a:lnTo>
                    <a:lnTo>
                      <a:pt x="401479" y="719328"/>
                    </a:lnTo>
                    <a:lnTo>
                      <a:pt x="402336" y="720185"/>
                    </a:lnTo>
                    <a:lnTo>
                      <a:pt x="408242" y="721805"/>
                    </a:lnTo>
                    <a:lnTo>
                      <a:pt x="409099" y="721805"/>
                    </a:lnTo>
                    <a:lnTo>
                      <a:pt x="409956" y="721805"/>
                    </a:lnTo>
                    <a:lnTo>
                      <a:pt x="410813" y="720947"/>
                    </a:lnTo>
                    <a:lnTo>
                      <a:pt x="411671" y="720185"/>
                    </a:lnTo>
                    <a:lnTo>
                      <a:pt x="412528" y="720185"/>
                    </a:lnTo>
                    <a:lnTo>
                      <a:pt x="413385" y="720947"/>
                    </a:lnTo>
                    <a:lnTo>
                      <a:pt x="413385" y="721805"/>
                    </a:lnTo>
                    <a:lnTo>
                      <a:pt x="413385" y="722662"/>
                    </a:lnTo>
                    <a:lnTo>
                      <a:pt x="413385" y="724376"/>
                    </a:lnTo>
                    <a:lnTo>
                      <a:pt x="412528" y="725233"/>
                    </a:lnTo>
                    <a:lnTo>
                      <a:pt x="411671" y="726091"/>
                    </a:lnTo>
                    <a:lnTo>
                      <a:pt x="410813" y="726948"/>
                    </a:lnTo>
                    <a:lnTo>
                      <a:pt x="409956" y="726948"/>
                    </a:lnTo>
                    <a:lnTo>
                      <a:pt x="408242" y="726948"/>
                    </a:lnTo>
                    <a:lnTo>
                      <a:pt x="406622" y="726948"/>
                    </a:lnTo>
                    <a:lnTo>
                      <a:pt x="405765" y="726948"/>
                    </a:lnTo>
                    <a:lnTo>
                      <a:pt x="404908" y="726948"/>
                    </a:lnTo>
                    <a:lnTo>
                      <a:pt x="404908" y="727805"/>
                    </a:lnTo>
                    <a:lnTo>
                      <a:pt x="404908" y="728662"/>
                    </a:lnTo>
                    <a:lnTo>
                      <a:pt x="404051" y="729424"/>
                    </a:lnTo>
                    <a:lnTo>
                      <a:pt x="403193" y="730282"/>
                    </a:lnTo>
                    <a:lnTo>
                      <a:pt x="402336" y="731139"/>
                    </a:lnTo>
                    <a:lnTo>
                      <a:pt x="401479" y="731996"/>
                    </a:lnTo>
                    <a:lnTo>
                      <a:pt x="399002" y="739616"/>
                    </a:lnTo>
                    <a:lnTo>
                      <a:pt x="398145" y="741331"/>
                    </a:lnTo>
                    <a:lnTo>
                      <a:pt x="399002" y="743045"/>
                    </a:lnTo>
                    <a:lnTo>
                      <a:pt x="400622" y="745617"/>
                    </a:lnTo>
                    <a:lnTo>
                      <a:pt x="401479" y="748094"/>
                    </a:lnTo>
                    <a:lnTo>
                      <a:pt x="401479" y="748951"/>
                    </a:lnTo>
                    <a:lnTo>
                      <a:pt x="403193" y="750665"/>
                    </a:lnTo>
                    <a:lnTo>
                      <a:pt x="404908" y="751523"/>
                    </a:lnTo>
                    <a:lnTo>
                      <a:pt x="406622" y="752380"/>
                    </a:lnTo>
                    <a:lnTo>
                      <a:pt x="408242" y="754094"/>
                    </a:lnTo>
                    <a:lnTo>
                      <a:pt x="408242" y="754952"/>
                    </a:lnTo>
                    <a:lnTo>
                      <a:pt x="410813" y="756571"/>
                    </a:lnTo>
                    <a:lnTo>
                      <a:pt x="411671" y="757428"/>
                    </a:lnTo>
                    <a:lnTo>
                      <a:pt x="411671" y="758285"/>
                    </a:lnTo>
                    <a:lnTo>
                      <a:pt x="412528" y="760000"/>
                    </a:lnTo>
                    <a:lnTo>
                      <a:pt x="412528" y="760857"/>
                    </a:lnTo>
                    <a:lnTo>
                      <a:pt x="415100" y="764286"/>
                    </a:lnTo>
                    <a:lnTo>
                      <a:pt x="416719" y="765143"/>
                    </a:lnTo>
                    <a:lnTo>
                      <a:pt x="418433" y="765905"/>
                    </a:lnTo>
                    <a:lnTo>
                      <a:pt x="422720" y="762572"/>
                    </a:lnTo>
                    <a:lnTo>
                      <a:pt x="423482" y="761714"/>
                    </a:lnTo>
                    <a:lnTo>
                      <a:pt x="424339" y="760857"/>
                    </a:lnTo>
                    <a:lnTo>
                      <a:pt x="425196" y="759143"/>
                    </a:lnTo>
                    <a:lnTo>
                      <a:pt x="426911" y="756571"/>
                    </a:lnTo>
                    <a:lnTo>
                      <a:pt x="426911" y="754952"/>
                    </a:lnTo>
                    <a:lnTo>
                      <a:pt x="428625" y="754094"/>
                    </a:lnTo>
                    <a:lnTo>
                      <a:pt x="429482" y="754952"/>
                    </a:lnTo>
                    <a:lnTo>
                      <a:pt x="432816" y="760857"/>
                    </a:lnTo>
                    <a:lnTo>
                      <a:pt x="433673" y="762572"/>
                    </a:lnTo>
                    <a:lnTo>
                      <a:pt x="433673" y="764286"/>
                    </a:lnTo>
                    <a:lnTo>
                      <a:pt x="433673" y="766762"/>
                    </a:lnTo>
                    <a:lnTo>
                      <a:pt x="433673" y="766762"/>
                    </a:lnTo>
                    <a:lnTo>
                      <a:pt x="433673" y="767620"/>
                    </a:lnTo>
                    <a:lnTo>
                      <a:pt x="434531" y="769334"/>
                    </a:lnTo>
                    <a:lnTo>
                      <a:pt x="436245" y="771049"/>
                    </a:lnTo>
                    <a:lnTo>
                      <a:pt x="437102" y="774382"/>
                    </a:lnTo>
                    <a:lnTo>
                      <a:pt x="436245" y="775240"/>
                    </a:lnTo>
                    <a:lnTo>
                      <a:pt x="434531" y="776097"/>
                    </a:lnTo>
                    <a:lnTo>
                      <a:pt x="432816" y="776954"/>
                    </a:lnTo>
                    <a:lnTo>
                      <a:pt x="431102" y="778669"/>
                    </a:lnTo>
                    <a:lnTo>
                      <a:pt x="430340" y="779526"/>
                    </a:lnTo>
                    <a:lnTo>
                      <a:pt x="430340" y="780383"/>
                    </a:lnTo>
                    <a:lnTo>
                      <a:pt x="430340" y="782098"/>
                    </a:lnTo>
                    <a:lnTo>
                      <a:pt x="430340" y="785432"/>
                    </a:lnTo>
                    <a:lnTo>
                      <a:pt x="430340" y="787146"/>
                    </a:lnTo>
                    <a:lnTo>
                      <a:pt x="429482" y="792290"/>
                    </a:lnTo>
                    <a:lnTo>
                      <a:pt x="429482" y="793052"/>
                    </a:lnTo>
                    <a:lnTo>
                      <a:pt x="429482" y="793052"/>
                    </a:lnTo>
                    <a:lnTo>
                      <a:pt x="433673" y="793052"/>
                    </a:lnTo>
                    <a:lnTo>
                      <a:pt x="434531" y="793052"/>
                    </a:lnTo>
                    <a:lnTo>
                      <a:pt x="435388" y="793909"/>
                    </a:lnTo>
                    <a:lnTo>
                      <a:pt x="436245" y="794766"/>
                    </a:lnTo>
                    <a:lnTo>
                      <a:pt x="437102" y="796481"/>
                    </a:lnTo>
                    <a:lnTo>
                      <a:pt x="437960" y="798195"/>
                    </a:lnTo>
                    <a:lnTo>
                      <a:pt x="438817" y="799910"/>
                    </a:lnTo>
                    <a:lnTo>
                      <a:pt x="439579" y="800767"/>
                    </a:lnTo>
                    <a:lnTo>
                      <a:pt x="441293" y="801529"/>
                    </a:lnTo>
                    <a:lnTo>
                      <a:pt x="443865" y="802386"/>
                    </a:lnTo>
                    <a:lnTo>
                      <a:pt x="444722" y="802386"/>
                    </a:lnTo>
                    <a:lnTo>
                      <a:pt x="445580" y="803243"/>
                    </a:lnTo>
                    <a:lnTo>
                      <a:pt x="446437" y="804101"/>
                    </a:lnTo>
                    <a:lnTo>
                      <a:pt x="446437" y="804958"/>
                    </a:lnTo>
                    <a:lnTo>
                      <a:pt x="445580" y="805815"/>
                    </a:lnTo>
                    <a:lnTo>
                      <a:pt x="445580" y="806672"/>
                    </a:lnTo>
                    <a:lnTo>
                      <a:pt x="445580" y="808387"/>
                    </a:lnTo>
                    <a:lnTo>
                      <a:pt x="445580" y="811720"/>
                    </a:lnTo>
                    <a:lnTo>
                      <a:pt x="444722" y="813435"/>
                    </a:lnTo>
                    <a:lnTo>
                      <a:pt x="444722" y="814292"/>
                    </a:lnTo>
                    <a:lnTo>
                      <a:pt x="445580" y="815149"/>
                    </a:lnTo>
                    <a:lnTo>
                      <a:pt x="446437" y="815149"/>
                    </a:lnTo>
                    <a:lnTo>
                      <a:pt x="448056" y="815149"/>
                    </a:lnTo>
                    <a:lnTo>
                      <a:pt x="448913" y="814292"/>
                    </a:lnTo>
                    <a:lnTo>
                      <a:pt x="451485" y="811720"/>
                    </a:lnTo>
                    <a:lnTo>
                      <a:pt x="452342" y="810863"/>
                    </a:lnTo>
                    <a:lnTo>
                      <a:pt x="454057" y="811720"/>
                    </a:lnTo>
                    <a:lnTo>
                      <a:pt x="455676" y="812578"/>
                    </a:lnTo>
                    <a:lnTo>
                      <a:pt x="458248" y="815149"/>
                    </a:lnTo>
                    <a:lnTo>
                      <a:pt x="458248" y="817721"/>
                    </a:lnTo>
                    <a:lnTo>
                      <a:pt x="458248" y="820198"/>
                    </a:lnTo>
                    <a:lnTo>
                      <a:pt x="458248" y="821912"/>
                    </a:lnTo>
                    <a:lnTo>
                      <a:pt x="458248" y="824484"/>
                    </a:lnTo>
                    <a:lnTo>
                      <a:pt x="458248" y="826199"/>
                    </a:lnTo>
                    <a:lnTo>
                      <a:pt x="459105" y="827913"/>
                    </a:lnTo>
                    <a:lnTo>
                      <a:pt x="459962" y="828675"/>
                    </a:lnTo>
                    <a:lnTo>
                      <a:pt x="459105" y="830390"/>
                    </a:lnTo>
                    <a:lnTo>
                      <a:pt x="458248" y="832961"/>
                    </a:lnTo>
                    <a:lnTo>
                      <a:pt x="459105" y="834676"/>
                    </a:lnTo>
                    <a:lnTo>
                      <a:pt x="463296" y="834676"/>
                    </a:lnTo>
                    <a:lnTo>
                      <a:pt x="464153" y="835533"/>
                    </a:lnTo>
                    <a:lnTo>
                      <a:pt x="466725" y="837248"/>
                    </a:lnTo>
                    <a:lnTo>
                      <a:pt x="468440" y="838010"/>
                    </a:lnTo>
                    <a:lnTo>
                      <a:pt x="476917" y="834676"/>
                    </a:lnTo>
                    <a:lnTo>
                      <a:pt x="478536" y="834676"/>
                    </a:lnTo>
                    <a:lnTo>
                      <a:pt x="479393" y="835533"/>
                    </a:lnTo>
                    <a:lnTo>
                      <a:pt x="480251" y="836390"/>
                    </a:lnTo>
                    <a:lnTo>
                      <a:pt x="484537" y="843153"/>
                    </a:lnTo>
                    <a:lnTo>
                      <a:pt x="487871" y="846487"/>
                    </a:lnTo>
                    <a:lnTo>
                      <a:pt x="488728" y="847344"/>
                    </a:lnTo>
                    <a:lnTo>
                      <a:pt x="489585" y="847344"/>
                    </a:lnTo>
                    <a:lnTo>
                      <a:pt x="490442" y="847344"/>
                    </a:lnTo>
                    <a:lnTo>
                      <a:pt x="491299" y="846487"/>
                    </a:lnTo>
                    <a:lnTo>
                      <a:pt x="492157" y="846487"/>
                    </a:lnTo>
                    <a:lnTo>
                      <a:pt x="492157" y="846487"/>
                    </a:lnTo>
                    <a:lnTo>
                      <a:pt x="493014" y="845725"/>
                    </a:lnTo>
                    <a:lnTo>
                      <a:pt x="493014" y="844868"/>
                    </a:lnTo>
                    <a:lnTo>
                      <a:pt x="493871" y="844010"/>
                    </a:lnTo>
                    <a:lnTo>
                      <a:pt x="494633" y="844010"/>
                    </a:lnTo>
                    <a:lnTo>
                      <a:pt x="495491" y="844010"/>
                    </a:lnTo>
                    <a:lnTo>
                      <a:pt x="499777" y="847344"/>
                    </a:lnTo>
                    <a:lnTo>
                      <a:pt x="503968" y="851630"/>
                    </a:lnTo>
                    <a:lnTo>
                      <a:pt x="509969" y="855059"/>
                    </a:lnTo>
                    <a:lnTo>
                      <a:pt x="510730" y="855821"/>
                    </a:lnTo>
                    <a:lnTo>
                      <a:pt x="511588" y="857536"/>
                    </a:lnTo>
                    <a:lnTo>
                      <a:pt x="512445" y="859250"/>
                    </a:lnTo>
                    <a:lnTo>
                      <a:pt x="511588" y="860965"/>
                    </a:lnTo>
                    <a:lnTo>
                      <a:pt x="511588" y="862679"/>
                    </a:lnTo>
                    <a:lnTo>
                      <a:pt x="512445" y="864299"/>
                    </a:lnTo>
                    <a:lnTo>
                      <a:pt x="513302" y="866870"/>
                    </a:lnTo>
                    <a:lnTo>
                      <a:pt x="515017" y="867728"/>
                    </a:lnTo>
                    <a:lnTo>
                      <a:pt x="516731" y="868585"/>
                    </a:lnTo>
                    <a:lnTo>
                      <a:pt x="517588" y="868585"/>
                    </a:lnTo>
                    <a:lnTo>
                      <a:pt x="518351" y="867728"/>
                    </a:lnTo>
                    <a:lnTo>
                      <a:pt x="519208" y="867728"/>
                    </a:lnTo>
                    <a:lnTo>
                      <a:pt x="520922" y="866013"/>
                    </a:lnTo>
                    <a:lnTo>
                      <a:pt x="521780" y="866013"/>
                    </a:lnTo>
                    <a:lnTo>
                      <a:pt x="522637" y="866870"/>
                    </a:lnTo>
                    <a:lnTo>
                      <a:pt x="525971" y="868585"/>
                    </a:lnTo>
                    <a:lnTo>
                      <a:pt x="526828" y="870299"/>
                    </a:lnTo>
                    <a:lnTo>
                      <a:pt x="527685" y="872014"/>
                    </a:lnTo>
                    <a:lnTo>
                      <a:pt x="528542" y="872871"/>
                    </a:lnTo>
                    <a:lnTo>
                      <a:pt x="530257" y="877062"/>
                    </a:lnTo>
                    <a:lnTo>
                      <a:pt x="531114" y="877062"/>
                    </a:lnTo>
                    <a:lnTo>
                      <a:pt x="532829" y="877919"/>
                    </a:lnTo>
                    <a:lnTo>
                      <a:pt x="533591" y="878777"/>
                    </a:lnTo>
                    <a:lnTo>
                      <a:pt x="534448" y="878777"/>
                    </a:lnTo>
                    <a:lnTo>
                      <a:pt x="535305" y="880491"/>
                    </a:lnTo>
                    <a:lnTo>
                      <a:pt x="536162" y="882968"/>
                    </a:lnTo>
                    <a:lnTo>
                      <a:pt x="537877" y="882206"/>
                    </a:lnTo>
                    <a:lnTo>
                      <a:pt x="539591" y="880491"/>
                    </a:lnTo>
                    <a:lnTo>
                      <a:pt x="540449" y="879634"/>
                    </a:lnTo>
                    <a:lnTo>
                      <a:pt x="542068" y="878777"/>
                    </a:lnTo>
                    <a:lnTo>
                      <a:pt x="542925" y="878777"/>
                    </a:lnTo>
                    <a:lnTo>
                      <a:pt x="545497" y="878777"/>
                    </a:lnTo>
                    <a:lnTo>
                      <a:pt x="547211" y="878777"/>
                    </a:lnTo>
                    <a:lnTo>
                      <a:pt x="548926" y="879634"/>
                    </a:lnTo>
                    <a:lnTo>
                      <a:pt x="550545" y="880491"/>
                    </a:lnTo>
                    <a:lnTo>
                      <a:pt x="553117" y="879634"/>
                    </a:lnTo>
                    <a:lnTo>
                      <a:pt x="560737" y="875348"/>
                    </a:lnTo>
                    <a:lnTo>
                      <a:pt x="567499" y="873633"/>
                    </a:lnTo>
                    <a:lnTo>
                      <a:pt x="574262" y="869442"/>
                    </a:lnTo>
                    <a:lnTo>
                      <a:pt x="578549" y="867728"/>
                    </a:lnTo>
                    <a:lnTo>
                      <a:pt x="579406" y="866870"/>
                    </a:lnTo>
                    <a:lnTo>
                      <a:pt x="579406" y="866013"/>
                    </a:lnTo>
                    <a:lnTo>
                      <a:pt x="576834" y="864299"/>
                    </a:lnTo>
                    <a:lnTo>
                      <a:pt x="575977" y="863536"/>
                    </a:lnTo>
                    <a:lnTo>
                      <a:pt x="575120" y="861822"/>
                    </a:lnTo>
                    <a:lnTo>
                      <a:pt x="574262" y="860965"/>
                    </a:lnTo>
                    <a:lnTo>
                      <a:pt x="572643" y="860107"/>
                    </a:lnTo>
                    <a:lnTo>
                      <a:pt x="571786" y="860107"/>
                    </a:lnTo>
                    <a:lnTo>
                      <a:pt x="569214" y="860107"/>
                    </a:lnTo>
                    <a:lnTo>
                      <a:pt x="567499" y="860107"/>
                    </a:lnTo>
                    <a:lnTo>
                      <a:pt x="564166" y="858393"/>
                    </a:lnTo>
                    <a:lnTo>
                      <a:pt x="560737" y="858393"/>
                    </a:lnTo>
                    <a:lnTo>
                      <a:pt x="559880" y="857536"/>
                    </a:lnTo>
                    <a:lnTo>
                      <a:pt x="559880" y="857536"/>
                    </a:lnTo>
                    <a:lnTo>
                      <a:pt x="559022" y="856678"/>
                    </a:lnTo>
                    <a:lnTo>
                      <a:pt x="558165" y="855821"/>
                    </a:lnTo>
                    <a:lnTo>
                      <a:pt x="557308" y="854202"/>
                    </a:lnTo>
                    <a:lnTo>
                      <a:pt x="557308" y="852487"/>
                    </a:lnTo>
                    <a:lnTo>
                      <a:pt x="561594" y="844868"/>
                    </a:lnTo>
                    <a:lnTo>
                      <a:pt x="563309" y="843153"/>
                    </a:lnTo>
                    <a:lnTo>
                      <a:pt x="570071" y="837248"/>
                    </a:lnTo>
                    <a:lnTo>
                      <a:pt x="571786" y="835533"/>
                    </a:lnTo>
                    <a:lnTo>
                      <a:pt x="577691" y="833819"/>
                    </a:lnTo>
                    <a:lnTo>
                      <a:pt x="580263" y="832961"/>
                    </a:lnTo>
                    <a:lnTo>
                      <a:pt x="586169" y="828675"/>
                    </a:lnTo>
                    <a:lnTo>
                      <a:pt x="587026" y="828675"/>
                    </a:lnTo>
                    <a:lnTo>
                      <a:pt x="590360" y="827913"/>
                    </a:lnTo>
                    <a:lnTo>
                      <a:pt x="591217" y="827913"/>
                    </a:lnTo>
                    <a:lnTo>
                      <a:pt x="594646" y="824484"/>
                    </a:lnTo>
                    <a:lnTo>
                      <a:pt x="595503" y="822770"/>
                    </a:lnTo>
                    <a:lnTo>
                      <a:pt x="596360" y="821055"/>
                    </a:lnTo>
                    <a:lnTo>
                      <a:pt x="597122" y="819340"/>
                    </a:lnTo>
                    <a:lnTo>
                      <a:pt x="598837" y="814292"/>
                    </a:lnTo>
                    <a:lnTo>
                      <a:pt x="599694" y="813435"/>
                    </a:lnTo>
                    <a:lnTo>
                      <a:pt x="600551" y="811720"/>
                    </a:lnTo>
                    <a:lnTo>
                      <a:pt x="601409" y="810863"/>
                    </a:lnTo>
                    <a:lnTo>
                      <a:pt x="602266" y="809244"/>
                    </a:lnTo>
                    <a:lnTo>
                      <a:pt x="603123" y="807530"/>
                    </a:lnTo>
                    <a:lnTo>
                      <a:pt x="603980" y="804958"/>
                    </a:lnTo>
                    <a:lnTo>
                      <a:pt x="603980" y="803243"/>
                    </a:lnTo>
                    <a:lnTo>
                      <a:pt x="603980" y="800767"/>
                    </a:lnTo>
                    <a:lnTo>
                      <a:pt x="603123" y="797338"/>
                    </a:lnTo>
                    <a:lnTo>
                      <a:pt x="601409" y="793909"/>
                    </a:lnTo>
                    <a:lnTo>
                      <a:pt x="600551" y="792290"/>
                    </a:lnTo>
                    <a:lnTo>
                      <a:pt x="599694" y="790575"/>
                    </a:lnTo>
                    <a:lnTo>
                      <a:pt x="599694" y="788861"/>
                    </a:lnTo>
                    <a:lnTo>
                      <a:pt x="599694" y="784574"/>
                    </a:lnTo>
                    <a:lnTo>
                      <a:pt x="600551" y="779526"/>
                    </a:lnTo>
                    <a:lnTo>
                      <a:pt x="604742" y="766762"/>
                    </a:lnTo>
                    <a:lnTo>
                      <a:pt x="605599" y="765905"/>
                    </a:lnTo>
                    <a:lnTo>
                      <a:pt x="606457" y="764286"/>
                    </a:lnTo>
                    <a:lnTo>
                      <a:pt x="607314" y="763429"/>
                    </a:lnTo>
                    <a:lnTo>
                      <a:pt x="607314" y="762572"/>
                    </a:lnTo>
                    <a:lnTo>
                      <a:pt x="606457" y="760857"/>
                    </a:lnTo>
                    <a:lnTo>
                      <a:pt x="605599" y="760000"/>
                    </a:lnTo>
                    <a:lnTo>
                      <a:pt x="603123" y="758285"/>
                    </a:lnTo>
                    <a:lnTo>
                      <a:pt x="601409" y="756571"/>
                    </a:lnTo>
                    <a:lnTo>
                      <a:pt x="600551" y="754952"/>
                    </a:lnTo>
                    <a:lnTo>
                      <a:pt x="599694" y="753237"/>
                    </a:lnTo>
                    <a:lnTo>
                      <a:pt x="598837" y="751523"/>
                    </a:lnTo>
                    <a:lnTo>
                      <a:pt x="597980" y="748951"/>
                    </a:lnTo>
                    <a:lnTo>
                      <a:pt x="597980" y="743045"/>
                    </a:lnTo>
                    <a:lnTo>
                      <a:pt x="597122" y="740474"/>
                    </a:lnTo>
                    <a:lnTo>
                      <a:pt x="596360" y="738759"/>
                    </a:lnTo>
                    <a:lnTo>
                      <a:pt x="594646" y="737997"/>
                    </a:lnTo>
                    <a:lnTo>
                      <a:pt x="592931" y="736282"/>
                    </a:lnTo>
                    <a:lnTo>
                      <a:pt x="591217" y="736282"/>
                    </a:lnTo>
                    <a:lnTo>
                      <a:pt x="589502" y="735425"/>
                    </a:lnTo>
                    <a:lnTo>
                      <a:pt x="584454" y="736282"/>
                    </a:lnTo>
                    <a:lnTo>
                      <a:pt x="582740" y="736282"/>
                    </a:lnTo>
                    <a:lnTo>
                      <a:pt x="581025" y="736282"/>
                    </a:lnTo>
                    <a:lnTo>
                      <a:pt x="581025" y="735425"/>
                    </a:lnTo>
                    <a:lnTo>
                      <a:pt x="581025" y="733711"/>
                    </a:lnTo>
                    <a:lnTo>
                      <a:pt x="582740" y="731996"/>
                    </a:lnTo>
                    <a:lnTo>
                      <a:pt x="583597" y="731139"/>
                    </a:lnTo>
                    <a:lnTo>
                      <a:pt x="584454" y="728662"/>
                    </a:lnTo>
                    <a:lnTo>
                      <a:pt x="584454" y="726948"/>
                    </a:lnTo>
                    <a:lnTo>
                      <a:pt x="584454" y="725233"/>
                    </a:lnTo>
                    <a:lnTo>
                      <a:pt x="584454" y="724376"/>
                    </a:lnTo>
                    <a:lnTo>
                      <a:pt x="591217" y="718471"/>
                    </a:lnTo>
                    <a:lnTo>
                      <a:pt x="592931" y="716756"/>
                    </a:lnTo>
                    <a:lnTo>
                      <a:pt x="593789" y="715042"/>
                    </a:lnTo>
                    <a:lnTo>
                      <a:pt x="593789" y="712470"/>
                    </a:lnTo>
                    <a:lnTo>
                      <a:pt x="592074" y="710851"/>
                    </a:lnTo>
                    <a:lnTo>
                      <a:pt x="590360" y="709994"/>
                    </a:lnTo>
                    <a:lnTo>
                      <a:pt x="580263" y="707422"/>
                    </a:lnTo>
                    <a:lnTo>
                      <a:pt x="579406" y="706565"/>
                    </a:lnTo>
                    <a:lnTo>
                      <a:pt x="578549" y="705707"/>
                    </a:lnTo>
                    <a:lnTo>
                      <a:pt x="578549" y="703993"/>
                    </a:lnTo>
                    <a:lnTo>
                      <a:pt x="579406" y="703136"/>
                    </a:lnTo>
                    <a:lnTo>
                      <a:pt x="579406" y="701516"/>
                    </a:lnTo>
                    <a:lnTo>
                      <a:pt x="582740" y="696373"/>
                    </a:lnTo>
                    <a:lnTo>
                      <a:pt x="587026" y="687038"/>
                    </a:lnTo>
                    <a:lnTo>
                      <a:pt x="587026" y="685324"/>
                    </a:lnTo>
                    <a:lnTo>
                      <a:pt x="585311" y="683705"/>
                    </a:lnTo>
                    <a:lnTo>
                      <a:pt x="585311" y="681990"/>
                    </a:lnTo>
                    <a:lnTo>
                      <a:pt x="585311" y="679418"/>
                    </a:lnTo>
                    <a:lnTo>
                      <a:pt x="585311" y="675227"/>
                    </a:lnTo>
                    <a:lnTo>
                      <a:pt x="586169" y="673513"/>
                    </a:lnTo>
                    <a:lnTo>
                      <a:pt x="586169" y="672656"/>
                    </a:lnTo>
                    <a:lnTo>
                      <a:pt x="587883" y="672656"/>
                    </a:lnTo>
                    <a:lnTo>
                      <a:pt x="587883" y="673513"/>
                    </a:lnTo>
                    <a:lnTo>
                      <a:pt x="588740" y="675227"/>
                    </a:lnTo>
                    <a:lnTo>
                      <a:pt x="589502" y="678561"/>
                    </a:lnTo>
                    <a:lnTo>
                      <a:pt x="589502" y="679418"/>
                    </a:lnTo>
                    <a:lnTo>
                      <a:pt x="590360" y="680276"/>
                    </a:lnTo>
                    <a:lnTo>
                      <a:pt x="592074" y="681990"/>
                    </a:lnTo>
                    <a:lnTo>
                      <a:pt x="592931" y="681990"/>
                    </a:lnTo>
                    <a:lnTo>
                      <a:pt x="594646" y="685324"/>
                    </a:lnTo>
                    <a:lnTo>
                      <a:pt x="594646" y="686181"/>
                    </a:lnTo>
                    <a:lnTo>
                      <a:pt x="596360" y="687038"/>
                    </a:lnTo>
                    <a:lnTo>
                      <a:pt x="597122" y="687038"/>
                    </a:lnTo>
                    <a:lnTo>
                      <a:pt x="601409" y="687038"/>
                    </a:lnTo>
                    <a:lnTo>
                      <a:pt x="603123" y="686181"/>
                    </a:lnTo>
                    <a:lnTo>
                      <a:pt x="604742" y="686181"/>
                    </a:lnTo>
                    <a:lnTo>
                      <a:pt x="605599" y="684466"/>
                    </a:lnTo>
                    <a:lnTo>
                      <a:pt x="606457" y="683705"/>
                    </a:lnTo>
                    <a:lnTo>
                      <a:pt x="607314" y="681133"/>
                    </a:lnTo>
                    <a:lnTo>
                      <a:pt x="607314" y="680276"/>
                    </a:lnTo>
                    <a:lnTo>
                      <a:pt x="607314" y="678561"/>
                    </a:lnTo>
                    <a:lnTo>
                      <a:pt x="607314" y="676847"/>
                    </a:lnTo>
                    <a:lnTo>
                      <a:pt x="608171" y="675227"/>
                    </a:lnTo>
                    <a:lnTo>
                      <a:pt x="608171" y="673513"/>
                    </a:lnTo>
                    <a:lnTo>
                      <a:pt x="607314" y="672656"/>
                    </a:lnTo>
                    <a:lnTo>
                      <a:pt x="607314" y="671798"/>
                    </a:lnTo>
                    <a:lnTo>
                      <a:pt x="605599" y="671798"/>
                    </a:lnTo>
                    <a:lnTo>
                      <a:pt x="604742" y="671798"/>
                    </a:lnTo>
                    <a:lnTo>
                      <a:pt x="603980" y="672656"/>
                    </a:lnTo>
                    <a:lnTo>
                      <a:pt x="603123" y="672656"/>
                    </a:lnTo>
                    <a:lnTo>
                      <a:pt x="601409" y="672656"/>
                    </a:lnTo>
                    <a:lnTo>
                      <a:pt x="598837" y="671798"/>
                    </a:lnTo>
                    <a:lnTo>
                      <a:pt x="597122" y="670941"/>
                    </a:lnTo>
                    <a:lnTo>
                      <a:pt x="593789" y="670941"/>
                    </a:lnTo>
                    <a:lnTo>
                      <a:pt x="592931" y="670941"/>
                    </a:lnTo>
                    <a:lnTo>
                      <a:pt x="592074" y="670941"/>
                    </a:lnTo>
                    <a:lnTo>
                      <a:pt x="592074" y="670084"/>
                    </a:lnTo>
                    <a:lnTo>
                      <a:pt x="592931" y="666655"/>
                    </a:lnTo>
                    <a:lnTo>
                      <a:pt x="592931" y="665036"/>
                    </a:lnTo>
                    <a:lnTo>
                      <a:pt x="592931" y="663321"/>
                    </a:lnTo>
                    <a:lnTo>
                      <a:pt x="592074" y="661607"/>
                    </a:lnTo>
                    <a:lnTo>
                      <a:pt x="590360" y="656558"/>
                    </a:lnTo>
                    <a:lnTo>
                      <a:pt x="590360" y="655701"/>
                    </a:lnTo>
                    <a:lnTo>
                      <a:pt x="591217" y="654844"/>
                    </a:lnTo>
                    <a:lnTo>
                      <a:pt x="593789" y="654844"/>
                    </a:lnTo>
                    <a:lnTo>
                      <a:pt x="595503" y="655701"/>
                    </a:lnTo>
                    <a:lnTo>
                      <a:pt x="597122" y="656558"/>
                    </a:lnTo>
                    <a:lnTo>
                      <a:pt x="598837" y="658178"/>
                    </a:lnTo>
                    <a:lnTo>
                      <a:pt x="599694" y="659035"/>
                    </a:lnTo>
                    <a:lnTo>
                      <a:pt x="600551" y="659035"/>
                    </a:lnTo>
                    <a:lnTo>
                      <a:pt x="602266" y="659892"/>
                    </a:lnTo>
                    <a:lnTo>
                      <a:pt x="603123" y="659892"/>
                    </a:lnTo>
                    <a:lnTo>
                      <a:pt x="605599" y="661607"/>
                    </a:lnTo>
                    <a:lnTo>
                      <a:pt x="607314" y="662464"/>
                    </a:lnTo>
                    <a:lnTo>
                      <a:pt x="608171" y="663321"/>
                    </a:lnTo>
                    <a:lnTo>
                      <a:pt x="609886" y="663321"/>
                    </a:lnTo>
                    <a:lnTo>
                      <a:pt x="610743" y="662464"/>
                    </a:lnTo>
                    <a:lnTo>
                      <a:pt x="612458" y="661607"/>
                    </a:lnTo>
                    <a:lnTo>
                      <a:pt x="615791" y="659035"/>
                    </a:lnTo>
                    <a:lnTo>
                      <a:pt x="615791" y="659035"/>
                    </a:lnTo>
                    <a:lnTo>
                      <a:pt x="616649" y="659035"/>
                    </a:lnTo>
                    <a:lnTo>
                      <a:pt x="618363" y="659892"/>
                    </a:lnTo>
                    <a:lnTo>
                      <a:pt x="619220" y="659892"/>
                    </a:lnTo>
                    <a:lnTo>
                      <a:pt x="620078" y="659892"/>
                    </a:lnTo>
                    <a:lnTo>
                      <a:pt x="620840" y="659892"/>
                    </a:lnTo>
                    <a:lnTo>
                      <a:pt x="620840" y="659035"/>
                    </a:lnTo>
                    <a:lnTo>
                      <a:pt x="621697" y="658178"/>
                    </a:lnTo>
                    <a:lnTo>
                      <a:pt x="622554" y="655701"/>
                    </a:lnTo>
                    <a:lnTo>
                      <a:pt x="621697" y="653986"/>
                    </a:lnTo>
                    <a:lnTo>
                      <a:pt x="620840" y="649700"/>
                    </a:lnTo>
                    <a:lnTo>
                      <a:pt x="621697" y="648081"/>
                    </a:lnTo>
                    <a:lnTo>
                      <a:pt x="621697" y="648081"/>
                    </a:lnTo>
                    <a:lnTo>
                      <a:pt x="621697" y="647224"/>
                    </a:lnTo>
                    <a:lnTo>
                      <a:pt x="623411" y="646366"/>
                    </a:lnTo>
                    <a:lnTo>
                      <a:pt x="623411" y="645509"/>
                    </a:lnTo>
                    <a:lnTo>
                      <a:pt x="624269" y="644652"/>
                    </a:lnTo>
                    <a:lnTo>
                      <a:pt x="624269" y="644652"/>
                    </a:lnTo>
                    <a:lnTo>
                      <a:pt x="625126" y="642937"/>
                    </a:lnTo>
                    <a:lnTo>
                      <a:pt x="625126" y="642080"/>
                    </a:lnTo>
                    <a:lnTo>
                      <a:pt x="625126" y="642080"/>
                    </a:lnTo>
                    <a:lnTo>
                      <a:pt x="625983" y="641223"/>
                    </a:lnTo>
                    <a:lnTo>
                      <a:pt x="627698" y="641223"/>
                    </a:lnTo>
                    <a:lnTo>
                      <a:pt x="633603" y="641223"/>
                    </a:lnTo>
                    <a:lnTo>
                      <a:pt x="636937" y="641223"/>
                    </a:lnTo>
                    <a:lnTo>
                      <a:pt x="640366" y="640366"/>
                    </a:lnTo>
                    <a:lnTo>
                      <a:pt x="644557" y="639508"/>
                    </a:lnTo>
                    <a:lnTo>
                      <a:pt x="645414" y="639508"/>
                    </a:lnTo>
                    <a:lnTo>
                      <a:pt x="646271" y="639508"/>
                    </a:lnTo>
                    <a:lnTo>
                      <a:pt x="646271" y="639508"/>
                    </a:lnTo>
                    <a:lnTo>
                      <a:pt x="646271" y="640366"/>
                    </a:lnTo>
                    <a:lnTo>
                      <a:pt x="646271" y="641223"/>
                    </a:lnTo>
                    <a:lnTo>
                      <a:pt x="644557" y="642937"/>
                    </a:lnTo>
                    <a:lnTo>
                      <a:pt x="642938" y="647224"/>
                    </a:lnTo>
                    <a:lnTo>
                      <a:pt x="642938" y="648081"/>
                    </a:lnTo>
                    <a:lnTo>
                      <a:pt x="642938" y="648081"/>
                    </a:lnTo>
                    <a:lnTo>
                      <a:pt x="643795" y="649700"/>
                    </a:lnTo>
                    <a:lnTo>
                      <a:pt x="645414" y="652272"/>
                    </a:lnTo>
                    <a:lnTo>
                      <a:pt x="646271" y="653129"/>
                    </a:lnTo>
                    <a:lnTo>
                      <a:pt x="646271" y="654844"/>
                    </a:lnTo>
                    <a:lnTo>
                      <a:pt x="645414" y="654844"/>
                    </a:lnTo>
                    <a:lnTo>
                      <a:pt x="644557" y="655701"/>
                    </a:lnTo>
                    <a:lnTo>
                      <a:pt x="642938" y="655701"/>
                    </a:lnTo>
                    <a:lnTo>
                      <a:pt x="642080" y="654844"/>
                    </a:lnTo>
                    <a:lnTo>
                      <a:pt x="640366" y="653986"/>
                    </a:lnTo>
                    <a:lnTo>
                      <a:pt x="638651" y="653986"/>
                    </a:lnTo>
                    <a:lnTo>
                      <a:pt x="638651" y="653986"/>
                    </a:lnTo>
                    <a:lnTo>
                      <a:pt x="637794" y="654844"/>
                    </a:lnTo>
                    <a:lnTo>
                      <a:pt x="637794" y="655701"/>
                    </a:lnTo>
                    <a:lnTo>
                      <a:pt x="637794" y="656558"/>
                    </a:lnTo>
                    <a:lnTo>
                      <a:pt x="637794" y="657320"/>
                    </a:lnTo>
                    <a:lnTo>
                      <a:pt x="638651" y="658178"/>
                    </a:lnTo>
                    <a:lnTo>
                      <a:pt x="640366" y="659035"/>
                    </a:lnTo>
                    <a:lnTo>
                      <a:pt x="643795" y="659892"/>
                    </a:lnTo>
                    <a:lnTo>
                      <a:pt x="646271" y="659892"/>
                    </a:lnTo>
                    <a:lnTo>
                      <a:pt x="648843" y="659892"/>
                    </a:lnTo>
                    <a:lnTo>
                      <a:pt x="653034" y="658178"/>
                    </a:lnTo>
                    <a:lnTo>
                      <a:pt x="654749" y="658178"/>
                    </a:lnTo>
                    <a:lnTo>
                      <a:pt x="655606" y="658178"/>
                    </a:lnTo>
                    <a:lnTo>
                      <a:pt x="655606" y="659035"/>
                    </a:lnTo>
                    <a:lnTo>
                      <a:pt x="655606" y="659892"/>
                    </a:lnTo>
                    <a:lnTo>
                      <a:pt x="654749" y="660749"/>
                    </a:lnTo>
                    <a:lnTo>
                      <a:pt x="653891" y="661607"/>
                    </a:lnTo>
                    <a:lnTo>
                      <a:pt x="653034" y="663321"/>
                    </a:lnTo>
                    <a:lnTo>
                      <a:pt x="651415" y="664178"/>
                    </a:lnTo>
                    <a:lnTo>
                      <a:pt x="649700" y="665036"/>
                    </a:lnTo>
                    <a:lnTo>
                      <a:pt x="647986" y="665893"/>
                    </a:lnTo>
                    <a:lnTo>
                      <a:pt x="645414" y="665893"/>
                    </a:lnTo>
                    <a:lnTo>
                      <a:pt x="643795" y="665893"/>
                    </a:lnTo>
                    <a:lnTo>
                      <a:pt x="641223" y="665893"/>
                    </a:lnTo>
                    <a:lnTo>
                      <a:pt x="639509" y="665036"/>
                    </a:lnTo>
                    <a:lnTo>
                      <a:pt x="637794" y="664178"/>
                    </a:lnTo>
                    <a:lnTo>
                      <a:pt x="636175" y="663321"/>
                    </a:lnTo>
                    <a:lnTo>
                      <a:pt x="634460" y="660749"/>
                    </a:lnTo>
                    <a:lnTo>
                      <a:pt x="632746" y="659035"/>
                    </a:lnTo>
                    <a:lnTo>
                      <a:pt x="631889" y="659035"/>
                    </a:lnTo>
                    <a:lnTo>
                      <a:pt x="631031" y="659035"/>
                    </a:lnTo>
                    <a:lnTo>
                      <a:pt x="631031" y="659892"/>
                    </a:lnTo>
                    <a:lnTo>
                      <a:pt x="631031" y="661607"/>
                    </a:lnTo>
                    <a:lnTo>
                      <a:pt x="631889" y="662464"/>
                    </a:lnTo>
                    <a:lnTo>
                      <a:pt x="632746" y="665036"/>
                    </a:lnTo>
                    <a:lnTo>
                      <a:pt x="633603" y="666655"/>
                    </a:lnTo>
                    <a:lnTo>
                      <a:pt x="633603" y="668369"/>
                    </a:lnTo>
                    <a:lnTo>
                      <a:pt x="633603" y="669227"/>
                    </a:lnTo>
                    <a:lnTo>
                      <a:pt x="632746" y="670941"/>
                    </a:lnTo>
                    <a:lnTo>
                      <a:pt x="631031" y="672656"/>
                    </a:lnTo>
                    <a:lnTo>
                      <a:pt x="629317" y="673513"/>
                    </a:lnTo>
                    <a:lnTo>
                      <a:pt x="629317" y="675227"/>
                    </a:lnTo>
                    <a:lnTo>
                      <a:pt x="630174" y="676847"/>
                    </a:lnTo>
                    <a:lnTo>
                      <a:pt x="631031" y="677704"/>
                    </a:lnTo>
                    <a:lnTo>
                      <a:pt x="631889" y="679418"/>
                    </a:lnTo>
                    <a:lnTo>
                      <a:pt x="633603" y="680276"/>
                    </a:lnTo>
                    <a:lnTo>
                      <a:pt x="635318" y="680276"/>
                    </a:lnTo>
                    <a:lnTo>
                      <a:pt x="636937" y="680276"/>
                    </a:lnTo>
                    <a:lnTo>
                      <a:pt x="641223" y="680276"/>
                    </a:lnTo>
                    <a:lnTo>
                      <a:pt x="644557" y="680276"/>
                    </a:lnTo>
                    <a:lnTo>
                      <a:pt x="647986" y="680276"/>
                    </a:lnTo>
                    <a:lnTo>
                      <a:pt x="653034" y="681990"/>
                    </a:lnTo>
                    <a:lnTo>
                      <a:pt x="656463" y="682847"/>
                    </a:lnTo>
                    <a:lnTo>
                      <a:pt x="659892" y="682847"/>
                    </a:lnTo>
                    <a:lnTo>
                      <a:pt x="671703" y="679418"/>
                    </a:lnTo>
                    <a:lnTo>
                      <a:pt x="676751" y="679418"/>
                    </a:lnTo>
                    <a:lnTo>
                      <a:pt x="682752" y="678561"/>
                    </a:lnTo>
                    <a:lnTo>
                      <a:pt x="689515" y="673513"/>
                    </a:lnTo>
                    <a:lnTo>
                      <a:pt x="691229" y="673513"/>
                    </a:lnTo>
                    <a:lnTo>
                      <a:pt x="692849" y="673513"/>
                    </a:lnTo>
                    <a:lnTo>
                      <a:pt x="694563" y="673513"/>
                    </a:lnTo>
                    <a:lnTo>
                      <a:pt x="695420" y="674370"/>
                    </a:lnTo>
                    <a:lnTo>
                      <a:pt x="697135" y="675989"/>
                    </a:lnTo>
                    <a:lnTo>
                      <a:pt x="700469" y="681133"/>
                    </a:lnTo>
                    <a:lnTo>
                      <a:pt x="700469" y="682847"/>
                    </a:lnTo>
                    <a:lnTo>
                      <a:pt x="700469" y="684466"/>
                    </a:lnTo>
                    <a:lnTo>
                      <a:pt x="700469" y="686181"/>
                    </a:lnTo>
                    <a:lnTo>
                      <a:pt x="700469" y="687038"/>
                    </a:lnTo>
                    <a:lnTo>
                      <a:pt x="701326" y="688753"/>
                    </a:lnTo>
                    <a:lnTo>
                      <a:pt x="703040" y="691324"/>
                    </a:lnTo>
                    <a:lnTo>
                      <a:pt x="706469" y="694658"/>
                    </a:lnTo>
                    <a:lnTo>
                      <a:pt x="707326" y="705707"/>
                    </a:lnTo>
                    <a:lnTo>
                      <a:pt x="707326" y="707422"/>
                    </a:lnTo>
                    <a:lnTo>
                      <a:pt x="707326" y="707422"/>
                    </a:lnTo>
                    <a:lnTo>
                      <a:pt x="706469" y="708279"/>
                    </a:lnTo>
                    <a:lnTo>
                      <a:pt x="705612" y="709136"/>
                    </a:lnTo>
                    <a:lnTo>
                      <a:pt x="704755" y="709994"/>
                    </a:lnTo>
                    <a:lnTo>
                      <a:pt x="703040" y="710851"/>
                    </a:lnTo>
                    <a:lnTo>
                      <a:pt x="701326" y="709994"/>
                    </a:lnTo>
                    <a:lnTo>
                      <a:pt x="697992" y="707422"/>
                    </a:lnTo>
                    <a:lnTo>
                      <a:pt x="696278" y="707422"/>
                    </a:lnTo>
                    <a:lnTo>
                      <a:pt x="695420" y="708279"/>
                    </a:lnTo>
                    <a:lnTo>
                      <a:pt x="693706" y="709136"/>
                    </a:lnTo>
                    <a:lnTo>
                      <a:pt x="692849" y="710851"/>
                    </a:lnTo>
                    <a:lnTo>
                      <a:pt x="691991" y="714185"/>
                    </a:lnTo>
                    <a:lnTo>
                      <a:pt x="691229" y="716756"/>
                    </a:lnTo>
                    <a:lnTo>
                      <a:pt x="691991" y="717614"/>
                    </a:lnTo>
                    <a:lnTo>
                      <a:pt x="692849" y="719328"/>
                    </a:lnTo>
                    <a:lnTo>
                      <a:pt x="692849" y="724376"/>
                    </a:lnTo>
                    <a:lnTo>
                      <a:pt x="693706" y="726091"/>
                    </a:lnTo>
                    <a:lnTo>
                      <a:pt x="694563" y="726948"/>
                    </a:lnTo>
                    <a:lnTo>
                      <a:pt x="695420" y="727805"/>
                    </a:lnTo>
                    <a:lnTo>
                      <a:pt x="697135" y="727805"/>
                    </a:lnTo>
                    <a:lnTo>
                      <a:pt x="697992" y="728662"/>
                    </a:lnTo>
                    <a:lnTo>
                      <a:pt x="698849" y="729424"/>
                    </a:lnTo>
                    <a:lnTo>
                      <a:pt x="698849" y="730282"/>
                    </a:lnTo>
                    <a:lnTo>
                      <a:pt x="699611" y="731996"/>
                    </a:lnTo>
                    <a:lnTo>
                      <a:pt x="698849" y="734568"/>
                    </a:lnTo>
                    <a:lnTo>
                      <a:pt x="697992" y="737140"/>
                    </a:lnTo>
                    <a:lnTo>
                      <a:pt x="694563" y="742188"/>
                    </a:lnTo>
                    <a:lnTo>
                      <a:pt x="692849" y="744760"/>
                    </a:lnTo>
                    <a:lnTo>
                      <a:pt x="692849" y="746474"/>
                    </a:lnTo>
                    <a:lnTo>
                      <a:pt x="693706" y="748951"/>
                    </a:lnTo>
                    <a:lnTo>
                      <a:pt x="694563" y="750665"/>
                    </a:lnTo>
                    <a:lnTo>
                      <a:pt x="699611" y="753237"/>
                    </a:lnTo>
                    <a:lnTo>
                      <a:pt x="699611" y="754094"/>
                    </a:lnTo>
                    <a:lnTo>
                      <a:pt x="699611" y="755809"/>
                    </a:lnTo>
                    <a:lnTo>
                      <a:pt x="697992" y="757428"/>
                    </a:lnTo>
                    <a:lnTo>
                      <a:pt x="695420" y="760857"/>
                    </a:lnTo>
                    <a:lnTo>
                      <a:pt x="693706" y="763429"/>
                    </a:lnTo>
                    <a:lnTo>
                      <a:pt x="692849" y="765143"/>
                    </a:lnTo>
                    <a:lnTo>
                      <a:pt x="691991" y="765905"/>
                    </a:lnTo>
                    <a:lnTo>
                      <a:pt x="691229" y="767620"/>
                    </a:lnTo>
                    <a:lnTo>
                      <a:pt x="691229" y="767620"/>
                    </a:lnTo>
                    <a:lnTo>
                      <a:pt x="690372" y="766762"/>
                    </a:lnTo>
                    <a:lnTo>
                      <a:pt x="689515" y="766762"/>
                    </a:lnTo>
                    <a:lnTo>
                      <a:pt x="686943" y="765143"/>
                    </a:lnTo>
                    <a:lnTo>
                      <a:pt x="686086" y="764286"/>
                    </a:lnTo>
                    <a:lnTo>
                      <a:pt x="685229" y="764286"/>
                    </a:lnTo>
                    <a:lnTo>
                      <a:pt x="681895" y="767620"/>
                    </a:lnTo>
                    <a:lnTo>
                      <a:pt x="680180" y="767620"/>
                    </a:lnTo>
                    <a:lnTo>
                      <a:pt x="679323" y="767620"/>
                    </a:lnTo>
                    <a:lnTo>
                      <a:pt x="677609" y="767620"/>
                    </a:lnTo>
                    <a:lnTo>
                      <a:pt x="676751" y="765905"/>
                    </a:lnTo>
                    <a:lnTo>
                      <a:pt x="675894" y="765905"/>
                    </a:lnTo>
                    <a:lnTo>
                      <a:pt x="674275" y="765143"/>
                    </a:lnTo>
                    <a:lnTo>
                      <a:pt x="673418" y="765143"/>
                    </a:lnTo>
                    <a:lnTo>
                      <a:pt x="671703" y="763429"/>
                    </a:lnTo>
                    <a:lnTo>
                      <a:pt x="669989" y="762572"/>
                    </a:lnTo>
                    <a:lnTo>
                      <a:pt x="669131" y="762572"/>
                    </a:lnTo>
                    <a:lnTo>
                      <a:pt x="668274" y="762572"/>
                    </a:lnTo>
                    <a:lnTo>
                      <a:pt x="667512" y="763429"/>
                    </a:lnTo>
                    <a:lnTo>
                      <a:pt x="665798" y="765905"/>
                    </a:lnTo>
                    <a:lnTo>
                      <a:pt x="664083" y="768477"/>
                    </a:lnTo>
                    <a:lnTo>
                      <a:pt x="664083" y="770191"/>
                    </a:lnTo>
                    <a:lnTo>
                      <a:pt x="664940" y="774382"/>
                    </a:lnTo>
                    <a:lnTo>
                      <a:pt x="665798" y="776954"/>
                    </a:lnTo>
                    <a:lnTo>
                      <a:pt x="666655" y="777811"/>
                    </a:lnTo>
                    <a:lnTo>
                      <a:pt x="668274" y="778669"/>
                    </a:lnTo>
                    <a:lnTo>
                      <a:pt x="674275" y="782098"/>
                    </a:lnTo>
                    <a:lnTo>
                      <a:pt x="675132" y="783717"/>
                    </a:lnTo>
                    <a:lnTo>
                      <a:pt x="675894" y="784574"/>
                    </a:lnTo>
                    <a:lnTo>
                      <a:pt x="675894" y="787146"/>
                    </a:lnTo>
                    <a:lnTo>
                      <a:pt x="676751" y="789718"/>
                    </a:lnTo>
                    <a:lnTo>
                      <a:pt x="681038" y="789718"/>
                    </a:lnTo>
                    <a:lnTo>
                      <a:pt x="682752" y="790575"/>
                    </a:lnTo>
                    <a:lnTo>
                      <a:pt x="684371" y="790575"/>
                    </a:lnTo>
                    <a:lnTo>
                      <a:pt x="686086" y="792290"/>
                    </a:lnTo>
                    <a:lnTo>
                      <a:pt x="686943" y="793052"/>
                    </a:lnTo>
                    <a:lnTo>
                      <a:pt x="687800" y="792290"/>
                    </a:lnTo>
                    <a:lnTo>
                      <a:pt x="688658" y="791432"/>
                    </a:lnTo>
                    <a:lnTo>
                      <a:pt x="688658" y="789718"/>
                    </a:lnTo>
                    <a:lnTo>
                      <a:pt x="688658" y="788861"/>
                    </a:lnTo>
                    <a:lnTo>
                      <a:pt x="689515" y="788003"/>
                    </a:lnTo>
                    <a:lnTo>
                      <a:pt x="690372" y="784574"/>
                    </a:lnTo>
                    <a:lnTo>
                      <a:pt x="691229" y="783717"/>
                    </a:lnTo>
                    <a:lnTo>
                      <a:pt x="691229" y="782098"/>
                    </a:lnTo>
                    <a:lnTo>
                      <a:pt x="690372" y="779526"/>
                    </a:lnTo>
                    <a:lnTo>
                      <a:pt x="690372" y="778669"/>
                    </a:lnTo>
                    <a:lnTo>
                      <a:pt x="690372" y="777811"/>
                    </a:lnTo>
                    <a:lnTo>
                      <a:pt x="691229" y="777811"/>
                    </a:lnTo>
                    <a:lnTo>
                      <a:pt x="691991" y="776954"/>
                    </a:lnTo>
                    <a:lnTo>
                      <a:pt x="692849" y="777811"/>
                    </a:lnTo>
                    <a:lnTo>
                      <a:pt x="694563" y="778669"/>
                    </a:lnTo>
                    <a:lnTo>
                      <a:pt x="695420" y="780383"/>
                    </a:lnTo>
                    <a:lnTo>
                      <a:pt x="696278" y="781240"/>
                    </a:lnTo>
                    <a:lnTo>
                      <a:pt x="697992" y="781240"/>
                    </a:lnTo>
                    <a:lnTo>
                      <a:pt x="700469" y="781240"/>
                    </a:lnTo>
                    <a:lnTo>
                      <a:pt x="703898" y="778669"/>
                    </a:lnTo>
                    <a:lnTo>
                      <a:pt x="709803" y="776954"/>
                    </a:lnTo>
                    <a:lnTo>
                      <a:pt x="718280" y="772763"/>
                    </a:lnTo>
                    <a:lnTo>
                      <a:pt x="719138" y="771906"/>
                    </a:lnTo>
                    <a:lnTo>
                      <a:pt x="719995" y="770191"/>
                    </a:lnTo>
                    <a:lnTo>
                      <a:pt x="720852" y="769334"/>
                    </a:lnTo>
                    <a:lnTo>
                      <a:pt x="720852" y="767620"/>
                    </a:lnTo>
                    <a:lnTo>
                      <a:pt x="720852" y="767620"/>
                    </a:lnTo>
                    <a:lnTo>
                      <a:pt x="720852" y="767620"/>
                    </a:lnTo>
                    <a:lnTo>
                      <a:pt x="720852" y="766762"/>
                    </a:lnTo>
                    <a:lnTo>
                      <a:pt x="719138" y="765143"/>
                    </a:lnTo>
                    <a:lnTo>
                      <a:pt x="719138" y="764286"/>
                    </a:lnTo>
                    <a:lnTo>
                      <a:pt x="719138" y="762572"/>
                    </a:lnTo>
                    <a:lnTo>
                      <a:pt x="720852" y="760857"/>
                    </a:lnTo>
                    <a:lnTo>
                      <a:pt x="730187" y="755809"/>
                    </a:lnTo>
                    <a:lnTo>
                      <a:pt x="733520" y="751523"/>
                    </a:lnTo>
                    <a:lnTo>
                      <a:pt x="734378" y="748951"/>
                    </a:lnTo>
                    <a:lnTo>
                      <a:pt x="734378" y="748094"/>
                    </a:lnTo>
                    <a:lnTo>
                      <a:pt x="733520" y="745617"/>
                    </a:lnTo>
                    <a:lnTo>
                      <a:pt x="733520" y="743903"/>
                    </a:lnTo>
                    <a:lnTo>
                      <a:pt x="734378" y="739616"/>
                    </a:lnTo>
                    <a:lnTo>
                      <a:pt x="734378" y="737140"/>
                    </a:lnTo>
                    <a:lnTo>
                      <a:pt x="734378" y="736282"/>
                    </a:lnTo>
                    <a:lnTo>
                      <a:pt x="734378" y="733711"/>
                    </a:lnTo>
                    <a:lnTo>
                      <a:pt x="734378" y="729424"/>
                    </a:lnTo>
                    <a:lnTo>
                      <a:pt x="735235" y="728662"/>
                    </a:lnTo>
                    <a:lnTo>
                      <a:pt x="736092" y="727805"/>
                    </a:lnTo>
                    <a:lnTo>
                      <a:pt x="736949" y="726948"/>
                    </a:lnTo>
                    <a:lnTo>
                      <a:pt x="737807" y="726091"/>
                    </a:lnTo>
                    <a:lnTo>
                      <a:pt x="740283" y="725233"/>
                    </a:lnTo>
                    <a:lnTo>
                      <a:pt x="741140" y="725233"/>
                    </a:lnTo>
                    <a:lnTo>
                      <a:pt x="741998" y="725233"/>
                    </a:lnTo>
                    <a:lnTo>
                      <a:pt x="741998" y="726091"/>
                    </a:lnTo>
                    <a:lnTo>
                      <a:pt x="741998" y="726948"/>
                    </a:lnTo>
                    <a:lnTo>
                      <a:pt x="741998" y="728662"/>
                    </a:lnTo>
                    <a:lnTo>
                      <a:pt x="741998" y="729424"/>
                    </a:lnTo>
                    <a:lnTo>
                      <a:pt x="741998" y="730282"/>
                    </a:lnTo>
                    <a:lnTo>
                      <a:pt x="741998" y="731139"/>
                    </a:lnTo>
                    <a:lnTo>
                      <a:pt x="743712" y="731996"/>
                    </a:lnTo>
                    <a:lnTo>
                      <a:pt x="744569" y="732853"/>
                    </a:lnTo>
                    <a:lnTo>
                      <a:pt x="746284" y="733711"/>
                    </a:lnTo>
                    <a:lnTo>
                      <a:pt x="748760" y="733711"/>
                    </a:lnTo>
                    <a:lnTo>
                      <a:pt x="752189" y="732853"/>
                    </a:lnTo>
                    <a:lnTo>
                      <a:pt x="754761" y="733711"/>
                    </a:lnTo>
                    <a:lnTo>
                      <a:pt x="760667" y="735425"/>
                    </a:lnTo>
                    <a:lnTo>
                      <a:pt x="763143" y="736282"/>
                    </a:lnTo>
                    <a:lnTo>
                      <a:pt x="765715" y="736282"/>
                    </a:lnTo>
                    <a:lnTo>
                      <a:pt x="771620" y="735425"/>
                    </a:lnTo>
                    <a:lnTo>
                      <a:pt x="772478" y="735425"/>
                    </a:lnTo>
                    <a:lnTo>
                      <a:pt x="774192" y="737140"/>
                    </a:lnTo>
                    <a:lnTo>
                      <a:pt x="774192" y="737997"/>
                    </a:lnTo>
                    <a:lnTo>
                      <a:pt x="775049" y="740474"/>
                    </a:lnTo>
                    <a:lnTo>
                      <a:pt x="775907" y="741331"/>
                    </a:lnTo>
                    <a:lnTo>
                      <a:pt x="776764" y="742188"/>
                    </a:lnTo>
                    <a:lnTo>
                      <a:pt x="777621" y="742188"/>
                    </a:lnTo>
                    <a:lnTo>
                      <a:pt x="779240" y="742188"/>
                    </a:lnTo>
                    <a:lnTo>
                      <a:pt x="780955" y="741331"/>
                    </a:lnTo>
                    <a:lnTo>
                      <a:pt x="781812" y="740474"/>
                    </a:lnTo>
                    <a:lnTo>
                      <a:pt x="782669" y="739616"/>
                    </a:lnTo>
                    <a:lnTo>
                      <a:pt x="783526" y="735425"/>
                    </a:lnTo>
                    <a:lnTo>
                      <a:pt x="784384" y="734568"/>
                    </a:lnTo>
                    <a:lnTo>
                      <a:pt x="785241" y="733711"/>
                    </a:lnTo>
                    <a:lnTo>
                      <a:pt x="786860" y="732853"/>
                    </a:lnTo>
                    <a:lnTo>
                      <a:pt x="789432" y="731139"/>
                    </a:lnTo>
                    <a:lnTo>
                      <a:pt x="792861" y="730282"/>
                    </a:lnTo>
                    <a:lnTo>
                      <a:pt x="793718" y="730282"/>
                    </a:lnTo>
                    <a:lnTo>
                      <a:pt x="795338" y="730282"/>
                    </a:lnTo>
                    <a:lnTo>
                      <a:pt x="795338" y="731996"/>
                    </a:lnTo>
                    <a:lnTo>
                      <a:pt x="795338" y="732853"/>
                    </a:lnTo>
                    <a:lnTo>
                      <a:pt x="794480" y="734568"/>
                    </a:lnTo>
                    <a:lnTo>
                      <a:pt x="793718" y="736282"/>
                    </a:lnTo>
                    <a:lnTo>
                      <a:pt x="792861" y="737140"/>
                    </a:lnTo>
                    <a:lnTo>
                      <a:pt x="792861" y="737997"/>
                    </a:lnTo>
                    <a:lnTo>
                      <a:pt x="793718" y="738759"/>
                    </a:lnTo>
                    <a:lnTo>
                      <a:pt x="794480" y="740474"/>
                    </a:lnTo>
                    <a:lnTo>
                      <a:pt x="801338" y="744760"/>
                    </a:lnTo>
                    <a:lnTo>
                      <a:pt x="802958" y="746474"/>
                    </a:lnTo>
                    <a:lnTo>
                      <a:pt x="805529" y="748094"/>
                    </a:lnTo>
                    <a:lnTo>
                      <a:pt x="808958" y="748094"/>
                    </a:lnTo>
                    <a:lnTo>
                      <a:pt x="810578" y="746474"/>
                    </a:lnTo>
                    <a:lnTo>
                      <a:pt x="811435" y="746474"/>
                    </a:lnTo>
                    <a:lnTo>
                      <a:pt x="812292" y="746474"/>
                    </a:lnTo>
                    <a:lnTo>
                      <a:pt x="814007" y="746474"/>
                    </a:lnTo>
                    <a:lnTo>
                      <a:pt x="814864" y="746474"/>
                    </a:lnTo>
                    <a:lnTo>
                      <a:pt x="816578" y="746474"/>
                    </a:lnTo>
                    <a:lnTo>
                      <a:pt x="817436" y="745617"/>
                    </a:lnTo>
                    <a:lnTo>
                      <a:pt x="817436" y="744760"/>
                    </a:lnTo>
                    <a:lnTo>
                      <a:pt x="818198" y="743045"/>
                    </a:lnTo>
                    <a:lnTo>
                      <a:pt x="819055" y="741331"/>
                    </a:lnTo>
                    <a:lnTo>
                      <a:pt x="819055" y="740474"/>
                    </a:lnTo>
                    <a:lnTo>
                      <a:pt x="819912" y="739616"/>
                    </a:lnTo>
                    <a:lnTo>
                      <a:pt x="819055" y="737997"/>
                    </a:lnTo>
                    <a:lnTo>
                      <a:pt x="818198" y="736282"/>
                    </a:lnTo>
                    <a:lnTo>
                      <a:pt x="812292" y="729424"/>
                    </a:lnTo>
                    <a:lnTo>
                      <a:pt x="811435" y="726948"/>
                    </a:lnTo>
                    <a:lnTo>
                      <a:pt x="810578" y="724376"/>
                    </a:lnTo>
                    <a:lnTo>
                      <a:pt x="811435" y="715899"/>
                    </a:lnTo>
                    <a:lnTo>
                      <a:pt x="810578" y="712470"/>
                    </a:lnTo>
                    <a:lnTo>
                      <a:pt x="809816" y="711613"/>
                    </a:lnTo>
                    <a:lnTo>
                      <a:pt x="809816" y="710851"/>
                    </a:lnTo>
                    <a:lnTo>
                      <a:pt x="809816" y="709994"/>
                    </a:lnTo>
                    <a:lnTo>
                      <a:pt x="810578" y="706565"/>
                    </a:lnTo>
                    <a:lnTo>
                      <a:pt x="810578" y="706565"/>
                    </a:lnTo>
                    <a:lnTo>
                      <a:pt x="810578" y="705707"/>
                    </a:lnTo>
                    <a:lnTo>
                      <a:pt x="810578" y="704850"/>
                    </a:lnTo>
                    <a:lnTo>
                      <a:pt x="809816" y="700659"/>
                    </a:lnTo>
                    <a:lnTo>
                      <a:pt x="809816" y="698945"/>
                    </a:lnTo>
                    <a:lnTo>
                      <a:pt x="810578" y="698087"/>
                    </a:lnTo>
                    <a:lnTo>
                      <a:pt x="811435" y="698087"/>
                    </a:lnTo>
                    <a:lnTo>
                      <a:pt x="812292" y="698087"/>
                    </a:lnTo>
                    <a:lnTo>
                      <a:pt x="813149" y="698087"/>
                    </a:lnTo>
                    <a:lnTo>
                      <a:pt x="814007" y="698087"/>
                    </a:lnTo>
                    <a:lnTo>
                      <a:pt x="814864" y="698945"/>
                    </a:lnTo>
                    <a:lnTo>
                      <a:pt x="815721" y="698945"/>
                    </a:lnTo>
                    <a:lnTo>
                      <a:pt x="817436" y="698945"/>
                    </a:lnTo>
                    <a:lnTo>
                      <a:pt x="817436" y="698945"/>
                    </a:lnTo>
                    <a:lnTo>
                      <a:pt x="818198" y="699802"/>
                    </a:lnTo>
                    <a:lnTo>
                      <a:pt x="819055" y="700659"/>
                    </a:lnTo>
                    <a:lnTo>
                      <a:pt x="819055" y="700659"/>
                    </a:lnTo>
                    <a:lnTo>
                      <a:pt x="819912" y="703136"/>
                    </a:lnTo>
                    <a:lnTo>
                      <a:pt x="819912" y="703993"/>
                    </a:lnTo>
                    <a:lnTo>
                      <a:pt x="819912" y="704850"/>
                    </a:lnTo>
                    <a:lnTo>
                      <a:pt x="819912" y="706565"/>
                    </a:lnTo>
                    <a:lnTo>
                      <a:pt x="819912" y="707422"/>
                    </a:lnTo>
                    <a:lnTo>
                      <a:pt x="819912" y="707422"/>
                    </a:lnTo>
                    <a:lnTo>
                      <a:pt x="820769" y="707422"/>
                    </a:lnTo>
                    <a:lnTo>
                      <a:pt x="821626" y="707422"/>
                    </a:lnTo>
                    <a:lnTo>
                      <a:pt x="822484" y="707422"/>
                    </a:lnTo>
                    <a:lnTo>
                      <a:pt x="825056" y="707422"/>
                    </a:lnTo>
                    <a:lnTo>
                      <a:pt x="825056" y="707422"/>
                    </a:lnTo>
                    <a:lnTo>
                      <a:pt x="835152" y="702278"/>
                    </a:lnTo>
                    <a:lnTo>
                      <a:pt x="836867" y="701516"/>
                    </a:lnTo>
                    <a:lnTo>
                      <a:pt x="836867" y="700659"/>
                    </a:lnTo>
                    <a:lnTo>
                      <a:pt x="837724" y="699802"/>
                    </a:lnTo>
                    <a:lnTo>
                      <a:pt x="837724" y="697230"/>
                    </a:lnTo>
                    <a:lnTo>
                      <a:pt x="837724" y="694658"/>
                    </a:lnTo>
                    <a:lnTo>
                      <a:pt x="836867" y="688753"/>
                    </a:lnTo>
                    <a:lnTo>
                      <a:pt x="835152" y="686181"/>
                    </a:lnTo>
                    <a:lnTo>
                      <a:pt x="834295" y="684466"/>
                    </a:lnTo>
                    <a:lnTo>
                      <a:pt x="832676" y="682847"/>
                    </a:lnTo>
                    <a:lnTo>
                      <a:pt x="827532" y="678561"/>
                    </a:lnTo>
                    <a:lnTo>
                      <a:pt x="826675" y="677704"/>
                    </a:lnTo>
                    <a:lnTo>
                      <a:pt x="825818" y="677704"/>
                    </a:lnTo>
                    <a:lnTo>
                      <a:pt x="825056" y="677704"/>
                    </a:lnTo>
                    <a:lnTo>
                      <a:pt x="823341" y="677704"/>
                    </a:lnTo>
                    <a:lnTo>
                      <a:pt x="822484" y="678561"/>
                    </a:lnTo>
                    <a:lnTo>
                      <a:pt x="818198" y="677704"/>
                    </a:lnTo>
                    <a:lnTo>
                      <a:pt x="814864" y="675989"/>
                    </a:lnTo>
                    <a:lnTo>
                      <a:pt x="808958" y="668369"/>
                    </a:lnTo>
                    <a:lnTo>
                      <a:pt x="807244" y="667512"/>
                    </a:lnTo>
                    <a:lnTo>
                      <a:pt x="807244" y="666655"/>
                    </a:lnTo>
                    <a:lnTo>
                      <a:pt x="808101" y="665036"/>
                    </a:lnTo>
                    <a:lnTo>
                      <a:pt x="808101" y="665036"/>
                    </a:lnTo>
                    <a:lnTo>
                      <a:pt x="808958" y="664178"/>
                    </a:lnTo>
                    <a:lnTo>
                      <a:pt x="809816" y="664178"/>
                    </a:lnTo>
                    <a:lnTo>
                      <a:pt x="812292" y="664178"/>
                    </a:lnTo>
                    <a:lnTo>
                      <a:pt x="814864" y="663321"/>
                    </a:lnTo>
                    <a:lnTo>
                      <a:pt x="815721" y="662464"/>
                    </a:lnTo>
                    <a:lnTo>
                      <a:pt x="816578" y="661607"/>
                    </a:lnTo>
                    <a:lnTo>
                      <a:pt x="818198" y="660749"/>
                    </a:lnTo>
                    <a:lnTo>
                      <a:pt x="818198" y="659892"/>
                    </a:lnTo>
                    <a:lnTo>
                      <a:pt x="818198" y="659035"/>
                    </a:lnTo>
                    <a:lnTo>
                      <a:pt x="818198" y="656558"/>
                    </a:lnTo>
                    <a:lnTo>
                      <a:pt x="818198" y="653986"/>
                    </a:lnTo>
                    <a:lnTo>
                      <a:pt x="816578" y="650557"/>
                    </a:lnTo>
                    <a:lnTo>
                      <a:pt x="814864" y="647224"/>
                    </a:lnTo>
                    <a:lnTo>
                      <a:pt x="814864" y="646366"/>
                    </a:lnTo>
                    <a:lnTo>
                      <a:pt x="814864" y="646366"/>
                    </a:lnTo>
                    <a:lnTo>
                      <a:pt x="814007" y="645509"/>
                    </a:lnTo>
                    <a:lnTo>
                      <a:pt x="814864" y="644652"/>
                    </a:lnTo>
                    <a:lnTo>
                      <a:pt x="814864" y="643795"/>
                    </a:lnTo>
                    <a:lnTo>
                      <a:pt x="815721" y="642080"/>
                    </a:lnTo>
                    <a:lnTo>
                      <a:pt x="816578" y="642080"/>
                    </a:lnTo>
                    <a:lnTo>
                      <a:pt x="818198" y="641223"/>
                    </a:lnTo>
                    <a:lnTo>
                      <a:pt x="821626" y="640366"/>
                    </a:lnTo>
                    <a:lnTo>
                      <a:pt x="830961" y="636175"/>
                    </a:lnTo>
                    <a:lnTo>
                      <a:pt x="831818" y="635318"/>
                    </a:lnTo>
                    <a:lnTo>
                      <a:pt x="833533" y="635318"/>
                    </a:lnTo>
                    <a:lnTo>
                      <a:pt x="836009" y="636175"/>
                    </a:lnTo>
                    <a:lnTo>
                      <a:pt x="841153" y="635318"/>
                    </a:lnTo>
                    <a:lnTo>
                      <a:pt x="852107" y="631031"/>
                    </a:lnTo>
                    <a:lnTo>
                      <a:pt x="853821" y="631031"/>
                    </a:lnTo>
                    <a:lnTo>
                      <a:pt x="855536" y="631031"/>
                    </a:lnTo>
                    <a:lnTo>
                      <a:pt x="857250" y="631889"/>
                    </a:lnTo>
                    <a:lnTo>
                      <a:pt x="859726" y="631031"/>
                    </a:lnTo>
                    <a:lnTo>
                      <a:pt x="860584" y="631031"/>
                    </a:lnTo>
                    <a:lnTo>
                      <a:pt x="862298" y="631031"/>
                    </a:lnTo>
                    <a:lnTo>
                      <a:pt x="864013" y="631889"/>
                    </a:lnTo>
                    <a:lnTo>
                      <a:pt x="865632" y="632746"/>
                    </a:lnTo>
                    <a:lnTo>
                      <a:pt x="867347" y="633603"/>
                    </a:lnTo>
                    <a:lnTo>
                      <a:pt x="869061" y="632746"/>
                    </a:lnTo>
                    <a:lnTo>
                      <a:pt x="869918" y="631889"/>
                    </a:lnTo>
                    <a:lnTo>
                      <a:pt x="870776" y="631031"/>
                    </a:lnTo>
                    <a:lnTo>
                      <a:pt x="870776" y="630269"/>
                    </a:lnTo>
                    <a:lnTo>
                      <a:pt x="871633" y="630269"/>
                    </a:lnTo>
                    <a:lnTo>
                      <a:pt x="872490" y="629412"/>
                    </a:lnTo>
                    <a:lnTo>
                      <a:pt x="873252" y="629412"/>
                    </a:lnTo>
                    <a:lnTo>
                      <a:pt x="874109" y="628555"/>
                    </a:lnTo>
                    <a:lnTo>
                      <a:pt x="874109" y="626840"/>
                    </a:lnTo>
                    <a:lnTo>
                      <a:pt x="874109" y="624269"/>
                    </a:lnTo>
                    <a:lnTo>
                      <a:pt x="874109" y="623411"/>
                    </a:lnTo>
                    <a:lnTo>
                      <a:pt x="874109" y="622554"/>
                    </a:lnTo>
                    <a:lnTo>
                      <a:pt x="874967" y="621697"/>
                    </a:lnTo>
                    <a:lnTo>
                      <a:pt x="875824" y="620935"/>
                    </a:lnTo>
                    <a:lnTo>
                      <a:pt x="874967" y="620078"/>
                    </a:lnTo>
                    <a:lnTo>
                      <a:pt x="874109" y="618363"/>
                    </a:lnTo>
                    <a:lnTo>
                      <a:pt x="872490" y="615791"/>
                    </a:lnTo>
                    <a:lnTo>
                      <a:pt x="871633" y="614934"/>
                    </a:lnTo>
                    <a:lnTo>
                      <a:pt x="870776" y="614077"/>
                    </a:lnTo>
                    <a:lnTo>
                      <a:pt x="870776" y="612362"/>
                    </a:lnTo>
                    <a:lnTo>
                      <a:pt x="870776" y="611600"/>
                    </a:lnTo>
                    <a:lnTo>
                      <a:pt x="870776" y="610743"/>
                    </a:lnTo>
                    <a:lnTo>
                      <a:pt x="871633" y="609886"/>
                    </a:lnTo>
                    <a:lnTo>
                      <a:pt x="871633" y="608171"/>
                    </a:lnTo>
                    <a:lnTo>
                      <a:pt x="871633" y="608171"/>
                    </a:lnTo>
                    <a:lnTo>
                      <a:pt x="871633" y="607314"/>
                    </a:lnTo>
                    <a:lnTo>
                      <a:pt x="871633" y="606457"/>
                    </a:lnTo>
                    <a:lnTo>
                      <a:pt x="869918" y="603885"/>
                    </a:lnTo>
                    <a:lnTo>
                      <a:pt x="869061" y="603123"/>
                    </a:lnTo>
                    <a:lnTo>
                      <a:pt x="869061" y="602266"/>
                    </a:lnTo>
                    <a:lnTo>
                      <a:pt x="869061" y="600551"/>
                    </a:lnTo>
                    <a:lnTo>
                      <a:pt x="869918" y="599694"/>
                    </a:lnTo>
                    <a:lnTo>
                      <a:pt x="869918" y="598837"/>
                    </a:lnTo>
                    <a:lnTo>
                      <a:pt x="870776" y="597980"/>
                    </a:lnTo>
                    <a:lnTo>
                      <a:pt x="870776" y="597122"/>
                    </a:lnTo>
                    <a:lnTo>
                      <a:pt x="870776" y="596265"/>
                    </a:lnTo>
                    <a:lnTo>
                      <a:pt x="870776" y="595408"/>
                    </a:lnTo>
                    <a:lnTo>
                      <a:pt x="869918" y="594551"/>
                    </a:lnTo>
                    <a:lnTo>
                      <a:pt x="869918" y="593789"/>
                    </a:lnTo>
                    <a:lnTo>
                      <a:pt x="869061" y="593789"/>
                    </a:lnTo>
                    <a:lnTo>
                      <a:pt x="868204" y="592931"/>
                    </a:lnTo>
                    <a:lnTo>
                      <a:pt x="867347" y="592931"/>
                    </a:lnTo>
                    <a:lnTo>
                      <a:pt x="865632" y="592074"/>
                    </a:lnTo>
                    <a:lnTo>
                      <a:pt x="864870" y="592074"/>
                    </a:lnTo>
                    <a:lnTo>
                      <a:pt x="862298" y="592931"/>
                    </a:lnTo>
                    <a:lnTo>
                      <a:pt x="859726" y="593789"/>
                    </a:lnTo>
                    <a:lnTo>
                      <a:pt x="857250" y="595408"/>
                    </a:lnTo>
                    <a:lnTo>
                      <a:pt x="856393" y="596265"/>
                    </a:lnTo>
                    <a:lnTo>
                      <a:pt x="856393" y="597980"/>
                    </a:lnTo>
                    <a:lnTo>
                      <a:pt x="854678" y="601408"/>
                    </a:lnTo>
                    <a:lnTo>
                      <a:pt x="854678" y="602266"/>
                    </a:lnTo>
                    <a:lnTo>
                      <a:pt x="853821" y="603123"/>
                    </a:lnTo>
                    <a:lnTo>
                      <a:pt x="852964" y="603885"/>
                    </a:lnTo>
                    <a:lnTo>
                      <a:pt x="851249" y="604742"/>
                    </a:lnTo>
                    <a:lnTo>
                      <a:pt x="849535" y="605599"/>
                    </a:lnTo>
                    <a:lnTo>
                      <a:pt x="847058" y="604742"/>
                    </a:lnTo>
                    <a:lnTo>
                      <a:pt x="845344" y="604742"/>
                    </a:lnTo>
                    <a:lnTo>
                      <a:pt x="842772" y="603123"/>
                    </a:lnTo>
                    <a:lnTo>
                      <a:pt x="841915" y="603123"/>
                    </a:lnTo>
                    <a:lnTo>
                      <a:pt x="840296" y="603885"/>
                    </a:lnTo>
                    <a:lnTo>
                      <a:pt x="837724" y="604742"/>
                    </a:lnTo>
                    <a:lnTo>
                      <a:pt x="834295" y="606457"/>
                    </a:lnTo>
                    <a:lnTo>
                      <a:pt x="831818" y="608171"/>
                    </a:lnTo>
                    <a:lnTo>
                      <a:pt x="825818" y="607314"/>
                    </a:lnTo>
                    <a:lnTo>
                      <a:pt x="823341" y="609028"/>
                    </a:lnTo>
                    <a:lnTo>
                      <a:pt x="822484" y="609028"/>
                    </a:lnTo>
                    <a:lnTo>
                      <a:pt x="821626" y="609028"/>
                    </a:lnTo>
                    <a:lnTo>
                      <a:pt x="818198" y="605599"/>
                    </a:lnTo>
                    <a:lnTo>
                      <a:pt x="817436" y="605599"/>
                    </a:lnTo>
                    <a:lnTo>
                      <a:pt x="812292" y="604742"/>
                    </a:lnTo>
                    <a:lnTo>
                      <a:pt x="811435" y="604742"/>
                    </a:lnTo>
                    <a:lnTo>
                      <a:pt x="810578" y="604742"/>
                    </a:lnTo>
                    <a:lnTo>
                      <a:pt x="807244" y="606457"/>
                    </a:lnTo>
                    <a:lnTo>
                      <a:pt x="806387" y="606457"/>
                    </a:lnTo>
                    <a:lnTo>
                      <a:pt x="805529" y="605599"/>
                    </a:lnTo>
                    <a:lnTo>
                      <a:pt x="804672" y="605599"/>
                    </a:lnTo>
                    <a:lnTo>
                      <a:pt x="800481" y="602266"/>
                    </a:lnTo>
                    <a:lnTo>
                      <a:pt x="798767" y="601408"/>
                    </a:lnTo>
                    <a:lnTo>
                      <a:pt x="797909" y="600551"/>
                    </a:lnTo>
                    <a:lnTo>
                      <a:pt x="796195" y="600551"/>
                    </a:lnTo>
                    <a:lnTo>
                      <a:pt x="794480" y="600551"/>
                    </a:lnTo>
                    <a:lnTo>
                      <a:pt x="792861" y="600551"/>
                    </a:lnTo>
                    <a:lnTo>
                      <a:pt x="792004" y="599694"/>
                    </a:lnTo>
                    <a:lnTo>
                      <a:pt x="791147" y="598837"/>
                    </a:lnTo>
                    <a:lnTo>
                      <a:pt x="788575" y="593789"/>
                    </a:lnTo>
                    <a:lnTo>
                      <a:pt x="787718" y="592931"/>
                    </a:lnTo>
                    <a:lnTo>
                      <a:pt x="786098" y="592931"/>
                    </a:lnTo>
                    <a:lnTo>
                      <a:pt x="784384" y="592074"/>
                    </a:lnTo>
                    <a:lnTo>
                      <a:pt x="783526" y="592074"/>
                    </a:lnTo>
                    <a:lnTo>
                      <a:pt x="782669" y="591217"/>
                    </a:lnTo>
                    <a:lnTo>
                      <a:pt x="781812" y="590360"/>
                    </a:lnTo>
                    <a:lnTo>
                      <a:pt x="780955" y="589502"/>
                    </a:lnTo>
                    <a:lnTo>
                      <a:pt x="780955" y="586073"/>
                    </a:lnTo>
                    <a:lnTo>
                      <a:pt x="778383" y="579311"/>
                    </a:lnTo>
                    <a:lnTo>
                      <a:pt x="775049" y="563213"/>
                    </a:lnTo>
                    <a:lnTo>
                      <a:pt x="775049" y="561499"/>
                    </a:lnTo>
                    <a:lnTo>
                      <a:pt x="774192" y="560641"/>
                    </a:lnTo>
                    <a:lnTo>
                      <a:pt x="774192" y="558927"/>
                    </a:lnTo>
                    <a:lnTo>
                      <a:pt x="774192" y="557308"/>
                    </a:lnTo>
                    <a:lnTo>
                      <a:pt x="775049" y="557308"/>
                    </a:lnTo>
                    <a:lnTo>
                      <a:pt x="776764" y="556451"/>
                    </a:lnTo>
                    <a:lnTo>
                      <a:pt x="777621" y="555593"/>
                    </a:lnTo>
                    <a:lnTo>
                      <a:pt x="778383" y="553879"/>
                    </a:lnTo>
                    <a:lnTo>
                      <a:pt x="778383" y="550450"/>
                    </a:lnTo>
                    <a:lnTo>
                      <a:pt x="778383" y="549593"/>
                    </a:lnTo>
                    <a:lnTo>
                      <a:pt x="778383" y="547973"/>
                    </a:lnTo>
                    <a:lnTo>
                      <a:pt x="780955" y="543687"/>
                    </a:lnTo>
                    <a:lnTo>
                      <a:pt x="781812" y="542830"/>
                    </a:lnTo>
                    <a:lnTo>
                      <a:pt x="782669" y="541973"/>
                    </a:lnTo>
                    <a:lnTo>
                      <a:pt x="785241" y="539496"/>
                    </a:lnTo>
                    <a:lnTo>
                      <a:pt x="786098" y="539496"/>
                    </a:lnTo>
                    <a:lnTo>
                      <a:pt x="788575" y="539496"/>
                    </a:lnTo>
                    <a:lnTo>
                      <a:pt x="789432" y="538639"/>
                    </a:lnTo>
                    <a:lnTo>
                      <a:pt x="790289" y="537782"/>
                    </a:lnTo>
                    <a:lnTo>
                      <a:pt x="791147" y="535210"/>
                    </a:lnTo>
                    <a:lnTo>
                      <a:pt x="792004" y="534353"/>
                    </a:lnTo>
                    <a:lnTo>
                      <a:pt x="792861" y="534353"/>
                    </a:lnTo>
                    <a:lnTo>
                      <a:pt x="798767" y="534353"/>
                    </a:lnTo>
                    <a:lnTo>
                      <a:pt x="799624" y="535210"/>
                    </a:lnTo>
                    <a:lnTo>
                      <a:pt x="801338" y="535210"/>
                    </a:lnTo>
                    <a:lnTo>
                      <a:pt x="802958" y="534353"/>
                    </a:lnTo>
                    <a:lnTo>
                      <a:pt x="804672" y="531019"/>
                    </a:lnTo>
                    <a:lnTo>
                      <a:pt x="806387" y="530161"/>
                    </a:lnTo>
                    <a:lnTo>
                      <a:pt x="807244" y="530161"/>
                    </a:lnTo>
                    <a:lnTo>
                      <a:pt x="808101" y="529304"/>
                    </a:lnTo>
                    <a:lnTo>
                      <a:pt x="808958" y="529304"/>
                    </a:lnTo>
                    <a:lnTo>
                      <a:pt x="809816" y="527590"/>
                    </a:lnTo>
                    <a:lnTo>
                      <a:pt x="809816" y="526732"/>
                    </a:lnTo>
                    <a:lnTo>
                      <a:pt x="809816" y="525018"/>
                    </a:lnTo>
                    <a:lnTo>
                      <a:pt x="810578" y="523303"/>
                    </a:lnTo>
                    <a:lnTo>
                      <a:pt x="810578" y="522446"/>
                    </a:lnTo>
                    <a:lnTo>
                      <a:pt x="817436" y="518255"/>
                    </a:lnTo>
                    <a:lnTo>
                      <a:pt x="819055" y="516541"/>
                    </a:lnTo>
                    <a:lnTo>
                      <a:pt x="819912" y="515683"/>
                    </a:lnTo>
                    <a:lnTo>
                      <a:pt x="819912" y="514826"/>
                    </a:lnTo>
                    <a:lnTo>
                      <a:pt x="819912" y="513207"/>
                    </a:lnTo>
                    <a:lnTo>
                      <a:pt x="820769" y="512350"/>
                    </a:lnTo>
                    <a:lnTo>
                      <a:pt x="824198" y="511493"/>
                    </a:lnTo>
                    <a:lnTo>
                      <a:pt x="825818" y="511493"/>
                    </a:lnTo>
                    <a:lnTo>
                      <a:pt x="826675" y="509778"/>
                    </a:lnTo>
                    <a:lnTo>
                      <a:pt x="828389" y="508921"/>
                    </a:lnTo>
                    <a:lnTo>
                      <a:pt x="830104" y="508064"/>
                    </a:lnTo>
                    <a:lnTo>
                      <a:pt x="830961" y="507206"/>
                    </a:lnTo>
                    <a:lnTo>
                      <a:pt x="831818" y="505492"/>
                    </a:lnTo>
                    <a:lnTo>
                      <a:pt x="832676" y="504635"/>
                    </a:lnTo>
                    <a:lnTo>
                      <a:pt x="833533" y="503873"/>
                    </a:lnTo>
                    <a:lnTo>
                      <a:pt x="836867" y="502158"/>
                    </a:lnTo>
                    <a:lnTo>
                      <a:pt x="838581" y="502158"/>
                    </a:lnTo>
                    <a:lnTo>
                      <a:pt x="839438" y="502158"/>
                    </a:lnTo>
                    <a:lnTo>
                      <a:pt x="840296" y="502158"/>
                    </a:lnTo>
                    <a:lnTo>
                      <a:pt x="841153" y="501301"/>
                    </a:lnTo>
                    <a:lnTo>
                      <a:pt x="841915" y="500444"/>
                    </a:lnTo>
                    <a:lnTo>
                      <a:pt x="841915" y="498729"/>
                    </a:lnTo>
                    <a:lnTo>
                      <a:pt x="841915" y="497872"/>
                    </a:lnTo>
                    <a:lnTo>
                      <a:pt x="845344" y="495300"/>
                    </a:lnTo>
                    <a:lnTo>
                      <a:pt x="847916" y="495300"/>
                    </a:lnTo>
                    <a:lnTo>
                      <a:pt x="851249" y="495300"/>
                    </a:lnTo>
                    <a:lnTo>
                      <a:pt x="854678" y="495300"/>
                    </a:lnTo>
                    <a:lnTo>
                      <a:pt x="857250" y="492823"/>
                    </a:lnTo>
                    <a:lnTo>
                      <a:pt x="859726" y="491109"/>
                    </a:lnTo>
                    <a:lnTo>
                      <a:pt x="860584" y="490252"/>
                    </a:lnTo>
                    <a:lnTo>
                      <a:pt x="862298" y="488537"/>
                    </a:lnTo>
                    <a:lnTo>
                      <a:pt x="863156" y="487680"/>
                    </a:lnTo>
                    <a:lnTo>
                      <a:pt x="864013" y="486823"/>
                    </a:lnTo>
                    <a:lnTo>
                      <a:pt x="864870" y="485203"/>
                    </a:lnTo>
                    <a:lnTo>
                      <a:pt x="864870" y="484346"/>
                    </a:lnTo>
                    <a:lnTo>
                      <a:pt x="867347" y="481774"/>
                    </a:lnTo>
                    <a:lnTo>
                      <a:pt x="868204" y="480060"/>
                    </a:lnTo>
                    <a:lnTo>
                      <a:pt x="869918" y="480060"/>
                    </a:lnTo>
                    <a:lnTo>
                      <a:pt x="873252" y="480060"/>
                    </a:lnTo>
                    <a:lnTo>
                      <a:pt x="874967" y="480060"/>
                    </a:lnTo>
                    <a:lnTo>
                      <a:pt x="876681" y="479203"/>
                    </a:lnTo>
                    <a:lnTo>
                      <a:pt x="877538" y="480060"/>
                    </a:lnTo>
                    <a:lnTo>
                      <a:pt x="879253" y="479203"/>
                    </a:lnTo>
                    <a:lnTo>
                      <a:pt x="879253" y="477488"/>
                    </a:lnTo>
                    <a:lnTo>
                      <a:pt x="879253" y="475869"/>
                    </a:lnTo>
                    <a:lnTo>
                      <a:pt x="880110" y="474155"/>
                    </a:lnTo>
                    <a:lnTo>
                      <a:pt x="881729" y="473297"/>
                    </a:lnTo>
                    <a:lnTo>
                      <a:pt x="886873" y="474155"/>
                    </a:lnTo>
                    <a:lnTo>
                      <a:pt x="888587" y="473297"/>
                    </a:lnTo>
                    <a:lnTo>
                      <a:pt x="889349" y="472440"/>
                    </a:lnTo>
                    <a:lnTo>
                      <a:pt x="893636" y="469868"/>
                    </a:lnTo>
                    <a:lnTo>
                      <a:pt x="899541" y="465677"/>
                    </a:lnTo>
                    <a:lnTo>
                      <a:pt x="901256" y="464820"/>
                    </a:lnTo>
                    <a:lnTo>
                      <a:pt x="902970" y="464820"/>
                    </a:lnTo>
                    <a:lnTo>
                      <a:pt x="906304" y="463106"/>
                    </a:lnTo>
                    <a:lnTo>
                      <a:pt x="908876" y="463106"/>
                    </a:lnTo>
                    <a:lnTo>
                      <a:pt x="910590" y="462248"/>
                    </a:lnTo>
                    <a:lnTo>
                      <a:pt x="911447" y="461391"/>
                    </a:lnTo>
                    <a:lnTo>
                      <a:pt x="913067" y="458915"/>
                    </a:lnTo>
                    <a:lnTo>
                      <a:pt x="916496" y="457200"/>
                    </a:lnTo>
                    <a:lnTo>
                      <a:pt x="920687" y="456343"/>
                    </a:lnTo>
                    <a:lnTo>
                      <a:pt x="923258" y="453771"/>
                    </a:lnTo>
                    <a:lnTo>
                      <a:pt x="921544" y="450342"/>
                    </a:lnTo>
                    <a:lnTo>
                      <a:pt x="927545" y="448723"/>
                    </a:lnTo>
                    <a:lnTo>
                      <a:pt x="928402" y="447865"/>
                    </a:lnTo>
                    <a:lnTo>
                      <a:pt x="929164" y="447008"/>
                    </a:lnTo>
                    <a:lnTo>
                      <a:pt x="929164" y="444436"/>
                    </a:lnTo>
                    <a:lnTo>
                      <a:pt x="930021" y="443579"/>
                    </a:lnTo>
                    <a:lnTo>
                      <a:pt x="930878" y="443579"/>
                    </a:lnTo>
                    <a:lnTo>
                      <a:pt x="932593" y="442722"/>
                    </a:lnTo>
                    <a:lnTo>
                      <a:pt x="934307" y="442722"/>
                    </a:lnTo>
                    <a:lnTo>
                      <a:pt x="936022" y="442722"/>
                    </a:lnTo>
                    <a:lnTo>
                      <a:pt x="939356" y="441103"/>
                    </a:lnTo>
                    <a:lnTo>
                      <a:pt x="941927" y="439388"/>
                    </a:lnTo>
                    <a:lnTo>
                      <a:pt x="942785" y="439388"/>
                    </a:lnTo>
                    <a:lnTo>
                      <a:pt x="944404" y="440245"/>
                    </a:lnTo>
                    <a:lnTo>
                      <a:pt x="945261" y="440245"/>
                    </a:lnTo>
                    <a:lnTo>
                      <a:pt x="946118" y="441103"/>
                    </a:lnTo>
                    <a:lnTo>
                      <a:pt x="946976" y="441103"/>
                    </a:lnTo>
                    <a:lnTo>
                      <a:pt x="948690" y="441103"/>
                    </a:lnTo>
                    <a:lnTo>
                      <a:pt x="950405" y="441103"/>
                    </a:lnTo>
                    <a:lnTo>
                      <a:pt x="951262" y="440245"/>
                    </a:lnTo>
                    <a:lnTo>
                      <a:pt x="951262" y="438531"/>
                    </a:lnTo>
                    <a:lnTo>
                      <a:pt x="951262" y="435959"/>
                    </a:lnTo>
                    <a:lnTo>
                      <a:pt x="952119" y="435102"/>
                    </a:lnTo>
                    <a:lnTo>
                      <a:pt x="952881" y="433387"/>
                    </a:lnTo>
                    <a:lnTo>
                      <a:pt x="952881" y="433387"/>
                    </a:lnTo>
                    <a:lnTo>
                      <a:pt x="952881" y="431768"/>
                    </a:lnTo>
                    <a:lnTo>
                      <a:pt x="952119" y="430054"/>
                    </a:lnTo>
                    <a:lnTo>
                      <a:pt x="952119" y="429197"/>
                    </a:lnTo>
                    <a:lnTo>
                      <a:pt x="952881" y="427482"/>
                    </a:lnTo>
                    <a:lnTo>
                      <a:pt x="954596" y="427482"/>
                    </a:lnTo>
                    <a:lnTo>
                      <a:pt x="958882" y="428339"/>
                    </a:lnTo>
                    <a:lnTo>
                      <a:pt x="959739" y="427482"/>
                    </a:lnTo>
                    <a:lnTo>
                      <a:pt x="960501" y="424053"/>
                    </a:lnTo>
                    <a:lnTo>
                      <a:pt x="962216" y="424053"/>
                    </a:lnTo>
                    <a:lnTo>
                      <a:pt x="963930" y="423291"/>
                    </a:lnTo>
                    <a:lnTo>
                      <a:pt x="963930" y="422434"/>
                    </a:lnTo>
                    <a:lnTo>
                      <a:pt x="963073" y="421577"/>
                    </a:lnTo>
                    <a:lnTo>
                      <a:pt x="962216" y="420719"/>
                    </a:lnTo>
                    <a:lnTo>
                      <a:pt x="961358" y="419005"/>
                    </a:lnTo>
                    <a:lnTo>
                      <a:pt x="960501" y="419005"/>
                    </a:lnTo>
                    <a:lnTo>
                      <a:pt x="960501" y="418148"/>
                    </a:lnTo>
                    <a:lnTo>
                      <a:pt x="961358" y="417290"/>
                    </a:lnTo>
                    <a:lnTo>
                      <a:pt x="961358" y="417290"/>
                    </a:lnTo>
                    <a:lnTo>
                      <a:pt x="962216" y="417290"/>
                    </a:lnTo>
                    <a:lnTo>
                      <a:pt x="963930" y="417290"/>
                    </a:lnTo>
                    <a:lnTo>
                      <a:pt x="964787" y="416433"/>
                    </a:lnTo>
                    <a:lnTo>
                      <a:pt x="968121" y="413099"/>
                    </a:lnTo>
                    <a:lnTo>
                      <a:pt x="968978" y="412242"/>
                    </a:lnTo>
                    <a:lnTo>
                      <a:pt x="968978" y="411385"/>
                    </a:lnTo>
                    <a:lnTo>
                      <a:pt x="968978" y="411385"/>
                    </a:lnTo>
                    <a:close/>
                  </a:path>
                </a:pathLst>
              </a:custGeom>
              <a:solidFill>
                <a:srgbClr val="00A039"/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32" name="Freeform: Shape 136">
                <a:extLst>
                  <a:ext uri="{FF2B5EF4-FFF2-40B4-BE49-F238E27FC236}">
                    <a16:creationId xmlns:a16="http://schemas.microsoft.com/office/drawing/2014/main" id="{764CC484-9919-4D52-B8D3-0D5A6732A0EB}"/>
                  </a:ext>
                </a:extLst>
              </p:cNvPr>
              <p:cNvSpPr/>
              <p:nvPr/>
            </p:nvSpPr>
            <p:spPr>
              <a:xfrm>
                <a:off x="5111591" y="2204847"/>
                <a:ext cx="333375" cy="371475"/>
              </a:xfrm>
              <a:custGeom>
                <a:avLst/>
                <a:gdLst>
                  <a:gd name="connsiteX0" fmla="*/ 337185 w 333375"/>
                  <a:gd name="connsiteY0" fmla="*/ 266986 h 371475"/>
                  <a:gd name="connsiteX1" fmla="*/ 337185 w 333375"/>
                  <a:gd name="connsiteY1" fmla="*/ 265271 h 371475"/>
                  <a:gd name="connsiteX2" fmla="*/ 337185 w 333375"/>
                  <a:gd name="connsiteY2" fmla="*/ 260985 h 371475"/>
                  <a:gd name="connsiteX3" fmla="*/ 337185 w 333375"/>
                  <a:gd name="connsiteY3" fmla="*/ 260223 h 371475"/>
                  <a:gd name="connsiteX4" fmla="*/ 337185 w 333375"/>
                  <a:gd name="connsiteY4" fmla="*/ 259366 h 371475"/>
                  <a:gd name="connsiteX5" fmla="*/ 338042 w 333375"/>
                  <a:gd name="connsiteY5" fmla="*/ 258509 h 371475"/>
                  <a:gd name="connsiteX6" fmla="*/ 338900 w 333375"/>
                  <a:gd name="connsiteY6" fmla="*/ 257651 h 371475"/>
                  <a:gd name="connsiteX7" fmla="*/ 338900 w 333375"/>
                  <a:gd name="connsiteY7" fmla="*/ 256794 h 371475"/>
                  <a:gd name="connsiteX8" fmla="*/ 338042 w 333375"/>
                  <a:gd name="connsiteY8" fmla="*/ 255937 h 371475"/>
                  <a:gd name="connsiteX9" fmla="*/ 337185 w 333375"/>
                  <a:gd name="connsiteY9" fmla="*/ 255080 h 371475"/>
                  <a:gd name="connsiteX10" fmla="*/ 337185 w 333375"/>
                  <a:gd name="connsiteY10" fmla="*/ 253460 h 371475"/>
                  <a:gd name="connsiteX11" fmla="*/ 337185 w 333375"/>
                  <a:gd name="connsiteY11" fmla="*/ 251746 h 371475"/>
                  <a:gd name="connsiteX12" fmla="*/ 338042 w 333375"/>
                  <a:gd name="connsiteY12" fmla="*/ 247555 h 371475"/>
                  <a:gd name="connsiteX13" fmla="*/ 338042 w 333375"/>
                  <a:gd name="connsiteY13" fmla="*/ 246697 h 371475"/>
                  <a:gd name="connsiteX14" fmla="*/ 337185 w 333375"/>
                  <a:gd name="connsiteY14" fmla="*/ 245840 h 371475"/>
                  <a:gd name="connsiteX15" fmla="*/ 337185 w 333375"/>
                  <a:gd name="connsiteY15" fmla="*/ 244983 h 371475"/>
                  <a:gd name="connsiteX16" fmla="*/ 336423 w 333375"/>
                  <a:gd name="connsiteY16" fmla="*/ 243268 h 371475"/>
                  <a:gd name="connsiteX17" fmla="*/ 336423 w 333375"/>
                  <a:gd name="connsiteY17" fmla="*/ 242411 h 371475"/>
                  <a:gd name="connsiteX18" fmla="*/ 335566 w 333375"/>
                  <a:gd name="connsiteY18" fmla="*/ 241649 h 371475"/>
                  <a:gd name="connsiteX19" fmla="*/ 334709 w 333375"/>
                  <a:gd name="connsiteY19" fmla="*/ 241649 h 371475"/>
                  <a:gd name="connsiteX20" fmla="*/ 333851 w 333375"/>
                  <a:gd name="connsiteY20" fmla="*/ 241649 h 371475"/>
                  <a:gd name="connsiteX21" fmla="*/ 332994 w 333375"/>
                  <a:gd name="connsiteY21" fmla="*/ 240792 h 371475"/>
                  <a:gd name="connsiteX22" fmla="*/ 332994 w 333375"/>
                  <a:gd name="connsiteY22" fmla="*/ 236506 h 371475"/>
                  <a:gd name="connsiteX23" fmla="*/ 332137 w 333375"/>
                  <a:gd name="connsiteY23" fmla="*/ 236506 h 371475"/>
                  <a:gd name="connsiteX24" fmla="*/ 332137 w 333375"/>
                  <a:gd name="connsiteY24" fmla="*/ 236506 h 371475"/>
                  <a:gd name="connsiteX25" fmla="*/ 332137 w 333375"/>
                  <a:gd name="connsiteY25" fmla="*/ 235649 h 371475"/>
                  <a:gd name="connsiteX26" fmla="*/ 332137 w 333375"/>
                  <a:gd name="connsiteY26" fmla="*/ 235649 h 371475"/>
                  <a:gd name="connsiteX27" fmla="*/ 331280 w 333375"/>
                  <a:gd name="connsiteY27" fmla="*/ 236506 h 371475"/>
                  <a:gd name="connsiteX28" fmla="*/ 330422 w 333375"/>
                  <a:gd name="connsiteY28" fmla="*/ 236506 h 371475"/>
                  <a:gd name="connsiteX29" fmla="*/ 329565 w 333375"/>
                  <a:gd name="connsiteY29" fmla="*/ 236506 h 371475"/>
                  <a:gd name="connsiteX30" fmla="*/ 327946 w 333375"/>
                  <a:gd name="connsiteY30" fmla="*/ 235649 h 371475"/>
                  <a:gd name="connsiteX31" fmla="*/ 327088 w 333375"/>
                  <a:gd name="connsiteY31" fmla="*/ 235649 h 371475"/>
                  <a:gd name="connsiteX32" fmla="*/ 326231 w 333375"/>
                  <a:gd name="connsiteY32" fmla="*/ 235649 h 371475"/>
                  <a:gd name="connsiteX33" fmla="*/ 326231 w 333375"/>
                  <a:gd name="connsiteY33" fmla="*/ 236506 h 371475"/>
                  <a:gd name="connsiteX34" fmla="*/ 325374 w 333375"/>
                  <a:gd name="connsiteY34" fmla="*/ 237363 h 371475"/>
                  <a:gd name="connsiteX35" fmla="*/ 324517 w 333375"/>
                  <a:gd name="connsiteY35" fmla="*/ 237363 h 371475"/>
                  <a:gd name="connsiteX36" fmla="*/ 323659 w 333375"/>
                  <a:gd name="connsiteY36" fmla="*/ 236506 h 371475"/>
                  <a:gd name="connsiteX37" fmla="*/ 323659 w 333375"/>
                  <a:gd name="connsiteY37" fmla="*/ 235649 h 371475"/>
                  <a:gd name="connsiteX38" fmla="*/ 321945 w 333375"/>
                  <a:gd name="connsiteY38" fmla="*/ 234887 h 371475"/>
                  <a:gd name="connsiteX39" fmla="*/ 318611 w 333375"/>
                  <a:gd name="connsiteY39" fmla="*/ 230600 h 371475"/>
                  <a:gd name="connsiteX40" fmla="*/ 316040 w 333375"/>
                  <a:gd name="connsiteY40" fmla="*/ 228124 h 371475"/>
                  <a:gd name="connsiteX41" fmla="*/ 315182 w 333375"/>
                  <a:gd name="connsiteY41" fmla="*/ 227266 h 371475"/>
                  <a:gd name="connsiteX42" fmla="*/ 315182 w 333375"/>
                  <a:gd name="connsiteY42" fmla="*/ 226409 h 371475"/>
                  <a:gd name="connsiteX43" fmla="*/ 315182 w 333375"/>
                  <a:gd name="connsiteY43" fmla="*/ 225552 h 371475"/>
                  <a:gd name="connsiteX44" fmla="*/ 315182 w 333375"/>
                  <a:gd name="connsiteY44" fmla="*/ 224695 h 371475"/>
                  <a:gd name="connsiteX45" fmla="*/ 315182 w 333375"/>
                  <a:gd name="connsiteY45" fmla="*/ 223838 h 371475"/>
                  <a:gd name="connsiteX46" fmla="*/ 316040 w 333375"/>
                  <a:gd name="connsiteY46" fmla="*/ 222980 h 371475"/>
                  <a:gd name="connsiteX47" fmla="*/ 320326 w 333375"/>
                  <a:gd name="connsiteY47" fmla="*/ 221361 h 371475"/>
                  <a:gd name="connsiteX48" fmla="*/ 321945 w 333375"/>
                  <a:gd name="connsiteY48" fmla="*/ 221361 h 371475"/>
                  <a:gd name="connsiteX49" fmla="*/ 323659 w 333375"/>
                  <a:gd name="connsiteY49" fmla="*/ 221361 h 371475"/>
                  <a:gd name="connsiteX50" fmla="*/ 327946 w 333375"/>
                  <a:gd name="connsiteY50" fmla="*/ 222218 h 371475"/>
                  <a:gd name="connsiteX51" fmla="*/ 329565 w 333375"/>
                  <a:gd name="connsiteY51" fmla="*/ 219647 h 371475"/>
                  <a:gd name="connsiteX52" fmla="*/ 330422 w 333375"/>
                  <a:gd name="connsiteY52" fmla="*/ 217932 h 371475"/>
                  <a:gd name="connsiteX53" fmla="*/ 330422 w 333375"/>
                  <a:gd name="connsiteY53" fmla="*/ 217075 h 371475"/>
                  <a:gd name="connsiteX54" fmla="*/ 330422 w 333375"/>
                  <a:gd name="connsiteY54" fmla="*/ 216218 h 371475"/>
                  <a:gd name="connsiteX55" fmla="*/ 330422 w 333375"/>
                  <a:gd name="connsiteY55" fmla="*/ 215455 h 371475"/>
                  <a:gd name="connsiteX56" fmla="*/ 329565 w 333375"/>
                  <a:gd name="connsiteY56" fmla="*/ 215455 h 371475"/>
                  <a:gd name="connsiteX57" fmla="*/ 328803 w 333375"/>
                  <a:gd name="connsiteY57" fmla="*/ 214598 h 371475"/>
                  <a:gd name="connsiteX58" fmla="*/ 327946 w 333375"/>
                  <a:gd name="connsiteY58" fmla="*/ 214598 h 371475"/>
                  <a:gd name="connsiteX59" fmla="*/ 327088 w 333375"/>
                  <a:gd name="connsiteY59" fmla="*/ 213741 h 371475"/>
                  <a:gd name="connsiteX60" fmla="*/ 326231 w 333375"/>
                  <a:gd name="connsiteY60" fmla="*/ 212884 h 371475"/>
                  <a:gd name="connsiteX61" fmla="*/ 325374 w 333375"/>
                  <a:gd name="connsiteY61" fmla="*/ 210312 h 371475"/>
                  <a:gd name="connsiteX62" fmla="*/ 324517 w 333375"/>
                  <a:gd name="connsiteY62" fmla="*/ 208693 h 371475"/>
                  <a:gd name="connsiteX63" fmla="*/ 322802 w 333375"/>
                  <a:gd name="connsiteY63" fmla="*/ 206978 h 371475"/>
                  <a:gd name="connsiteX64" fmla="*/ 317754 w 333375"/>
                  <a:gd name="connsiteY64" fmla="*/ 202787 h 371475"/>
                  <a:gd name="connsiteX65" fmla="*/ 315182 w 333375"/>
                  <a:gd name="connsiteY65" fmla="*/ 200216 h 371475"/>
                  <a:gd name="connsiteX66" fmla="*/ 309277 w 333375"/>
                  <a:gd name="connsiteY66" fmla="*/ 196024 h 371475"/>
                  <a:gd name="connsiteX67" fmla="*/ 307562 w 333375"/>
                  <a:gd name="connsiteY67" fmla="*/ 193453 h 371475"/>
                  <a:gd name="connsiteX68" fmla="*/ 305848 w 333375"/>
                  <a:gd name="connsiteY68" fmla="*/ 191738 h 371475"/>
                  <a:gd name="connsiteX69" fmla="*/ 305848 w 333375"/>
                  <a:gd name="connsiteY69" fmla="*/ 190119 h 371475"/>
                  <a:gd name="connsiteX70" fmla="*/ 304990 w 333375"/>
                  <a:gd name="connsiteY70" fmla="*/ 188405 h 371475"/>
                  <a:gd name="connsiteX71" fmla="*/ 304990 w 333375"/>
                  <a:gd name="connsiteY71" fmla="*/ 187547 h 371475"/>
                  <a:gd name="connsiteX72" fmla="*/ 304990 w 333375"/>
                  <a:gd name="connsiteY72" fmla="*/ 185833 h 371475"/>
                  <a:gd name="connsiteX73" fmla="*/ 304990 w 333375"/>
                  <a:gd name="connsiteY73" fmla="*/ 184976 h 371475"/>
                  <a:gd name="connsiteX74" fmla="*/ 305848 w 333375"/>
                  <a:gd name="connsiteY74" fmla="*/ 184118 h 371475"/>
                  <a:gd name="connsiteX75" fmla="*/ 306705 w 333375"/>
                  <a:gd name="connsiteY75" fmla="*/ 181642 h 371475"/>
                  <a:gd name="connsiteX76" fmla="*/ 306705 w 333375"/>
                  <a:gd name="connsiteY76" fmla="*/ 180785 h 371475"/>
                  <a:gd name="connsiteX77" fmla="*/ 304990 w 333375"/>
                  <a:gd name="connsiteY77" fmla="*/ 179070 h 371475"/>
                  <a:gd name="connsiteX78" fmla="*/ 304228 w 333375"/>
                  <a:gd name="connsiteY78" fmla="*/ 178213 h 371475"/>
                  <a:gd name="connsiteX79" fmla="*/ 304990 w 333375"/>
                  <a:gd name="connsiteY79" fmla="*/ 173165 h 371475"/>
                  <a:gd name="connsiteX80" fmla="*/ 304990 w 333375"/>
                  <a:gd name="connsiteY80" fmla="*/ 171450 h 371475"/>
                  <a:gd name="connsiteX81" fmla="*/ 304990 w 333375"/>
                  <a:gd name="connsiteY81" fmla="*/ 170688 h 371475"/>
                  <a:gd name="connsiteX82" fmla="*/ 306705 w 333375"/>
                  <a:gd name="connsiteY82" fmla="*/ 168974 h 371475"/>
                  <a:gd name="connsiteX83" fmla="*/ 307562 w 333375"/>
                  <a:gd name="connsiteY83" fmla="*/ 167259 h 371475"/>
                  <a:gd name="connsiteX84" fmla="*/ 306705 w 333375"/>
                  <a:gd name="connsiteY84" fmla="*/ 166402 h 371475"/>
                  <a:gd name="connsiteX85" fmla="*/ 305848 w 333375"/>
                  <a:gd name="connsiteY85" fmla="*/ 166402 h 371475"/>
                  <a:gd name="connsiteX86" fmla="*/ 303371 w 333375"/>
                  <a:gd name="connsiteY86" fmla="*/ 166402 h 371475"/>
                  <a:gd name="connsiteX87" fmla="*/ 302514 w 333375"/>
                  <a:gd name="connsiteY87" fmla="*/ 166402 h 371475"/>
                  <a:gd name="connsiteX88" fmla="*/ 302514 w 333375"/>
                  <a:gd name="connsiteY88" fmla="*/ 166402 h 371475"/>
                  <a:gd name="connsiteX89" fmla="*/ 303371 w 333375"/>
                  <a:gd name="connsiteY89" fmla="*/ 163925 h 371475"/>
                  <a:gd name="connsiteX90" fmla="*/ 302514 w 333375"/>
                  <a:gd name="connsiteY90" fmla="*/ 162211 h 371475"/>
                  <a:gd name="connsiteX91" fmla="*/ 301657 w 333375"/>
                  <a:gd name="connsiteY91" fmla="*/ 160496 h 371475"/>
                  <a:gd name="connsiteX92" fmla="*/ 301657 w 333375"/>
                  <a:gd name="connsiteY92" fmla="*/ 159639 h 371475"/>
                  <a:gd name="connsiteX93" fmla="*/ 300800 w 333375"/>
                  <a:gd name="connsiteY93" fmla="*/ 159639 h 371475"/>
                  <a:gd name="connsiteX94" fmla="*/ 300800 w 333375"/>
                  <a:gd name="connsiteY94" fmla="*/ 159639 h 371475"/>
                  <a:gd name="connsiteX95" fmla="*/ 299942 w 333375"/>
                  <a:gd name="connsiteY95" fmla="*/ 159639 h 371475"/>
                  <a:gd name="connsiteX96" fmla="*/ 299085 w 333375"/>
                  <a:gd name="connsiteY96" fmla="*/ 161353 h 371475"/>
                  <a:gd name="connsiteX97" fmla="*/ 299085 w 333375"/>
                  <a:gd name="connsiteY97" fmla="*/ 162211 h 371475"/>
                  <a:gd name="connsiteX98" fmla="*/ 298228 w 333375"/>
                  <a:gd name="connsiteY98" fmla="*/ 162211 h 371475"/>
                  <a:gd name="connsiteX99" fmla="*/ 298228 w 333375"/>
                  <a:gd name="connsiteY99" fmla="*/ 163068 h 371475"/>
                  <a:gd name="connsiteX100" fmla="*/ 297371 w 333375"/>
                  <a:gd name="connsiteY100" fmla="*/ 162211 h 371475"/>
                  <a:gd name="connsiteX101" fmla="*/ 297371 w 333375"/>
                  <a:gd name="connsiteY101" fmla="*/ 161353 h 371475"/>
                  <a:gd name="connsiteX102" fmla="*/ 296513 w 333375"/>
                  <a:gd name="connsiteY102" fmla="*/ 159639 h 371475"/>
                  <a:gd name="connsiteX103" fmla="*/ 296513 w 333375"/>
                  <a:gd name="connsiteY103" fmla="*/ 158782 h 371475"/>
                  <a:gd name="connsiteX104" fmla="*/ 295751 w 333375"/>
                  <a:gd name="connsiteY104" fmla="*/ 158782 h 371475"/>
                  <a:gd name="connsiteX105" fmla="*/ 294037 w 333375"/>
                  <a:gd name="connsiteY105" fmla="*/ 157924 h 371475"/>
                  <a:gd name="connsiteX106" fmla="*/ 294037 w 333375"/>
                  <a:gd name="connsiteY106" fmla="*/ 157924 h 371475"/>
                  <a:gd name="connsiteX107" fmla="*/ 294037 w 333375"/>
                  <a:gd name="connsiteY107" fmla="*/ 158782 h 371475"/>
                  <a:gd name="connsiteX108" fmla="*/ 293180 w 333375"/>
                  <a:gd name="connsiteY108" fmla="*/ 158782 h 371475"/>
                  <a:gd name="connsiteX109" fmla="*/ 293180 w 333375"/>
                  <a:gd name="connsiteY109" fmla="*/ 159639 h 371475"/>
                  <a:gd name="connsiteX110" fmla="*/ 292322 w 333375"/>
                  <a:gd name="connsiteY110" fmla="*/ 158782 h 371475"/>
                  <a:gd name="connsiteX111" fmla="*/ 291465 w 333375"/>
                  <a:gd name="connsiteY111" fmla="*/ 157924 h 371475"/>
                  <a:gd name="connsiteX112" fmla="*/ 290608 w 333375"/>
                  <a:gd name="connsiteY112" fmla="*/ 157163 h 371475"/>
                  <a:gd name="connsiteX113" fmla="*/ 289750 w 333375"/>
                  <a:gd name="connsiteY113" fmla="*/ 156305 h 371475"/>
                  <a:gd name="connsiteX114" fmla="*/ 289750 w 333375"/>
                  <a:gd name="connsiteY114" fmla="*/ 156305 h 371475"/>
                  <a:gd name="connsiteX115" fmla="*/ 288893 w 333375"/>
                  <a:gd name="connsiteY115" fmla="*/ 157163 h 371475"/>
                  <a:gd name="connsiteX116" fmla="*/ 288131 w 333375"/>
                  <a:gd name="connsiteY116" fmla="*/ 157163 h 371475"/>
                  <a:gd name="connsiteX117" fmla="*/ 287274 w 333375"/>
                  <a:gd name="connsiteY117" fmla="*/ 157163 h 371475"/>
                  <a:gd name="connsiteX118" fmla="*/ 286417 w 333375"/>
                  <a:gd name="connsiteY118" fmla="*/ 157163 h 371475"/>
                  <a:gd name="connsiteX119" fmla="*/ 286417 w 333375"/>
                  <a:gd name="connsiteY119" fmla="*/ 154591 h 371475"/>
                  <a:gd name="connsiteX120" fmla="*/ 283845 w 333375"/>
                  <a:gd name="connsiteY120" fmla="*/ 150400 h 371475"/>
                  <a:gd name="connsiteX121" fmla="*/ 279654 w 333375"/>
                  <a:gd name="connsiteY121" fmla="*/ 141922 h 371475"/>
                  <a:gd name="connsiteX122" fmla="*/ 277940 w 333375"/>
                  <a:gd name="connsiteY122" fmla="*/ 140208 h 371475"/>
                  <a:gd name="connsiteX123" fmla="*/ 277940 w 333375"/>
                  <a:gd name="connsiteY123" fmla="*/ 141065 h 371475"/>
                  <a:gd name="connsiteX124" fmla="*/ 277082 w 333375"/>
                  <a:gd name="connsiteY124" fmla="*/ 141922 h 371475"/>
                  <a:gd name="connsiteX125" fmla="*/ 277082 w 333375"/>
                  <a:gd name="connsiteY125" fmla="*/ 141922 h 371475"/>
                  <a:gd name="connsiteX126" fmla="*/ 276225 w 333375"/>
                  <a:gd name="connsiteY126" fmla="*/ 141922 h 371475"/>
                  <a:gd name="connsiteX127" fmla="*/ 273653 w 333375"/>
                  <a:gd name="connsiteY127" fmla="*/ 142780 h 371475"/>
                  <a:gd name="connsiteX128" fmla="*/ 273653 w 333375"/>
                  <a:gd name="connsiteY128" fmla="*/ 144494 h 371475"/>
                  <a:gd name="connsiteX129" fmla="*/ 273653 w 333375"/>
                  <a:gd name="connsiteY129" fmla="*/ 148685 h 371475"/>
                  <a:gd name="connsiteX130" fmla="*/ 273653 w 333375"/>
                  <a:gd name="connsiteY130" fmla="*/ 150400 h 371475"/>
                  <a:gd name="connsiteX131" fmla="*/ 272796 w 333375"/>
                  <a:gd name="connsiteY131" fmla="*/ 151257 h 371475"/>
                  <a:gd name="connsiteX132" fmla="*/ 272034 w 333375"/>
                  <a:gd name="connsiteY132" fmla="*/ 150400 h 371475"/>
                  <a:gd name="connsiteX133" fmla="*/ 271177 w 333375"/>
                  <a:gd name="connsiteY133" fmla="*/ 151257 h 371475"/>
                  <a:gd name="connsiteX134" fmla="*/ 270319 w 333375"/>
                  <a:gd name="connsiteY134" fmla="*/ 152019 h 371475"/>
                  <a:gd name="connsiteX135" fmla="*/ 270319 w 333375"/>
                  <a:gd name="connsiteY135" fmla="*/ 153734 h 371475"/>
                  <a:gd name="connsiteX136" fmla="*/ 269462 w 333375"/>
                  <a:gd name="connsiteY136" fmla="*/ 155448 h 371475"/>
                  <a:gd name="connsiteX137" fmla="*/ 268605 w 333375"/>
                  <a:gd name="connsiteY137" fmla="*/ 155448 h 371475"/>
                  <a:gd name="connsiteX138" fmla="*/ 267748 w 333375"/>
                  <a:gd name="connsiteY138" fmla="*/ 156305 h 371475"/>
                  <a:gd name="connsiteX139" fmla="*/ 266890 w 333375"/>
                  <a:gd name="connsiteY139" fmla="*/ 155448 h 371475"/>
                  <a:gd name="connsiteX140" fmla="*/ 265176 w 333375"/>
                  <a:gd name="connsiteY140" fmla="*/ 154591 h 371475"/>
                  <a:gd name="connsiteX141" fmla="*/ 263557 w 333375"/>
                  <a:gd name="connsiteY141" fmla="*/ 154591 h 371475"/>
                  <a:gd name="connsiteX142" fmla="*/ 262700 w 333375"/>
                  <a:gd name="connsiteY142" fmla="*/ 155448 h 371475"/>
                  <a:gd name="connsiteX143" fmla="*/ 260985 w 333375"/>
                  <a:gd name="connsiteY143" fmla="*/ 156305 h 371475"/>
                  <a:gd name="connsiteX144" fmla="*/ 258413 w 333375"/>
                  <a:gd name="connsiteY144" fmla="*/ 154591 h 371475"/>
                  <a:gd name="connsiteX145" fmla="*/ 255842 w 333375"/>
                  <a:gd name="connsiteY145" fmla="*/ 152019 h 371475"/>
                  <a:gd name="connsiteX146" fmla="*/ 254222 w 333375"/>
                  <a:gd name="connsiteY146" fmla="*/ 150400 h 371475"/>
                  <a:gd name="connsiteX147" fmla="*/ 254222 w 333375"/>
                  <a:gd name="connsiteY147" fmla="*/ 147828 h 371475"/>
                  <a:gd name="connsiteX148" fmla="*/ 252508 w 333375"/>
                  <a:gd name="connsiteY148" fmla="*/ 140208 h 371475"/>
                  <a:gd name="connsiteX149" fmla="*/ 245745 w 333375"/>
                  <a:gd name="connsiteY149" fmla="*/ 123349 h 371475"/>
                  <a:gd name="connsiteX150" fmla="*/ 232124 w 333375"/>
                  <a:gd name="connsiteY150" fmla="*/ 96298 h 371475"/>
                  <a:gd name="connsiteX151" fmla="*/ 229648 w 333375"/>
                  <a:gd name="connsiteY151" fmla="*/ 92107 h 371475"/>
                  <a:gd name="connsiteX152" fmla="*/ 229648 w 333375"/>
                  <a:gd name="connsiteY152" fmla="*/ 91249 h 371475"/>
                  <a:gd name="connsiteX153" fmla="*/ 229648 w 333375"/>
                  <a:gd name="connsiteY153" fmla="*/ 89535 h 371475"/>
                  <a:gd name="connsiteX154" fmla="*/ 230505 w 333375"/>
                  <a:gd name="connsiteY154" fmla="*/ 88678 h 371475"/>
                  <a:gd name="connsiteX155" fmla="*/ 231267 w 333375"/>
                  <a:gd name="connsiteY155" fmla="*/ 88678 h 371475"/>
                  <a:gd name="connsiteX156" fmla="*/ 232124 w 333375"/>
                  <a:gd name="connsiteY156" fmla="*/ 88678 h 371475"/>
                  <a:gd name="connsiteX157" fmla="*/ 232981 w 333375"/>
                  <a:gd name="connsiteY157" fmla="*/ 88678 h 371475"/>
                  <a:gd name="connsiteX158" fmla="*/ 233839 w 333375"/>
                  <a:gd name="connsiteY158" fmla="*/ 88678 h 371475"/>
                  <a:gd name="connsiteX159" fmla="*/ 234696 w 333375"/>
                  <a:gd name="connsiteY159" fmla="*/ 88678 h 371475"/>
                  <a:gd name="connsiteX160" fmla="*/ 234696 w 333375"/>
                  <a:gd name="connsiteY160" fmla="*/ 87820 h 371475"/>
                  <a:gd name="connsiteX161" fmla="*/ 234696 w 333375"/>
                  <a:gd name="connsiteY161" fmla="*/ 87059 h 371475"/>
                  <a:gd name="connsiteX162" fmla="*/ 230505 w 333375"/>
                  <a:gd name="connsiteY162" fmla="*/ 78581 h 371475"/>
                  <a:gd name="connsiteX163" fmla="*/ 226219 w 333375"/>
                  <a:gd name="connsiteY163" fmla="*/ 73533 h 371475"/>
                  <a:gd name="connsiteX164" fmla="*/ 225361 w 333375"/>
                  <a:gd name="connsiteY164" fmla="*/ 70961 h 371475"/>
                  <a:gd name="connsiteX165" fmla="*/ 222885 w 333375"/>
                  <a:gd name="connsiteY165" fmla="*/ 69247 h 371475"/>
                  <a:gd name="connsiteX166" fmla="*/ 216027 w 333375"/>
                  <a:gd name="connsiteY166" fmla="*/ 65913 h 371475"/>
                  <a:gd name="connsiteX167" fmla="*/ 210979 w 333375"/>
                  <a:gd name="connsiteY167" fmla="*/ 62484 h 371475"/>
                  <a:gd name="connsiteX168" fmla="*/ 205930 w 333375"/>
                  <a:gd name="connsiteY168" fmla="*/ 60865 h 371475"/>
                  <a:gd name="connsiteX169" fmla="*/ 205073 w 333375"/>
                  <a:gd name="connsiteY169" fmla="*/ 60007 h 371475"/>
                  <a:gd name="connsiteX170" fmla="*/ 203359 w 333375"/>
                  <a:gd name="connsiteY170" fmla="*/ 60007 h 371475"/>
                  <a:gd name="connsiteX171" fmla="*/ 200787 w 333375"/>
                  <a:gd name="connsiteY171" fmla="*/ 59150 h 371475"/>
                  <a:gd name="connsiteX172" fmla="*/ 194024 w 333375"/>
                  <a:gd name="connsiteY172" fmla="*/ 58293 h 371475"/>
                  <a:gd name="connsiteX173" fmla="*/ 193167 w 333375"/>
                  <a:gd name="connsiteY173" fmla="*/ 57436 h 371475"/>
                  <a:gd name="connsiteX174" fmla="*/ 192310 w 333375"/>
                  <a:gd name="connsiteY174" fmla="*/ 57436 h 371475"/>
                  <a:gd name="connsiteX175" fmla="*/ 191452 w 333375"/>
                  <a:gd name="connsiteY175" fmla="*/ 55721 h 371475"/>
                  <a:gd name="connsiteX176" fmla="*/ 192310 w 333375"/>
                  <a:gd name="connsiteY176" fmla="*/ 54959 h 371475"/>
                  <a:gd name="connsiteX177" fmla="*/ 198311 w 333375"/>
                  <a:gd name="connsiteY177" fmla="*/ 48197 h 371475"/>
                  <a:gd name="connsiteX178" fmla="*/ 199930 w 333375"/>
                  <a:gd name="connsiteY178" fmla="*/ 46482 h 371475"/>
                  <a:gd name="connsiteX179" fmla="*/ 199930 w 333375"/>
                  <a:gd name="connsiteY179" fmla="*/ 44768 h 371475"/>
                  <a:gd name="connsiteX180" fmla="*/ 200787 w 333375"/>
                  <a:gd name="connsiteY180" fmla="*/ 42196 h 371475"/>
                  <a:gd name="connsiteX181" fmla="*/ 200787 w 333375"/>
                  <a:gd name="connsiteY181" fmla="*/ 41434 h 371475"/>
                  <a:gd name="connsiteX182" fmla="*/ 199930 w 333375"/>
                  <a:gd name="connsiteY182" fmla="*/ 41434 h 371475"/>
                  <a:gd name="connsiteX183" fmla="*/ 199073 w 333375"/>
                  <a:gd name="connsiteY183" fmla="*/ 41434 h 371475"/>
                  <a:gd name="connsiteX184" fmla="*/ 198311 w 333375"/>
                  <a:gd name="connsiteY184" fmla="*/ 41434 h 371475"/>
                  <a:gd name="connsiteX185" fmla="*/ 198311 w 333375"/>
                  <a:gd name="connsiteY185" fmla="*/ 42196 h 371475"/>
                  <a:gd name="connsiteX186" fmla="*/ 197453 w 333375"/>
                  <a:gd name="connsiteY186" fmla="*/ 42196 h 371475"/>
                  <a:gd name="connsiteX187" fmla="*/ 196596 w 333375"/>
                  <a:gd name="connsiteY187" fmla="*/ 42196 h 371475"/>
                  <a:gd name="connsiteX188" fmla="*/ 195739 w 333375"/>
                  <a:gd name="connsiteY188" fmla="*/ 41434 h 371475"/>
                  <a:gd name="connsiteX189" fmla="*/ 194881 w 333375"/>
                  <a:gd name="connsiteY189" fmla="*/ 39719 h 371475"/>
                  <a:gd name="connsiteX190" fmla="*/ 194881 w 333375"/>
                  <a:gd name="connsiteY190" fmla="*/ 38005 h 371475"/>
                  <a:gd name="connsiteX191" fmla="*/ 194881 w 333375"/>
                  <a:gd name="connsiteY191" fmla="*/ 36290 h 371475"/>
                  <a:gd name="connsiteX192" fmla="*/ 195739 w 333375"/>
                  <a:gd name="connsiteY192" fmla="*/ 34671 h 371475"/>
                  <a:gd name="connsiteX193" fmla="*/ 195739 w 333375"/>
                  <a:gd name="connsiteY193" fmla="*/ 33814 h 371475"/>
                  <a:gd name="connsiteX194" fmla="*/ 196596 w 333375"/>
                  <a:gd name="connsiteY194" fmla="*/ 33814 h 371475"/>
                  <a:gd name="connsiteX195" fmla="*/ 204216 w 333375"/>
                  <a:gd name="connsiteY195" fmla="*/ 32099 h 371475"/>
                  <a:gd name="connsiteX196" fmla="*/ 206788 w 333375"/>
                  <a:gd name="connsiteY196" fmla="*/ 31242 h 371475"/>
                  <a:gd name="connsiteX197" fmla="*/ 208407 w 333375"/>
                  <a:gd name="connsiteY197" fmla="*/ 29528 h 371475"/>
                  <a:gd name="connsiteX198" fmla="*/ 210121 w 333375"/>
                  <a:gd name="connsiteY198" fmla="*/ 27908 h 371475"/>
                  <a:gd name="connsiteX199" fmla="*/ 213550 w 333375"/>
                  <a:gd name="connsiteY199" fmla="*/ 23622 h 371475"/>
                  <a:gd name="connsiteX200" fmla="*/ 222885 w 333375"/>
                  <a:gd name="connsiteY200" fmla="*/ 16859 h 371475"/>
                  <a:gd name="connsiteX201" fmla="*/ 227933 w 333375"/>
                  <a:gd name="connsiteY201" fmla="*/ 13526 h 371475"/>
                  <a:gd name="connsiteX202" fmla="*/ 228790 w 333375"/>
                  <a:gd name="connsiteY202" fmla="*/ 12668 h 371475"/>
                  <a:gd name="connsiteX203" fmla="*/ 228790 w 333375"/>
                  <a:gd name="connsiteY203" fmla="*/ 11811 h 371475"/>
                  <a:gd name="connsiteX204" fmla="*/ 228790 w 333375"/>
                  <a:gd name="connsiteY204" fmla="*/ 10954 h 371475"/>
                  <a:gd name="connsiteX205" fmla="*/ 223647 w 333375"/>
                  <a:gd name="connsiteY205" fmla="*/ 2572 h 371475"/>
                  <a:gd name="connsiteX206" fmla="*/ 223647 w 333375"/>
                  <a:gd name="connsiteY206" fmla="*/ 1715 h 371475"/>
                  <a:gd name="connsiteX207" fmla="*/ 222885 w 333375"/>
                  <a:gd name="connsiteY207" fmla="*/ 0 h 371475"/>
                  <a:gd name="connsiteX208" fmla="*/ 221171 w 333375"/>
                  <a:gd name="connsiteY208" fmla="*/ 0 h 371475"/>
                  <a:gd name="connsiteX209" fmla="*/ 220313 w 333375"/>
                  <a:gd name="connsiteY209" fmla="*/ 1715 h 371475"/>
                  <a:gd name="connsiteX210" fmla="*/ 219456 w 333375"/>
                  <a:gd name="connsiteY210" fmla="*/ 2572 h 371475"/>
                  <a:gd name="connsiteX211" fmla="*/ 217742 w 333375"/>
                  <a:gd name="connsiteY211" fmla="*/ 2572 h 371475"/>
                  <a:gd name="connsiteX212" fmla="*/ 216027 w 333375"/>
                  <a:gd name="connsiteY212" fmla="*/ 5048 h 371475"/>
                  <a:gd name="connsiteX213" fmla="*/ 210121 w 333375"/>
                  <a:gd name="connsiteY213" fmla="*/ 6763 h 371475"/>
                  <a:gd name="connsiteX214" fmla="*/ 209264 w 333375"/>
                  <a:gd name="connsiteY214" fmla="*/ 8477 h 371475"/>
                  <a:gd name="connsiteX215" fmla="*/ 208407 w 333375"/>
                  <a:gd name="connsiteY215" fmla="*/ 10097 h 371475"/>
                  <a:gd name="connsiteX216" fmla="*/ 208407 w 333375"/>
                  <a:gd name="connsiteY216" fmla="*/ 11811 h 371475"/>
                  <a:gd name="connsiteX217" fmla="*/ 207550 w 333375"/>
                  <a:gd name="connsiteY217" fmla="*/ 11811 h 371475"/>
                  <a:gd name="connsiteX218" fmla="*/ 205930 w 333375"/>
                  <a:gd name="connsiteY218" fmla="*/ 13526 h 371475"/>
                  <a:gd name="connsiteX219" fmla="*/ 205073 w 333375"/>
                  <a:gd name="connsiteY219" fmla="*/ 14383 h 371475"/>
                  <a:gd name="connsiteX220" fmla="*/ 203359 w 333375"/>
                  <a:gd name="connsiteY220" fmla="*/ 15240 h 371475"/>
                  <a:gd name="connsiteX221" fmla="*/ 195739 w 333375"/>
                  <a:gd name="connsiteY221" fmla="*/ 16097 h 371475"/>
                  <a:gd name="connsiteX222" fmla="*/ 191452 w 333375"/>
                  <a:gd name="connsiteY222" fmla="*/ 18574 h 371475"/>
                  <a:gd name="connsiteX223" fmla="*/ 187261 w 333375"/>
                  <a:gd name="connsiteY223" fmla="*/ 22765 h 371475"/>
                  <a:gd name="connsiteX224" fmla="*/ 182975 w 333375"/>
                  <a:gd name="connsiteY224" fmla="*/ 27908 h 371475"/>
                  <a:gd name="connsiteX225" fmla="*/ 181356 w 333375"/>
                  <a:gd name="connsiteY225" fmla="*/ 27051 h 371475"/>
                  <a:gd name="connsiteX226" fmla="*/ 180499 w 333375"/>
                  <a:gd name="connsiteY226" fmla="*/ 27051 h 371475"/>
                  <a:gd name="connsiteX227" fmla="*/ 179642 w 333375"/>
                  <a:gd name="connsiteY227" fmla="*/ 26194 h 371475"/>
                  <a:gd name="connsiteX228" fmla="*/ 177927 w 333375"/>
                  <a:gd name="connsiteY228" fmla="*/ 25336 h 371475"/>
                  <a:gd name="connsiteX229" fmla="*/ 177070 w 333375"/>
                  <a:gd name="connsiteY229" fmla="*/ 24479 h 371475"/>
                  <a:gd name="connsiteX230" fmla="*/ 176213 w 333375"/>
                  <a:gd name="connsiteY230" fmla="*/ 23622 h 371475"/>
                  <a:gd name="connsiteX231" fmla="*/ 177070 w 333375"/>
                  <a:gd name="connsiteY231" fmla="*/ 21145 h 371475"/>
                  <a:gd name="connsiteX232" fmla="*/ 176213 w 333375"/>
                  <a:gd name="connsiteY232" fmla="*/ 20288 h 371475"/>
                  <a:gd name="connsiteX233" fmla="*/ 176213 w 333375"/>
                  <a:gd name="connsiteY233" fmla="*/ 20288 h 371475"/>
                  <a:gd name="connsiteX234" fmla="*/ 174498 w 333375"/>
                  <a:gd name="connsiteY234" fmla="*/ 21145 h 371475"/>
                  <a:gd name="connsiteX235" fmla="*/ 173736 w 333375"/>
                  <a:gd name="connsiteY235" fmla="*/ 22003 h 371475"/>
                  <a:gd name="connsiteX236" fmla="*/ 171164 w 333375"/>
                  <a:gd name="connsiteY236" fmla="*/ 23622 h 371475"/>
                  <a:gd name="connsiteX237" fmla="*/ 164402 w 333375"/>
                  <a:gd name="connsiteY237" fmla="*/ 22765 h 371475"/>
                  <a:gd name="connsiteX238" fmla="*/ 160973 w 333375"/>
                  <a:gd name="connsiteY238" fmla="*/ 23622 h 371475"/>
                  <a:gd name="connsiteX239" fmla="*/ 163544 w 333375"/>
                  <a:gd name="connsiteY239" fmla="*/ 27051 h 371475"/>
                  <a:gd name="connsiteX240" fmla="*/ 166878 w 333375"/>
                  <a:gd name="connsiteY240" fmla="*/ 30385 h 371475"/>
                  <a:gd name="connsiteX241" fmla="*/ 167735 w 333375"/>
                  <a:gd name="connsiteY241" fmla="*/ 32957 h 371475"/>
                  <a:gd name="connsiteX242" fmla="*/ 166116 w 333375"/>
                  <a:gd name="connsiteY242" fmla="*/ 35528 h 371475"/>
                  <a:gd name="connsiteX243" fmla="*/ 162687 w 333375"/>
                  <a:gd name="connsiteY243" fmla="*/ 39719 h 371475"/>
                  <a:gd name="connsiteX244" fmla="*/ 161830 w 333375"/>
                  <a:gd name="connsiteY244" fmla="*/ 42196 h 371475"/>
                  <a:gd name="connsiteX245" fmla="*/ 160973 w 333375"/>
                  <a:gd name="connsiteY245" fmla="*/ 46482 h 371475"/>
                  <a:gd name="connsiteX246" fmla="*/ 160115 w 333375"/>
                  <a:gd name="connsiteY246" fmla="*/ 48197 h 371475"/>
                  <a:gd name="connsiteX247" fmla="*/ 156781 w 333375"/>
                  <a:gd name="connsiteY247" fmla="*/ 47339 h 371475"/>
                  <a:gd name="connsiteX248" fmla="*/ 155067 w 333375"/>
                  <a:gd name="connsiteY248" fmla="*/ 48197 h 371475"/>
                  <a:gd name="connsiteX249" fmla="*/ 152495 w 333375"/>
                  <a:gd name="connsiteY249" fmla="*/ 48959 h 371475"/>
                  <a:gd name="connsiteX250" fmla="*/ 149923 w 333375"/>
                  <a:gd name="connsiteY250" fmla="*/ 50673 h 371475"/>
                  <a:gd name="connsiteX251" fmla="*/ 146590 w 333375"/>
                  <a:gd name="connsiteY251" fmla="*/ 53245 h 371475"/>
                  <a:gd name="connsiteX252" fmla="*/ 146590 w 333375"/>
                  <a:gd name="connsiteY252" fmla="*/ 55721 h 371475"/>
                  <a:gd name="connsiteX253" fmla="*/ 145732 w 333375"/>
                  <a:gd name="connsiteY253" fmla="*/ 55721 h 371475"/>
                  <a:gd name="connsiteX254" fmla="*/ 143161 w 333375"/>
                  <a:gd name="connsiteY254" fmla="*/ 54959 h 371475"/>
                  <a:gd name="connsiteX255" fmla="*/ 142303 w 333375"/>
                  <a:gd name="connsiteY255" fmla="*/ 55721 h 371475"/>
                  <a:gd name="connsiteX256" fmla="*/ 140684 w 333375"/>
                  <a:gd name="connsiteY256" fmla="*/ 56578 h 371475"/>
                  <a:gd name="connsiteX257" fmla="*/ 139827 w 333375"/>
                  <a:gd name="connsiteY257" fmla="*/ 56578 h 371475"/>
                  <a:gd name="connsiteX258" fmla="*/ 138970 w 333375"/>
                  <a:gd name="connsiteY258" fmla="*/ 56578 h 371475"/>
                  <a:gd name="connsiteX259" fmla="*/ 132207 w 333375"/>
                  <a:gd name="connsiteY259" fmla="*/ 54102 h 371475"/>
                  <a:gd name="connsiteX260" fmla="*/ 130492 w 333375"/>
                  <a:gd name="connsiteY260" fmla="*/ 54959 h 371475"/>
                  <a:gd name="connsiteX261" fmla="*/ 131350 w 333375"/>
                  <a:gd name="connsiteY261" fmla="*/ 58293 h 371475"/>
                  <a:gd name="connsiteX262" fmla="*/ 130492 w 333375"/>
                  <a:gd name="connsiteY262" fmla="*/ 58293 h 371475"/>
                  <a:gd name="connsiteX263" fmla="*/ 127063 w 333375"/>
                  <a:gd name="connsiteY263" fmla="*/ 58293 h 371475"/>
                  <a:gd name="connsiteX264" fmla="*/ 126206 w 333375"/>
                  <a:gd name="connsiteY264" fmla="*/ 59150 h 371475"/>
                  <a:gd name="connsiteX265" fmla="*/ 125444 w 333375"/>
                  <a:gd name="connsiteY265" fmla="*/ 60007 h 371475"/>
                  <a:gd name="connsiteX266" fmla="*/ 124587 w 333375"/>
                  <a:gd name="connsiteY266" fmla="*/ 61627 h 371475"/>
                  <a:gd name="connsiteX267" fmla="*/ 124587 w 333375"/>
                  <a:gd name="connsiteY267" fmla="*/ 62484 h 371475"/>
                  <a:gd name="connsiteX268" fmla="*/ 122873 w 333375"/>
                  <a:gd name="connsiteY268" fmla="*/ 62484 h 371475"/>
                  <a:gd name="connsiteX269" fmla="*/ 120301 w 333375"/>
                  <a:gd name="connsiteY269" fmla="*/ 63341 h 371475"/>
                  <a:gd name="connsiteX270" fmla="*/ 117729 w 333375"/>
                  <a:gd name="connsiteY270" fmla="*/ 63341 h 371475"/>
                  <a:gd name="connsiteX271" fmla="*/ 115252 w 333375"/>
                  <a:gd name="connsiteY271" fmla="*/ 63341 h 371475"/>
                  <a:gd name="connsiteX272" fmla="*/ 113538 w 333375"/>
                  <a:gd name="connsiteY272" fmla="*/ 65913 h 371475"/>
                  <a:gd name="connsiteX273" fmla="*/ 109252 w 333375"/>
                  <a:gd name="connsiteY273" fmla="*/ 64199 h 371475"/>
                  <a:gd name="connsiteX274" fmla="*/ 106775 w 333375"/>
                  <a:gd name="connsiteY274" fmla="*/ 66770 h 371475"/>
                  <a:gd name="connsiteX275" fmla="*/ 105918 w 333375"/>
                  <a:gd name="connsiteY275" fmla="*/ 70961 h 371475"/>
                  <a:gd name="connsiteX276" fmla="*/ 104203 w 333375"/>
                  <a:gd name="connsiteY276" fmla="*/ 74295 h 371475"/>
                  <a:gd name="connsiteX277" fmla="*/ 101632 w 333375"/>
                  <a:gd name="connsiteY277" fmla="*/ 75152 h 371475"/>
                  <a:gd name="connsiteX278" fmla="*/ 94869 w 333375"/>
                  <a:gd name="connsiteY278" fmla="*/ 73533 h 371475"/>
                  <a:gd name="connsiteX279" fmla="*/ 91535 w 333375"/>
                  <a:gd name="connsiteY279" fmla="*/ 79439 h 371475"/>
                  <a:gd name="connsiteX280" fmla="*/ 89821 w 333375"/>
                  <a:gd name="connsiteY280" fmla="*/ 80296 h 371475"/>
                  <a:gd name="connsiteX281" fmla="*/ 88106 w 333375"/>
                  <a:gd name="connsiteY281" fmla="*/ 81058 h 371475"/>
                  <a:gd name="connsiteX282" fmla="*/ 79629 w 333375"/>
                  <a:gd name="connsiteY282" fmla="*/ 87820 h 371475"/>
                  <a:gd name="connsiteX283" fmla="*/ 77915 w 333375"/>
                  <a:gd name="connsiteY283" fmla="*/ 89535 h 371475"/>
                  <a:gd name="connsiteX284" fmla="*/ 77057 w 333375"/>
                  <a:gd name="connsiteY284" fmla="*/ 91249 h 371475"/>
                  <a:gd name="connsiteX285" fmla="*/ 77057 w 333375"/>
                  <a:gd name="connsiteY285" fmla="*/ 94583 h 371475"/>
                  <a:gd name="connsiteX286" fmla="*/ 77057 w 333375"/>
                  <a:gd name="connsiteY286" fmla="*/ 96298 h 371475"/>
                  <a:gd name="connsiteX287" fmla="*/ 76295 w 333375"/>
                  <a:gd name="connsiteY287" fmla="*/ 96298 h 371475"/>
                  <a:gd name="connsiteX288" fmla="*/ 76295 w 333375"/>
                  <a:gd name="connsiteY288" fmla="*/ 97155 h 371475"/>
                  <a:gd name="connsiteX289" fmla="*/ 75438 w 333375"/>
                  <a:gd name="connsiteY289" fmla="*/ 98012 h 371475"/>
                  <a:gd name="connsiteX290" fmla="*/ 74581 w 333375"/>
                  <a:gd name="connsiteY290" fmla="*/ 98870 h 371475"/>
                  <a:gd name="connsiteX291" fmla="*/ 74581 w 333375"/>
                  <a:gd name="connsiteY291" fmla="*/ 100489 h 371475"/>
                  <a:gd name="connsiteX292" fmla="*/ 74581 w 333375"/>
                  <a:gd name="connsiteY292" fmla="*/ 101346 h 371475"/>
                  <a:gd name="connsiteX293" fmla="*/ 73723 w 333375"/>
                  <a:gd name="connsiteY293" fmla="*/ 101346 h 371475"/>
                  <a:gd name="connsiteX294" fmla="*/ 72866 w 333375"/>
                  <a:gd name="connsiteY294" fmla="*/ 101346 h 371475"/>
                  <a:gd name="connsiteX295" fmla="*/ 72866 w 333375"/>
                  <a:gd name="connsiteY295" fmla="*/ 102203 h 371475"/>
                  <a:gd name="connsiteX296" fmla="*/ 72009 w 333375"/>
                  <a:gd name="connsiteY296" fmla="*/ 103918 h 371475"/>
                  <a:gd name="connsiteX297" fmla="*/ 71152 w 333375"/>
                  <a:gd name="connsiteY297" fmla="*/ 103918 h 371475"/>
                  <a:gd name="connsiteX298" fmla="*/ 72866 w 333375"/>
                  <a:gd name="connsiteY298" fmla="*/ 105632 h 371475"/>
                  <a:gd name="connsiteX299" fmla="*/ 78772 w 333375"/>
                  <a:gd name="connsiteY299" fmla="*/ 117443 h 371475"/>
                  <a:gd name="connsiteX300" fmla="*/ 82201 w 333375"/>
                  <a:gd name="connsiteY300" fmla="*/ 129254 h 371475"/>
                  <a:gd name="connsiteX301" fmla="*/ 85534 w 333375"/>
                  <a:gd name="connsiteY301" fmla="*/ 134303 h 371475"/>
                  <a:gd name="connsiteX302" fmla="*/ 85534 w 333375"/>
                  <a:gd name="connsiteY302" fmla="*/ 136874 h 371475"/>
                  <a:gd name="connsiteX303" fmla="*/ 84773 w 333375"/>
                  <a:gd name="connsiteY303" fmla="*/ 139351 h 371475"/>
                  <a:gd name="connsiteX304" fmla="*/ 83915 w 333375"/>
                  <a:gd name="connsiteY304" fmla="*/ 141065 h 371475"/>
                  <a:gd name="connsiteX305" fmla="*/ 82201 w 333375"/>
                  <a:gd name="connsiteY305" fmla="*/ 143637 h 371475"/>
                  <a:gd name="connsiteX306" fmla="*/ 80486 w 333375"/>
                  <a:gd name="connsiteY306" fmla="*/ 145256 h 371475"/>
                  <a:gd name="connsiteX307" fmla="*/ 76295 w 333375"/>
                  <a:gd name="connsiteY307" fmla="*/ 157163 h 371475"/>
                  <a:gd name="connsiteX308" fmla="*/ 75438 w 333375"/>
                  <a:gd name="connsiteY308" fmla="*/ 159639 h 371475"/>
                  <a:gd name="connsiteX309" fmla="*/ 75438 w 333375"/>
                  <a:gd name="connsiteY309" fmla="*/ 165545 h 371475"/>
                  <a:gd name="connsiteX310" fmla="*/ 73723 w 333375"/>
                  <a:gd name="connsiteY310" fmla="*/ 170688 h 371475"/>
                  <a:gd name="connsiteX311" fmla="*/ 73723 w 333375"/>
                  <a:gd name="connsiteY311" fmla="*/ 173165 h 371475"/>
                  <a:gd name="connsiteX312" fmla="*/ 73723 w 333375"/>
                  <a:gd name="connsiteY312" fmla="*/ 175736 h 371475"/>
                  <a:gd name="connsiteX313" fmla="*/ 74581 w 333375"/>
                  <a:gd name="connsiteY313" fmla="*/ 177355 h 371475"/>
                  <a:gd name="connsiteX314" fmla="*/ 75438 w 333375"/>
                  <a:gd name="connsiteY314" fmla="*/ 179070 h 371475"/>
                  <a:gd name="connsiteX315" fmla="*/ 77057 w 333375"/>
                  <a:gd name="connsiteY315" fmla="*/ 180785 h 371475"/>
                  <a:gd name="connsiteX316" fmla="*/ 78772 w 333375"/>
                  <a:gd name="connsiteY316" fmla="*/ 181642 h 371475"/>
                  <a:gd name="connsiteX317" fmla="*/ 83058 w 333375"/>
                  <a:gd name="connsiteY317" fmla="*/ 180785 h 371475"/>
                  <a:gd name="connsiteX318" fmla="*/ 85534 w 333375"/>
                  <a:gd name="connsiteY318" fmla="*/ 180785 h 371475"/>
                  <a:gd name="connsiteX319" fmla="*/ 87249 w 333375"/>
                  <a:gd name="connsiteY319" fmla="*/ 181642 h 371475"/>
                  <a:gd name="connsiteX320" fmla="*/ 88963 w 333375"/>
                  <a:gd name="connsiteY320" fmla="*/ 183356 h 371475"/>
                  <a:gd name="connsiteX321" fmla="*/ 89821 w 333375"/>
                  <a:gd name="connsiteY321" fmla="*/ 184976 h 371475"/>
                  <a:gd name="connsiteX322" fmla="*/ 83915 w 333375"/>
                  <a:gd name="connsiteY322" fmla="*/ 188405 h 371475"/>
                  <a:gd name="connsiteX323" fmla="*/ 81344 w 333375"/>
                  <a:gd name="connsiteY323" fmla="*/ 190119 h 371475"/>
                  <a:gd name="connsiteX324" fmla="*/ 79629 w 333375"/>
                  <a:gd name="connsiteY324" fmla="*/ 192595 h 371475"/>
                  <a:gd name="connsiteX325" fmla="*/ 79629 w 333375"/>
                  <a:gd name="connsiteY325" fmla="*/ 195167 h 371475"/>
                  <a:gd name="connsiteX326" fmla="*/ 77915 w 333375"/>
                  <a:gd name="connsiteY326" fmla="*/ 196787 h 371475"/>
                  <a:gd name="connsiteX327" fmla="*/ 76295 w 333375"/>
                  <a:gd name="connsiteY327" fmla="*/ 198501 h 371475"/>
                  <a:gd name="connsiteX328" fmla="*/ 74581 w 333375"/>
                  <a:gd name="connsiteY328" fmla="*/ 200216 h 371475"/>
                  <a:gd name="connsiteX329" fmla="*/ 72866 w 333375"/>
                  <a:gd name="connsiteY329" fmla="*/ 201073 h 371475"/>
                  <a:gd name="connsiteX330" fmla="*/ 70294 w 333375"/>
                  <a:gd name="connsiteY330" fmla="*/ 201073 h 371475"/>
                  <a:gd name="connsiteX331" fmla="*/ 67818 w 333375"/>
                  <a:gd name="connsiteY331" fmla="*/ 201073 h 371475"/>
                  <a:gd name="connsiteX332" fmla="*/ 66103 w 333375"/>
                  <a:gd name="connsiteY332" fmla="*/ 202787 h 371475"/>
                  <a:gd name="connsiteX333" fmla="*/ 64389 w 333375"/>
                  <a:gd name="connsiteY333" fmla="*/ 204407 h 371475"/>
                  <a:gd name="connsiteX334" fmla="*/ 62675 w 333375"/>
                  <a:gd name="connsiteY334" fmla="*/ 206121 h 371475"/>
                  <a:gd name="connsiteX335" fmla="*/ 62675 w 333375"/>
                  <a:gd name="connsiteY335" fmla="*/ 207836 h 371475"/>
                  <a:gd name="connsiteX336" fmla="*/ 61817 w 333375"/>
                  <a:gd name="connsiteY336" fmla="*/ 209455 h 371475"/>
                  <a:gd name="connsiteX337" fmla="*/ 59341 w 333375"/>
                  <a:gd name="connsiteY337" fmla="*/ 208693 h 371475"/>
                  <a:gd name="connsiteX338" fmla="*/ 56769 w 333375"/>
                  <a:gd name="connsiteY338" fmla="*/ 207836 h 371475"/>
                  <a:gd name="connsiteX339" fmla="*/ 55054 w 333375"/>
                  <a:gd name="connsiteY339" fmla="*/ 207836 h 371475"/>
                  <a:gd name="connsiteX340" fmla="*/ 54197 w 333375"/>
                  <a:gd name="connsiteY340" fmla="*/ 208693 h 371475"/>
                  <a:gd name="connsiteX341" fmla="*/ 52483 w 333375"/>
                  <a:gd name="connsiteY341" fmla="*/ 209455 h 371475"/>
                  <a:gd name="connsiteX342" fmla="*/ 51721 w 333375"/>
                  <a:gd name="connsiteY342" fmla="*/ 210312 h 371475"/>
                  <a:gd name="connsiteX343" fmla="*/ 50863 w 333375"/>
                  <a:gd name="connsiteY343" fmla="*/ 211169 h 371475"/>
                  <a:gd name="connsiteX344" fmla="*/ 51721 w 333375"/>
                  <a:gd name="connsiteY344" fmla="*/ 213741 h 371475"/>
                  <a:gd name="connsiteX345" fmla="*/ 50863 w 333375"/>
                  <a:gd name="connsiteY345" fmla="*/ 216218 h 371475"/>
                  <a:gd name="connsiteX346" fmla="*/ 48292 w 333375"/>
                  <a:gd name="connsiteY346" fmla="*/ 217932 h 371475"/>
                  <a:gd name="connsiteX347" fmla="*/ 46577 w 333375"/>
                  <a:gd name="connsiteY347" fmla="*/ 218789 h 371475"/>
                  <a:gd name="connsiteX348" fmla="*/ 45720 w 333375"/>
                  <a:gd name="connsiteY348" fmla="*/ 218789 h 371475"/>
                  <a:gd name="connsiteX349" fmla="*/ 46577 w 333375"/>
                  <a:gd name="connsiteY349" fmla="*/ 221361 h 371475"/>
                  <a:gd name="connsiteX350" fmla="*/ 46577 w 333375"/>
                  <a:gd name="connsiteY350" fmla="*/ 222218 h 371475"/>
                  <a:gd name="connsiteX351" fmla="*/ 46577 w 333375"/>
                  <a:gd name="connsiteY351" fmla="*/ 223838 h 371475"/>
                  <a:gd name="connsiteX352" fmla="*/ 44005 w 333375"/>
                  <a:gd name="connsiteY352" fmla="*/ 224695 h 371475"/>
                  <a:gd name="connsiteX353" fmla="*/ 43244 w 333375"/>
                  <a:gd name="connsiteY353" fmla="*/ 225552 h 371475"/>
                  <a:gd name="connsiteX354" fmla="*/ 41529 w 333375"/>
                  <a:gd name="connsiteY354" fmla="*/ 228886 h 371475"/>
                  <a:gd name="connsiteX355" fmla="*/ 39815 w 333375"/>
                  <a:gd name="connsiteY355" fmla="*/ 230600 h 371475"/>
                  <a:gd name="connsiteX356" fmla="*/ 38957 w 333375"/>
                  <a:gd name="connsiteY356" fmla="*/ 231458 h 371475"/>
                  <a:gd name="connsiteX357" fmla="*/ 38100 w 333375"/>
                  <a:gd name="connsiteY357" fmla="*/ 234029 h 371475"/>
                  <a:gd name="connsiteX358" fmla="*/ 36385 w 333375"/>
                  <a:gd name="connsiteY358" fmla="*/ 235649 h 371475"/>
                  <a:gd name="connsiteX359" fmla="*/ 35623 w 333375"/>
                  <a:gd name="connsiteY359" fmla="*/ 236506 h 371475"/>
                  <a:gd name="connsiteX360" fmla="*/ 35623 w 333375"/>
                  <a:gd name="connsiteY360" fmla="*/ 238220 h 371475"/>
                  <a:gd name="connsiteX361" fmla="*/ 34766 w 333375"/>
                  <a:gd name="connsiteY361" fmla="*/ 239078 h 371475"/>
                  <a:gd name="connsiteX362" fmla="*/ 32194 w 333375"/>
                  <a:gd name="connsiteY362" fmla="*/ 239078 h 371475"/>
                  <a:gd name="connsiteX363" fmla="*/ 29623 w 333375"/>
                  <a:gd name="connsiteY363" fmla="*/ 240792 h 371475"/>
                  <a:gd name="connsiteX364" fmla="*/ 27908 w 333375"/>
                  <a:gd name="connsiteY364" fmla="*/ 241649 h 371475"/>
                  <a:gd name="connsiteX365" fmla="*/ 26289 w 333375"/>
                  <a:gd name="connsiteY365" fmla="*/ 243268 h 371475"/>
                  <a:gd name="connsiteX366" fmla="*/ 24575 w 333375"/>
                  <a:gd name="connsiteY366" fmla="*/ 244983 h 371475"/>
                  <a:gd name="connsiteX367" fmla="*/ 23717 w 333375"/>
                  <a:gd name="connsiteY367" fmla="*/ 247555 h 371475"/>
                  <a:gd name="connsiteX368" fmla="*/ 23717 w 333375"/>
                  <a:gd name="connsiteY368" fmla="*/ 250031 h 371475"/>
                  <a:gd name="connsiteX369" fmla="*/ 24575 w 333375"/>
                  <a:gd name="connsiteY369" fmla="*/ 251746 h 371475"/>
                  <a:gd name="connsiteX370" fmla="*/ 23717 w 333375"/>
                  <a:gd name="connsiteY370" fmla="*/ 255080 h 371475"/>
                  <a:gd name="connsiteX371" fmla="*/ 22003 w 333375"/>
                  <a:gd name="connsiteY371" fmla="*/ 256794 h 371475"/>
                  <a:gd name="connsiteX372" fmla="*/ 17812 w 333375"/>
                  <a:gd name="connsiteY372" fmla="*/ 258509 h 371475"/>
                  <a:gd name="connsiteX373" fmla="*/ 16954 w 333375"/>
                  <a:gd name="connsiteY373" fmla="*/ 259366 h 371475"/>
                  <a:gd name="connsiteX374" fmla="*/ 16097 w 333375"/>
                  <a:gd name="connsiteY374" fmla="*/ 260985 h 371475"/>
                  <a:gd name="connsiteX375" fmla="*/ 11049 w 333375"/>
                  <a:gd name="connsiteY375" fmla="*/ 268605 h 371475"/>
                  <a:gd name="connsiteX376" fmla="*/ 9334 w 333375"/>
                  <a:gd name="connsiteY376" fmla="*/ 269462 h 371475"/>
                  <a:gd name="connsiteX377" fmla="*/ 8477 w 333375"/>
                  <a:gd name="connsiteY377" fmla="*/ 269462 h 371475"/>
                  <a:gd name="connsiteX378" fmla="*/ 6763 w 333375"/>
                  <a:gd name="connsiteY378" fmla="*/ 269462 h 371475"/>
                  <a:gd name="connsiteX379" fmla="*/ 6763 w 333375"/>
                  <a:gd name="connsiteY379" fmla="*/ 270320 h 371475"/>
                  <a:gd name="connsiteX380" fmla="*/ 6763 w 333375"/>
                  <a:gd name="connsiteY380" fmla="*/ 272034 h 371475"/>
                  <a:gd name="connsiteX381" fmla="*/ 6763 w 333375"/>
                  <a:gd name="connsiteY381" fmla="*/ 272891 h 371475"/>
                  <a:gd name="connsiteX382" fmla="*/ 5048 w 333375"/>
                  <a:gd name="connsiteY382" fmla="*/ 272891 h 371475"/>
                  <a:gd name="connsiteX383" fmla="*/ 2572 w 333375"/>
                  <a:gd name="connsiteY383" fmla="*/ 273749 h 371475"/>
                  <a:gd name="connsiteX384" fmla="*/ 857 w 333375"/>
                  <a:gd name="connsiteY384" fmla="*/ 275368 h 371475"/>
                  <a:gd name="connsiteX385" fmla="*/ 0 w 333375"/>
                  <a:gd name="connsiteY385" fmla="*/ 277082 h 371475"/>
                  <a:gd name="connsiteX386" fmla="*/ 0 w 333375"/>
                  <a:gd name="connsiteY386" fmla="*/ 277940 h 371475"/>
                  <a:gd name="connsiteX387" fmla="*/ 5905 w 333375"/>
                  <a:gd name="connsiteY387" fmla="*/ 280416 h 371475"/>
                  <a:gd name="connsiteX388" fmla="*/ 7620 w 333375"/>
                  <a:gd name="connsiteY388" fmla="*/ 284702 h 371475"/>
                  <a:gd name="connsiteX389" fmla="*/ 10192 w 333375"/>
                  <a:gd name="connsiteY389" fmla="*/ 289751 h 371475"/>
                  <a:gd name="connsiteX390" fmla="*/ 11811 w 333375"/>
                  <a:gd name="connsiteY390" fmla="*/ 295656 h 371475"/>
                  <a:gd name="connsiteX391" fmla="*/ 11811 w 333375"/>
                  <a:gd name="connsiteY391" fmla="*/ 296513 h 371475"/>
                  <a:gd name="connsiteX392" fmla="*/ 14383 w 333375"/>
                  <a:gd name="connsiteY392" fmla="*/ 298228 h 371475"/>
                  <a:gd name="connsiteX393" fmla="*/ 15240 w 333375"/>
                  <a:gd name="connsiteY393" fmla="*/ 299847 h 371475"/>
                  <a:gd name="connsiteX394" fmla="*/ 14383 w 333375"/>
                  <a:gd name="connsiteY394" fmla="*/ 302419 h 371475"/>
                  <a:gd name="connsiteX395" fmla="*/ 14383 w 333375"/>
                  <a:gd name="connsiteY395" fmla="*/ 304991 h 371475"/>
                  <a:gd name="connsiteX396" fmla="*/ 14383 w 333375"/>
                  <a:gd name="connsiteY396" fmla="*/ 304991 h 371475"/>
                  <a:gd name="connsiteX397" fmla="*/ 5905 w 333375"/>
                  <a:gd name="connsiteY397" fmla="*/ 318516 h 371475"/>
                  <a:gd name="connsiteX398" fmla="*/ 5048 w 333375"/>
                  <a:gd name="connsiteY398" fmla="*/ 321850 h 371475"/>
                  <a:gd name="connsiteX399" fmla="*/ 4191 w 333375"/>
                  <a:gd name="connsiteY399" fmla="*/ 322707 h 371475"/>
                  <a:gd name="connsiteX400" fmla="*/ 4191 w 333375"/>
                  <a:gd name="connsiteY400" fmla="*/ 322707 h 371475"/>
                  <a:gd name="connsiteX401" fmla="*/ 5048 w 333375"/>
                  <a:gd name="connsiteY401" fmla="*/ 324422 h 371475"/>
                  <a:gd name="connsiteX402" fmla="*/ 8477 w 333375"/>
                  <a:gd name="connsiteY402" fmla="*/ 325279 h 371475"/>
                  <a:gd name="connsiteX403" fmla="*/ 50006 w 333375"/>
                  <a:gd name="connsiteY403" fmla="*/ 327755 h 371475"/>
                  <a:gd name="connsiteX404" fmla="*/ 60198 w 333375"/>
                  <a:gd name="connsiteY404" fmla="*/ 327755 h 371475"/>
                  <a:gd name="connsiteX405" fmla="*/ 74581 w 333375"/>
                  <a:gd name="connsiteY405" fmla="*/ 329470 h 371475"/>
                  <a:gd name="connsiteX406" fmla="*/ 81344 w 333375"/>
                  <a:gd name="connsiteY406" fmla="*/ 331184 h 371475"/>
                  <a:gd name="connsiteX407" fmla="*/ 87249 w 333375"/>
                  <a:gd name="connsiteY407" fmla="*/ 333661 h 371475"/>
                  <a:gd name="connsiteX408" fmla="*/ 88963 w 333375"/>
                  <a:gd name="connsiteY408" fmla="*/ 333661 h 371475"/>
                  <a:gd name="connsiteX409" fmla="*/ 89821 w 333375"/>
                  <a:gd name="connsiteY409" fmla="*/ 332804 h 371475"/>
                  <a:gd name="connsiteX410" fmla="*/ 90678 w 333375"/>
                  <a:gd name="connsiteY410" fmla="*/ 331946 h 371475"/>
                  <a:gd name="connsiteX411" fmla="*/ 91535 w 333375"/>
                  <a:gd name="connsiteY411" fmla="*/ 330327 h 371475"/>
                  <a:gd name="connsiteX412" fmla="*/ 91535 w 333375"/>
                  <a:gd name="connsiteY412" fmla="*/ 329470 h 371475"/>
                  <a:gd name="connsiteX413" fmla="*/ 92392 w 333375"/>
                  <a:gd name="connsiteY413" fmla="*/ 329470 h 371475"/>
                  <a:gd name="connsiteX414" fmla="*/ 95726 w 333375"/>
                  <a:gd name="connsiteY414" fmla="*/ 326898 h 371475"/>
                  <a:gd name="connsiteX415" fmla="*/ 96583 w 333375"/>
                  <a:gd name="connsiteY415" fmla="*/ 326041 h 371475"/>
                  <a:gd name="connsiteX416" fmla="*/ 97441 w 333375"/>
                  <a:gd name="connsiteY416" fmla="*/ 326041 h 371475"/>
                  <a:gd name="connsiteX417" fmla="*/ 100013 w 333375"/>
                  <a:gd name="connsiteY417" fmla="*/ 326041 h 371475"/>
                  <a:gd name="connsiteX418" fmla="*/ 102489 w 333375"/>
                  <a:gd name="connsiteY418" fmla="*/ 326041 h 371475"/>
                  <a:gd name="connsiteX419" fmla="*/ 106775 w 333375"/>
                  <a:gd name="connsiteY419" fmla="*/ 324422 h 371475"/>
                  <a:gd name="connsiteX420" fmla="*/ 107632 w 333375"/>
                  <a:gd name="connsiteY420" fmla="*/ 324422 h 371475"/>
                  <a:gd name="connsiteX421" fmla="*/ 108490 w 333375"/>
                  <a:gd name="connsiteY421" fmla="*/ 324422 h 371475"/>
                  <a:gd name="connsiteX422" fmla="*/ 108490 w 333375"/>
                  <a:gd name="connsiteY422" fmla="*/ 325279 h 371475"/>
                  <a:gd name="connsiteX423" fmla="*/ 109252 w 333375"/>
                  <a:gd name="connsiteY423" fmla="*/ 326041 h 371475"/>
                  <a:gd name="connsiteX424" fmla="*/ 110109 w 333375"/>
                  <a:gd name="connsiteY424" fmla="*/ 326898 h 371475"/>
                  <a:gd name="connsiteX425" fmla="*/ 110109 w 333375"/>
                  <a:gd name="connsiteY425" fmla="*/ 326898 h 371475"/>
                  <a:gd name="connsiteX426" fmla="*/ 111823 w 333375"/>
                  <a:gd name="connsiteY426" fmla="*/ 327755 h 371475"/>
                  <a:gd name="connsiteX427" fmla="*/ 116967 w 333375"/>
                  <a:gd name="connsiteY427" fmla="*/ 328613 h 371475"/>
                  <a:gd name="connsiteX428" fmla="*/ 118586 w 333375"/>
                  <a:gd name="connsiteY428" fmla="*/ 328613 h 371475"/>
                  <a:gd name="connsiteX429" fmla="*/ 118586 w 333375"/>
                  <a:gd name="connsiteY429" fmla="*/ 329470 h 371475"/>
                  <a:gd name="connsiteX430" fmla="*/ 120301 w 333375"/>
                  <a:gd name="connsiteY430" fmla="*/ 330327 h 371475"/>
                  <a:gd name="connsiteX431" fmla="*/ 120301 w 333375"/>
                  <a:gd name="connsiteY431" fmla="*/ 330327 h 371475"/>
                  <a:gd name="connsiteX432" fmla="*/ 120301 w 333375"/>
                  <a:gd name="connsiteY432" fmla="*/ 331184 h 371475"/>
                  <a:gd name="connsiteX433" fmla="*/ 121158 w 333375"/>
                  <a:gd name="connsiteY433" fmla="*/ 332804 h 371475"/>
                  <a:gd name="connsiteX434" fmla="*/ 121158 w 333375"/>
                  <a:gd name="connsiteY434" fmla="*/ 333661 h 371475"/>
                  <a:gd name="connsiteX435" fmla="*/ 121158 w 333375"/>
                  <a:gd name="connsiteY435" fmla="*/ 333661 h 371475"/>
                  <a:gd name="connsiteX436" fmla="*/ 122015 w 333375"/>
                  <a:gd name="connsiteY436" fmla="*/ 334518 h 371475"/>
                  <a:gd name="connsiteX437" fmla="*/ 124587 w 333375"/>
                  <a:gd name="connsiteY437" fmla="*/ 336233 h 371475"/>
                  <a:gd name="connsiteX438" fmla="*/ 125444 w 333375"/>
                  <a:gd name="connsiteY438" fmla="*/ 337090 h 371475"/>
                  <a:gd name="connsiteX439" fmla="*/ 125444 w 333375"/>
                  <a:gd name="connsiteY439" fmla="*/ 337947 h 371475"/>
                  <a:gd name="connsiteX440" fmla="*/ 126206 w 333375"/>
                  <a:gd name="connsiteY440" fmla="*/ 337947 h 371475"/>
                  <a:gd name="connsiteX441" fmla="*/ 127063 w 333375"/>
                  <a:gd name="connsiteY441" fmla="*/ 338709 h 371475"/>
                  <a:gd name="connsiteX442" fmla="*/ 128778 w 333375"/>
                  <a:gd name="connsiteY442" fmla="*/ 338709 h 371475"/>
                  <a:gd name="connsiteX443" fmla="*/ 130492 w 333375"/>
                  <a:gd name="connsiteY443" fmla="*/ 338709 h 371475"/>
                  <a:gd name="connsiteX444" fmla="*/ 133064 w 333375"/>
                  <a:gd name="connsiteY444" fmla="*/ 337090 h 371475"/>
                  <a:gd name="connsiteX445" fmla="*/ 134684 w 333375"/>
                  <a:gd name="connsiteY445" fmla="*/ 337090 h 371475"/>
                  <a:gd name="connsiteX446" fmla="*/ 135541 w 333375"/>
                  <a:gd name="connsiteY446" fmla="*/ 337090 h 371475"/>
                  <a:gd name="connsiteX447" fmla="*/ 135541 w 333375"/>
                  <a:gd name="connsiteY447" fmla="*/ 336233 h 371475"/>
                  <a:gd name="connsiteX448" fmla="*/ 136398 w 333375"/>
                  <a:gd name="connsiteY448" fmla="*/ 336233 h 371475"/>
                  <a:gd name="connsiteX449" fmla="*/ 136398 w 333375"/>
                  <a:gd name="connsiteY449" fmla="*/ 335375 h 371475"/>
                  <a:gd name="connsiteX450" fmla="*/ 136398 w 333375"/>
                  <a:gd name="connsiteY450" fmla="*/ 334518 h 371475"/>
                  <a:gd name="connsiteX451" fmla="*/ 136398 w 333375"/>
                  <a:gd name="connsiteY451" fmla="*/ 333661 h 371475"/>
                  <a:gd name="connsiteX452" fmla="*/ 136398 w 333375"/>
                  <a:gd name="connsiteY452" fmla="*/ 332804 h 371475"/>
                  <a:gd name="connsiteX453" fmla="*/ 137255 w 333375"/>
                  <a:gd name="connsiteY453" fmla="*/ 331946 h 371475"/>
                  <a:gd name="connsiteX454" fmla="*/ 138113 w 333375"/>
                  <a:gd name="connsiteY454" fmla="*/ 331946 h 371475"/>
                  <a:gd name="connsiteX455" fmla="*/ 138970 w 333375"/>
                  <a:gd name="connsiteY455" fmla="*/ 331946 h 371475"/>
                  <a:gd name="connsiteX456" fmla="*/ 139827 w 333375"/>
                  <a:gd name="connsiteY456" fmla="*/ 332804 h 371475"/>
                  <a:gd name="connsiteX457" fmla="*/ 139827 w 333375"/>
                  <a:gd name="connsiteY457" fmla="*/ 333661 h 371475"/>
                  <a:gd name="connsiteX458" fmla="*/ 139827 w 333375"/>
                  <a:gd name="connsiteY458" fmla="*/ 335375 h 371475"/>
                  <a:gd name="connsiteX459" fmla="*/ 139827 w 333375"/>
                  <a:gd name="connsiteY459" fmla="*/ 336233 h 371475"/>
                  <a:gd name="connsiteX460" fmla="*/ 139827 w 333375"/>
                  <a:gd name="connsiteY460" fmla="*/ 337090 h 371475"/>
                  <a:gd name="connsiteX461" fmla="*/ 138970 w 333375"/>
                  <a:gd name="connsiteY461" fmla="*/ 337947 h 371475"/>
                  <a:gd name="connsiteX462" fmla="*/ 138970 w 333375"/>
                  <a:gd name="connsiteY462" fmla="*/ 337947 h 371475"/>
                  <a:gd name="connsiteX463" fmla="*/ 138113 w 333375"/>
                  <a:gd name="connsiteY463" fmla="*/ 338709 h 371475"/>
                  <a:gd name="connsiteX464" fmla="*/ 138113 w 333375"/>
                  <a:gd name="connsiteY464" fmla="*/ 338709 h 371475"/>
                  <a:gd name="connsiteX465" fmla="*/ 138113 w 333375"/>
                  <a:gd name="connsiteY465" fmla="*/ 339566 h 371475"/>
                  <a:gd name="connsiteX466" fmla="*/ 138113 w 333375"/>
                  <a:gd name="connsiteY466" fmla="*/ 339566 h 371475"/>
                  <a:gd name="connsiteX467" fmla="*/ 138970 w 333375"/>
                  <a:gd name="connsiteY467" fmla="*/ 340424 h 371475"/>
                  <a:gd name="connsiteX468" fmla="*/ 138970 w 333375"/>
                  <a:gd name="connsiteY468" fmla="*/ 341281 h 371475"/>
                  <a:gd name="connsiteX469" fmla="*/ 138970 w 333375"/>
                  <a:gd name="connsiteY469" fmla="*/ 341281 h 371475"/>
                  <a:gd name="connsiteX470" fmla="*/ 138970 w 333375"/>
                  <a:gd name="connsiteY470" fmla="*/ 343853 h 371475"/>
                  <a:gd name="connsiteX471" fmla="*/ 138970 w 333375"/>
                  <a:gd name="connsiteY471" fmla="*/ 344710 h 371475"/>
                  <a:gd name="connsiteX472" fmla="*/ 139827 w 333375"/>
                  <a:gd name="connsiteY472" fmla="*/ 345472 h 371475"/>
                  <a:gd name="connsiteX473" fmla="*/ 142303 w 333375"/>
                  <a:gd name="connsiteY473" fmla="*/ 346329 h 371475"/>
                  <a:gd name="connsiteX474" fmla="*/ 142303 w 333375"/>
                  <a:gd name="connsiteY474" fmla="*/ 347186 h 371475"/>
                  <a:gd name="connsiteX475" fmla="*/ 143161 w 333375"/>
                  <a:gd name="connsiteY475" fmla="*/ 348043 h 371475"/>
                  <a:gd name="connsiteX476" fmla="*/ 144018 w 333375"/>
                  <a:gd name="connsiteY476" fmla="*/ 348901 h 371475"/>
                  <a:gd name="connsiteX477" fmla="*/ 144018 w 333375"/>
                  <a:gd name="connsiteY477" fmla="*/ 348901 h 371475"/>
                  <a:gd name="connsiteX478" fmla="*/ 144018 w 333375"/>
                  <a:gd name="connsiteY478" fmla="*/ 348901 h 371475"/>
                  <a:gd name="connsiteX479" fmla="*/ 144875 w 333375"/>
                  <a:gd name="connsiteY479" fmla="*/ 348901 h 371475"/>
                  <a:gd name="connsiteX480" fmla="*/ 144875 w 333375"/>
                  <a:gd name="connsiteY480" fmla="*/ 345472 h 371475"/>
                  <a:gd name="connsiteX481" fmla="*/ 144875 w 333375"/>
                  <a:gd name="connsiteY481" fmla="*/ 345472 h 371475"/>
                  <a:gd name="connsiteX482" fmla="*/ 145732 w 333375"/>
                  <a:gd name="connsiteY482" fmla="*/ 344710 h 371475"/>
                  <a:gd name="connsiteX483" fmla="*/ 145732 w 333375"/>
                  <a:gd name="connsiteY483" fmla="*/ 344710 h 371475"/>
                  <a:gd name="connsiteX484" fmla="*/ 147447 w 333375"/>
                  <a:gd name="connsiteY484" fmla="*/ 343853 h 371475"/>
                  <a:gd name="connsiteX485" fmla="*/ 148304 w 333375"/>
                  <a:gd name="connsiteY485" fmla="*/ 343853 h 371475"/>
                  <a:gd name="connsiteX486" fmla="*/ 149161 w 333375"/>
                  <a:gd name="connsiteY486" fmla="*/ 343853 h 371475"/>
                  <a:gd name="connsiteX487" fmla="*/ 149923 w 333375"/>
                  <a:gd name="connsiteY487" fmla="*/ 344710 h 371475"/>
                  <a:gd name="connsiteX488" fmla="*/ 149923 w 333375"/>
                  <a:gd name="connsiteY488" fmla="*/ 346329 h 371475"/>
                  <a:gd name="connsiteX489" fmla="*/ 149923 w 333375"/>
                  <a:gd name="connsiteY489" fmla="*/ 347186 h 371475"/>
                  <a:gd name="connsiteX490" fmla="*/ 150781 w 333375"/>
                  <a:gd name="connsiteY490" fmla="*/ 348043 h 371475"/>
                  <a:gd name="connsiteX491" fmla="*/ 151638 w 333375"/>
                  <a:gd name="connsiteY491" fmla="*/ 349758 h 371475"/>
                  <a:gd name="connsiteX492" fmla="*/ 153352 w 333375"/>
                  <a:gd name="connsiteY492" fmla="*/ 352235 h 371475"/>
                  <a:gd name="connsiteX493" fmla="*/ 154210 w 333375"/>
                  <a:gd name="connsiteY493" fmla="*/ 353092 h 371475"/>
                  <a:gd name="connsiteX494" fmla="*/ 154210 w 333375"/>
                  <a:gd name="connsiteY494" fmla="*/ 353949 h 371475"/>
                  <a:gd name="connsiteX495" fmla="*/ 154210 w 333375"/>
                  <a:gd name="connsiteY495" fmla="*/ 354806 h 371475"/>
                  <a:gd name="connsiteX496" fmla="*/ 154210 w 333375"/>
                  <a:gd name="connsiteY496" fmla="*/ 354806 h 371475"/>
                  <a:gd name="connsiteX497" fmla="*/ 153352 w 333375"/>
                  <a:gd name="connsiteY497" fmla="*/ 354806 h 371475"/>
                  <a:gd name="connsiteX498" fmla="*/ 153352 w 333375"/>
                  <a:gd name="connsiteY498" fmla="*/ 354806 h 371475"/>
                  <a:gd name="connsiteX499" fmla="*/ 152495 w 333375"/>
                  <a:gd name="connsiteY499" fmla="*/ 354806 h 371475"/>
                  <a:gd name="connsiteX500" fmla="*/ 151638 w 333375"/>
                  <a:gd name="connsiteY500" fmla="*/ 354806 h 371475"/>
                  <a:gd name="connsiteX501" fmla="*/ 151638 w 333375"/>
                  <a:gd name="connsiteY501" fmla="*/ 354806 h 371475"/>
                  <a:gd name="connsiteX502" fmla="*/ 150781 w 333375"/>
                  <a:gd name="connsiteY502" fmla="*/ 354806 h 371475"/>
                  <a:gd name="connsiteX503" fmla="*/ 150781 w 333375"/>
                  <a:gd name="connsiteY503" fmla="*/ 354806 h 371475"/>
                  <a:gd name="connsiteX504" fmla="*/ 150781 w 333375"/>
                  <a:gd name="connsiteY504" fmla="*/ 354806 h 371475"/>
                  <a:gd name="connsiteX505" fmla="*/ 150781 w 333375"/>
                  <a:gd name="connsiteY505" fmla="*/ 355664 h 371475"/>
                  <a:gd name="connsiteX506" fmla="*/ 150781 w 333375"/>
                  <a:gd name="connsiteY506" fmla="*/ 356521 h 371475"/>
                  <a:gd name="connsiteX507" fmla="*/ 150781 w 333375"/>
                  <a:gd name="connsiteY507" fmla="*/ 358140 h 371475"/>
                  <a:gd name="connsiteX508" fmla="*/ 150781 w 333375"/>
                  <a:gd name="connsiteY508" fmla="*/ 358997 h 371475"/>
                  <a:gd name="connsiteX509" fmla="*/ 150781 w 333375"/>
                  <a:gd name="connsiteY509" fmla="*/ 359855 h 371475"/>
                  <a:gd name="connsiteX510" fmla="*/ 150781 w 333375"/>
                  <a:gd name="connsiteY510" fmla="*/ 359855 h 371475"/>
                  <a:gd name="connsiteX511" fmla="*/ 149923 w 333375"/>
                  <a:gd name="connsiteY511" fmla="*/ 360712 h 371475"/>
                  <a:gd name="connsiteX512" fmla="*/ 148304 w 333375"/>
                  <a:gd name="connsiteY512" fmla="*/ 361569 h 371475"/>
                  <a:gd name="connsiteX513" fmla="*/ 147447 w 333375"/>
                  <a:gd name="connsiteY513" fmla="*/ 361569 h 371475"/>
                  <a:gd name="connsiteX514" fmla="*/ 147447 w 333375"/>
                  <a:gd name="connsiteY514" fmla="*/ 361569 h 371475"/>
                  <a:gd name="connsiteX515" fmla="*/ 146590 w 333375"/>
                  <a:gd name="connsiteY515" fmla="*/ 362426 h 371475"/>
                  <a:gd name="connsiteX516" fmla="*/ 146590 w 333375"/>
                  <a:gd name="connsiteY516" fmla="*/ 362426 h 371475"/>
                  <a:gd name="connsiteX517" fmla="*/ 147447 w 333375"/>
                  <a:gd name="connsiteY517" fmla="*/ 363284 h 371475"/>
                  <a:gd name="connsiteX518" fmla="*/ 149161 w 333375"/>
                  <a:gd name="connsiteY518" fmla="*/ 364903 h 371475"/>
                  <a:gd name="connsiteX519" fmla="*/ 149161 w 333375"/>
                  <a:gd name="connsiteY519" fmla="*/ 365760 h 371475"/>
                  <a:gd name="connsiteX520" fmla="*/ 149161 w 333375"/>
                  <a:gd name="connsiteY520" fmla="*/ 365760 h 371475"/>
                  <a:gd name="connsiteX521" fmla="*/ 149161 w 333375"/>
                  <a:gd name="connsiteY521" fmla="*/ 366617 h 371475"/>
                  <a:gd name="connsiteX522" fmla="*/ 149161 w 333375"/>
                  <a:gd name="connsiteY522" fmla="*/ 367474 h 371475"/>
                  <a:gd name="connsiteX523" fmla="*/ 149161 w 333375"/>
                  <a:gd name="connsiteY523" fmla="*/ 367474 h 371475"/>
                  <a:gd name="connsiteX524" fmla="*/ 149161 w 333375"/>
                  <a:gd name="connsiteY524" fmla="*/ 368332 h 371475"/>
                  <a:gd name="connsiteX525" fmla="*/ 150781 w 333375"/>
                  <a:gd name="connsiteY525" fmla="*/ 369189 h 371475"/>
                  <a:gd name="connsiteX526" fmla="*/ 151638 w 333375"/>
                  <a:gd name="connsiteY526" fmla="*/ 370808 h 371475"/>
                  <a:gd name="connsiteX527" fmla="*/ 151638 w 333375"/>
                  <a:gd name="connsiteY527" fmla="*/ 370808 h 371475"/>
                  <a:gd name="connsiteX528" fmla="*/ 151638 w 333375"/>
                  <a:gd name="connsiteY528" fmla="*/ 371666 h 371475"/>
                  <a:gd name="connsiteX529" fmla="*/ 152495 w 333375"/>
                  <a:gd name="connsiteY529" fmla="*/ 372523 h 371475"/>
                  <a:gd name="connsiteX530" fmla="*/ 152495 w 333375"/>
                  <a:gd name="connsiteY530" fmla="*/ 372523 h 371475"/>
                  <a:gd name="connsiteX531" fmla="*/ 152495 w 333375"/>
                  <a:gd name="connsiteY531" fmla="*/ 374237 h 371475"/>
                  <a:gd name="connsiteX532" fmla="*/ 153352 w 333375"/>
                  <a:gd name="connsiteY532" fmla="*/ 375095 h 371475"/>
                  <a:gd name="connsiteX533" fmla="*/ 153352 w 333375"/>
                  <a:gd name="connsiteY533" fmla="*/ 377571 h 371475"/>
                  <a:gd name="connsiteX534" fmla="*/ 155067 w 333375"/>
                  <a:gd name="connsiteY534" fmla="*/ 378428 h 371475"/>
                  <a:gd name="connsiteX535" fmla="*/ 157639 w 333375"/>
                  <a:gd name="connsiteY535" fmla="*/ 376809 h 371475"/>
                  <a:gd name="connsiteX536" fmla="*/ 160115 w 333375"/>
                  <a:gd name="connsiteY536" fmla="*/ 376809 h 371475"/>
                  <a:gd name="connsiteX537" fmla="*/ 160973 w 333375"/>
                  <a:gd name="connsiteY537" fmla="*/ 375952 h 371475"/>
                  <a:gd name="connsiteX538" fmla="*/ 161830 w 333375"/>
                  <a:gd name="connsiteY538" fmla="*/ 374237 h 371475"/>
                  <a:gd name="connsiteX539" fmla="*/ 160973 w 333375"/>
                  <a:gd name="connsiteY539" fmla="*/ 373380 h 371475"/>
                  <a:gd name="connsiteX540" fmla="*/ 160115 w 333375"/>
                  <a:gd name="connsiteY540" fmla="*/ 372523 h 371475"/>
                  <a:gd name="connsiteX541" fmla="*/ 160115 w 333375"/>
                  <a:gd name="connsiteY541" fmla="*/ 371666 h 371475"/>
                  <a:gd name="connsiteX542" fmla="*/ 160115 w 333375"/>
                  <a:gd name="connsiteY542" fmla="*/ 370046 h 371475"/>
                  <a:gd name="connsiteX543" fmla="*/ 160973 w 333375"/>
                  <a:gd name="connsiteY543" fmla="*/ 369189 h 371475"/>
                  <a:gd name="connsiteX544" fmla="*/ 162687 w 333375"/>
                  <a:gd name="connsiteY544" fmla="*/ 365760 h 371475"/>
                  <a:gd name="connsiteX545" fmla="*/ 163544 w 333375"/>
                  <a:gd name="connsiteY545" fmla="*/ 364903 h 371475"/>
                  <a:gd name="connsiteX546" fmla="*/ 164402 w 333375"/>
                  <a:gd name="connsiteY546" fmla="*/ 364903 h 371475"/>
                  <a:gd name="connsiteX547" fmla="*/ 165259 w 333375"/>
                  <a:gd name="connsiteY547" fmla="*/ 365760 h 371475"/>
                  <a:gd name="connsiteX548" fmla="*/ 166116 w 333375"/>
                  <a:gd name="connsiteY548" fmla="*/ 364903 h 371475"/>
                  <a:gd name="connsiteX549" fmla="*/ 166116 w 333375"/>
                  <a:gd name="connsiteY549" fmla="*/ 364045 h 371475"/>
                  <a:gd name="connsiteX550" fmla="*/ 166116 w 333375"/>
                  <a:gd name="connsiteY550" fmla="*/ 363284 h 371475"/>
                  <a:gd name="connsiteX551" fmla="*/ 166116 w 333375"/>
                  <a:gd name="connsiteY551" fmla="*/ 362426 h 371475"/>
                  <a:gd name="connsiteX552" fmla="*/ 166878 w 333375"/>
                  <a:gd name="connsiteY552" fmla="*/ 360712 h 371475"/>
                  <a:gd name="connsiteX553" fmla="*/ 169450 w 333375"/>
                  <a:gd name="connsiteY553" fmla="*/ 358997 h 371475"/>
                  <a:gd name="connsiteX554" fmla="*/ 170307 w 333375"/>
                  <a:gd name="connsiteY554" fmla="*/ 357378 h 371475"/>
                  <a:gd name="connsiteX555" fmla="*/ 172879 w 333375"/>
                  <a:gd name="connsiteY555" fmla="*/ 353092 h 371475"/>
                  <a:gd name="connsiteX556" fmla="*/ 175355 w 333375"/>
                  <a:gd name="connsiteY556" fmla="*/ 349758 h 371475"/>
                  <a:gd name="connsiteX557" fmla="*/ 177070 w 333375"/>
                  <a:gd name="connsiteY557" fmla="*/ 347186 h 371475"/>
                  <a:gd name="connsiteX558" fmla="*/ 177927 w 333375"/>
                  <a:gd name="connsiteY558" fmla="*/ 346329 h 371475"/>
                  <a:gd name="connsiteX559" fmla="*/ 178784 w 333375"/>
                  <a:gd name="connsiteY559" fmla="*/ 347186 h 371475"/>
                  <a:gd name="connsiteX560" fmla="*/ 180499 w 333375"/>
                  <a:gd name="connsiteY560" fmla="*/ 348043 h 371475"/>
                  <a:gd name="connsiteX561" fmla="*/ 183832 w 333375"/>
                  <a:gd name="connsiteY561" fmla="*/ 349758 h 371475"/>
                  <a:gd name="connsiteX562" fmla="*/ 186404 w 333375"/>
                  <a:gd name="connsiteY562" fmla="*/ 349758 h 371475"/>
                  <a:gd name="connsiteX563" fmla="*/ 187261 w 333375"/>
                  <a:gd name="connsiteY563" fmla="*/ 349758 h 371475"/>
                  <a:gd name="connsiteX564" fmla="*/ 188119 w 333375"/>
                  <a:gd name="connsiteY564" fmla="*/ 349758 h 371475"/>
                  <a:gd name="connsiteX565" fmla="*/ 191452 w 333375"/>
                  <a:gd name="connsiteY565" fmla="*/ 351377 h 371475"/>
                  <a:gd name="connsiteX566" fmla="*/ 194881 w 333375"/>
                  <a:gd name="connsiteY566" fmla="*/ 352235 h 371475"/>
                  <a:gd name="connsiteX567" fmla="*/ 196596 w 333375"/>
                  <a:gd name="connsiteY567" fmla="*/ 352235 h 371475"/>
                  <a:gd name="connsiteX568" fmla="*/ 198311 w 333375"/>
                  <a:gd name="connsiteY568" fmla="*/ 351377 h 371475"/>
                  <a:gd name="connsiteX569" fmla="*/ 200787 w 333375"/>
                  <a:gd name="connsiteY569" fmla="*/ 351377 h 371475"/>
                  <a:gd name="connsiteX570" fmla="*/ 205073 w 333375"/>
                  <a:gd name="connsiteY570" fmla="*/ 352235 h 371475"/>
                  <a:gd name="connsiteX571" fmla="*/ 205930 w 333375"/>
                  <a:gd name="connsiteY571" fmla="*/ 351377 h 371475"/>
                  <a:gd name="connsiteX572" fmla="*/ 206788 w 333375"/>
                  <a:gd name="connsiteY572" fmla="*/ 350615 h 371475"/>
                  <a:gd name="connsiteX573" fmla="*/ 207550 w 333375"/>
                  <a:gd name="connsiteY573" fmla="*/ 349758 h 371475"/>
                  <a:gd name="connsiteX574" fmla="*/ 206788 w 333375"/>
                  <a:gd name="connsiteY574" fmla="*/ 348901 h 371475"/>
                  <a:gd name="connsiteX575" fmla="*/ 207550 w 333375"/>
                  <a:gd name="connsiteY575" fmla="*/ 347186 h 371475"/>
                  <a:gd name="connsiteX576" fmla="*/ 208407 w 333375"/>
                  <a:gd name="connsiteY576" fmla="*/ 346329 h 371475"/>
                  <a:gd name="connsiteX577" fmla="*/ 211836 w 333375"/>
                  <a:gd name="connsiteY577" fmla="*/ 344710 h 371475"/>
                  <a:gd name="connsiteX578" fmla="*/ 214408 w 333375"/>
                  <a:gd name="connsiteY578" fmla="*/ 343853 h 371475"/>
                  <a:gd name="connsiteX579" fmla="*/ 216027 w 333375"/>
                  <a:gd name="connsiteY579" fmla="*/ 343853 h 371475"/>
                  <a:gd name="connsiteX580" fmla="*/ 216884 w 333375"/>
                  <a:gd name="connsiteY580" fmla="*/ 344710 h 371475"/>
                  <a:gd name="connsiteX581" fmla="*/ 218599 w 333375"/>
                  <a:gd name="connsiteY581" fmla="*/ 344710 h 371475"/>
                  <a:gd name="connsiteX582" fmla="*/ 219456 w 333375"/>
                  <a:gd name="connsiteY582" fmla="*/ 345472 h 371475"/>
                  <a:gd name="connsiteX583" fmla="*/ 222028 w 333375"/>
                  <a:gd name="connsiteY583" fmla="*/ 347186 h 371475"/>
                  <a:gd name="connsiteX584" fmla="*/ 222885 w 333375"/>
                  <a:gd name="connsiteY584" fmla="*/ 348901 h 371475"/>
                  <a:gd name="connsiteX585" fmla="*/ 224504 w 333375"/>
                  <a:gd name="connsiteY585" fmla="*/ 352235 h 371475"/>
                  <a:gd name="connsiteX586" fmla="*/ 224504 w 333375"/>
                  <a:gd name="connsiteY586" fmla="*/ 353092 h 371475"/>
                  <a:gd name="connsiteX587" fmla="*/ 225361 w 333375"/>
                  <a:gd name="connsiteY587" fmla="*/ 353949 h 371475"/>
                  <a:gd name="connsiteX588" fmla="*/ 227933 w 333375"/>
                  <a:gd name="connsiteY588" fmla="*/ 354806 h 371475"/>
                  <a:gd name="connsiteX589" fmla="*/ 231267 w 333375"/>
                  <a:gd name="connsiteY589" fmla="*/ 355664 h 371475"/>
                  <a:gd name="connsiteX590" fmla="*/ 233839 w 333375"/>
                  <a:gd name="connsiteY590" fmla="*/ 355664 h 371475"/>
                  <a:gd name="connsiteX591" fmla="*/ 234696 w 333375"/>
                  <a:gd name="connsiteY591" fmla="*/ 354806 h 371475"/>
                  <a:gd name="connsiteX592" fmla="*/ 237268 w 333375"/>
                  <a:gd name="connsiteY592" fmla="*/ 353949 h 371475"/>
                  <a:gd name="connsiteX593" fmla="*/ 238982 w 333375"/>
                  <a:gd name="connsiteY593" fmla="*/ 353092 h 371475"/>
                  <a:gd name="connsiteX594" fmla="*/ 241459 w 333375"/>
                  <a:gd name="connsiteY594" fmla="*/ 353949 h 371475"/>
                  <a:gd name="connsiteX595" fmla="*/ 243173 w 333375"/>
                  <a:gd name="connsiteY595" fmla="*/ 353092 h 371475"/>
                  <a:gd name="connsiteX596" fmla="*/ 244030 w 333375"/>
                  <a:gd name="connsiteY596" fmla="*/ 352235 h 371475"/>
                  <a:gd name="connsiteX597" fmla="*/ 247459 w 333375"/>
                  <a:gd name="connsiteY597" fmla="*/ 347186 h 371475"/>
                  <a:gd name="connsiteX598" fmla="*/ 252508 w 333375"/>
                  <a:gd name="connsiteY598" fmla="*/ 345472 h 371475"/>
                  <a:gd name="connsiteX599" fmla="*/ 254222 w 333375"/>
                  <a:gd name="connsiteY599" fmla="*/ 344710 h 371475"/>
                  <a:gd name="connsiteX600" fmla="*/ 255842 w 333375"/>
                  <a:gd name="connsiteY600" fmla="*/ 343853 h 371475"/>
                  <a:gd name="connsiteX601" fmla="*/ 258413 w 333375"/>
                  <a:gd name="connsiteY601" fmla="*/ 342138 h 371475"/>
                  <a:gd name="connsiteX602" fmla="*/ 261842 w 333375"/>
                  <a:gd name="connsiteY602" fmla="*/ 340424 h 371475"/>
                  <a:gd name="connsiteX603" fmla="*/ 263557 w 333375"/>
                  <a:gd name="connsiteY603" fmla="*/ 339566 h 371475"/>
                  <a:gd name="connsiteX604" fmla="*/ 263557 w 333375"/>
                  <a:gd name="connsiteY604" fmla="*/ 337947 h 371475"/>
                  <a:gd name="connsiteX605" fmla="*/ 262700 w 333375"/>
                  <a:gd name="connsiteY605" fmla="*/ 337090 h 371475"/>
                  <a:gd name="connsiteX606" fmla="*/ 260128 w 333375"/>
                  <a:gd name="connsiteY606" fmla="*/ 336233 h 371475"/>
                  <a:gd name="connsiteX607" fmla="*/ 259271 w 333375"/>
                  <a:gd name="connsiteY607" fmla="*/ 335375 h 371475"/>
                  <a:gd name="connsiteX608" fmla="*/ 259271 w 333375"/>
                  <a:gd name="connsiteY608" fmla="*/ 333661 h 371475"/>
                  <a:gd name="connsiteX609" fmla="*/ 258413 w 333375"/>
                  <a:gd name="connsiteY609" fmla="*/ 332804 h 371475"/>
                  <a:gd name="connsiteX610" fmla="*/ 258413 w 333375"/>
                  <a:gd name="connsiteY610" fmla="*/ 331946 h 371475"/>
                  <a:gd name="connsiteX611" fmla="*/ 257556 w 333375"/>
                  <a:gd name="connsiteY611" fmla="*/ 331184 h 371475"/>
                  <a:gd name="connsiteX612" fmla="*/ 257556 w 333375"/>
                  <a:gd name="connsiteY612" fmla="*/ 329470 h 371475"/>
                  <a:gd name="connsiteX613" fmla="*/ 257556 w 333375"/>
                  <a:gd name="connsiteY613" fmla="*/ 328613 h 371475"/>
                  <a:gd name="connsiteX614" fmla="*/ 258413 w 333375"/>
                  <a:gd name="connsiteY614" fmla="*/ 326041 h 371475"/>
                  <a:gd name="connsiteX615" fmla="*/ 260985 w 333375"/>
                  <a:gd name="connsiteY615" fmla="*/ 320135 h 371475"/>
                  <a:gd name="connsiteX616" fmla="*/ 261842 w 333375"/>
                  <a:gd name="connsiteY616" fmla="*/ 318516 h 371475"/>
                  <a:gd name="connsiteX617" fmla="*/ 262700 w 333375"/>
                  <a:gd name="connsiteY617" fmla="*/ 317659 h 371475"/>
                  <a:gd name="connsiteX618" fmla="*/ 262700 w 333375"/>
                  <a:gd name="connsiteY618" fmla="*/ 316801 h 371475"/>
                  <a:gd name="connsiteX619" fmla="*/ 262700 w 333375"/>
                  <a:gd name="connsiteY619" fmla="*/ 315944 h 371475"/>
                  <a:gd name="connsiteX620" fmla="*/ 262700 w 333375"/>
                  <a:gd name="connsiteY620" fmla="*/ 315944 h 371475"/>
                  <a:gd name="connsiteX621" fmla="*/ 262700 w 333375"/>
                  <a:gd name="connsiteY621" fmla="*/ 315087 h 371475"/>
                  <a:gd name="connsiteX622" fmla="*/ 262700 w 333375"/>
                  <a:gd name="connsiteY622" fmla="*/ 314230 h 371475"/>
                  <a:gd name="connsiteX623" fmla="*/ 261842 w 333375"/>
                  <a:gd name="connsiteY623" fmla="*/ 314230 h 371475"/>
                  <a:gd name="connsiteX624" fmla="*/ 261842 w 333375"/>
                  <a:gd name="connsiteY624" fmla="*/ 313372 h 371475"/>
                  <a:gd name="connsiteX625" fmla="*/ 262700 w 333375"/>
                  <a:gd name="connsiteY625" fmla="*/ 312515 h 371475"/>
                  <a:gd name="connsiteX626" fmla="*/ 263557 w 333375"/>
                  <a:gd name="connsiteY626" fmla="*/ 312515 h 371475"/>
                  <a:gd name="connsiteX627" fmla="*/ 265176 w 333375"/>
                  <a:gd name="connsiteY627" fmla="*/ 311753 h 371475"/>
                  <a:gd name="connsiteX628" fmla="*/ 266033 w 333375"/>
                  <a:gd name="connsiteY628" fmla="*/ 311753 h 371475"/>
                  <a:gd name="connsiteX629" fmla="*/ 266033 w 333375"/>
                  <a:gd name="connsiteY629" fmla="*/ 310896 h 371475"/>
                  <a:gd name="connsiteX630" fmla="*/ 265176 w 333375"/>
                  <a:gd name="connsiteY630" fmla="*/ 310896 h 371475"/>
                  <a:gd name="connsiteX631" fmla="*/ 262700 w 333375"/>
                  <a:gd name="connsiteY631" fmla="*/ 309182 h 371475"/>
                  <a:gd name="connsiteX632" fmla="*/ 261842 w 333375"/>
                  <a:gd name="connsiteY632" fmla="*/ 309182 h 371475"/>
                  <a:gd name="connsiteX633" fmla="*/ 260985 w 333375"/>
                  <a:gd name="connsiteY633" fmla="*/ 308324 h 371475"/>
                  <a:gd name="connsiteX634" fmla="*/ 260985 w 333375"/>
                  <a:gd name="connsiteY634" fmla="*/ 307467 h 371475"/>
                  <a:gd name="connsiteX635" fmla="*/ 260985 w 333375"/>
                  <a:gd name="connsiteY635" fmla="*/ 306610 h 371475"/>
                  <a:gd name="connsiteX636" fmla="*/ 260985 w 333375"/>
                  <a:gd name="connsiteY636" fmla="*/ 305848 h 371475"/>
                  <a:gd name="connsiteX637" fmla="*/ 261842 w 333375"/>
                  <a:gd name="connsiteY637" fmla="*/ 304991 h 371475"/>
                  <a:gd name="connsiteX638" fmla="*/ 262700 w 333375"/>
                  <a:gd name="connsiteY638" fmla="*/ 304991 h 371475"/>
                  <a:gd name="connsiteX639" fmla="*/ 263557 w 333375"/>
                  <a:gd name="connsiteY639" fmla="*/ 304991 h 371475"/>
                  <a:gd name="connsiteX640" fmla="*/ 266890 w 333375"/>
                  <a:gd name="connsiteY640" fmla="*/ 307467 h 371475"/>
                  <a:gd name="connsiteX641" fmla="*/ 267748 w 333375"/>
                  <a:gd name="connsiteY641" fmla="*/ 308324 h 371475"/>
                  <a:gd name="connsiteX642" fmla="*/ 268605 w 333375"/>
                  <a:gd name="connsiteY642" fmla="*/ 308324 h 371475"/>
                  <a:gd name="connsiteX643" fmla="*/ 269462 w 333375"/>
                  <a:gd name="connsiteY643" fmla="*/ 309182 h 371475"/>
                  <a:gd name="connsiteX644" fmla="*/ 271177 w 333375"/>
                  <a:gd name="connsiteY644" fmla="*/ 309182 h 371475"/>
                  <a:gd name="connsiteX645" fmla="*/ 272034 w 333375"/>
                  <a:gd name="connsiteY645" fmla="*/ 309182 h 371475"/>
                  <a:gd name="connsiteX646" fmla="*/ 273653 w 333375"/>
                  <a:gd name="connsiteY646" fmla="*/ 309182 h 371475"/>
                  <a:gd name="connsiteX647" fmla="*/ 274511 w 333375"/>
                  <a:gd name="connsiteY647" fmla="*/ 308324 h 371475"/>
                  <a:gd name="connsiteX648" fmla="*/ 274511 w 333375"/>
                  <a:gd name="connsiteY648" fmla="*/ 307467 h 371475"/>
                  <a:gd name="connsiteX649" fmla="*/ 274511 w 333375"/>
                  <a:gd name="connsiteY649" fmla="*/ 306610 h 371475"/>
                  <a:gd name="connsiteX650" fmla="*/ 274511 w 333375"/>
                  <a:gd name="connsiteY650" fmla="*/ 305848 h 371475"/>
                  <a:gd name="connsiteX651" fmla="*/ 274511 w 333375"/>
                  <a:gd name="connsiteY651" fmla="*/ 304991 h 371475"/>
                  <a:gd name="connsiteX652" fmla="*/ 275368 w 333375"/>
                  <a:gd name="connsiteY652" fmla="*/ 304991 h 371475"/>
                  <a:gd name="connsiteX653" fmla="*/ 275368 w 333375"/>
                  <a:gd name="connsiteY653" fmla="*/ 304991 h 371475"/>
                  <a:gd name="connsiteX654" fmla="*/ 276225 w 333375"/>
                  <a:gd name="connsiteY654" fmla="*/ 304991 h 371475"/>
                  <a:gd name="connsiteX655" fmla="*/ 277940 w 333375"/>
                  <a:gd name="connsiteY655" fmla="*/ 306610 h 371475"/>
                  <a:gd name="connsiteX656" fmla="*/ 278797 w 333375"/>
                  <a:gd name="connsiteY656" fmla="*/ 307467 h 371475"/>
                  <a:gd name="connsiteX657" fmla="*/ 278797 w 333375"/>
                  <a:gd name="connsiteY657" fmla="*/ 307467 h 371475"/>
                  <a:gd name="connsiteX658" fmla="*/ 279654 w 333375"/>
                  <a:gd name="connsiteY658" fmla="*/ 307467 h 371475"/>
                  <a:gd name="connsiteX659" fmla="*/ 280416 w 333375"/>
                  <a:gd name="connsiteY659" fmla="*/ 307467 h 371475"/>
                  <a:gd name="connsiteX660" fmla="*/ 280416 w 333375"/>
                  <a:gd name="connsiteY660" fmla="*/ 306610 h 371475"/>
                  <a:gd name="connsiteX661" fmla="*/ 281273 w 333375"/>
                  <a:gd name="connsiteY661" fmla="*/ 304133 h 371475"/>
                  <a:gd name="connsiteX662" fmla="*/ 282130 w 333375"/>
                  <a:gd name="connsiteY662" fmla="*/ 304133 h 371475"/>
                  <a:gd name="connsiteX663" fmla="*/ 282130 w 333375"/>
                  <a:gd name="connsiteY663" fmla="*/ 303276 h 371475"/>
                  <a:gd name="connsiteX664" fmla="*/ 281273 w 333375"/>
                  <a:gd name="connsiteY664" fmla="*/ 302419 h 371475"/>
                  <a:gd name="connsiteX665" fmla="*/ 281273 w 333375"/>
                  <a:gd name="connsiteY665" fmla="*/ 301562 h 371475"/>
                  <a:gd name="connsiteX666" fmla="*/ 281273 w 333375"/>
                  <a:gd name="connsiteY666" fmla="*/ 300704 h 371475"/>
                  <a:gd name="connsiteX667" fmla="*/ 281273 w 333375"/>
                  <a:gd name="connsiteY667" fmla="*/ 299847 h 371475"/>
                  <a:gd name="connsiteX668" fmla="*/ 282130 w 333375"/>
                  <a:gd name="connsiteY668" fmla="*/ 299085 h 371475"/>
                  <a:gd name="connsiteX669" fmla="*/ 282988 w 333375"/>
                  <a:gd name="connsiteY669" fmla="*/ 299085 h 371475"/>
                  <a:gd name="connsiteX670" fmla="*/ 283845 w 333375"/>
                  <a:gd name="connsiteY670" fmla="*/ 299085 h 371475"/>
                  <a:gd name="connsiteX671" fmla="*/ 283845 w 333375"/>
                  <a:gd name="connsiteY671" fmla="*/ 299847 h 371475"/>
                  <a:gd name="connsiteX672" fmla="*/ 284702 w 333375"/>
                  <a:gd name="connsiteY672" fmla="*/ 299847 h 371475"/>
                  <a:gd name="connsiteX673" fmla="*/ 285559 w 333375"/>
                  <a:gd name="connsiteY673" fmla="*/ 304991 h 371475"/>
                  <a:gd name="connsiteX674" fmla="*/ 286417 w 333375"/>
                  <a:gd name="connsiteY674" fmla="*/ 306610 h 371475"/>
                  <a:gd name="connsiteX675" fmla="*/ 288131 w 333375"/>
                  <a:gd name="connsiteY675" fmla="*/ 309182 h 371475"/>
                  <a:gd name="connsiteX676" fmla="*/ 288131 w 333375"/>
                  <a:gd name="connsiteY676" fmla="*/ 310039 h 371475"/>
                  <a:gd name="connsiteX677" fmla="*/ 288893 w 333375"/>
                  <a:gd name="connsiteY677" fmla="*/ 310896 h 371475"/>
                  <a:gd name="connsiteX678" fmla="*/ 292322 w 333375"/>
                  <a:gd name="connsiteY678" fmla="*/ 310896 h 371475"/>
                  <a:gd name="connsiteX679" fmla="*/ 293180 w 333375"/>
                  <a:gd name="connsiteY679" fmla="*/ 311753 h 371475"/>
                  <a:gd name="connsiteX680" fmla="*/ 296513 w 333375"/>
                  <a:gd name="connsiteY680" fmla="*/ 311753 h 371475"/>
                  <a:gd name="connsiteX681" fmla="*/ 303371 w 333375"/>
                  <a:gd name="connsiteY681" fmla="*/ 306610 h 371475"/>
                  <a:gd name="connsiteX682" fmla="*/ 307562 w 333375"/>
                  <a:gd name="connsiteY682" fmla="*/ 304991 h 371475"/>
                  <a:gd name="connsiteX683" fmla="*/ 307562 w 333375"/>
                  <a:gd name="connsiteY683" fmla="*/ 304133 h 371475"/>
                  <a:gd name="connsiteX684" fmla="*/ 307562 w 333375"/>
                  <a:gd name="connsiteY684" fmla="*/ 302419 h 371475"/>
                  <a:gd name="connsiteX685" fmla="*/ 307562 w 333375"/>
                  <a:gd name="connsiteY685" fmla="*/ 301562 h 371475"/>
                  <a:gd name="connsiteX686" fmla="*/ 308419 w 333375"/>
                  <a:gd name="connsiteY686" fmla="*/ 299847 h 371475"/>
                  <a:gd name="connsiteX687" fmla="*/ 309277 w 333375"/>
                  <a:gd name="connsiteY687" fmla="*/ 298228 h 371475"/>
                  <a:gd name="connsiteX688" fmla="*/ 309277 w 333375"/>
                  <a:gd name="connsiteY688" fmla="*/ 297370 h 371475"/>
                  <a:gd name="connsiteX689" fmla="*/ 308419 w 333375"/>
                  <a:gd name="connsiteY689" fmla="*/ 297370 h 371475"/>
                  <a:gd name="connsiteX690" fmla="*/ 308419 w 333375"/>
                  <a:gd name="connsiteY690" fmla="*/ 296513 h 371475"/>
                  <a:gd name="connsiteX691" fmla="*/ 308419 w 333375"/>
                  <a:gd name="connsiteY691" fmla="*/ 296513 h 371475"/>
                  <a:gd name="connsiteX692" fmla="*/ 307562 w 333375"/>
                  <a:gd name="connsiteY692" fmla="*/ 295656 h 371475"/>
                  <a:gd name="connsiteX693" fmla="*/ 305848 w 333375"/>
                  <a:gd name="connsiteY693" fmla="*/ 295656 h 371475"/>
                  <a:gd name="connsiteX694" fmla="*/ 305848 w 333375"/>
                  <a:gd name="connsiteY694" fmla="*/ 294799 h 371475"/>
                  <a:gd name="connsiteX695" fmla="*/ 304990 w 333375"/>
                  <a:gd name="connsiteY695" fmla="*/ 294799 h 371475"/>
                  <a:gd name="connsiteX696" fmla="*/ 304990 w 333375"/>
                  <a:gd name="connsiteY696" fmla="*/ 293941 h 371475"/>
                  <a:gd name="connsiteX697" fmla="*/ 304228 w 333375"/>
                  <a:gd name="connsiteY697" fmla="*/ 293180 h 371475"/>
                  <a:gd name="connsiteX698" fmla="*/ 304228 w 333375"/>
                  <a:gd name="connsiteY698" fmla="*/ 292322 h 371475"/>
                  <a:gd name="connsiteX699" fmla="*/ 304228 w 333375"/>
                  <a:gd name="connsiteY699" fmla="*/ 292322 h 371475"/>
                  <a:gd name="connsiteX700" fmla="*/ 304228 w 333375"/>
                  <a:gd name="connsiteY700" fmla="*/ 291465 h 371475"/>
                  <a:gd name="connsiteX701" fmla="*/ 303371 w 333375"/>
                  <a:gd name="connsiteY701" fmla="*/ 291465 h 371475"/>
                  <a:gd name="connsiteX702" fmla="*/ 303371 w 333375"/>
                  <a:gd name="connsiteY702" fmla="*/ 291465 h 371475"/>
                  <a:gd name="connsiteX703" fmla="*/ 302514 w 333375"/>
                  <a:gd name="connsiteY703" fmla="*/ 291465 h 371475"/>
                  <a:gd name="connsiteX704" fmla="*/ 302514 w 333375"/>
                  <a:gd name="connsiteY704" fmla="*/ 291465 h 371475"/>
                  <a:gd name="connsiteX705" fmla="*/ 299942 w 333375"/>
                  <a:gd name="connsiteY705" fmla="*/ 293941 h 371475"/>
                  <a:gd name="connsiteX706" fmla="*/ 299942 w 333375"/>
                  <a:gd name="connsiteY706" fmla="*/ 294799 h 371475"/>
                  <a:gd name="connsiteX707" fmla="*/ 299085 w 333375"/>
                  <a:gd name="connsiteY707" fmla="*/ 294799 h 371475"/>
                  <a:gd name="connsiteX708" fmla="*/ 298228 w 333375"/>
                  <a:gd name="connsiteY708" fmla="*/ 294799 h 371475"/>
                  <a:gd name="connsiteX709" fmla="*/ 297371 w 333375"/>
                  <a:gd name="connsiteY709" fmla="*/ 294799 h 371475"/>
                  <a:gd name="connsiteX710" fmla="*/ 297371 w 333375"/>
                  <a:gd name="connsiteY710" fmla="*/ 293941 h 371475"/>
                  <a:gd name="connsiteX711" fmla="*/ 297371 w 333375"/>
                  <a:gd name="connsiteY711" fmla="*/ 293180 h 371475"/>
                  <a:gd name="connsiteX712" fmla="*/ 297371 w 333375"/>
                  <a:gd name="connsiteY712" fmla="*/ 291465 h 371475"/>
                  <a:gd name="connsiteX713" fmla="*/ 299085 w 333375"/>
                  <a:gd name="connsiteY713" fmla="*/ 290608 h 371475"/>
                  <a:gd name="connsiteX714" fmla="*/ 300800 w 333375"/>
                  <a:gd name="connsiteY714" fmla="*/ 289751 h 371475"/>
                  <a:gd name="connsiteX715" fmla="*/ 304990 w 333375"/>
                  <a:gd name="connsiteY715" fmla="*/ 288036 h 371475"/>
                  <a:gd name="connsiteX716" fmla="*/ 306705 w 333375"/>
                  <a:gd name="connsiteY716" fmla="*/ 287179 h 371475"/>
                  <a:gd name="connsiteX717" fmla="*/ 308419 w 333375"/>
                  <a:gd name="connsiteY717" fmla="*/ 285560 h 371475"/>
                  <a:gd name="connsiteX718" fmla="*/ 310134 w 333375"/>
                  <a:gd name="connsiteY718" fmla="*/ 285560 h 371475"/>
                  <a:gd name="connsiteX719" fmla="*/ 316897 w 333375"/>
                  <a:gd name="connsiteY719" fmla="*/ 279654 h 371475"/>
                  <a:gd name="connsiteX720" fmla="*/ 318611 w 333375"/>
                  <a:gd name="connsiteY720" fmla="*/ 277940 h 371475"/>
                  <a:gd name="connsiteX721" fmla="*/ 319469 w 333375"/>
                  <a:gd name="connsiteY721" fmla="*/ 277082 h 371475"/>
                  <a:gd name="connsiteX722" fmla="*/ 320326 w 333375"/>
                  <a:gd name="connsiteY722" fmla="*/ 277082 h 371475"/>
                  <a:gd name="connsiteX723" fmla="*/ 319469 w 333375"/>
                  <a:gd name="connsiteY723" fmla="*/ 276225 h 371475"/>
                  <a:gd name="connsiteX724" fmla="*/ 319469 w 333375"/>
                  <a:gd name="connsiteY724" fmla="*/ 276225 h 371475"/>
                  <a:gd name="connsiteX725" fmla="*/ 317754 w 333375"/>
                  <a:gd name="connsiteY725" fmla="*/ 275368 h 371475"/>
                  <a:gd name="connsiteX726" fmla="*/ 317754 w 333375"/>
                  <a:gd name="connsiteY726" fmla="*/ 275368 h 371475"/>
                  <a:gd name="connsiteX727" fmla="*/ 317754 w 333375"/>
                  <a:gd name="connsiteY727" fmla="*/ 274511 h 371475"/>
                  <a:gd name="connsiteX728" fmla="*/ 317754 w 333375"/>
                  <a:gd name="connsiteY728" fmla="*/ 274511 h 371475"/>
                  <a:gd name="connsiteX729" fmla="*/ 317754 w 333375"/>
                  <a:gd name="connsiteY729" fmla="*/ 270320 h 371475"/>
                  <a:gd name="connsiteX730" fmla="*/ 318611 w 333375"/>
                  <a:gd name="connsiteY730" fmla="*/ 270320 h 371475"/>
                  <a:gd name="connsiteX731" fmla="*/ 318611 w 333375"/>
                  <a:gd name="connsiteY731" fmla="*/ 269462 h 371475"/>
                  <a:gd name="connsiteX732" fmla="*/ 321088 w 333375"/>
                  <a:gd name="connsiteY732" fmla="*/ 267748 h 371475"/>
                  <a:gd name="connsiteX733" fmla="*/ 322802 w 333375"/>
                  <a:gd name="connsiteY733" fmla="*/ 267748 h 371475"/>
                  <a:gd name="connsiteX734" fmla="*/ 325374 w 333375"/>
                  <a:gd name="connsiteY734" fmla="*/ 269462 h 371475"/>
                  <a:gd name="connsiteX735" fmla="*/ 326231 w 333375"/>
                  <a:gd name="connsiteY735" fmla="*/ 269462 h 371475"/>
                  <a:gd name="connsiteX736" fmla="*/ 329565 w 333375"/>
                  <a:gd name="connsiteY736" fmla="*/ 268605 h 371475"/>
                  <a:gd name="connsiteX737" fmla="*/ 330422 w 333375"/>
                  <a:gd name="connsiteY737" fmla="*/ 268605 h 371475"/>
                  <a:gd name="connsiteX738" fmla="*/ 331280 w 333375"/>
                  <a:gd name="connsiteY738" fmla="*/ 269462 h 371475"/>
                  <a:gd name="connsiteX739" fmla="*/ 332137 w 333375"/>
                  <a:gd name="connsiteY739" fmla="*/ 271177 h 371475"/>
                  <a:gd name="connsiteX740" fmla="*/ 332994 w 333375"/>
                  <a:gd name="connsiteY740" fmla="*/ 274511 h 371475"/>
                  <a:gd name="connsiteX741" fmla="*/ 334709 w 333375"/>
                  <a:gd name="connsiteY741" fmla="*/ 277082 h 371475"/>
                  <a:gd name="connsiteX742" fmla="*/ 335566 w 333375"/>
                  <a:gd name="connsiteY742" fmla="*/ 277082 h 371475"/>
                  <a:gd name="connsiteX743" fmla="*/ 336423 w 333375"/>
                  <a:gd name="connsiteY743" fmla="*/ 277082 h 371475"/>
                  <a:gd name="connsiteX744" fmla="*/ 337185 w 333375"/>
                  <a:gd name="connsiteY744" fmla="*/ 275368 h 371475"/>
                  <a:gd name="connsiteX745" fmla="*/ 338042 w 333375"/>
                  <a:gd name="connsiteY745" fmla="*/ 273749 h 371475"/>
                  <a:gd name="connsiteX746" fmla="*/ 338042 w 333375"/>
                  <a:gd name="connsiteY746" fmla="*/ 272891 h 371475"/>
                  <a:gd name="connsiteX747" fmla="*/ 338042 w 333375"/>
                  <a:gd name="connsiteY747" fmla="*/ 271177 h 371475"/>
                  <a:gd name="connsiteX748" fmla="*/ 337185 w 333375"/>
                  <a:gd name="connsiteY748" fmla="*/ 266986 h 371475"/>
                  <a:gd name="connsiteX749" fmla="*/ 337185 w 333375"/>
                  <a:gd name="connsiteY749" fmla="*/ 266986 h 371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</a:cxnLst>
                <a:rect l="l" t="t" r="r" b="b"/>
                <a:pathLst>
                  <a:path w="333375" h="371475">
                    <a:moveTo>
                      <a:pt x="337185" y="266986"/>
                    </a:moveTo>
                    <a:lnTo>
                      <a:pt x="337185" y="265271"/>
                    </a:lnTo>
                    <a:lnTo>
                      <a:pt x="337185" y="260985"/>
                    </a:lnTo>
                    <a:lnTo>
                      <a:pt x="337185" y="260223"/>
                    </a:lnTo>
                    <a:lnTo>
                      <a:pt x="337185" y="259366"/>
                    </a:lnTo>
                    <a:lnTo>
                      <a:pt x="338042" y="258509"/>
                    </a:lnTo>
                    <a:lnTo>
                      <a:pt x="338900" y="257651"/>
                    </a:lnTo>
                    <a:lnTo>
                      <a:pt x="338900" y="256794"/>
                    </a:lnTo>
                    <a:lnTo>
                      <a:pt x="338042" y="255937"/>
                    </a:lnTo>
                    <a:lnTo>
                      <a:pt x="337185" y="255080"/>
                    </a:lnTo>
                    <a:lnTo>
                      <a:pt x="337185" y="253460"/>
                    </a:lnTo>
                    <a:lnTo>
                      <a:pt x="337185" y="251746"/>
                    </a:lnTo>
                    <a:lnTo>
                      <a:pt x="338042" y="247555"/>
                    </a:lnTo>
                    <a:lnTo>
                      <a:pt x="338042" y="246697"/>
                    </a:lnTo>
                    <a:lnTo>
                      <a:pt x="337185" y="245840"/>
                    </a:lnTo>
                    <a:lnTo>
                      <a:pt x="337185" y="244983"/>
                    </a:lnTo>
                    <a:lnTo>
                      <a:pt x="336423" y="243268"/>
                    </a:lnTo>
                    <a:lnTo>
                      <a:pt x="336423" y="242411"/>
                    </a:lnTo>
                    <a:lnTo>
                      <a:pt x="335566" y="241649"/>
                    </a:lnTo>
                    <a:lnTo>
                      <a:pt x="334709" y="241649"/>
                    </a:lnTo>
                    <a:lnTo>
                      <a:pt x="333851" y="241649"/>
                    </a:lnTo>
                    <a:lnTo>
                      <a:pt x="332994" y="240792"/>
                    </a:lnTo>
                    <a:lnTo>
                      <a:pt x="332994" y="236506"/>
                    </a:lnTo>
                    <a:lnTo>
                      <a:pt x="332137" y="236506"/>
                    </a:lnTo>
                    <a:lnTo>
                      <a:pt x="332137" y="236506"/>
                    </a:lnTo>
                    <a:lnTo>
                      <a:pt x="332137" y="235649"/>
                    </a:lnTo>
                    <a:lnTo>
                      <a:pt x="332137" y="235649"/>
                    </a:lnTo>
                    <a:lnTo>
                      <a:pt x="331280" y="236506"/>
                    </a:lnTo>
                    <a:lnTo>
                      <a:pt x="330422" y="236506"/>
                    </a:lnTo>
                    <a:lnTo>
                      <a:pt x="329565" y="236506"/>
                    </a:lnTo>
                    <a:lnTo>
                      <a:pt x="327946" y="235649"/>
                    </a:lnTo>
                    <a:lnTo>
                      <a:pt x="327088" y="235649"/>
                    </a:lnTo>
                    <a:lnTo>
                      <a:pt x="326231" y="235649"/>
                    </a:lnTo>
                    <a:lnTo>
                      <a:pt x="326231" y="236506"/>
                    </a:lnTo>
                    <a:lnTo>
                      <a:pt x="325374" y="237363"/>
                    </a:lnTo>
                    <a:lnTo>
                      <a:pt x="324517" y="237363"/>
                    </a:lnTo>
                    <a:lnTo>
                      <a:pt x="323659" y="236506"/>
                    </a:lnTo>
                    <a:lnTo>
                      <a:pt x="323659" y="235649"/>
                    </a:lnTo>
                    <a:lnTo>
                      <a:pt x="321945" y="234887"/>
                    </a:lnTo>
                    <a:lnTo>
                      <a:pt x="318611" y="230600"/>
                    </a:lnTo>
                    <a:lnTo>
                      <a:pt x="316040" y="228124"/>
                    </a:lnTo>
                    <a:lnTo>
                      <a:pt x="315182" y="227266"/>
                    </a:lnTo>
                    <a:lnTo>
                      <a:pt x="315182" y="226409"/>
                    </a:lnTo>
                    <a:lnTo>
                      <a:pt x="315182" y="225552"/>
                    </a:lnTo>
                    <a:lnTo>
                      <a:pt x="315182" y="224695"/>
                    </a:lnTo>
                    <a:lnTo>
                      <a:pt x="315182" y="223838"/>
                    </a:lnTo>
                    <a:lnTo>
                      <a:pt x="316040" y="222980"/>
                    </a:lnTo>
                    <a:lnTo>
                      <a:pt x="320326" y="221361"/>
                    </a:lnTo>
                    <a:lnTo>
                      <a:pt x="321945" y="221361"/>
                    </a:lnTo>
                    <a:lnTo>
                      <a:pt x="323659" y="221361"/>
                    </a:lnTo>
                    <a:lnTo>
                      <a:pt x="327946" y="222218"/>
                    </a:lnTo>
                    <a:lnTo>
                      <a:pt x="329565" y="219647"/>
                    </a:lnTo>
                    <a:lnTo>
                      <a:pt x="330422" y="217932"/>
                    </a:lnTo>
                    <a:lnTo>
                      <a:pt x="330422" y="217075"/>
                    </a:lnTo>
                    <a:lnTo>
                      <a:pt x="330422" y="216218"/>
                    </a:lnTo>
                    <a:lnTo>
                      <a:pt x="330422" y="215455"/>
                    </a:lnTo>
                    <a:lnTo>
                      <a:pt x="329565" y="215455"/>
                    </a:lnTo>
                    <a:lnTo>
                      <a:pt x="328803" y="214598"/>
                    </a:lnTo>
                    <a:lnTo>
                      <a:pt x="327946" y="214598"/>
                    </a:lnTo>
                    <a:lnTo>
                      <a:pt x="327088" y="213741"/>
                    </a:lnTo>
                    <a:lnTo>
                      <a:pt x="326231" y="212884"/>
                    </a:lnTo>
                    <a:lnTo>
                      <a:pt x="325374" y="210312"/>
                    </a:lnTo>
                    <a:lnTo>
                      <a:pt x="324517" y="208693"/>
                    </a:lnTo>
                    <a:lnTo>
                      <a:pt x="322802" y="206978"/>
                    </a:lnTo>
                    <a:lnTo>
                      <a:pt x="317754" y="202787"/>
                    </a:lnTo>
                    <a:lnTo>
                      <a:pt x="315182" y="200216"/>
                    </a:lnTo>
                    <a:lnTo>
                      <a:pt x="309277" y="196024"/>
                    </a:lnTo>
                    <a:lnTo>
                      <a:pt x="307562" y="193453"/>
                    </a:lnTo>
                    <a:lnTo>
                      <a:pt x="305848" y="191738"/>
                    </a:lnTo>
                    <a:lnTo>
                      <a:pt x="305848" y="190119"/>
                    </a:lnTo>
                    <a:lnTo>
                      <a:pt x="304990" y="188405"/>
                    </a:lnTo>
                    <a:lnTo>
                      <a:pt x="304990" y="187547"/>
                    </a:lnTo>
                    <a:lnTo>
                      <a:pt x="304990" y="185833"/>
                    </a:lnTo>
                    <a:lnTo>
                      <a:pt x="304990" y="184976"/>
                    </a:lnTo>
                    <a:lnTo>
                      <a:pt x="305848" y="184118"/>
                    </a:lnTo>
                    <a:lnTo>
                      <a:pt x="306705" y="181642"/>
                    </a:lnTo>
                    <a:lnTo>
                      <a:pt x="306705" y="180785"/>
                    </a:lnTo>
                    <a:lnTo>
                      <a:pt x="304990" y="179070"/>
                    </a:lnTo>
                    <a:lnTo>
                      <a:pt x="304228" y="178213"/>
                    </a:lnTo>
                    <a:lnTo>
                      <a:pt x="304990" y="173165"/>
                    </a:lnTo>
                    <a:lnTo>
                      <a:pt x="304990" y="171450"/>
                    </a:lnTo>
                    <a:lnTo>
                      <a:pt x="304990" y="170688"/>
                    </a:lnTo>
                    <a:lnTo>
                      <a:pt x="306705" y="168974"/>
                    </a:lnTo>
                    <a:lnTo>
                      <a:pt x="307562" y="167259"/>
                    </a:lnTo>
                    <a:lnTo>
                      <a:pt x="306705" y="166402"/>
                    </a:lnTo>
                    <a:lnTo>
                      <a:pt x="305848" y="166402"/>
                    </a:lnTo>
                    <a:lnTo>
                      <a:pt x="303371" y="166402"/>
                    </a:lnTo>
                    <a:lnTo>
                      <a:pt x="302514" y="166402"/>
                    </a:lnTo>
                    <a:lnTo>
                      <a:pt x="302514" y="166402"/>
                    </a:lnTo>
                    <a:lnTo>
                      <a:pt x="303371" y="163925"/>
                    </a:lnTo>
                    <a:lnTo>
                      <a:pt x="302514" y="162211"/>
                    </a:lnTo>
                    <a:lnTo>
                      <a:pt x="301657" y="160496"/>
                    </a:lnTo>
                    <a:lnTo>
                      <a:pt x="301657" y="159639"/>
                    </a:lnTo>
                    <a:lnTo>
                      <a:pt x="300800" y="159639"/>
                    </a:lnTo>
                    <a:lnTo>
                      <a:pt x="300800" y="159639"/>
                    </a:lnTo>
                    <a:lnTo>
                      <a:pt x="299942" y="159639"/>
                    </a:lnTo>
                    <a:lnTo>
                      <a:pt x="299085" y="161353"/>
                    </a:lnTo>
                    <a:lnTo>
                      <a:pt x="299085" y="162211"/>
                    </a:lnTo>
                    <a:lnTo>
                      <a:pt x="298228" y="162211"/>
                    </a:lnTo>
                    <a:lnTo>
                      <a:pt x="298228" y="163068"/>
                    </a:lnTo>
                    <a:lnTo>
                      <a:pt x="297371" y="162211"/>
                    </a:lnTo>
                    <a:lnTo>
                      <a:pt x="297371" y="161353"/>
                    </a:lnTo>
                    <a:lnTo>
                      <a:pt x="296513" y="159639"/>
                    </a:lnTo>
                    <a:lnTo>
                      <a:pt x="296513" y="158782"/>
                    </a:lnTo>
                    <a:lnTo>
                      <a:pt x="295751" y="158782"/>
                    </a:lnTo>
                    <a:lnTo>
                      <a:pt x="294037" y="157924"/>
                    </a:lnTo>
                    <a:lnTo>
                      <a:pt x="294037" y="157924"/>
                    </a:lnTo>
                    <a:lnTo>
                      <a:pt x="294037" y="158782"/>
                    </a:lnTo>
                    <a:lnTo>
                      <a:pt x="293180" y="158782"/>
                    </a:lnTo>
                    <a:lnTo>
                      <a:pt x="293180" y="159639"/>
                    </a:lnTo>
                    <a:lnTo>
                      <a:pt x="292322" y="158782"/>
                    </a:lnTo>
                    <a:lnTo>
                      <a:pt x="291465" y="157924"/>
                    </a:lnTo>
                    <a:lnTo>
                      <a:pt x="290608" y="157163"/>
                    </a:lnTo>
                    <a:lnTo>
                      <a:pt x="289750" y="156305"/>
                    </a:lnTo>
                    <a:lnTo>
                      <a:pt x="289750" y="156305"/>
                    </a:lnTo>
                    <a:lnTo>
                      <a:pt x="288893" y="157163"/>
                    </a:lnTo>
                    <a:lnTo>
                      <a:pt x="288131" y="157163"/>
                    </a:lnTo>
                    <a:lnTo>
                      <a:pt x="287274" y="157163"/>
                    </a:lnTo>
                    <a:lnTo>
                      <a:pt x="286417" y="157163"/>
                    </a:lnTo>
                    <a:lnTo>
                      <a:pt x="286417" y="154591"/>
                    </a:lnTo>
                    <a:lnTo>
                      <a:pt x="283845" y="150400"/>
                    </a:lnTo>
                    <a:lnTo>
                      <a:pt x="279654" y="141922"/>
                    </a:lnTo>
                    <a:lnTo>
                      <a:pt x="277940" y="140208"/>
                    </a:lnTo>
                    <a:lnTo>
                      <a:pt x="277940" y="141065"/>
                    </a:lnTo>
                    <a:lnTo>
                      <a:pt x="277082" y="141922"/>
                    </a:lnTo>
                    <a:lnTo>
                      <a:pt x="277082" y="141922"/>
                    </a:lnTo>
                    <a:lnTo>
                      <a:pt x="276225" y="141922"/>
                    </a:lnTo>
                    <a:lnTo>
                      <a:pt x="273653" y="142780"/>
                    </a:lnTo>
                    <a:lnTo>
                      <a:pt x="273653" y="144494"/>
                    </a:lnTo>
                    <a:lnTo>
                      <a:pt x="273653" y="148685"/>
                    </a:lnTo>
                    <a:lnTo>
                      <a:pt x="273653" y="150400"/>
                    </a:lnTo>
                    <a:lnTo>
                      <a:pt x="272796" y="151257"/>
                    </a:lnTo>
                    <a:lnTo>
                      <a:pt x="272034" y="150400"/>
                    </a:lnTo>
                    <a:lnTo>
                      <a:pt x="271177" y="151257"/>
                    </a:lnTo>
                    <a:lnTo>
                      <a:pt x="270319" y="152019"/>
                    </a:lnTo>
                    <a:lnTo>
                      <a:pt x="270319" y="153734"/>
                    </a:lnTo>
                    <a:lnTo>
                      <a:pt x="269462" y="155448"/>
                    </a:lnTo>
                    <a:lnTo>
                      <a:pt x="268605" y="155448"/>
                    </a:lnTo>
                    <a:lnTo>
                      <a:pt x="267748" y="156305"/>
                    </a:lnTo>
                    <a:lnTo>
                      <a:pt x="266890" y="155448"/>
                    </a:lnTo>
                    <a:lnTo>
                      <a:pt x="265176" y="154591"/>
                    </a:lnTo>
                    <a:lnTo>
                      <a:pt x="263557" y="154591"/>
                    </a:lnTo>
                    <a:lnTo>
                      <a:pt x="262700" y="155448"/>
                    </a:lnTo>
                    <a:lnTo>
                      <a:pt x="260985" y="156305"/>
                    </a:lnTo>
                    <a:lnTo>
                      <a:pt x="258413" y="154591"/>
                    </a:lnTo>
                    <a:lnTo>
                      <a:pt x="255842" y="152019"/>
                    </a:lnTo>
                    <a:lnTo>
                      <a:pt x="254222" y="150400"/>
                    </a:lnTo>
                    <a:lnTo>
                      <a:pt x="254222" y="147828"/>
                    </a:lnTo>
                    <a:lnTo>
                      <a:pt x="252508" y="140208"/>
                    </a:lnTo>
                    <a:lnTo>
                      <a:pt x="245745" y="123349"/>
                    </a:lnTo>
                    <a:lnTo>
                      <a:pt x="232124" y="96298"/>
                    </a:lnTo>
                    <a:lnTo>
                      <a:pt x="229648" y="92107"/>
                    </a:lnTo>
                    <a:lnTo>
                      <a:pt x="229648" y="91249"/>
                    </a:lnTo>
                    <a:lnTo>
                      <a:pt x="229648" y="89535"/>
                    </a:lnTo>
                    <a:lnTo>
                      <a:pt x="230505" y="88678"/>
                    </a:lnTo>
                    <a:lnTo>
                      <a:pt x="231267" y="88678"/>
                    </a:lnTo>
                    <a:lnTo>
                      <a:pt x="232124" y="88678"/>
                    </a:lnTo>
                    <a:lnTo>
                      <a:pt x="232981" y="88678"/>
                    </a:lnTo>
                    <a:lnTo>
                      <a:pt x="233839" y="88678"/>
                    </a:lnTo>
                    <a:lnTo>
                      <a:pt x="234696" y="88678"/>
                    </a:lnTo>
                    <a:lnTo>
                      <a:pt x="234696" y="87820"/>
                    </a:lnTo>
                    <a:lnTo>
                      <a:pt x="234696" y="87059"/>
                    </a:lnTo>
                    <a:lnTo>
                      <a:pt x="230505" y="78581"/>
                    </a:lnTo>
                    <a:lnTo>
                      <a:pt x="226219" y="73533"/>
                    </a:lnTo>
                    <a:lnTo>
                      <a:pt x="225361" y="70961"/>
                    </a:lnTo>
                    <a:lnTo>
                      <a:pt x="222885" y="69247"/>
                    </a:lnTo>
                    <a:lnTo>
                      <a:pt x="216027" y="65913"/>
                    </a:lnTo>
                    <a:lnTo>
                      <a:pt x="210979" y="62484"/>
                    </a:lnTo>
                    <a:lnTo>
                      <a:pt x="205930" y="60865"/>
                    </a:lnTo>
                    <a:lnTo>
                      <a:pt x="205073" y="60007"/>
                    </a:lnTo>
                    <a:lnTo>
                      <a:pt x="203359" y="60007"/>
                    </a:lnTo>
                    <a:lnTo>
                      <a:pt x="200787" y="59150"/>
                    </a:lnTo>
                    <a:lnTo>
                      <a:pt x="194024" y="58293"/>
                    </a:lnTo>
                    <a:lnTo>
                      <a:pt x="193167" y="57436"/>
                    </a:lnTo>
                    <a:lnTo>
                      <a:pt x="192310" y="57436"/>
                    </a:lnTo>
                    <a:lnTo>
                      <a:pt x="191452" y="55721"/>
                    </a:lnTo>
                    <a:lnTo>
                      <a:pt x="192310" y="54959"/>
                    </a:lnTo>
                    <a:lnTo>
                      <a:pt x="198311" y="48197"/>
                    </a:lnTo>
                    <a:lnTo>
                      <a:pt x="199930" y="46482"/>
                    </a:lnTo>
                    <a:lnTo>
                      <a:pt x="199930" y="44768"/>
                    </a:lnTo>
                    <a:lnTo>
                      <a:pt x="200787" y="42196"/>
                    </a:lnTo>
                    <a:lnTo>
                      <a:pt x="200787" y="41434"/>
                    </a:lnTo>
                    <a:lnTo>
                      <a:pt x="199930" y="41434"/>
                    </a:lnTo>
                    <a:lnTo>
                      <a:pt x="199073" y="41434"/>
                    </a:lnTo>
                    <a:lnTo>
                      <a:pt x="198311" y="41434"/>
                    </a:lnTo>
                    <a:lnTo>
                      <a:pt x="198311" y="42196"/>
                    </a:lnTo>
                    <a:lnTo>
                      <a:pt x="197453" y="42196"/>
                    </a:lnTo>
                    <a:lnTo>
                      <a:pt x="196596" y="42196"/>
                    </a:lnTo>
                    <a:lnTo>
                      <a:pt x="195739" y="41434"/>
                    </a:lnTo>
                    <a:lnTo>
                      <a:pt x="194881" y="39719"/>
                    </a:lnTo>
                    <a:lnTo>
                      <a:pt x="194881" y="38005"/>
                    </a:lnTo>
                    <a:lnTo>
                      <a:pt x="194881" y="36290"/>
                    </a:lnTo>
                    <a:lnTo>
                      <a:pt x="195739" y="34671"/>
                    </a:lnTo>
                    <a:lnTo>
                      <a:pt x="195739" y="33814"/>
                    </a:lnTo>
                    <a:lnTo>
                      <a:pt x="196596" y="33814"/>
                    </a:lnTo>
                    <a:lnTo>
                      <a:pt x="204216" y="32099"/>
                    </a:lnTo>
                    <a:lnTo>
                      <a:pt x="206788" y="31242"/>
                    </a:lnTo>
                    <a:lnTo>
                      <a:pt x="208407" y="29528"/>
                    </a:lnTo>
                    <a:lnTo>
                      <a:pt x="210121" y="27908"/>
                    </a:lnTo>
                    <a:lnTo>
                      <a:pt x="213550" y="23622"/>
                    </a:lnTo>
                    <a:lnTo>
                      <a:pt x="222885" y="16859"/>
                    </a:lnTo>
                    <a:lnTo>
                      <a:pt x="227933" y="13526"/>
                    </a:lnTo>
                    <a:lnTo>
                      <a:pt x="228790" y="12668"/>
                    </a:lnTo>
                    <a:lnTo>
                      <a:pt x="228790" y="11811"/>
                    </a:lnTo>
                    <a:lnTo>
                      <a:pt x="228790" y="10954"/>
                    </a:lnTo>
                    <a:lnTo>
                      <a:pt x="223647" y="2572"/>
                    </a:lnTo>
                    <a:lnTo>
                      <a:pt x="223647" y="1715"/>
                    </a:lnTo>
                    <a:lnTo>
                      <a:pt x="222885" y="0"/>
                    </a:lnTo>
                    <a:lnTo>
                      <a:pt x="221171" y="0"/>
                    </a:lnTo>
                    <a:lnTo>
                      <a:pt x="220313" y="1715"/>
                    </a:lnTo>
                    <a:lnTo>
                      <a:pt x="219456" y="2572"/>
                    </a:lnTo>
                    <a:lnTo>
                      <a:pt x="217742" y="2572"/>
                    </a:lnTo>
                    <a:lnTo>
                      <a:pt x="216027" y="5048"/>
                    </a:lnTo>
                    <a:lnTo>
                      <a:pt x="210121" y="6763"/>
                    </a:lnTo>
                    <a:lnTo>
                      <a:pt x="209264" y="8477"/>
                    </a:lnTo>
                    <a:lnTo>
                      <a:pt x="208407" y="10097"/>
                    </a:lnTo>
                    <a:lnTo>
                      <a:pt x="208407" y="11811"/>
                    </a:lnTo>
                    <a:lnTo>
                      <a:pt x="207550" y="11811"/>
                    </a:lnTo>
                    <a:lnTo>
                      <a:pt x="205930" y="13526"/>
                    </a:lnTo>
                    <a:lnTo>
                      <a:pt x="205073" y="14383"/>
                    </a:lnTo>
                    <a:lnTo>
                      <a:pt x="203359" y="15240"/>
                    </a:lnTo>
                    <a:lnTo>
                      <a:pt x="195739" y="16097"/>
                    </a:lnTo>
                    <a:lnTo>
                      <a:pt x="191452" y="18574"/>
                    </a:lnTo>
                    <a:lnTo>
                      <a:pt x="187261" y="22765"/>
                    </a:lnTo>
                    <a:lnTo>
                      <a:pt x="182975" y="27908"/>
                    </a:lnTo>
                    <a:lnTo>
                      <a:pt x="181356" y="27051"/>
                    </a:lnTo>
                    <a:lnTo>
                      <a:pt x="180499" y="27051"/>
                    </a:lnTo>
                    <a:lnTo>
                      <a:pt x="179642" y="26194"/>
                    </a:lnTo>
                    <a:lnTo>
                      <a:pt x="177927" y="25336"/>
                    </a:lnTo>
                    <a:lnTo>
                      <a:pt x="177070" y="24479"/>
                    </a:lnTo>
                    <a:lnTo>
                      <a:pt x="176213" y="23622"/>
                    </a:lnTo>
                    <a:lnTo>
                      <a:pt x="177070" y="21145"/>
                    </a:lnTo>
                    <a:lnTo>
                      <a:pt x="176213" y="20288"/>
                    </a:lnTo>
                    <a:lnTo>
                      <a:pt x="176213" y="20288"/>
                    </a:lnTo>
                    <a:lnTo>
                      <a:pt x="174498" y="21145"/>
                    </a:lnTo>
                    <a:lnTo>
                      <a:pt x="173736" y="22003"/>
                    </a:lnTo>
                    <a:lnTo>
                      <a:pt x="171164" y="23622"/>
                    </a:lnTo>
                    <a:lnTo>
                      <a:pt x="164402" y="22765"/>
                    </a:lnTo>
                    <a:lnTo>
                      <a:pt x="160973" y="23622"/>
                    </a:lnTo>
                    <a:lnTo>
                      <a:pt x="163544" y="27051"/>
                    </a:lnTo>
                    <a:lnTo>
                      <a:pt x="166878" y="30385"/>
                    </a:lnTo>
                    <a:lnTo>
                      <a:pt x="167735" y="32957"/>
                    </a:lnTo>
                    <a:lnTo>
                      <a:pt x="166116" y="35528"/>
                    </a:lnTo>
                    <a:lnTo>
                      <a:pt x="162687" y="39719"/>
                    </a:lnTo>
                    <a:lnTo>
                      <a:pt x="161830" y="42196"/>
                    </a:lnTo>
                    <a:lnTo>
                      <a:pt x="160973" y="46482"/>
                    </a:lnTo>
                    <a:lnTo>
                      <a:pt x="160115" y="48197"/>
                    </a:lnTo>
                    <a:lnTo>
                      <a:pt x="156781" y="47339"/>
                    </a:lnTo>
                    <a:lnTo>
                      <a:pt x="155067" y="48197"/>
                    </a:lnTo>
                    <a:lnTo>
                      <a:pt x="152495" y="48959"/>
                    </a:lnTo>
                    <a:lnTo>
                      <a:pt x="149923" y="50673"/>
                    </a:lnTo>
                    <a:lnTo>
                      <a:pt x="146590" y="53245"/>
                    </a:lnTo>
                    <a:lnTo>
                      <a:pt x="146590" y="55721"/>
                    </a:lnTo>
                    <a:lnTo>
                      <a:pt x="145732" y="55721"/>
                    </a:lnTo>
                    <a:lnTo>
                      <a:pt x="143161" y="54959"/>
                    </a:lnTo>
                    <a:lnTo>
                      <a:pt x="142303" y="55721"/>
                    </a:lnTo>
                    <a:lnTo>
                      <a:pt x="140684" y="56578"/>
                    </a:lnTo>
                    <a:lnTo>
                      <a:pt x="139827" y="56578"/>
                    </a:lnTo>
                    <a:lnTo>
                      <a:pt x="138970" y="56578"/>
                    </a:lnTo>
                    <a:lnTo>
                      <a:pt x="132207" y="54102"/>
                    </a:lnTo>
                    <a:lnTo>
                      <a:pt x="130492" y="54959"/>
                    </a:lnTo>
                    <a:lnTo>
                      <a:pt x="131350" y="58293"/>
                    </a:lnTo>
                    <a:lnTo>
                      <a:pt x="130492" y="58293"/>
                    </a:lnTo>
                    <a:lnTo>
                      <a:pt x="127063" y="58293"/>
                    </a:lnTo>
                    <a:lnTo>
                      <a:pt x="126206" y="59150"/>
                    </a:lnTo>
                    <a:lnTo>
                      <a:pt x="125444" y="60007"/>
                    </a:lnTo>
                    <a:lnTo>
                      <a:pt x="124587" y="61627"/>
                    </a:lnTo>
                    <a:lnTo>
                      <a:pt x="124587" y="62484"/>
                    </a:lnTo>
                    <a:lnTo>
                      <a:pt x="122873" y="62484"/>
                    </a:lnTo>
                    <a:lnTo>
                      <a:pt x="120301" y="63341"/>
                    </a:lnTo>
                    <a:lnTo>
                      <a:pt x="117729" y="63341"/>
                    </a:lnTo>
                    <a:lnTo>
                      <a:pt x="115252" y="63341"/>
                    </a:lnTo>
                    <a:lnTo>
                      <a:pt x="113538" y="65913"/>
                    </a:lnTo>
                    <a:lnTo>
                      <a:pt x="109252" y="64199"/>
                    </a:lnTo>
                    <a:lnTo>
                      <a:pt x="106775" y="66770"/>
                    </a:lnTo>
                    <a:lnTo>
                      <a:pt x="105918" y="70961"/>
                    </a:lnTo>
                    <a:lnTo>
                      <a:pt x="104203" y="74295"/>
                    </a:lnTo>
                    <a:lnTo>
                      <a:pt x="101632" y="75152"/>
                    </a:lnTo>
                    <a:lnTo>
                      <a:pt x="94869" y="73533"/>
                    </a:lnTo>
                    <a:lnTo>
                      <a:pt x="91535" y="79439"/>
                    </a:lnTo>
                    <a:lnTo>
                      <a:pt x="89821" y="80296"/>
                    </a:lnTo>
                    <a:lnTo>
                      <a:pt x="88106" y="81058"/>
                    </a:lnTo>
                    <a:lnTo>
                      <a:pt x="79629" y="87820"/>
                    </a:lnTo>
                    <a:lnTo>
                      <a:pt x="77915" y="89535"/>
                    </a:lnTo>
                    <a:lnTo>
                      <a:pt x="77057" y="91249"/>
                    </a:lnTo>
                    <a:lnTo>
                      <a:pt x="77057" y="94583"/>
                    </a:lnTo>
                    <a:lnTo>
                      <a:pt x="77057" y="96298"/>
                    </a:lnTo>
                    <a:lnTo>
                      <a:pt x="76295" y="96298"/>
                    </a:lnTo>
                    <a:lnTo>
                      <a:pt x="76295" y="97155"/>
                    </a:lnTo>
                    <a:lnTo>
                      <a:pt x="75438" y="98012"/>
                    </a:lnTo>
                    <a:lnTo>
                      <a:pt x="74581" y="98870"/>
                    </a:lnTo>
                    <a:lnTo>
                      <a:pt x="74581" y="100489"/>
                    </a:lnTo>
                    <a:lnTo>
                      <a:pt x="74581" y="101346"/>
                    </a:lnTo>
                    <a:lnTo>
                      <a:pt x="73723" y="101346"/>
                    </a:lnTo>
                    <a:lnTo>
                      <a:pt x="72866" y="101346"/>
                    </a:lnTo>
                    <a:lnTo>
                      <a:pt x="72866" y="102203"/>
                    </a:lnTo>
                    <a:lnTo>
                      <a:pt x="72009" y="103918"/>
                    </a:lnTo>
                    <a:lnTo>
                      <a:pt x="71152" y="103918"/>
                    </a:lnTo>
                    <a:lnTo>
                      <a:pt x="72866" y="105632"/>
                    </a:lnTo>
                    <a:lnTo>
                      <a:pt x="78772" y="117443"/>
                    </a:lnTo>
                    <a:lnTo>
                      <a:pt x="82201" y="129254"/>
                    </a:lnTo>
                    <a:lnTo>
                      <a:pt x="85534" y="134303"/>
                    </a:lnTo>
                    <a:lnTo>
                      <a:pt x="85534" y="136874"/>
                    </a:lnTo>
                    <a:lnTo>
                      <a:pt x="84773" y="139351"/>
                    </a:lnTo>
                    <a:lnTo>
                      <a:pt x="83915" y="141065"/>
                    </a:lnTo>
                    <a:lnTo>
                      <a:pt x="82201" y="143637"/>
                    </a:lnTo>
                    <a:lnTo>
                      <a:pt x="80486" y="145256"/>
                    </a:lnTo>
                    <a:lnTo>
                      <a:pt x="76295" y="157163"/>
                    </a:lnTo>
                    <a:lnTo>
                      <a:pt x="75438" y="159639"/>
                    </a:lnTo>
                    <a:lnTo>
                      <a:pt x="75438" y="165545"/>
                    </a:lnTo>
                    <a:lnTo>
                      <a:pt x="73723" y="170688"/>
                    </a:lnTo>
                    <a:lnTo>
                      <a:pt x="73723" y="173165"/>
                    </a:lnTo>
                    <a:lnTo>
                      <a:pt x="73723" y="175736"/>
                    </a:lnTo>
                    <a:lnTo>
                      <a:pt x="74581" y="177355"/>
                    </a:lnTo>
                    <a:lnTo>
                      <a:pt x="75438" y="179070"/>
                    </a:lnTo>
                    <a:lnTo>
                      <a:pt x="77057" y="180785"/>
                    </a:lnTo>
                    <a:lnTo>
                      <a:pt x="78772" y="181642"/>
                    </a:lnTo>
                    <a:lnTo>
                      <a:pt x="83058" y="180785"/>
                    </a:lnTo>
                    <a:lnTo>
                      <a:pt x="85534" y="180785"/>
                    </a:lnTo>
                    <a:lnTo>
                      <a:pt x="87249" y="181642"/>
                    </a:lnTo>
                    <a:lnTo>
                      <a:pt x="88963" y="183356"/>
                    </a:lnTo>
                    <a:lnTo>
                      <a:pt x="89821" y="184976"/>
                    </a:lnTo>
                    <a:lnTo>
                      <a:pt x="83915" y="188405"/>
                    </a:lnTo>
                    <a:lnTo>
                      <a:pt x="81344" y="190119"/>
                    </a:lnTo>
                    <a:lnTo>
                      <a:pt x="79629" y="192595"/>
                    </a:lnTo>
                    <a:lnTo>
                      <a:pt x="79629" y="195167"/>
                    </a:lnTo>
                    <a:lnTo>
                      <a:pt x="77915" y="196787"/>
                    </a:lnTo>
                    <a:lnTo>
                      <a:pt x="76295" y="198501"/>
                    </a:lnTo>
                    <a:lnTo>
                      <a:pt x="74581" y="200216"/>
                    </a:lnTo>
                    <a:lnTo>
                      <a:pt x="72866" y="201073"/>
                    </a:lnTo>
                    <a:lnTo>
                      <a:pt x="70294" y="201073"/>
                    </a:lnTo>
                    <a:lnTo>
                      <a:pt x="67818" y="201073"/>
                    </a:lnTo>
                    <a:lnTo>
                      <a:pt x="66103" y="202787"/>
                    </a:lnTo>
                    <a:lnTo>
                      <a:pt x="64389" y="204407"/>
                    </a:lnTo>
                    <a:lnTo>
                      <a:pt x="62675" y="206121"/>
                    </a:lnTo>
                    <a:lnTo>
                      <a:pt x="62675" y="207836"/>
                    </a:lnTo>
                    <a:lnTo>
                      <a:pt x="61817" y="209455"/>
                    </a:lnTo>
                    <a:lnTo>
                      <a:pt x="59341" y="208693"/>
                    </a:lnTo>
                    <a:lnTo>
                      <a:pt x="56769" y="207836"/>
                    </a:lnTo>
                    <a:lnTo>
                      <a:pt x="55054" y="207836"/>
                    </a:lnTo>
                    <a:lnTo>
                      <a:pt x="54197" y="208693"/>
                    </a:lnTo>
                    <a:lnTo>
                      <a:pt x="52483" y="209455"/>
                    </a:lnTo>
                    <a:lnTo>
                      <a:pt x="51721" y="210312"/>
                    </a:lnTo>
                    <a:lnTo>
                      <a:pt x="50863" y="211169"/>
                    </a:lnTo>
                    <a:lnTo>
                      <a:pt x="51721" y="213741"/>
                    </a:lnTo>
                    <a:lnTo>
                      <a:pt x="50863" y="216218"/>
                    </a:lnTo>
                    <a:lnTo>
                      <a:pt x="48292" y="217932"/>
                    </a:lnTo>
                    <a:lnTo>
                      <a:pt x="46577" y="218789"/>
                    </a:lnTo>
                    <a:lnTo>
                      <a:pt x="45720" y="218789"/>
                    </a:lnTo>
                    <a:lnTo>
                      <a:pt x="46577" y="221361"/>
                    </a:lnTo>
                    <a:lnTo>
                      <a:pt x="46577" y="222218"/>
                    </a:lnTo>
                    <a:lnTo>
                      <a:pt x="46577" y="223838"/>
                    </a:lnTo>
                    <a:lnTo>
                      <a:pt x="44005" y="224695"/>
                    </a:lnTo>
                    <a:lnTo>
                      <a:pt x="43244" y="225552"/>
                    </a:lnTo>
                    <a:lnTo>
                      <a:pt x="41529" y="228886"/>
                    </a:lnTo>
                    <a:lnTo>
                      <a:pt x="39815" y="230600"/>
                    </a:lnTo>
                    <a:lnTo>
                      <a:pt x="38957" y="231458"/>
                    </a:lnTo>
                    <a:lnTo>
                      <a:pt x="38100" y="234029"/>
                    </a:lnTo>
                    <a:lnTo>
                      <a:pt x="36385" y="235649"/>
                    </a:lnTo>
                    <a:lnTo>
                      <a:pt x="35623" y="236506"/>
                    </a:lnTo>
                    <a:lnTo>
                      <a:pt x="35623" y="238220"/>
                    </a:lnTo>
                    <a:lnTo>
                      <a:pt x="34766" y="239078"/>
                    </a:lnTo>
                    <a:lnTo>
                      <a:pt x="32194" y="239078"/>
                    </a:lnTo>
                    <a:lnTo>
                      <a:pt x="29623" y="240792"/>
                    </a:lnTo>
                    <a:lnTo>
                      <a:pt x="27908" y="241649"/>
                    </a:lnTo>
                    <a:lnTo>
                      <a:pt x="26289" y="243268"/>
                    </a:lnTo>
                    <a:lnTo>
                      <a:pt x="24575" y="244983"/>
                    </a:lnTo>
                    <a:lnTo>
                      <a:pt x="23717" y="247555"/>
                    </a:lnTo>
                    <a:lnTo>
                      <a:pt x="23717" y="250031"/>
                    </a:lnTo>
                    <a:lnTo>
                      <a:pt x="24575" y="251746"/>
                    </a:lnTo>
                    <a:lnTo>
                      <a:pt x="23717" y="255080"/>
                    </a:lnTo>
                    <a:lnTo>
                      <a:pt x="22003" y="256794"/>
                    </a:lnTo>
                    <a:lnTo>
                      <a:pt x="17812" y="258509"/>
                    </a:lnTo>
                    <a:lnTo>
                      <a:pt x="16954" y="259366"/>
                    </a:lnTo>
                    <a:lnTo>
                      <a:pt x="16097" y="260985"/>
                    </a:lnTo>
                    <a:lnTo>
                      <a:pt x="11049" y="268605"/>
                    </a:lnTo>
                    <a:lnTo>
                      <a:pt x="9334" y="269462"/>
                    </a:lnTo>
                    <a:lnTo>
                      <a:pt x="8477" y="269462"/>
                    </a:lnTo>
                    <a:lnTo>
                      <a:pt x="6763" y="269462"/>
                    </a:lnTo>
                    <a:lnTo>
                      <a:pt x="6763" y="270320"/>
                    </a:lnTo>
                    <a:lnTo>
                      <a:pt x="6763" y="272034"/>
                    </a:lnTo>
                    <a:lnTo>
                      <a:pt x="6763" y="272891"/>
                    </a:lnTo>
                    <a:lnTo>
                      <a:pt x="5048" y="272891"/>
                    </a:lnTo>
                    <a:lnTo>
                      <a:pt x="2572" y="273749"/>
                    </a:lnTo>
                    <a:lnTo>
                      <a:pt x="857" y="275368"/>
                    </a:lnTo>
                    <a:lnTo>
                      <a:pt x="0" y="277082"/>
                    </a:lnTo>
                    <a:lnTo>
                      <a:pt x="0" y="277940"/>
                    </a:lnTo>
                    <a:lnTo>
                      <a:pt x="5905" y="280416"/>
                    </a:lnTo>
                    <a:lnTo>
                      <a:pt x="7620" y="284702"/>
                    </a:lnTo>
                    <a:lnTo>
                      <a:pt x="10192" y="289751"/>
                    </a:lnTo>
                    <a:lnTo>
                      <a:pt x="11811" y="295656"/>
                    </a:lnTo>
                    <a:lnTo>
                      <a:pt x="11811" y="296513"/>
                    </a:lnTo>
                    <a:lnTo>
                      <a:pt x="14383" y="298228"/>
                    </a:lnTo>
                    <a:lnTo>
                      <a:pt x="15240" y="299847"/>
                    </a:lnTo>
                    <a:lnTo>
                      <a:pt x="14383" y="302419"/>
                    </a:lnTo>
                    <a:lnTo>
                      <a:pt x="14383" y="304991"/>
                    </a:lnTo>
                    <a:lnTo>
                      <a:pt x="14383" y="304991"/>
                    </a:lnTo>
                    <a:lnTo>
                      <a:pt x="5905" y="318516"/>
                    </a:lnTo>
                    <a:lnTo>
                      <a:pt x="5048" y="321850"/>
                    </a:lnTo>
                    <a:lnTo>
                      <a:pt x="4191" y="322707"/>
                    </a:lnTo>
                    <a:lnTo>
                      <a:pt x="4191" y="322707"/>
                    </a:lnTo>
                    <a:lnTo>
                      <a:pt x="5048" y="324422"/>
                    </a:lnTo>
                    <a:lnTo>
                      <a:pt x="8477" y="325279"/>
                    </a:lnTo>
                    <a:lnTo>
                      <a:pt x="50006" y="327755"/>
                    </a:lnTo>
                    <a:lnTo>
                      <a:pt x="60198" y="327755"/>
                    </a:lnTo>
                    <a:lnTo>
                      <a:pt x="74581" y="329470"/>
                    </a:lnTo>
                    <a:lnTo>
                      <a:pt x="81344" y="331184"/>
                    </a:lnTo>
                    <a:lnTo>
                      <a:pt x="87249" y="333661"/>
                    </a:lnTo>
                    <a:lnTo>
                      <a:pt x="88963" y="333661"/>
                    </a:lnTo>
                    <a:lnTo>
                      <a:pt x="89821" y="332804"/>
                    </a:lnTo>
                    <a:lnTo>
                      <a:pt x="90678" y="331946"/>
                    </a:lnTo>
                    <a:lnTo>
                      <a:pt x="91535" y="330327"/>
                    </a:lnTo>
                    <a:lnTo>
                      <a:pt x="91535" y="329470"/>
                    </a:lnTo>
                    <a:lnTo>
                      <a:pt x="92392" y="329470"/>
                    </a:lnTo>
                    <a:lnTo>
                      <a:pt x="95726" y="326898"/>
                    </a:lnTo>
                    <a:lnTo>
                      <a:pt x="96583" y="326041"/>
                    </a:lnTo>
                    <a:lnTo>
                      <a:pt x="97441" y="326041"/>
                    </a:lnTo>
                    <a:lnTo>
                      <a:pt x="100013" y="326041"/>
                    </a:lnTo>
                    <a:lnTo>
                      <a:pt x="102489" y="326041"/>
                    </a:lnTo>
                    <a:lnTo>
                      <a:pt x="106775" y="324422"/>
                    </a:lnTo>
                    <a:lnTo>
                      <a:pt x="107632" y="324422"/>
                    </a:lnTo>
                    <a:lnTo>
                      <a:pt x="108490" y="324422"/>
                    </a:lnTo>
                    <a:lnTo>
                      <a:pt x="108490" y="325279"/>
                    </a:lnTo>
                    <a:lnTo>
                      <a:pt x="109252" y="326041"/>
                    </a:lnTo>
                    <a:lnTo>
                      <a:pt x="110109" y="326898"/>
                    </a:lnTo>
                    <a:lnTo>
                      <a:pt x="110109" y="326898"/>
                    </a:lnTo>
                    <a:lnTo>
                      <a:pt x="111823" y="327755"/>
                    </a:lnTo>
                    <a:lnTo>
                      <a:pt x="116967" y="328613"/>
                    </a:lnTo>
                    <a:lnTo>
                      <a:pt x="118586" y="328613"/>
                    </a:lnTo>
                    <a:lnTo>
                      <a:pt x="118586" y="329470"/>
                    </a:lnTo>
                    <a:lnTo>
                      <a:pt x="120301" y="330327"/>
                    </a:lnTo>
                    <a:lnTo>
                      <a:pt x="120301" y="330327"/>
                    </a:lnTo>
                    <a:lnTo>
                      <a:pt x="120301" y="331184"/>
                    </a:lnTo>
                    <a:lnTo>
                      <a:pt x="121158" y="332804"/>
                    </a:lnTo>
                    <a:lnTo>
                      <a:pt x="121158" y="333661"/>
                    </a:lnTo>
                    <a:lnTo>
                      <a:pt x="121158" y="333661"/>
                    </a:lnTo>
                    <a:lnTo>
                      <a:pt x="122015" y="334518"/>
                    </a:lnTo>
                    <a:lnTo>
                      <a:pt x="124587" y="336233"/>
                    </a:lnTo>
                    <a:lnTo>
                      <a:pt x="125444" y="337090"/>
                    </a:lnTo>
                    <a:lnTo>
                      <a:pt x="125444" y="337947"/>
                    </a:lnTo>
                    <a:lnTo>
                      <a:pt x="126206" y="337947"/>
                    </a:lnTo>
                    <a:lnTo>
                      <a:pt x="127063" y="338709"/>
                    </a:lnTo>
                    <a:lnTo>
                      <a:pt x="128778" y="338709"/>
                    </a:lnTo>
                    <a:lnTo>
                      <a:pt x="130492" y="338709"/>
                    </a:lnTo>
                    <a:lnTo>
                      <a:pt x="133064" y="337090"/>
                    </a:lnTo>
                    <a:lnTo>
                      <a:pt x="134684" y="337090"/>
                    </a:lnTo>
                    <a:lnTo>
                      <a:pt x="135541" y="337090"/>
                    </a:lnTo>
                    <a:lnTo>
                      <a:pt x="135541" y="336233"/>
                    </a:lnTo>
                    <a:lnTo>
                      <a:pt x="136398" y="336233"/>
                    </a:lnTo>
                    <a:lnTo>
                      <a:pt x="136398" y="335375"/>
                    </a:lnTo>
                    <a:lnTo>
                      <a:pt x="136398" y="334518"/>
                    </a:lnTo>
                    <a:lnTo>
                      <a:pt x="136398" y="333661"/>
                    </a:lnTo>
                    <a:lnTo>
                      <a:pt x="136398" y="332804"/>
                    </a:lnTo>
                    <a:lnTo>
                      <a:pt x="137255" y="331946"/>
                    </a:lnTo>
                    <a:lnTo>
                      <a:pt x="138113" y="331946"/>
                    </a:lnTo>
                    <a:lnTo>
                      <a:pt x="138970" y="331946"/>
                    </a:lnTo>
                    <a:lnTo>
                      <a:pt x="139827" y="332804"/>
                    </a:lnTo>
                    <a:lnTo>
                      <a:pt x="139827" y="333661"/>
                    </a:lnTo>
                    <a:lnTo>
                      <a:pt x="139827" y="335375"/>
                    </a:lnTo>
                    <a:lnTo>
                      <a:pt x="139827" y="336233"/>
                    </a:lnTo>
                    <a:lnTo>
                      <a:pt x="139827" y="337090"/>
                    </a:lnTo>
                    <a:lnTo>
                      <a:pt x="138970" y="337947"/>
                    </a:lnTo>
                    <a:lnTo>
                      <a:pt x="138970" y="337947"/>
                    </a:lnTo>
                    <a:lnTo>
                      <a:pt x="138113" y="338709"/>
                    </a:lnTo>
                    <a:lnTo>
                      <a:pt x="138113" y="338709"/>
                    </a:lnTo>
                    <a:lnTo>
                      <a:pt x="138113" y="339566"/>
                    </a:lnTo>
                    <a:lnTo>
                      <a:pt x="138113" y="339566"/>
                    </a:lnTo>
                    <a:lnTo>
                      <a:pt x="138970" y="340424"/>
                    </a:lnTo>
                    <a:lnTo>
                      <a:pt x="138970" y="341281"/>
                    </a:lnTo>
                    <a:lnTo>
                      <a:pt x="138970" y="341281"/>
                    </a:lnTo>
                    <a:lnTo>
                      <a:pt x="138970" y="343853"/>
                    </a:lnTo>
                    <a:lnTo>
                      <a:pt x="138970" y="344710"/>
                    </a:lnTo>
                    <a:lnTo>
                      <a:pt x="139827" y="345472"/>
                    </a:lnTo>
                    <a:lnTo>
                      <a:pt x="142303" y="346329"/>
                    </a:lnTo>
                    <a:lnTo>
                      <a:pt x="142303" y="347186"/>
                    </a:lnTo>
                    <a:lnTo>
                      <a:pt x="143161" y="348043"/>
                    </a:lnTo>
                    <a:lnTo>
                      <a:pt x="144018" y="348901"/>
                    </a:lnTo>
                    <a:lnTo>
                      <a:pt x="144018" y="348901"/>
                    </a:lnTo>
                    <a:lnTo>
                      <a:pt x="144018" y="348901"/>
                    </a:lnTo>
                    <a:lnTo>
                      <a:pt x="144875" y="348901"/>
                    </a:lnTo>
                    <a:lnTo>
                      <a:pt x="144875" y="345472"/>
                    </a:lnTo>
                    <a:lnTo>
                      <a:pt x="144875" y="345472"/>
                    </a:lnTo>
                    <a:lnTo>
                      <a:pt x="145732" y="344710"/>
                    </a:lnTo>
                    <a:lnTo>
                      <a:pt x="145732" y="344710"/>
                    </a:lnTo>
                    <a:lnTo>
                      <a:pt x="147447" y="343853"/>
                    </a:lnTo>
                    <a:lnTo>
                      <a:pt x="148304" y="343853"/>
                    </a:lnTo>
                    <a:lnTo>
                      <a:pt x="149161" y="343853"/>
                    </a:lnTo>
                    <a:lnTo>
                      <a:pt x="149923" y="344710"/>
                    </a:lnTo>
                    <a:lnTo>
                      <a:pt x="149923" y="346329"/>
                    </a:lnTo>
                    <a:lnTo>
                      <a:pt x="149923" y="347186"/>
                    </a:lnTo>
                    <a:lnTo>
                      <a:pt x="150781" y="348043"/>
                    </a:lnTo>
                    <a:lnTo>
                      <a:pt x="151638" y="349758"/>
                    </a:lnTo>
                    <a:lnTo>
                      <a:pt x="153352" y="352235"/>
                    </a:lnTo>
                    <a:lnTo>
                      <a:pt x="154210" y="353092"/>
                    </a:lnTo>
                    <a:lnTo>
                      <a:pt x="154210" y="353949"/>
                    </a:lnTo>
                    <a:lnTo>
                      <a:pt x="154210" y="354806"/>
                    </a:lnTo>
                    <a:lnTo>
                      <a:pt x="154210" y="354806"/>
                    </a:lnTo>
                    <a:lnTo>
                      <a:pt x="153352" y="354806"/>
                    </a:lnTo>
                    <a:lnTo>
                      <a:pt x="153352" y="354806"/>
                    </a:lnTo>
                    <a:lnTo>
                      <a:pt x="152495" y="354806"/>
                    </a:lnTo>
                    <a:lnTo>
                      <a:pt x="151638" y="354806"/>
                    </a:lnTo>
                    <a:lnTo>
                      <a:pt x="151638" y="354806"/>
                    </a:lnTo>
                    <a:lnTo>
                      <a:pt x="150781" y="354806"/>
                    </a:lnTo>
                    <a:lnTo>
                      <a:pt x="150781" y="354806"/>
                    </a:lnTo>
                    <a:lnTo>
                      <a:pt x="150781" y="354806"/>
                    </a:lnTo>
                    <a:lnTo>
                      <a:pt x="150781" y="355664"/>
                    </a:lnTo>
                    <a:lnTo>
                      <a:pt x="150781" y="356521"/>
                    </a:lnTo>
                    <a:lnTo>
                      <a:pt x="150781" y="358140"/>
                    </a:lnTo>
                    <a:lnTo>
                      <a:pt x="150781" y="358997"/>
                    </a:lnTo>
                    <a:lnTo>
                      <a:pt x="150781" y="359855"/>
                    </a:lnTo>
                    <a:lnTo>
                      <a:pt x="150781" y="359855"/>
                    </a:lnTo>
                    <a:lnTo>
                      <a:pt x="149923" y="360712"/>
                    </a:lnTo>
                    <a:lnTo>
                      <a:pt x="148304" y="361569"/>
                    </a:lnTo>
                    <a:lnTo>
                      <a:pt x="147447" y="361569"/>
                    </a:lnTo>
                    <a:lnTo>
                      <a:pt x="147447" y="361569"/>
                    </a:lnTo>
                    <a:lnTo>
                      <a:pt x="146590" y="362426"/>
                    </a:lnTo>
                    <a:lnTo>
                      <a:pt x="146590" y="362426"/>
                    </a:lnTo>
                    <a:lnTo>
                      <a:pt x="147447" y="363284"/>
                    </a:lnTo>
                    <a:lnTo>
                      <a:pt x="149161" y="364903"/>
                    </a:lnTo>
                    <a:lnTo>
                      <a:pt x="149161" y="365760"/>
                    </a:lnTo>
                    <a:lnTo>
                      <a:pt x="149161" y="365760"/>
                    </a:lnTo>
                    <a:lnTo>
                      <a:pt x="149161" y="366617"/>
                    </a:lnTo>
                    <a:lnTo>
                      <a:pt x="149161" y="367474"/>
                    </a:lnTo>
                    <a:lnTo>
                      <a:pt x="149161" y="367474"/>
                    </a:lnTo>
                    <a:lnTo>
                      <a:pt x="149161" y="368332"/>
                    </a:lnTo>
                    <a:lnTo>
                      <a:pt x="150781" y="369189"/>
                    </a:lnTo>
                    <a:lnTo>
                      <a:pt x="151638" y="370808"/>
                    </a:lnTo>
                    <a:lnTo>
                      <a:pt x="151638" y="370808"/>
                    </a:lnTo>
                    <a:lnTo>
                      <a:pt x="151638" y="371666"/>
                    </a:lnTo>
                    <a:lnTo>
                      <a:pt x="152495" y="372523"/>
                    </a:lnTo>
                    <a:lnTo>
                      <a:pt x="152495" y="372523"/>
                    </a:lnTo>
                    <a:lnTo>
                      <a:pt x="152495" y="374237"/>
                    </a:lnTo>
                    <a:lnTo>
                      <a:pt x="153352" y="375095"/>
                    </a:lnTo>
                    <a:lnTo>
                      <a:pt x="153352" y="377571"/>
                    </a:lnTo>
                    <a:lnTo>
                      <a:pt x="155067" y="378428"/>
                    </a:lnTo>
                    <a:lnTo>
                      <a:pt x="157639" y="376809"/>
                    </a:lnTo>
                    <a:lnTo>
                      <a:pt x="160115" y="376809"/>
                    </a:lnTo>
                    <a:lnTo>
                      <a:pt x="160973" y="375952"/>
                    </a:lnTo>
                    <a:lnTo>
                      <a:pt x="161830" y="374237"/>
                    </a:lnTo>
                    <a:lnTo>
                      <a:pt x="160973" y="373380"/>
                    </a:lnTo>
                    <a:lnTo>
                      <a:pt x="160115" y="372523"/>
                    </a:lnTo>
                    <a:lnTo>
                      <a:pt x="160115" y="371666"/>
                    </a:lnTo>
                    <a:lnTo>
                      <a:pt x="160115" y="370046"/>
                    </a:lnTo>
                    <a:lnTo>
                      <a:pt x="160973" y="369189"/>
                    </a:lnTo>
                    <a:lnTo>
                      <a:pt x="162687" y="365760"/>
                    </a:lnTo>
                    <a:lnTo>
                      <a:pt x="163544" y="364903"/>
                    </a:lnTo>
                    <a:lnTo>
                      <a:pt x="164402" y="364903"/>
                    </a:lnTo>
                    <a:lnTo>
                      <a:pt x="165259" y="365760"/>
                    </a:lnTo>
                    <a:lnTo>
                      <a:pt x="166116" y="364903"/>
                    </a:lnTo>
                    <a:lnTo>
                      <a:pt x="166116" y="364045"/>
                    </a:lnTo>
                    <a:lnTo>
                      <a:pt x="166116" y="363284"/>
                    </a:lnTo>
                    <a:lnTo>
                      <a:pt x="166116" y="362426"/>
                    </a:lnTo>
                    <a:lnTo>
                      <a:pt x="166878" y="360712"/>
                    </a:lnTo>
                    <a:lnTo>
                      <a:pt x="169450" y="358997"/>
                    </a:lnTo>
                    <a:lnTo>
                      <a:pt x="170307" y="357378"/>
                    </a:lnTo>
                    <a:lnTo>
                      <a:pt x="172879" y="353092"/>
                    </a:lnTo>
                    <a:lnTo>
                      <a:pt x="175355" y="349758"/>
                    </a:lnTo>
                    <a:lnTo>
                      <a:pt x="177070" y="347186"/>
                    </a:lnTo>
                    <a:lnTo>
                      <a:pt x="177927" y="346329"/>
                    </a:lnTo>
                    <a:lnTo>
                      <a:pt x="178784" y="347186"/>
                    </a:lnTo>
                    <a:lnTo>
                      <a:pt x="180499" y="348043"/>
                    </a:lnTo>
                    <a:lnTo>
                      <a:pt x="183832" y="349758"/>
                    </a:lnTo>
                    <a:lnTo>
                      <a:pt x="186404" y="349758"/>
                    </a:lnTo>
                    <a:lnTo>
                      <a:pt x="187261" y="349758"/>
                    </a:lnTo>
                    <a:lnTo>
                      <a:pt x="188119" y="349758"/>
                    </a:lnTo>
                    <a:lnTo>
                      <a:pt x="191452" y="351377"/>
                    </a:lnTo>
                    <a:lnTo>
                      <a:pt x="194881" y="352235"/>
                    </a:lnTo>
                    <a:lnTo>
                      <a:pt x="196596" y="352235"/>
                    </a:lnTo>
                    <a:lnTo>
                      <a:pt x="198311" y="351377"/>
                    </a:lnTo>
                    <a:lnTo>
                      <a:pt x="200787" y="351377"/>
                    </a:lnTo>
                    <a:lnTo>
                      <a:pt x="205073" y="352235"/>
                    </a:lnTo>
                    <a:lnTo>
                      <a:pt x="205930" y="351377"/>
                    </a:lnTo>
                    <a:lnTo>
                      <a:pt x="206788" y="350615"/>
                    </a:lnTo>
                    <a:lnTo>
                      <a:pt x="207550" y="349758"/>
                    </a:lnTo>
                    <a:lnTo>
                      <a:pt x="206788" y="348901"/>
                    </a:lnTo>
                    <a:lnTo>
                      <a:pt x="207550" y="347186"/>
                    </a:lnTo>
                    <a:lnTo>
                      <a:pt x="208407" y="346329"/>
                    </a:lnTo>
                    <a:lnTo>
                      <a:pt x="211836" y="344710"/>
                    </a:lnTo>
                    <a:lnTo>
                      <a:pt x="214408" y="343853"/>
                    </a:lnTo>
                    <a:lnTo>
                      <a:pt x="216027" y="343853"/>
                    </a:lnTo>
                    <a:lnTo>
                      <a:pt x="216884" y="344710"/>
                    </a:lnTo>
                    <a:lnTo>
                      <a:pt x="218599" y="344710"/>
                    </a:lnTo>
                    <a:lnTo>
                      <a:pt x="219456" y="345472"/>
                    </a:lnTo>
                    <a:lnTo>
                      <a:pt x="222028" y="347186"/>
                    </a:lnTo>
                    <a:lnTo>
                      <a:pt x="222885" y="348901"/>
                    </a:lnTo>
                    <a:lnTo>
                      <a:pt x="224504" y="352235"/>
                    </a:lnTo>
                    <a:lnTo>
                      <a:pt x="224504" y="353092"/>
                    </a:lnTo>
                    <a:lnTo>
                      <a:pt x="225361" y="353949"/>
                    </a:lnTo>
                    <a:lnTo>
                      <a:pt x="227933" y="354806"/>
                    </a:lnTo>
                    <a:lnTo>
                      <a:pt x="231267" y="355664"/>
                    </a:lnTo>
                    <a:lnTo>
                      <a:pt x="233839" y="355664"/>
                    </a:lnTo>
                    <a:lnTo>
                      <a:pt x="234696" y="354806"/>
                    </a:lnTo>
                    <a:lnTo>
                      <a:pt x="237268" y="353949"/>
                    </a:lnTo>
                    <a:lnTo>
                      <a:pt x="238982" y="353092"/>
                    </a:lnTo>
                    <a:lnTo>
                      <a:pt x="241459" y="353949"/>
                    </a:lnTo>
                    <a:lnTo>
                      <a:pt x="243173" y="353092"/>
                    </a:lnTo>
                    <a:lnTo>
                      <a:pt x="244030" y="352235"/>
                    </a:lnTo>
                    <a:lnTo>
                      <a:pt x="247459" y="347186"/>
                    </a:lnTo>
                    <a:lnTo>
                      <a:pt x="252508" y="345472"/>
                    </a:lnTo>
                    <a:lnTo>
                      <a:pt x="254222" y="344710"/>
                    </a:lnTo>
                    <a:lnTo>
                      <a:pt x="255842" y="343853"/>
                    </a:lnTo>
                    <a:lnTo>
                      <a:pt x="258413" y="342138"/>
                    </a:lnTo>
                    <a:lnTo>
                      <a:pt x="261842" y="340424"/>
                    </a:lnTo>
                    <a:lnTo>
                      <a:pt x="263557" y="339566"/>
                    </a:lnTo>
                    <a:lnTo>
                      <a:pt x="263557" y="337947"/>
                    </a:lnTo>
                    <a:lnTo>
                      <a:pt x="262700" y="337090"/>
                    </a:lnTo>
                    <a:lnTo>
                      <a:pt x="260128" y="336233"/>
                    </a:lnTo>
                    <a:lnTo>
                      <a:pt x="259271" y="335375"/>
                    </a:lnTo>
                    <a:lnTo>
                      <a:pt x="259271" y="333661"/>
                    </a:lnTo>
                    <a:lnTo>
                      <a:pt x="258413" y="332804"/>
                    </a:lnTo>
                    <a:lnTo>
                      <a:pt x="258413" y="331946"/>
                    </a:lnTo>
                    <a:lnTo>
                      <a:pt x="257556" y="331184"/>
                    </a:lnTo>
                    <a:lnTo>
                      <a:pt x="257556" y="329470"/>
                    </a:lnTo>
                    <a:lnTo>
                      <a:pt x="257556" y="328613"/>
                    </a:lnTo>
                    <a:lnTo>
                      <a:pt x="258413" y="326041"/>
                    </a:lnTo>
                    <a:lnTo>
                      <a:pt x="260985" y="320135"/>
                    </a:lnTo>
                    <a:lnTo>
                      <a:pt x="261842" y="318516"/>
                    </a:lnTo>
                    <a:lnTo>
                      <a:pt x="262700" y="317659"/>
                    </a:lnTo>
                    <a:lnTo>
                      <a:pt x="262700" y="316801"/>
                    </a:lnTo>
                    <a:lnTo>
                      <a:pt x="262700" y="315944"/>
                    </a:lnTo>
                    <a:lnTo>
                      <a:pt x="262700" y="315944"/>
                    </a:lnTo>
                    <a:lnTo>
                      <a:pt x="262700" y="315087"/>
                    </a:lnTo>
                    <a:lnTo>
                      <a:pt x="262700" y="314230"/>
                    </a:lnTo>
                    <a:lnTo>
                      <a:pt x="261842" y="314230"/>
                    </a:lnTo>
                    <a:lnTo>
                      <a:pt x="261842" y="313372"/>
                    </a:lnTo>
                    <a:lnTo>
                      <a:pt x="262700" y="312515"/>
                    </a:lnTo>
                    <a:lnTo>
                      <a:pt x="263557" y="312515"/>
                    </a:lnTo>
                    <a:lnTo>
                      <a:pt x="265176" y="311753"/>
                    </a:lnTo>
                    <a:lnTo>
                      <a:pt x="266033" y="311753"/>
                    </a:lnTo>
                    <a:lnTo>
                      <a:pt x="266033" y="310896"/>
                    </a:lnTo>
                    <a:lnTo>
                      <a:pt x="265176" y="310896"/>
                    </a:lnTo>
                    <a:lnTo>
                      <a:pt x="262700" y="309182"/>
                    </a:lnTo>
                    <a:lnTo>
                      <a:pt x="261842" y="309182"/>
                    </a:lnTo>
                    <a:lnTo>
                      <a:pt x="260985" y="308324"/>
                    </a:lnTo>
                    <a:lnTo>
                      <a:pt x="260985" y="307467"/>
                    </a:lnTo>
                    <a:lnTo>
                      <a:pt x="260985" y="306610"/>
                    </a:lnTo>
                    <a:lnTo>
                      <a:pt x="260985" y="305848"/>
                    </a:lnTo>
                    <a:lnTo>
                      <a:pt x="261842" y="304991"/>
                    </a:lnTo>
                    <a:lnTo>
                      <a:pt x="262700" y="304991"/>
                    </a:lnTo>
                    <a:lnTo>
                      <a:pt x="263557" y="304991"/>
                    </a:lnTo>
                    <a:lnTo>
                      <a:pt x="266890" y="307467"/>
                    </a:lnTo>
                    <a:lnTo>
                      <a:pt x="267748" y="308324"/>
                    </a:lnTo>
                    <a:lnTo>
                      <a:pt x="268605" y="308324"/>
                    </a:lnTo>
                    <a:lnTo>
                      <a:pt x="269462" y="309182"/>
                    </a:lnTo>
                    <a:lnTo>
                      <a:pt x="271177" y="309182"/>
                    </a:lnTo>
                    <a:lnTo>
                      <a:pt x="272034" y="309182"/>
                    </a:lnTo>
                    <a:lnTo>
                      <a:pt x="273653" y="309182"/>
                    </a:lnTo>
                    <a:lnTo>
                      <a:pt x="274511" y="308324"/>
                    </a:lnTo>
                    <a:lnTo>
                      <a:pt x="274511" y="307467"/>
                    </a:lnTo>
                    <a:lnTo>
                      <a:pt x="274511" y="306610"/>
                    </a:lnTo>
                    <a:lnTo>
                      <a:pt x="274511" y="305848"/>
                    </a:lnTo>
                    <a:lnTo>
                      <a:pt x="274511" y="304991"/>
                    </a:lnTo>
                    <a:lnTo>
                      <a:pt x="275368" y="304991"/>
                    </a:lnTo>
                    <a:lnTo>
                      <a:pt x="275368" y="304991"/>
                    </a:lnTo>
                    <a:lnTo>
                      <a:pt x="276225" y="304991"/>
                    </a:lnTo>
                    <a:lnTo>
                      <a:pt x="277940" y="306610"/>
                    </a:lnTo>
                    <a:lnTo>
                      <a:pt x="278797" y="307467"/>
                    </a:lnTo>
                    <a:lnTo>
                      <a:pt x="278797" y="307467"/>
                    </a:lnTo>
                    <a:lnTo>
                      <a:pt x="279654" y="307467"/>
                    </a:lnTo>
                    <a:lnTo>
                      <a:pt x="280416" y="307467"/>
                    </a:lnTo>
                    <a:lnTo>
                      <a:pt x="280416" y="306610"/>
                    </a:lnTo>
                    <a:lnTo>
                      <a:pt x="281273" y="304133"/>
                    </a:lnTo>
                    <a:lnTo>
                      <a:pt x="282130" y="304133"/>
                    </a:lnTo>
                    <a:lnTo>
                      <a:pt x="282130" y="303276"/>
                    </a:lnTo>
                    <a:lnTo>
                      <a:pt x="281273" y="302419"/>
                    </a:lnTo>
                    <a:lnTo>
                      <a:pt x="281273" y="301562"/>
                    </a:lnTo>
                    <a:lnTo>
                      <a:pt x="281273" y="300704"/>
                    </a:lnTo>
                    <a:lnTo>
                      <a:pt x="281273" y="299847"/>
                    </a:lnTo>
                    <a:lnTo>
                      <a:pt x="282130" y="299085"/>
                    </a:lnTo>
                    <a:lnTo>
                      <a:pt x="282988" y="299085"/>
                    </a:lnTo>
                    <a:lnTo>
                      <a:pt x="283845" y="299085"/>
                    </a:lnTo>
                    <a:lnTo>
                      <a:pt x="283845" y="299847"/>
                    </a:lnTo>
                    <a:lnTo>
                      <a:pt x="284702" y="299847"/>
                    </a:lnTo>
                    <a:lnTo>
                      <a:pt x="285559" y="304991"/>
                    </a:lnTo>
                    <a:lnTo>
                      <a:pt x="286417" y="306610"/>
                    </a:lnTo>
                    <a:lnTo>
                      <a:pt x="288131" y="309182"/>
                    </a:lnTo>
                    <a:lnTo>
                      <a:pt x="288131" y="310039"/>
                    </a:lnTo>
                    <a:lnTo>
                      <a:pt x="288893" y="310896"/>
                    </a:lnTo>
                    <a:lnTo>
                      <a:pt x="292322" y="310896"/>
                    </a:lnTo>
                    <a:lnTo>
                      <a:pt x="293180" y="311753"/>
                    </a:lnTo>
                    <a:lnTo>
                      <a:pt x="296513" y="311753"/>
                    </a:lnTo>
                    <a:lnTo>
                      <a:pt x="303371" y="306610"/>
                    </a:lnTo>
                    <a:lnTo>
                      <a:pt x="307562" y="304991"/>
                    </a:lnTo>
                    <a:lnTo>
                      <a:pt x="307562" y="304133"/>
                    </a:lnTo>
                    <a:lnTo>
                      <a:pt x="307562" y="302419"/>
                    </a:lnTo>
                    <a:lnTo>
                      <a:pt x="307562" y="301562"/>
                    </a:lnTo>
                    <a:lnTo>
                      <a:pt x="308419" y="299847"/>
                    </a:lnTo>
                    <a:lnTo>
                      <a:pt x="309277" y="298228"/>
                    </a:lnTo>
                    <a:lnTo>
                      <a:pt x="309277" y="297370"/>
                    </a:lnTo>
                    <a:lnTo>
                      <a:pt x="308419" y="297370"/>
                    </a:lnTo>
                    <a:lnTo>
                      <a:pt x="308419" y="296513"/>
                    </a:lnTo>
                    <a:lnTo>
                      <a:pt x="308419" y="296513"/>
                    </a:lnTo>
                    <a:lnTo>
                      <a:pt x="307562" y="295656"/>
                    </a:lnTo>
                    <a:lnTo>
                      <a:pt x="305848" y="295656"/>
                    </a:lnTo>
                    <a:lnTo>
                      <a:pt x="305848" y="294799"/>
                    </a:lnTo>
                    <a:lnTo>
                      <a:pt x="304990" y="294799"/>
                    </a:lnTo>
                    <a:lnTo>
                      <a:pt x="304990" y="293941"/>
                    </a:lnTo>
                    <a:lnTo>
                      <a:pt x="304228" y="293180"/>
                    </a:lnTo>
                    <a:lnTo>
                      <a:pt x="304228" y="292322"/>
                    </a:lnTo>
                    <a:lnTo>
                      <a:pt x="304228" y="292322"/>
                    </a:lnTo>
                    <a:lnTo>
                      <a:pt x="304228" y="291465"/>
                    </a:lnTo>
                    <a:lnTo>
                      <a:pt x="303371" y="291465"/>
                    </a:lnTo>
                    <a:lnTo>
                      <a:pt x="303371" y="291465"/>
                    </a:lnTo>
                    <a:lnTo>
                      <a:pt x="302514" y="291465"/>
                    </a:lnTo>
                    <a:lnTo>
                      <a:pt x="302514" y="291465"/>
                    </a:lnTo>
                    <a:lnTo>
                      <a:pt x="299942" y="293941"/>
                    </a:lnTo>
                    <a:lnTo>
                      <a:pt x="299942" y="294799"/>
                    </a:lnTo>
                    <a:lnTo>
                      <a:pt x="299085" y="294799"/>
                    </a:lnTo>
                    <a:lnTo>
                      <a:pt x="298228" y="294799"/>
                    </a:lnTo>
                    <a:lnTo>
                      <a:pt x="297371" y="294799"/>
                    </a:lnTo>
                    <a:lnTo>
                      <a:pt x="297371" y="293941"/>
                    </a:lnTo>
                    <a:lnTo>
                      <a:pt x="297371" y="293180"/>
                    </a:lnTo>
                    <a:lnTo>
                      <a:pt x="297371" y="291465"/>
                    </a:lnTo>
                    <a:lnTo>
                      <a:pt x="299085" y="290608"/>
                    </a:lnTo>
                    <a:lnTo>
                      <a:pt x="300800" y="289751"/>
                    </a:lnTo>
                    <a:lnTo>
                      <a:pt x="304990" y="288036"/>
                    </a:lnTo>
                    <a:lnTo>
                      <a:pt x="306705" y="287179"/>
                    </a:lnTo>
                    <a:lnTo>
                      <a:pt x="308419" y="285560"/>
                    </a:lnTo>
                    <a:lnTo>
                      <a:pt x="310134" y="285560"/>
                    </a:lnTo>
                    <a:lnTo>
                      <a:pt x="316897" y="279654"/>
                    </a:lnTo>
                    <a:lnTo>
                      <a:pt x="318611" y="277940"/>
                    </a:lnTo>
                    <a:lnTo>
                      <a:pt x="319469" y="277082"/>
                    </a:lnTo>
                    <a:lnTo>
                      <a:pt x="320326" y="277082"/>
                    </a:lnTo>
                    <a:lnTo>
                      <a:pt x="319469" y="276225"/>
                    </a:lnTo>
                    <a:lnTo>
                      <a:pt x="319469" y="276225"/>
                    </a:lnTo>
                    <a:lnTo>
                      <a:pt x="317754" y="275368"/>
                    </a:lnTo>
                    <a:lnTo>
                      <a:pt x="317754" y="275368"/>
                    </a:lnTo>
                    <a:lnTo>
                      <a:pt x="317754" y="274511"/>
                    </a:lnTo>
                    <a:lnTo>
                      <a:pt x="317754" y="274511"/>
                    </a:lnTo>
                    <a:lnTo>
                      <a:pt x="317754" y="270320"/>
                    </a:lnTo>
                    <a:lnTo>
                      <a:pt x="318611" y="270320"/>
                    </a:lnTo>
                    <a:lnTo>
                      <a:pt x="318611" y="269462"/>
                    </a:lnTo>
                    <a:lnTo>
                      <a:pt x="321088" y="267748"/>
                    </a:lnTo>
                    <a:lnTo>
                      <a:pt x="322802" y="267748"/>
                    </a:lnTo>
                    <a:lnTo>
                      <a:pt x="325374" y="269462"/>
                    </a:lnTo>
                    <a:lnTo>
                      <a:pt x="326231" y="269462"/>
                    </a:lnTo>
                    <a:lnTo>
                      <a:pt x="329565" y="268605"/>
                    </a:lnTo>
                    <a:lnTo>
                      <a:pt x="330422" y="268605"/>
                    </a:lnTo>
                    <a:lnTo>
                      <a:pt x="331280" y="269462"/>
                    </a:lnTo>
                    <a:lnTo>
                      <a:pt x="332137" y="271177"/>
                    </a:lnTo>
                    <a:lnTo>
                      <a:pt x="332994" y="274511"/>
                    </a:lnTo>
                    <a:lnTo>
                      <a:pt x="334709" y="277082"/>
                    </a:lnTo>
                    <a:lnTo>
                      <a:pt x="335566" y="277082"/>
                    </a:lnTo>
                    <a:lnTo>
                      <a:pt x="336423" y="277082"/>
                    </a:lnTo>
                    <a:lnTo>
                      <a:pt x="337185" y="275368"/>
                    </a:lnTo>
                    <a:lnTo>
                      <a:pt x="338042" y="273749"/>
                    </a:lnTo>
                    <a:lnTo>
                      <a:pt x="338042" y="272891"/>
                    </a:lnTo>
                    <a:lnTo>
                      <a:pt x="338042" y="271177"/>
                    </a:lnTo>
                    <a:lnTo>
                      <a:pt x="337185" y="266986"/>
                    </a:lnTo>
                    <a:lnTo>
                      <a:pt x="337185" y="266986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33" name="Freeform: Shape 137">
                <a:extLst>
                  <a:ext uri="{FF2B5EF4-FFF2-40B4-BE49-F238E27FC236}">
                    <a16:creationId xmlns:a16="http://schemas.microsoft.com/office/drawing/2014/main" id="{7ABD7259-D76B-4EBD-A529-3F779167879C}"/>
                  </a:ext>
                </a:extLst>
              </p:cNvPr>
              <p:cNvSpPr/>
              <p:nvPr/>
            </p:nvSpPr>
            <p:spPr>
              <a:xfrm>
                <a:off x="5945886" y="3440239"/>
                <a:ext cx="666750" cy="552450"/>
              </a:xfrm>
              <a:custGeom>
                <a:avLst/>
                <a:gdLst>
                  <a:gd name="connsiteX0" fmla="*/ 667512 w 666750"/>
                  <a:gd name="connsiteY0" fmla="*/ 110585 h 552450"/>
                  <a:gd name="connsiteX1" fmla="*/ 664083 w 666750"/>
                  <a:gd name="connsiteY1" fmla="*/ 105442 h 552450"/>
                  <a:gd name="connsiteX2" fmla="*/ 664083 w 666750"/>
                  <a:gd name="connsiteY2" fmla="*/ 103727 h 552450"/>
                  <a:gd name="connsiteX3" fmla="*/ 663226 w 666750"/>
                  <a:gd name="connsiteY3" fmla="*/ 102013 h 552450"/>
                  <a:gd name="connsiteX4" fmla="*/ 663226 w 666750"/>
                  <a:gd name="connsiteY4" fmla="*/ 100298 h 552450"/>
                  <a:gd name="connsiteX5" fmla="*/ 664083 w 666750"/>
                  <a:gd name="connsiteY5" fmla="*/ 96965 h 552450"/>
                  <a:gd name="connsiteX6" fmla="*/ 664083 w 666750"/>
                  <a:gd name="connsiteY6" fmla="*/ 95250 h 552450"/>
                  <a:gd name="connsiteX7" fmla="*/ 663226 w 666750"/>
                  <a:gd name="connsiteY7" fmla="*/ 93536 h 552450"/>
                  <a:gd name="connsiteX8" fmla="*/ 661606 w 666750"/>
                  <a:gd name="connsiteY8" fmla="*/ 91821 h 552450"/>
                  <a:gd name="connsiteX9" fmla="*/ 646367 w 666750"/>
                  <a:gd name="connsiteY9" fmla="*/ 88392 h 552450"/>
                  <a:gd name="connsiteX10" fmla="*/ 643890 w 666750"/>
                  <a:gd name="connsiteY10" fmla="*/ 87630 h 552450"/>
                  <a:gd name="connsiteX11" fmla="*/ 643033 w 666750"/>
                  <a:gd name="connsiteY11" fmla="*/ 86773 h 552450"/>
                  <a:gd name="connsiteX12" fmla="*/ 642176 w 666750"/>
                  <a:gd name="connsiteY12" fmla="*/ 85058 h 552450"/>
                  <a:gd name="connsiteX13" fmla="*/ 641318 w 666750"/>
                  <a:gd name="connsiteY13" fmla="*/ 83344 h 552450"/>
                  <a:gd name="connsiteX14" fmla="*/ 640461 w 666750"/>
                  <a:gd name="connsiteY14" fmla="*/ 79915 h 552450"/>
                  <a:gd name="connsiteX15" fmla="*/ 640461 w 666750"/>
                  <a:gd name="connsiteY15" fmla="*/ 75724 h 552450"/>
                  <a:gd name="connsiteX16" fmla="*/ 639604 w 666750"/>
                  <a:gd name="connsiteY16" fmla="*/ 74009 h 552450"/>
                  <a:gd name="connsiteX17" fmla="*/ 637127 w 666750"/>
                  <a:gd name="connsiteY17" fmla="*/ 72295 h 552450"/>
                  <a:gd name="connsiteX18" fmla="*/ 633698 w 666750"/>
                  <a:gd name="connsiteY18" fmla="*/ 69723 h 552450"/>
                  <a:gd name="connsiteX19" fmla="*/ 631222 w 666750"/>
                  <a:gd name="connsiteY19" fmla="*/ 69723 h 552450"/>
                  <a:gd name="connsiteX20" fmla="*/ 629507 w 666750"/>
                  <a:gd name="connsiteY20" fmla="*/ 69723 h 552450"/>
                  <a:gd name="connsiteX21" fmla="*/ 628650 w 666750"/>
                  <a:gd name="connsiteY21" fmla="*/ 70580 h 552450"/>
                  <a:gd name="connsiteX22" fmla="*/ 627793 w 666750"/>
                  <a:gd name="connsiteY22" fmla="*/ 71438 h 552450"/>
                  <a:gd name="connsiteX23" fmla="*/ 626935 w 666750"/>
                  <a:gd name="connsiteY23" fmla="*/ 72295 h 552450"/>
                  <a:gd name="connsiteX24" fmla="*/ 626935 w 666750"/>
                  <a:gd name="connsiteY24" fmla="*/ 74009 h 552450"/>
                  <a:gd name="connsiteX25" fmla="*/ 625316 w 666750"/>
                  <a:gd name="connsiteY25" fmla="*/ 74009 h 552450"/>
                  <a:gd name="connsiteX26" fmla="*/ 624459 w 666750"/>
                  <a:gd name="connsiteY26" fmla="*/ 74867 h 552450"/>
                  <a:gd name="connsiteX27" fmla="*/ 623602 w 666750"/>
                  <a:gd name="connsiteY27" fmla="*/ 75724 h 552450"/>
                  <a:gd name="connsiteX28" fmla="*/ 623602 w 666750"/>
                  <a:gd name="connsiteY28" fmla="*/ 76486 h 552450"/>
                  <a:gd name="connsiteX29" fmla="*/ 622744 w 666750"/>
                  <a:gd name="connsiteY29" fmla="*/ 77343 h 552450"/>
                  <a:gd name="connsiteX30" fmla="*/ 621887 w 666750"/>
                  <a:gd name="connsiteY30" fmla="*/ 78200 h 552450"/>
                  <a:gd name="connsiteX31" fmla="*/ 620268 w 666750"/>
                  <a:gd name="connsiteY31" fmla="*/ 77343 h 552450"/>
                  <a:gd name="connsiteX32" fmla="*/ 616839 w 666750"/>
                  <a:gd name="connsiteY32" fmla="*/ 74009 h 552450"/>
                  <a:gd name="connsiteX33" fmla="*/ 615982 w 666750"/>
                  <a:gd name="connsiteY33" fmla="*/ 72295 h 552450"/>
                  <a:gd name="connsiteX34" fmla="*/ 615982 w 666750"/>
                  <a:gd name="connsiteY34" fmla="*/ 69723 h 552450"/>
                  <a:gd name="connsiteX35" fmla="*/ 616839 w 666750"/>
                  <a:gd name="connsiteY35" fmla="*/ 66294 h 552450"/>
                  <a:gd name="connsiteX36" fmla="*/ 616839 w 666750"/>
                  <a:gd name="connsiteY36" fmla="*/ 66294 h 552450"/>
                  <a:gd name="connsiteX37" fmla="*/ 616839 w 666750"/>
                  <a:gd name="connsiteY37" fmla="*/ 64675 h 552450"/>
                  <a:gd name="connsiteX38" fmla="*/ 616839 w 666750"/>
                  <a:gd name="connsiteY38" fmla="*/ 63818 h 552450"/>
                  <a:gd name="connsiteX39" fmla="*/ 615982 w 666750"/>
                  <a:gd name="connsiteY39" fmla="*/ 61246 h 552450"/>
                  <a:gd name="connsiteX40" fmla="*/ 615982 w 666750"/>
                  <a:gd name="connsiteY40" fmla="*/ 60389 h 552450"/>
                  <a:gd name="connsiteX41" fmla="*/ 615982 w 666750"/>
                  <a:gd name="connsiteY41" fmla="*/ 60389 h 552450"/>
                  <a:gd name="connsiteX42" fmla="*/ 615125 w 666750"/>
                  <a:gd name="connsiteY42" fmla="*/ 58674 h 552450"/>
                  <a:gd name="connsiteX43" fmla="*/ 613505 w 666750"/>
                  <a:gd name="connsiteY43" fmla="*/ 56960 h 552450"/>
                  <a:gd name="connsiteX44" fmla="*/ 610076 w 666750"/>
                  <a:gd name="connsiteY44" fmla="*/ 55245 h 552450"/>
                  <a:gd name="connsiteX45" fmla="*/ 604171 w 666750"/>
                  <a:gd name="connsiteY45" fmla="*/ 52769 h 552450"/>
                  <a:gd name="connsiteX46" fmla="*/ 602551 w 666750"/>
                  <a:gd name="connsiteY46" fmla="*/ 52769 h 552450"/>
                  <a:gd name="connsiteX47" fmla="*/ 600837 w 666750"/>
                  <a:gd name="connsiteY47" fmla="*/ 52769 h 552450"/>
                  <a:gd name="connsiteX48" fmla="*/ 599980 w 666750"/>
                  <a:gd name="connsiteY48" fmla="*/ 52769 h 552450"/>
                  <a:gd name="connsiteX49" fmla="*/ 598265 w 666750"/>
                  <a:gd name="connsiteY49" fmla="*/ 51911 h 552450"/>
                  <a:gd name="connsiteX50" fmla="*/ 592360 w 666750"/>
                  <a:gd name="connsiteY50" fmla="*/ 48482 h 552450"/>
                  <a:gd name="connsiteX51" fmla="*/ 590740 w 666750"/>
                  <a:gd name="connsiteY51" fmla="*/ 46768 h 552450"/>
                  <a:gd name="connsiteX52" fmla="*/ 589026 w 666750"/>
                  <a:gd name="connsiteY52" fmla="*/ 45911 h 552450"/>
                  <a:gd name="connsiteX53" fmla="*/ 586454 w 666750"/>
                  <a:gd name="connsiteY53" fmla="*/ 45911 h 552450"/>
                  <a:gd name="connsiteX54" fmla="*/ 584835 w 666750"/>
                  <a:gd name="connsiteY54" fmla="*/ 45053 h 552450"/>
                  <a:gd name="connsiteX55" fmla="*/ 583978 w 666750"/>
                  <a:gd name="connsiteY55" fmla="*/ 44196 h 552450"/>
                  <a:gd name="connsiteX56" fmla="*/ 582263 w 666750"/>
                  <a:gd name="connsiteY56" fmla="*/ 40862 h 552450"/>
                  <a:gd name="connsiteX57" fmla="*/ 577215 w 666750"/>
                  <a:gd name="connsiteY57" fmla="*/ 39148 h 552450"/>
                  <a:gd name="connsiteX58" fmla="*/ 572929 w 666750"/>
                  <a:gd name="connsiteY58" fmla="*/ 34004 h 552450"/>
                  <a:gd name="connsiteX59" fmla="*/ 561975 w 666750"/>
                  <a:gd name="connsiteY59" fmla="*/ 27242 h 552450"/>
                  <a:gd name="connsiteX60" fmla="*/ 561118 w 666750"/>
                  <a:gd name="connsiteY60" fmla="*/ 27242 h 552450"/>
                  <a:gd name="connsiteX61" fmla="*/ 560356 w 666750"/>
                  <a:gd name="connsiteY61" fmla="*/ 26384 h 552450"/>
                  <a:gd name="connsiteX62" fmla="*/ 558641 w 666750"/>
                  <a:gd name="connsiteY62" fmla="*/ 26384 h 552450"/>
                  <a:gd name="connsiteX63" fmla="*/ 554450 w 666750"/>
                  <a:gd name="connsiteY63" fmla="*/ 28099 h 552450"/>
                  <a:gd name="connsiteX64" fmla="*/ 552736 w 666750"/>
                  <a:gd name="connsiteY64" fmla="*/ 28956 h 552450"/>
                  <a:gd name="connsiteX65" fmla="*/ 551021 w 666750"/>
                  <a:gd name="connsiteY65" fmla="*/ 28956 h 552450"/>
                  <a:gd name="connsiteX66" fmla="*/ 548545 w 666750"/>
                  <a:gd name="connsiteY66" fmla="*/ 28099 h 552450"/>
                  <a:gd name="connsiteX67" fmla="*/ 546830 w 666750"/>
                  <a:gd name="connsiteY67" fmla="*/ 27242 h 552450"/>
                  <a:gd name="connsiteX68" fmla="*/ 544259 w 666750"/>
                  <a:gd name="connsiteY68" fmla="*/ 25527 h 552450"/>
                  <a:gd name="connsiteX69" fmla="*/ 542639 w 666750"/>
                  <a:gd name="connsiteY69" fmla="*/ 23813 h 552450"/>
                  <a:gd name="connsiteX70" fmla="*/ 541782 w 666750"/>
                  <a:gd name="connsiteY70" fmla="*/ 22955 h 552450"/>
                  <a:gd name="connsiteX71" fmla="*/ 540068 w 666750"/>
                  <a:gd name="connsiteY71" fmla="*/ 19526 h 552450"/>
                  <a:gd name="connsiteX72" fmla="*/ 538353 w 666750"/>
                  <a:gd name="connsiteY72" fmla="*/ 17907 h 552450"/>
                  <a:gd name="connsiteX73" fmla="*/ 535876 w 666750"/>
                  <a:gd name="connsiteY73" fmla="*/ 16193 h 552450"/>
                  <a:gd name="connsiteX74" fmla="*/ 518160 w 666750"/>
                  <a:gd name="connsiteY74" fmla="*/ 6858 h 552450"/>
                  <a:gd name="connsiteX75" fmla="*/ 513874 w 666750"/>
                  <a:gd name="connsiteY75" fmla="*/ 1715 h 552450"/>
                  <a:gd name="connsiteX76" fmla="*/ 513017 w 666750"/>
                  <a:gd name="connsiteY76" fmla="*/ 857 h 552450"/>
                  <a:gd name="connsiteX77" fmla="*/ 512255 w 666750"/>
                  <a:gd name="connsiteY77" fmla="*/ 0 h 552450"/>
                  <a:gd name="connsiteX78" fmla="*/ 510540 w 666750"/>
                  <a:gd name="connsiteY78" fmla="*/ 0 h 552450"/>
                  <a:gd name="connsiteX79" fmla="*/ 509683 w 666750"/>
                  <a:gd name="connsiteY79" fmla="*/ 857 h 552450"/>
                  <a:gd name="connsiteX80" fmla="*/ 508825 w 666750"/>
                  <a:gd name="connsiteY80" fmla="*/ 1715 h 552450"/>
                  <a:gd name="connsiteX81" fmla="*/ 507111 w 666750"/>
                  <a:gd name="connsiteY81" fmla="*/ 4286 h 552450"/>
                  <a:gd name="connsiteX82" fmla="*/ 506349 w 666750"/>
                  <a:gd name="connsiteY82" fmla="*/ 5144 h 552450"/>
                  <a:gd name="connsiteX83" fmla="*/ 505492 w 666750"/>
                  <a:gd name="connsiteY83" fmla="*/ 5144 h 552450"/>
                  <a:gd name="connsiteX84" fmla="*/ 505492 w 666750"/>
                  <a:gd name="connsiteY84" fmla="*/ 5144 h 552450"/>
                  <a:gd name="connsiteX85" fmla="*/ 503777 w 666750"/>
                  <a:gd name="connsiteY85" fmla="*/ 5144 h 552450"/>
                  <a:gd name="connsiteX86" fmla="*/ 502920 w 666750"/>
                  <a:gd name="connsiteY86" fmla="*/ 6001 h 552450"/>
                  <a:gd name="connsiteX87" fmla="*/ 500443 w 666750"/>
                  <a:gd name="connsiteY87" fmla="*/ 6858 h 552450"/>
                  <a:gd name="connsiteX88" fmla="*/ 499586 w 666750"/>
                  <a:gd name="connsiteY88" fmla="*/ 6858 h 552450"/>
                  <a:gd name="connsiteX89" fmla="*/ 499586 w 666750"/>
                  <a:gd name="connsiteY89" fmla="*/ 6858 h 552450"/>
                  <a:gd name="connsiteX90" fmla="*/ 499586 w 666750"/>
                  <a:gd name="connsiteY90" fmla="*/ 7620 h 552450"/>
                  <a:gd name="connsiteX91" fmla="*/ 499586 w 666750"/>
                  <a:gd name="connsiteY91" fmla="*/ 7620 h 552450"/>
                  <a:gd name="connsiteX92" fmla="*/ 499586 w 666750"/>
                  <a:gd name="connsiteY92" fmla="*/ 8477 h 552450"/>
                  <a:gd name="connsiteX93" fmla="*/ 499586 w 666750"/>
                  <a:gd name="connsiteY93" fmla="*/ 11049 h 552450"/>
                  <a:gd name="connsiteX94" fmla="*/ 501205 w 666750"/>
                  <a:gd name="connsiteY94" fmla="*/ 12764 h 552450"/>
                  <a:gd name="connsiteX95" fmla="*/ 503777 w 666750"/>
                  <a:gd name="connsiteY95" fmla="*/ 16193 h 552450"/>
                  <a:gd name="connsiteX96" fmla="*/ 504634 w 666750"/>
                  <a:gd name="connsiteY96" fmla="*/ 17907 h 552450"/>
                  <a:gd name="connsiteX97" fmla="*/ 504634 w 666750"/>
                  <a:gd name="connsiteY97" fmla="*/ 19526 h 552450"/>
                  <a:gd name="connsiteX98" fmla="*/ 505492 w 666750"/>
                  <a:gd name="connsiteY98" fmla="*/ 26384 h 552450"/>
                  <a:gd name="connsiteX99" fmla="*/ 505492 w 666750"/>
                  <a:gd name="connsiteY99" fmla="*/ 28956 h 552450"/>
                  <a:gd name="connsiteX100" fmla="*/ 505492 w 666750"/>
                  <a:gd name="connsiteY100" fmla="*/ 30575 h 552450"/>
                  <a:gd name="connsiteX101" fmla="*/ 502920 w 666750"/>
                  <a:gd name="connsiteY101" fmla="*/ 34004 h 552450"/>
                  <a:gd name="connsiteX102" fmla="*/ 502920 w 666750"/>
                  <a:gd name="connsiteY102" fmla="*/ 35719 h 552450"/>
                  <a:gd name="connsiteX103" fmla="*/ 502920 w 666750"/>
                  <a:gd name="connsiteY103" fmla="*/ 37433 h 552450"/>
                  <a:gd name="connsiteX104" fmla="*/ 502920 w 666750"/>
                  <a:gd name="connsiteY104" fmla="*/ 39148 h 552450"/>
                  <a:gd name="connsiteX105" fmla="*/ 504634 w 666750"/>
                  <a:gd name="connsiteY105" fmla="*/ 42482 h 552450"/>
                  <a:gd name="connsiteX106" fmla="*/ 505492 w 666750"/>
                  <a:gd name="connsiteY106" fmla="*/ 44196 h 552450"/>
                  <a:gd name="connsiteX107" fmla="*/ 504634 w 666750"/>
                  <a:gd name="connsiteY107" fmla="*/ 45911 h 552450"/>
                  <a:gd name="connsiteX108" fmla="*/ 503777 w 666750"/>
                  <a:gd name="connsiteY108" fmla="*/ 48482 h 552450"/>
                  <a:gd name="connsiteX109" fmla="*/ 503777 w 666750"/>
                  <a:gd name="connsiteY109" fmla="*/ 51054 h 552450"/>
                  <a:gd name="connsiteX110" fmla="*/ 503777 w 666750"/>
                  <a:gd name="connsiteY110" fmla="*/ 52769 h 552450"/>
                  <a:gd name="connsiteX111" fmla="*/ 503777 w 666750"/>
                  <a:gd name="connsiteY111" fmla="*/ 53531 h 552450"/>
                  <a:gd name="connsiteX112" fmla="*/ 503777 w 666750"/>
                  <a:gd name="connsiteY112" fmla="*/ 54388 h 552450"/>
                  <a:gd name="connsiteX113" fmla="*/ 502920 w 666750"/>
                  <a:gd name="connsiteY113" fmla="*/ 55245 h 552450"/>
                  <a:gd name="connsiteX114" fmla="*/ 502063 w 666750"/>
                  <a:gd name="connsiteY114" fmla="*/ 56960 h 552450"/>
                  <a:gd name="connsiteX115" fmla="*/ 497014 w 666750"/>
                  <a:gd name="connsiteY115" fmla="*/ 63818 h 552450"/>
                  <a:gd name="connsiteX116" fmla="*/ 495300 w 666750"/>
                  <a:gd name="connsiteY116" fmla="*/ 65437 h 552450"/>
                  <a:gd name="connsiteX117" fmla="*/ 492823 w 666750"/>
                  <a:gd name="connsiteY117" fmla="*/ 67151 h 552450"/>
                  <a:gd name="connsiteX118" fmla="*/ 488632 w 666750"/>
                  <a:gd name="connsiteY118" fmla="*/ 68866 h 552450"/>
                  <a:gd name="connsiteX119" fmla="*/ 482727 w 666750"/>
                  <a:gd name="connsiteY119" fmla="*/ 65437 h 552450"/>
                  <a:gd name="connsiteX120" fmla="*/ 482727 w 666750"/>
                  <a:gd name="connsiteY120" fmla="*/ 63818 h 552450"/>
                  <a:gd name="connsiteX121" fmla="*/ 481870 w 666750"/>
                  <a:gd name="connsiteY121" fmla="*/ 62103 h 552450"/>
                  <a:gd name="connsiteX122" fmla="*/ 481870 w 666750"/>
                  <a:gd name="connsiteY122" fmla="*/ 60389 h 552450"/>
                  <a:gd name="connsiteX123" fmla="*/ 481870 w 666750"/>
                  <a:gd name="connsiteY123" fmla="*/ 59531 h 552450"/>
                  <a:gd name="connsiteX124" fmla="*/ 481870 w 666750"/>
                  <a:gd name="connsiteY124" fmla="*/ 57817 h 552450"/>
                  <a:gd name="connsiteX125" fmla="*/ 482727 w 666750"/>
                  <a:gd name="connsiteY125" fmla="*/ 56960 h 552450"/>
                  <a:gd name="connsiteX126" fmla="*/ 484346 w 666750"/>
                  <a:gd name="connsiteY126" fmla="*/ 55245 h 552450"/>
                  <a:gd name="connsiteX127" fmla="*/ 484346 w 666750"/>
                  <a:gd name="connsiteY127" fmla="*/ 53531 h 552450"/>
                  <a:gd name="connsiteX128" fmla="*/ 484346 w 666750"/>
                  <a:gd name="connsiteY128" fmla="*/ 52769 h 552450"/>
                  <a:gd name="connsiteX129" fmla="*/ 484346 w 666750"/>
                  <a:gd name="connsiteY129" fmla="*/ 51911 h 552450"/>
                  <a:gd name="connsiteX130" fmla="*/ 483489 w 666750"/>
                  <a:gd name="connsiteY130" fmla="*/ 51054 h 552450"/>
                  <a:gd name="connsiteX131" fmla="*/ 482727 w 666750"/>
                  <a:gd name="connsiteY131" fmla="*/ 51911 h 552450"/>
                  <a:gd name="connsiteX132" fmla="*/ 481013 w 666750"/>
                  <a:gd name="connsiteY132" fmla="*/ 52769 h 552450"/>
                  <a:gd name="connsiteX133" fmla="*/ 479298 w 666750"/>
                  <a:gd name="connsiteY133" fmla="*/ 53531 h 552450"/>
                  <a:gd name="connsiteX134" fmla="*/ 478441 w 666750"/>
                  <a:gd name="connsiteY134" fmla="*/ 54388 h 552450"/>
                  <a:gd name="connsiteX135" fmla="*/ 477584 w 666750"/>
                  <a:gd name="connsiteY135" fmla="*/ 55245 h 552450"/>
                  <a:gd name="connsiteX136" fmla="*/ 475107 w 666750"/>
                  <a:gd name="connsiteY136" fmla="*/ 56102 h 552450"/>
                  <a:gd name="connsiteX137" fmla="*/ 474250 w 666750"/>
                  <a:gd name="connsiteY137" fmla="*/ 56102 h 552450"/>
                  <a:gd name="connsiteX138" fmla="*/ 471678 w 666750"/>
                  <a:gd name="connsiteY138" fmla="*/ 57817 h 552450"/>
                  <a:gd name="connsiteX139" fmla="*/ 470916 w 666750"/>
                  <a:gd name="connsiteY139" fmla="*/ 57817 h 552450"/>
                  <a:gd name="connsiteX140" fmla="*/ 468344 w 666750"/>
                  <a:gd name="connsiteY140" fmla="*/ 56960 h 552450"/>
                  <a:gd name="connsiteX141" fmla="*/ 463296 w 666750"/>
                  <a:gd name="connsiteY141" fmla="*/ 56102 h 552450"/>
                  <a:gd name="connsiteX142" fmla="*/ 457390 w 666750"/>
                  <a:gd name="connsiteY142" fmla="*/ 53531 h 552450"/>
                  <a:gd name="connsiteX143" fmla="*/ 447199 w 666750"/>
                  <a:gd name="connsiteY143" fmla="*/ 47625 h 552450"/>
                  <a:gd name="connsiteX144" fmla="*/ 445580 w 666750"/>
                  <a:gd name="connsiteY144" fmla="*/ 47625 h 552450"/>
                  <a:gd name="connsiteX145" fmla="*/ 444722 w 666750"/>
                  <a:gd name="connsiteY145" fmla="*/ 47625 h 552450"/>
                  <a:gd name="connsiteX146" fmla="*/ 443008 w 666750"/>
                  <a:gd name="connsiteY146" fmla="*/ 46768 h 552450"/>
                  <a:gd name="connsiteX147" fmla="*/ 441293 w 666750"/>
                  <a:gd name="connsiteY147" fmla="*/ 47625 h 552450"/>
                  <a:gd name="connsiteX148" fmla="*/ 439674 w 666750"/>
                  <a:gd name="connsiteY148" fmla="*/ 47625 h 552450"/>
                  <a:gd name="connsiteX149" fmla="*/ 437959 w 666750"/>
                  <a:gd name="connsiteY149" fmla="*/ 49340 h 552450"/>
                  <a:gd name="connsiteX150" fmla="*/ 432911 w 666750"/>
                  <a:gd name="connsiteY150" fmla="*/ 51054 h 552450"/>
                  <a:gd name="connsiteX151" fmla="*/ 432054 w 666750"/>
                  <a:gd name="connsiteY151" fmla="*/ 51911 h 552450"/>
                  <a:gd name="connsiteX152" fmla="*/ 427006 w 666750"/>
                  <a:gd name="connsiteY152" fmla="*/ 56960 h 552450"/>
                  <a:gd name="connsiteX153" fmla="*/ 421957 w 666750"/>
                  <a:gd name="connsiteY153" fmla="*/ 62960 h 552450"/>
                  <a:gd name="connsiteX154" fmla="*/ 421100 w 666750"/>
                  <a:gd name="connsiteY154" fmla="*/ 62960 h 552450"/>
                  <a:gd name="connsiteX155" fmla="*/ 421100 w 666750"/>
                  <a:gd name="connsiteY155" fmla="*/ 62960 h 552450"/>
                  <a:gd name="connsiteX156" fmla="*/ 420243 w 666750"/>
                  <a:gd name="connsiteY156" fmla="*/ 62960 h 552450"/>
                  <a:gd name="connsiteX157" fmla="*/ 419386 w 666750"/>
                  <a:gd name="connsiteY157" fmla="*/ 62103 h 552450"/>
                  <a:gd name="connsiteX158" fmla="*/ 416909 w 666750"/>
                  <a:gd name="connsiteY158" fmla="*/ 59531 h 552450"/>
                  <a:gd name="connsiteX159" fmla="*/ 408432 w 666750"/>
                  <a:gd name="connsiteY159" fmla="*/ 53531 h 552450"/>
                  <a:gd name="connsiteX160" fmla="*/ 407575 w 666750"/>
                  <a:gd name="connsiteY160" fmla="*/ 52769 h 552450"/>
                  <a:gd name="connsiteX161" fmla="*/ 405003 w 666750"/>
                  <a:gd name="connsiteY161" fmla="*/ 52769 h 552450"/>
                  <a:gd name="connsiteX162" fmla="*/ 403384 w 666750"/>
                  <a:gd name="connsiteY162" fmla="*/ 51911 h 552450"/>
                  <a:gd name="connsiteX163" fmla="*/ 401669 w 666750"/>
                  <a:gd name="connsiteY163" fmla="*/ 51911 h 552450"/>
                  <a:gd name="connsiteX164" fmla="*/ 400812 w 666750"/>
                  <a:gd name="connsiteY164" fmla="*/ 52769 h 552450"/>
                  <a:gd name="connsiteX165" fmla="*/ 396621 w 666750"/>
                  <a:gd name="connsiteY165" fmla="*/ 53531 h 552450"/>
                  <a:gd name="connsiteX166" fmla="*/ 395764 w 666750"/>
                  <a:gd name="connsiteY166" fmla="*/ 54388 h 552450"/>
                  <a:gd name="connsiteX167" fmla="*/ 394906 w 666750"/>
                  <a:gd name="connsiteY167" fmla="*/ 53531 h 552450"/>
                  <a:gd name="connsiteX168" fmla="*/ 394906 w 666750"/>
                  <a:gd name="connsiteY168" fmla="*/ 53531 h 552450"/>
                  <a:gd name="connsiteX169" fmla="*/ 395764 w 666750"/>
                  <a:gd name="connsiteY169" fmla="*/ 51911 h 552450"/>
                  <a:gd name="connsiteX170" fmla="*/ 396621 w 666750"/>
                  <a:gd name="connsiteY170" fmla="*/ 50197 h 552450"/>
                  <a:gd name="connsiteX171" fmla="*/ 397478 w 666750"/>
                  <a:gd name="connsiteY171" fmla="*/ 48482 h 552450"/>
                  <a:gd name="connsiteX172" fmla="*/ 400812 w 666750"/>
                  <a:gd name="connsiteY172" fmla="*/ 40862 h 552450"/>
                  <a:gd name="connsiteX173" fmla="*/ 405860 w 666750"/>
                  <a:gd name="connsiteY173" fmla="*/ 33147 h 552450"/>
                  <a:gd name="connsiteX174" fmla="*/ 406717 w 666750"/>
                  <a:gd name="connsiteY174" fmla="*/ 32290 h 552450"/>
                  <a:gd name="connsiteX175" fmla="*/ 407575 w 666750"/>
                  <a:gd name="connsiteY175" fmla="*/ 30575 h 552450"/>
                  <a:gd name="connsiteX176" fmla="*/ 408432 w 666750"/>
                  <a:gd name="connsiteY176" fmla="*/ 27242 h 552450"/>
                  <a:gd name="connsiteX177" fmla="*/ 408432 w 666750"/>
                  <a:gd name="connsiteY177" fmla="*/ 23813 h 552450"/>
                  <a:gd name="connsiteX178" fmla="*/ 407575 w 666750"/>
                  <a:gd name="connsiteY178" fmla="*/ 19526 h 552450"/>
                  <a:gd name="connsiteX179" fmla="*/ 405860 w 666750"/>
                  <a:gd name="connsiteY179" fmla="*/ 13621 h 552450"/>
                  <a:gd name="connsiteX180" fmla="*/ 403384 w 666750"/>
                  <a:gd name="connsiteY180" fmla="*/ 6858 h 552450"/>
                  <a:gd name="connsiteX181" fmla="*/ 400812 w 666750"/>
                  <a:gd name="connsiteY181" fmla="*/ 9335 h 552450"/>
                  <a:gd name="connsiteX182" fmla="*/ 394906 w 666750"/>
                  <a:gd name="connsiteY182" fmla="*/ 12764 h 552450"/>
                  <a:gd name="connsiteX183" fmla="*/ 394906 w 666750"/>
                  <a:gd name="connsiteY183" fmla="*/ 12764 h 552450"/>
                  <a:gd name="connsiteX184" fmla="*/ 391573 w 666750"/>
                  <a:gd name="connsiteY184" fmla="*/ 13621 h 552450"/>
                  <a:gd name="connsiteX185" fmla="*/ 390715 w 666750"/>
                  <a:gd name="connsiteY185" fmla="*/ 13621 h 552450"/>
                  <a:gd name="connsiteX186" fmla="*/ 389858 w 666750"/>
                  <a:gd name="connsiteY186" fmla="*/ 14478 h 552450"/>
                  <a:gd name="connsiteX187" fmla="*/ 388144 w 666750"/>
                  <a:gd name="connsiteY187" fmla="*/ 16193 h 552450"/>
                  <a:gd name="connsiteX188" fmla="*/ 387286 w 666750"/>
                  <a:gd name="connsiteY188" fmla="*/ 16193 h 552450"/>
                  <a:gd name="connsiteX189" fmla="*/ 386525 w 666750"/>
                  <a:gd name="connsiteY189" fmla="*/ 16193 h 552450"/>
                  <a:gd name="connsiteX190" fmla="*/ 383096 w 666750"/>
                  <a:gd name="connsiteY190" fmla="*/ 15335 h 552450"/>
                  <a:gd name="connsiteX191" fmla="*/ 376333 w 666750"/>
                  <a:gd name="connsiteY191" fmla="*/ 13621 h 552450"/>
                  <a:gd name="connsiteX192" fmla="*/ 374713 w 666750"/>
                  <a:gd name="connsiteY192" fmla="*/ 12764 h 552450"/>
                  <a:gd name="connsiteX193" fmla="*/ 372142 w 666750"/>
                  <a:gd name="connsiteY193" fmla="*/ 13621 h 552450"/>
                  <a:gd name="connsiteX194" fmla="*/ 371284 w 666750"/>
                  <a:gd name="connsiteY194" fmla="*/ 13621 h 552450"/>
                  <a:gd name="connsiteX195" fmla="*/ 370427 w 666750"/>
                  <a:gd name="connsiteY195" fmla="*/ 14478 h 552450"/>
                  <a:gd name="connsiteX196" fmla="*/ 369570 w 666750"/>
                  <a:gd name="connsiteY196" fmla="*/ 15335 h 552450"/>
                  <a:gd name="connsiteX197" fmla="*/ 368808 w 666750"/>
                  <a:gd name="connsiteY197" fmla="*/ 15335 h 552450"/>
                  <a:gd name="connsiteX198" fmla="*/ 367093 w 666750"/>
                  <a:gd name="connsiteY198" fmla="*/ 16193 h 552450"/>
                  <a:gd name="connsiteX199" fmla="*/ 345091 w 666750"/>
                  <a:gd name="connsiteY199" fmla="*/ 16193 h 552450"/>
                  <a:gd name="connsiteX200" fmla="*/ 343471 w 666750"/>
                  <a:gd name="connsiteY200" fmla="*/ 17050 h 552450"/>
                  <a:gd name="connsiteX201" fmla="*/ 342614 w 666750"/>
                  <a:gd name="connsiteY201" fmla="*/ 17050 h 552450"/>
                  <a:gd name="connsiteX202" fmla="*/ 341757 w 666750"/>
                  <a:gd name="connsiteY202" fmla="*/ 17907 h 552450"/>
                  <a:gd name="connsiteX203" fmla="*/ 341757 w 666750"/>
                  <a:gd name="connsiteY203" fmla="*/ 18669 h 552450"/>
                  <a:gd name="connsiteX204" fmla="*/ 341757 w 666750"/>
                  <a:gd name="connsiteY204" fmla="*/ 20384 h 552450"/>
                  <a:gd name="connsiteX205" fmla="*/ 341757 w 666750"/>
                  <a:gd name="connsiteY205" fmla="*/ 21241 h 552450"/>
                  <a:gd name="connsiteX206" fmla="*/ 341757 w 666750"/>
                  <a:gd name="connsiteY206" fmla="*/ 22098 h 552450"/>
                  <a:gd name="connsiteX207" fmla="*/ 340900 w 666750"/>
                  <a:gd name="connsiteY207" fmla="*/ 22098 h 552450"/>
                  <a:gd name="connsiteX208" fmla="*/ 340900 w 666750"/>
                  <a:gd name="connsiteY208" fmla="*/ 22955 h 552450"/>
                  <a:gd name="connsiteX209" fmla="*/ 340042 w 666750"/>
                  <a:gd name="connsiteY209" fmla="*/ 23813 h 552450"/>
                  <a:gd name="connsiteX210" fmla="*/ 332518 w 666750"/>
                  <a:gd name="connsiteY210" fmla="*/ 27242 h 552450"/>
                  <a:gd name="connsiteX211" fmla="*/ 331660 w 666750"/>
                  <a:gd name="connsiteY211" fmla="*/ 27242 h 552450"/>
                  <a:gd name="connsiteX212" fmla="*/ 320707 w 666750"/>
                  <a:gd name="connsiteY212" fmla="*/ 28099 h 552450"/>
                  <a:gd name="connsiteX213" fmla="*/ 318992 w 666750"/>
                  <a:gd name="connsiteY213" fmla="*/ 27242 h 552450"/>
                  <a:gd name="connsiteX214" fmla="*/ 312230 w 666750"/>
                  <a:gd name="connsiteY214" fmla="*/ 23813 h 552450"/>
                  <a:gd name="connsiteX215" fmla="*/ 310515 w 666750"/>
                  <a:gd name="connsiteY215" fmla="*/ 23813 h 552450"/>
                  <a:gd name="connsiteX216" fmla="*/ 308038 w 666750"/>
                  <a:gd name="connsiteY216" fmla="*/ 23813 h 552450"/>
                  <a:gd name="connsiteX217" fmla="*/ 307181 w 666750"/>
                  <a:gd name="connsiteY217" fmla="*/ 23813 h 552450"/>
                  <a:gd name="connsiteX218" fmla="*/ 306324 w 666750"/>
                  <a:gd name="connsiteY218" fmla="*/ 22955 h 552450"/>
                  <a:gd name="connsiteX219" fmla="*/ 302895 w 666750"/>
                  <a:gd name="connsiteY219" fmla="*/ 20384 h 552450"/>
                  <a:gd name="connsiteX220" fmla="*/ 301276 w 666750"/>
                  <a:gd name="connsiteY220" fmla="*/ 18669 h 552450"/>
                  <a:gd name="connsiteX221" fmla="*/ 301276 w 666750"/>
                  <a:gd name="connsiteY221" fmla="*/ 17907 h 552450"/>
                  <a:gd name="connsiteX222" fmla="*/ 300418 w 666750"/>
                  <a:gd name="connsiteY222" fmla="*/ 16193 h 552450"/>
                  <a:gd name="connsiteX223" fmla="*/ 293656 w 666750"/>
                  <a:gd name="connsiteY223" fmla="*/ 6858 h 552450"/>
                  <a:gd name="connsiteX224" fmla="*/ 290322 w 666750"/>
                  <a:gd name="connsiteY224" fmla="*/ 5144 h 552450"/>
                  <a:gd name="connsiteX225" fmla="*/ 287750 w 666750"/>
                  <a:gd name="connsiteY225" fmla="*/ 3429 h 552450"/>
                  <a:gd name="connsiteX226" fmla="*/ 283559 w 666750"/>
                  <a:gd name="connsiteY226" fmla="*/ 2572 h 552450"/>
                  <a:gd name="connsiteX227" fmla="*/ 283559 w 666750"/>
                  <a:gd name="connsiteY227" fmla="*/ 4286 h 552450"/>
                  <a:gd name="connsiteX228" fmla="*/ 283559 w 666750"/>
                  <a:gd name="connsiteY228" fmla="*/ 5144 h 552450"/>
                  <a:gd name="connsiteX229" fmla="*/ 285178 w 666750"/>
                  <a:gd name="connsiteY229" fmla="*/ 9335 h 552450"/>
                  <a:gd name="connsiteX230" fmla="*/ 286036 w 666750"/>
                  <a:gd name="connsiteY230" fmla="*/ 11049 h 552450"/>
                  <a:gd name="connsiteX231" fmla="*/ 286036 w 666750"/>
                  <a:gd name="connsiteY231" fmla="*/ 12764 h 552450"/>
                  <a:gd name="connsiteX232" fmla="*/ 286036 w 666750"/>
                  <a:gd name="connsiteY232" fmla="*/ 14478 h 552450"/>
                  <a:gd name="connsiteX233" fmla="*/ 286036 w 666750"/>
                  <a:gd name="connsiteY233" fmla="*/ 15335 h 552450"/>
                  <a:gd name="connsiteX234" fmla="*/ 286036 w 666750"/>
                  <a:gd name="connsiteY234" fmla="*/ 16193 h 552450"/>
                  <a:gd name="connsiteX235" fmla="*/ 285178 w 666750"/>
                  <a:gd name="connsiteY235" fmla="*/ 17050 h 552450"/>
                  <a:gd name="connsiteX236" fmla="*/ 285178 w 666750"/>
                  <a:gd name="connsiteY236" fmla="*/ 17907 h 552450"/>
                  <a:gd name="connsiteX237" fmla="*/ 281845 w 666750"/>
                  <a:gd name="connsiteY237" fmla="*/ 21241 h 552450"/>
                  <a:gd name="connsiteX238" fmla="*/ 280130 w 666750"/>
                  <a:gd name="connsiteY238" fmla="*/ 22098 h 552450"/>
                  <a:gd name="connsiteX239" fmla="*/ 279273 w 666750"/>
                  <a:gd name="connsiteY239" fmla="*/ 22955 h 552450"/>
                  <a:gd name="connsiteX240" fmla="*/ 277654 w 666750"/>
                  <a:gd name="connsiteY240" fmla="*/ 23813 h 552450"/>
                  <a:gd name="connsiteX241" fmla="*/ 273367 w 666750"/>
                  <a:gd name="connsiteY241" fmla="*/ 23813 h 552450"/>
                  <a:gd name="connsiteX242" fmla="*/ 269176 w 666750"/>
                  <a:gd name="connsiteY242" fmla="*/ 25527 h 552450"/>
                  <a:gd name="connsiteX243" fmla="*/ 266700 w 666750"/>
                  <a:gd name="connsiteY243" fmla="*/ 27242 h 552450"/>
                  <a:gd name="connsiteX244" fmla="*/ 257365 w 666750"/>
                  <a:gd name="connsiteY244" fmla="*/ 35719 h 552450"/>
                  <a:gd name="connsiteX245" fmla="*/ 255651 w 666750"/>
                  <a:gd name="connsiteY245" fmla="*/ 36576 h 552450"/>
                  <a:gd name="connsiteX246" fmla="*/ 249746 w 666750"/>
                  <a:gd name="connsiteY246" fmla="*/ 38291 h 552450"/>
                  <a:gd name="connsiteX247" fmla="*/ 247269 w 666750"/>
                  <a:gd name="connsiteY247" fmla="*/ 40005 h 552450"/>
                  <a:gd name="connsiteX248" fmla="*/ 245554 w 666750"/>
                  <a:gd name="connsiteY248" fmla="*/ 41624 h 552450"/>
                  <a:gd name="connsiteX249" fmla="*/ 242983 w 666750"/>
                  <a:gd name="connsiteY249" fmla="*/ 43339 h 552450"/>
                  <a:gd name="connsiteX250" fmla="*/ 237934 w 666750"/>
                  <a:gd name="connsiteY250" fmla="*/ 51054 h 552450"/>
                  <a:gd name="connsiteX251" fmla="*/ 237077 w 666750"/>
                  <a:gd name="connsiteY251" fmla="*/ 53531 h 552450"/>
                  <a:gd name="connsiteX252" fmla="*/ 236315 w 666750"/>
                  <a:gd name="connsiteY252" fmla="*/ 54388 h 552450"/>
                  <a:gd name="connsiteX253" fmla="*/ 237077 w 666750"/>
                  <a:gd name="connsiteY253" fmla="*/ 55245 h 552450"/>
                  <a:gd name="connsiteX254" fmla="*/ 237934 w 666750"/>
                  <a:gd name="connsiteY254" fmla="*/ 56960 h 552450"/>
                  <a:gd name="connsiteX255" fmla="*/ 238792 w 666750"/>
                  <a:gd name="connsiteY255" fmla="*/ 56960 h 552450"/>
                  <a:gd name="connsiteX256" fmla="*/ 238792 w 666750"/>
                  <a:gd name="connsiteY256" fmla="*/ 57817 h 552450"/>
                  <a:gd name="connsiteX257" fmla="*/ 239649 w 666750"/>
                  <a:gd name="connsiteY257" fmla="*/ 58674 h 552450"/>
                  <a:gd name="connsiteX258" fmla="*/ 239649 w 666750"/>
                  <a:gd name="connsiteY258" fmla="*/ 59531 h 552450"/>
                  <a:gd name="connsiteX259" fmla="*/ 238792 w 666750"/>
                  <a:gd name="connsiteY259" fmla="*/ 60389 h 552450"/>
                  <a:gd name="connsiteX260" fmla="*/ 237934 w 666750"/>
                  <a:gd name="connsiteY260" fmla="*/ 61246 h 552450"/>
                  <a:gd name="connsiteX261" fmla="*/ 236315 w 666750"/>
                  <a:gd name="connsiteY261" fmla="*/ 61246 h 552450"/>
                  <a:gd name="connsiteX262" fmla="*/ 234601 w 666750"/>
                  <a:gd name="connsiteY262" fmla="*/ 62960 h 552450"/>
                  <a:gd name="connsiteX263" fmla="*/ 233743 w 666750"/>
                  <a:gd name="connsiteY263" fmla="*/ 62960 h 552450"/>
                  <a:gd name="connsiteX264" fmla="*/ 233743 w 666750"/>
                  <a:gd name="connsiteY264" fmla="*/ 64675 h 552450"/>
                  <a:gd name="connsiteX265" fmla="*/ 232886 w 666750"/>
                  <a:gd name="connsiteY265" fmla="*/ 68866 h 552450"/>
                  <a:gd name="connsiteX266" fmla="*/ 232886 w 666750"/>
                  <a:gd name="connsiteY266" fmla="*/ 69723 h 552450"/>
                  <a:gd name="connsiteX267" fmla="*/ 233743 w 666750"/>
                  <a:gd name="connsiteY267" fmla="*/ 71438 h 552450"/>
                  <a:gd name="connsiteX268" fmla="*/ 233743 w 666750"/>
                  <a:gd name="connsiteY268" fmla="*/ 72295 h 552450"/>
                  <a:gd name="connsiteX269" fmla="*/ 234601 w 666750"/>
                  <a:gd name="connsiteY269" fmla="*/ 73152 h 552450"/>
                  <a:gd name="connsiteX270" fmla="*/ 237934 w 666750"/>
                  <a:gd name="connsiteY270" fmla="*/ 74867 h 552450"/>
                  <a:gd name="connsiteX271" fmla="*/ 238792 w 666750"/>
                  <a:gd name="connsiteY271" fmla="*/ 74867 h 552450"/>
                  <a:gd name="connsiteX272" fmla="*/ 239649 w 666750"/>
                  <a:gd name="connsiteY272" fmla="*/ 75724 h 552450"/>
                  <a:gd name="connsiteX273" fmla="*/ 239649 w 666750"/>
                  <a:gd name="connsiteY273" fmla="*/ 76486 h 552450"/>
                  <a:gd name="connsiteX274" fmla="*/ 239649 w 666750"/>
                  <a:gd name="connsiteY274" fmla="*/ 77343 h 552450"/>
                  <a:gd name="connsiteX275" fmla="*/ 237934 w 666750"/>
                  <a:gd name="connsiteY275" fmla="*/ 80772 h 552450"/>
                  <a:gd name="connsiteX276" fmla="*/ 237934 w 666750"/>
                  <a:gd name="connsiteY276" fmla="*/ 81629 h 552450"/>
                  <a:gd name="connsiteX277" fmla="*/ 237934 w 666750"/>
                  <a:gd name="connsiteY277" fmla="*/ 82487 h 552450"/>
                  <a:gd name="connsiteX278" fmla="*/ 238792 w 666750"/>
                  <a:gd name="connsiteY278" fmla="*/ 84201 h 552450"/>
                  <a:gd name="connsiteX279" fmla="*/ 237934 w 666750"/>
                  <a:gd name="connsiteY279" fmla="*/ 86773 h 552450"/>
                  <a:gd name="connsiteX280" fmla="*/ 237077 w 666750"/>
                  <a:gd name="connsiteY280" fmla="*/ 86773 h 552450"/>
                  <a:gd name="connsiteX281" fmla="*/ 236315 w 666750"/>
                  <a:gd name="connsiteY281" fmla="*/ 86773 h 552450"/>
                  <a:gd name="connsiteX282" fmla="*/ 234601 w 666750"/>
                  <a:gd name="connsiteY282" fmla="*/ 86773 h 552450"/>
                  <a:gd name="connsiteX283" fmla="*/ 233743 w 666750"/>
                  <a:gd name="connsiteY283" fmla="*/ 86773 h 552450"/>
                  <a:gd name="connsiteX284" fmla="*/ 233743 w 666750"/>
                  <a:gd name="connsiteY284" fmla="*/ 87630 h 552450"/>
                  <a:gd name="connsiteX285" fmla="*/ 233743 w 666750"/>
                  <a:gd name="connsiteY285" fmla="*/ 89249 h 552450"/>
                  <a:gd name="connsiteX286" fmla="*/ 233743 w 666750"/>
                  <a:gd name="connsiteY286" fmla="*/ 90107 h 552450"/>
                  <a:gd name="connsiteX287" fmla="*/ 232886 w 666750"/>
                  <a:gd name="connsiteY287" fmla="*/ 90964 h 552450"/>
                  <a:gd name="connsiteX288" fmla="*/ 232029 w 666750"/>
                  <a:gd name="connsiteY288" fmla="*/ 90964 h 552450"/>
                  <a:gd name="connsiteX289" fmla="*/ 231172 w 666750"/>
                  <a:gd name="connsiteY289" fmla="*/ 90107 h 552450"/>
                  <a:gd name="connsiteX290" fmla="*/ 231172 w 666750"/>
                  <a:gd name="connsiteY290" fmla="*/ 90107 h 552450"/>
                  <a:gd name="connsiteX291" fmla="*/ 230410 w 666750"/>
                  <a:gd name="connsiteY291" fmla="*/ 89249 h 552450"/>
                  <a:gd name="connsiteX292" fmla="*/ 228695 w 666750"/>
                  <a:gd name="connsiteY292" fmla="*/ 89249 h 552450"/>
                  <a:gd name="connsiteX293" fmla="*/ 227838 w 666750"/>
                  <a:gd name="connsiteY293" fmla="*/ 90107 h 552450"/>
                  <a:gd name="connsiteX294" fmla="*/ 227838 w 666750"/>
                  <a:gd name="connsiteY294" fmla="*/ 91821 h 552450"/>
                  <a:gd name="connsiteX295" fmla="*/ 227838 w 666750"/>
                  <a:gd name="connsiteY295" fmla="*/ 94393 h 552450"/>
                  <a:gd name="connsiteX296" fmla="*/ 226981 w 666750"/>
                  <a:gd name="connsiteY296" fmla="*/ 96965 h 552450"/>
                  <a:gd name="connsiteX297" fmla="*/ 225266 w 666750"/>
                  <a:gd name="connsiteY297" fmla="*/ 100298 h 552450"/>
                  <a:gd name="connsiteX298" fmla="*/ 215170 w 666750"/>
                  <a:gd name="connsiteY298" fmla="*/ 116491 h 552450"/>
                  <a:gd name="connsiteX299" fmla="*/ 214313 w 666750"/>
                  <a:gd name="connsiteY299" fmla="*/ 119063 h 552450"/>
                  <a:gd name="connsiteX300" fmla="*/ 214313 w 666750"/>
                  <a:gd name="connsiteY300" fmla="*/ 119920 h 552450"/>
                  <a:gd name="connsiteX301" fmla="*/ 213455 w 666750"/>
                  <a:gd name="connsiteY301" fmla="*/ 124111 h 552450"/>
                  <a:gd name="connsiteX302" fmla="*/ 212693 w 666750"/>
                  <a:gd name="connsiteY302" fmla="*/ 125825 h 552450"/>
                  <a:gd name="connsiteX303" fmla="*/ 212693 w 666750"/>
                  <a:gd name="connsiteY303" fmla="*/ 127540 h 552450"/>
                  <a:gd name="connsiteX304" fmla="*/ 212693 w 666750"/>
                  <a:gd name="connsiteY304" fmla="*/ 130112 h 552450"/>
                  <a:gd name="connsiteX305" fmla="*/ 212693 w 666750"/>
                  <a:gd name="connsiteY305" fmla="*/ 131826 h 552450"/>
                  <a:gd name="connsiteX306" fmla="*/ 213455 w 666750"/>
                  <a:gd name="connsiteY306" fmla="*/ 132683 h 552450"/>
                  <a:gd name="connsiteX307" fmla="*/ 214313 w 666750"/>
                  <a:gd name="connsiteY307" fmla="*/ 133541 h 552450"/>
                  <a:gd name="connsiteX308" fmla="*/ 217742 w 666750"/>
                  <a:gd name="connsiteY308" fmla="*/ 136874 h 552450"/>
                  <a:gd name="connsiteX309" fmla="*/ 218599 w 666750"/>
                  <a:gd name="connsiteY309" fmla="*/ 137732 h 552450"/>
                  <a:gd name="connsiteX310" fmla="*/ 218599 w 666750"/>
                  <a:gd name="connsiteY310" fmla="*/ 139446 h 552450"/>
                  <a:gd name="connsiteX311" fmla="*/ 219361 w 666750"/>
                  <a:gd name="connsiteY311" fmla="*/ 140303 h 552450"/>
                  <a:gd name="connsiteX312" fmla="*/ 219361 w 666750"/>
                  <a:gd name="connsiteY312" fmla="*/ 142875 h 552450"/>
                  <a:gd name="connsiteX313" fmla="*/ 218599 w 666750"/>
                  <a:gd name="connsiteY313" fmla="*/ 144590 h 552450"/>
                  <a:gd name="connsiteX314" fmla="*/ 218599 w 666750"/>
                  <a:gd name="connsiteY314" fmla="*/ 145447 h 552450"/>
                  <a:gd name="connsiteX315" fmla="*/ 217742 w 666750"/>
                  <a:gd name="connsiteY315" fmla="*/ 145447 h 552450"/>
                  <a:gd name="connsiteX316" fmla="*/ 216027 w 666750"/>
                  <a:gd name="connsiteY316" fmla="*/ 145447 h 552450"/>
                  <a:gd name="connsiteX317" fmla="*/ 215170 w 666750"/>
                  <a:gd name="connsiteY317" fmla="*/ 145447 h 552450"/>
                  <a:gd name="connsiteX318" fmla="*/ 214313 w 666750"/>
                  <a:gd name="connsiteY318" fmla="*/ 144590 h 552450"/>
                  <a:gd name="connsiteX319" fmla="*/ 209264 w 666750"/>
                  <a:gd name="connsiteY319" fmla="*/ 142875 h 552450"/>
                  <a:gd name="connsiteX320" fmla="*/ 208407 w 666750"/>
                  <a:gd name="connsiteY320" fmla="*/ 142875 h 552450"/>
                  <a:gd name="connsiteX321" fmla="*/ 207550 w 666750"/>
                  <a:gd name="connsiteY321" fmla="*/ 142875 h 552450"/>
                  <a:gd name="connsiteX322" fmla="*/ 206788 w 666750"/>
                  <a:gd name="connsiteY322" fmla="*/ 143732 h 552450"/>
                  <a:gd name="connsiteX323" fmla="*/ 205930 w 666750"/>
                  <a:gd name="connsiteY323" fmla="*/ 144590 h 552450"/>
                  <a:gd name="connsiteX324" fmla="*/ 205073 w 666750"/>
                  <a:gd name="connsiteY324" fmla="*/ 145447 h 552450"/>
                  <a:gd name="connsiteX325" fmla="*/ 205073 w 666750"/>
                  <a:gd name="connsiteY325" fmla="*/ 147066 h 552450"/>
                  <a:gd name="connsiteX326" fmla="*/ 205073 w 666750"/>
                  <a:gd name="connsiteY326" fmla="*/ 147923 h 552450"/>
                  <a:gd name="connsiteX327" fmla="*/ 205073 w 666750"/>
                  <a:gd name="connsiteY327" fmla="*/ 148781 h 552450"/>
                  <a:gd name="connsiteX328" fmla="*/ 205073 w 666750"/>
                  <a:gd name="connsiteY328" fmla="*/ 148781 h 552450"/>
                  <a:gd name="connsiteX329" fmla="*/ 205073 w 666750"/>
                  <a:gd name="connsiteY329" fmla="*/ 148781 h 552450"/>
                  <a:gd name="connsiteX330" fmla="*/ 205073 w 666750"/>
                  <a:gd name="connsiteY330" fmla="*/ 149638 h 552450"/>
                  <a:gd name="connsiteX331" fmla="*/ 205073 w 666750"/>
                  <a:gd name="connsiteY331" fmla="*/ 151352 h 552450"/>
                  <a:gd name="connsiteX332" fmla="*/ 202501 w 666750"/>
                  <a:gd name="connsiteY332" fmla="*/ 153924 h 552450"/>
                  <a:gd name="connsiteX333" fmla="*/ 201644 w 666750"/>
                  <a:gd name="connsiteY333" fmla="*/ 155639 h 552450"/>
                  <a:gd name="connsiteX334" fmla="*/ 198310 w 666750"/>
                  <a:gd name="connsiteY334" fmla="*/ 164973 h 552450"/>
                  <a:gd name="connsiteX335" fmla="*/ 197453 w 666750"/>
                  <a:gd name="connsiteY335" fmla="*/ 167545 h 552450"/>
                  <a:gd name="connsiteX336" fmla="*/ 195739 w 666750"/>
                  <a:gd name="connsiteY336" fmla="*/ 168402 h 552450"/>
                  <a:gd name="connsiteX337" fmla="*/ 194119 w 666750"/>
                  <a:gd name="connsiteY337" fmla="*/ 170021 h 552450"/>
                  <a:gd name="connsiteX338" fmla="*/ 192405 w 666750"/>
                  <a:gd name="connsiteY338" fmla="*/ 170879 h 552450"/>
                  <a:gd name="connsiteX339" fmla="*/ 190690 w 666750"/>
                  <a:gd name="connsiteY339" fmla="*/ 170879 h 552450"/>
                  <a:gd name="connsiteX340" fmla="*/ 184785 w 666750"/>
                  <a:gd name="connsiteY340" fmla="*/ 171736 h 552450"/>
                  <a:gd name="connsiteX341" fmla="*/ 183928 w 666750"/>
                  <a:gd name="connsiteY341" fmla="*/ 171736 h 552450"/>
                  <a:gd name="connsiteX342" fmla="*/ 183071 w 666750"/>
                  <a:gd name="connsiteY342" fmla="*/ 170879 h 552450"/>
                  <a:gd name="connsiteX343" fmla="*/ 182309 w 666750"/>
                  <a:gd name="connsiteY343" fmla="*/ 169164 h 552450"/>
                  <a:gd name="connsiteX344" fmla="*/ 180594 w 666750"/>
                  <a:gd name="connsiteY344" fmla="*/ 168402 h 552450"/>
                  <a:gd name="connsiteX345" fmla="*/ 179737 w 666750"/>
                  <a:gd name="connsiteY345" fmla="*/ 168402 h 552450"/>
                  <a:gd name="connsiteX346" fmla="*/ 178879 w 666750"/>
                  <a:gd name="connsiteY346" fmla="*/ 167545 h 552450"/>
                  <a:gd name="connsiteX347" fmla="*/ 177165 w 666750"/>
                  <a:gd name="connsiteY347" fmla="*/ 167545 h 552450"/>
                  <a:gd name="connsiteX348" fmla="*/ 176403 w 666750"/>
                  <a:gd name="connsiteY348" fmla="*/ 166688 h 552450"/>
                  <a:gd name="connsiteX349" fmla="*/ 176403 w 666750"/>
                  <a:gd name="connsiteY349" fmla="*/ 166688 h 552450"/>
                  <a:gd name="connsiteX350" fmla="*/ 175546 w 666750"/>
                  <a:gd name="connsiteY350" fmla="*/ 164973 h 552450"/>
                  <a:gd name="connsiteX351" fmla="*/ 173831 w 666750"/>
                  <a:gd name="connsiteY351" fmla="*/ 164116 h 552450"/>
                  <a:gd name="connsiteX352" fmla="*/ 172974 w 666750"/>
                  <a:gd name="connsiteY352" fmla="*/ 164116 h 552450"/>
                  <a:gd name="connsiteX353" fmla="*/ 161163 w 666750"/>
                  <a:gd name="connsiteY353" fmla="*/ 165830 h 552450"/>
                  <a:gd name="connsiteX354" fmla="*/ 159448 w 666750"/>
                  <a:gd name="connsiteY354" fmla="*/ 165830 h 552450"/>
                  <a:gd name="connsiteX355" fmla="*/ 156972 w 666750"/>
                  <a:gd name="connsiteY355" fmla="*/ 166688 h 552450"/>
                  <a:gd name="connsiteX356" fmla="*/ 156115 w 666750"/>
                  <a:gd name="connsiteY356" fmla="*/ 166688 h 552450"/>
                  <a:gd name="connsiteX357" fmla="*/ 154400 w 666750"/>
                  <a:gd name="connsiteY357" fmla="*/ 167545 h 552450"/>
                  <a:gd name="connsiteX358" fmla="*/ 153543 w 666750"/>
                  <a:gd name="connsiteY358" fmla="*/ 168402 h 552450"/>
                  <a:gd name="connsiteX359" fmla="*/ 152781 w 666750"/>
                  <a:gd name="connsiteY359" fmla="*/ 168402 h 552450"/>
                  <a:gd name="connsiteX360" fmla="*/ 151924 w 666750"/>
                  <a:gd name="connsiteY360" fmla="*/ 167545 h 552450"/>
                  <a:gd name="connsiteX361" fmla="*/ 151067 w 666750"/>
                  <a:gd name="connsiteY361" fmla="*/ 166688 h 552450"/>
                  <a:gd name="connsiteX362" fmla="*/ 150209 w 666750"/>
                  <a:gd name="connsiteY362" fmla="*/ 166688 h 552450"/>
                  <a:gd name="connsiteX363" fmla="*/ 149352 w 666750"/>
                  <a:gd name="connsiteY363" fmla="*/ 166688 h 552450"/>
                  <a:gd name="connsiteX364" fmla="*/ 140113 w 666750"/>
                  <a:gd name="connsiteY364" fmla="*/ 166688 h 552450"/>
                  <a:gd name="connsiteX365" fmla="*/ 138398 w 666750"/>
                  <a:gd name="connsiteY365" fmla="*/ 167545 h 552450"/>
                  <a:gd name="connsiteX366" fmla="*/ 137541 w 666750"/>
                  <a:gd name="connsiteY366" fmla="*/ 167545 h 552450"/>
                  <a:gd name="connsiteX367" fmla="*/ 137541 w 666750"/>
                  <a:gd name="connsiteY367" fmla="*/ 168402 h 552450"/>
                  <a:gd name="connsiteX368" fmla="*/ 137541 w 666750"/>
                  <a:gd name="connsiteY368" fmla="*/ 168402 h 552450"/>
                  <a:gd name="connsiteX369" fmla="*/ 137541 w 666750"/>
                  <a:gd name="connsiteY369" fmla="*/ 169164 h 552450"/>
                  <a:gd name="connsiteX370" fmla="*/ 137541 w 666750"/>
                  <a:gd name="connsiteY370" fmla="*/ 170879 h 552450"/>
                  <a:gd name="connsiteX371" fmla="*/ 137541 w 666750"/>
                  <a:gd name="connsiteY371" fmla="*/ 172593 h 552450"/>
                  <a:gd name="connsiteX372" fmla="*/ 135826 w 666750"/>
                  <a:gd name="connsiteY372" fmla="*/ 176022 h 552450"/>
                  <a:gd name="connsiteX373" fmla="*/ 133350 w 666750"/>
                  <a:gd name="connsiteY373" fmla="*/ 181928 h 552450"/>
                  <a:gd name="connsiteX374" fmla="*/ 128302 w 666750"/>
                  <a:gd name="connsiteY374" fmla="*/ 190500 h 552450"/>
                  <a:gd name="connsiteX375" fmla="*/ 126587 w 666750"/>
                  <a:gd name="connsiteY375" fmla="*/ 192119 h 552450"/>
                  <a:gd name="connsiteX376" fmla="*/ 125730 w 666750"/>
                  <a:gd name="connsiteY376" fmla="*/ 192977 h 552450"/>
                  <a:gd name="connsiteX377" fmla="*/ 124873 w 666750"/>
                  <a:gd name="connsiteY377" fmla="*/ 192977 h 552450"/>
                  <a:gd name="connsiteX378" fmla="*/ 124015 w 666750"/>
                  <a:gd name="connsiteY378" fmla="*/ 193834 h 552450"/>
                  <a:gd name="connsiteX379" fmla="*/ 123158 w 666750"/>
                  <a:gd name="connsiteY379" fmla="*/ 193834 h 552450"/>
                  <a:gd name="connsiteX380" fmla="*/ 121539 w 666750"/>
                  <a:gd name="connsiteY380" fmla="*/ 196406 h 552450"/>
                  <a:gd name="connsiteX381" fmla="*/ 120682 w 666750"/>
                  <a:gd name="connsiteY381" fmla="*/ 198120 h 552450"/>
                  <a:gd name="connsiteX382" fmla="*/ 118967 w 666750"/>
                  <a:gd name="connsiteY382" fmla="*/ 200692 h 552450"/>
                  <a:gd name="connsiteX383" fmla="*/ 117253 w 666750"/>
                  <a:gd name="connsiteY383" fmla="*/ 202406 h 552450"/>
                  <a:gd name="connsiteX384" fmla="*/ 116491 w 666750"/>
                  <a:gd name="connsiteY384" fmla="*/ 203168 h 552450"/>
                  <a:gd name="connsiteX385" fmla="*/ 114776 w 666750"/>
                  <a:gd name="connsiteY385" fmla="*/ 204026 h 552450"/>
                  <a:gd name="connsiteX386" fmla="*/ 113062 w 666750"/>
                  <a:gd name="connsiteY386" fmla="*/ 204883 h 552450"/>
                  <a:gd name="connsiteX387" fmla="*/ 112204 w 666750"/>
                  <a:gd name="connsiteY387" fmla="*/ 204883 h 552450"/>
                  <a:gd name="connsiteX388" fmla="*/ 112204 w 666750"/>
                  <a:gd name="connsiteY388" fmla="*/ 204883 h 552450"/>
                  <a:gd name="connsiteX389" fmla="*/ 111347 w 666750"/>
                  <a:gd name="connsiteY389" fmla="*/ 204026 h 552450"/>
                  <a:gd name="connsiteX390" fmla="*/ 111347 w 666750"/>
                  <a:gd name="connsiteY390" fmla="*/ 204026 h 552450"/>
                  <a:gd name="connsiteX391" fmla="*/ 111347 w 666750"/>
                  <a:gd name="connsiteY391" fmla="*/ 203168 h 552450"/>
                  <a:gd name="connsiteX392" fmla="*/ 111347 w 666750"/>
                  <a:gd name="connsiteY392" fmla="*/ 201549 h 552450"/>
                  <a:gd name="connsiteX393" fmla="*/ 111347 w 666750"/>
                  <a:gd name="connsiteY393" fmla="*/ 201549 h 552450"/>
                  <a:gd name="connsiteX394" fmla="*/ 111347 w 666750"/>
                  <a:gd name="connsiteY394" fmla="*/ 200692 h 552450"/>
                  <a:gd name="connsiteX395" fmla="*/ 110585 w 666750"/>
                  <a:gd name="connsiteY395" fmla="*/ 199835 h 552450"/>
                  <a:gd name="connsiteX396" fmla="*/ 110585 w 666750"/>
                  <a:gd name="connsiteY396" fmla="*/ 199835 h 552450"/>
                  <a:gd name="connsiteX397" fmla="*/ 106299 w 666750"/>
                  <a:gd name="connsiteY397" fmla="*/ 198977 h 552450"/>
                  <a:gd name="connsiteX398" fmla="*/ 106299 w 666750"/>
                  <a:gd name="connsiteY398" fmla="*/ 198977 h 552450"/>
                  <a:gd name="connsiteX399" fmla="*/ 105442 w 666750"/>
                  <a:gd name="connsiteY399" fmla="*/ 198977 h 552450"/>
                  <a:gd name="connsiteX400" fmla="*/ 104680 w 666750"/>
                  <a:gd name="connsiteY400" fmla="*/ 199835 h 552450"/>
                  <a:gd name="connsiteX401" fmla="*/ 104680 w 666750"/>
                  <a:gd name="connsiteY401" fmla="*/ 199835 h 552450"/>
                  <a:gd name="connsiteX402" fmla="*/ 104680 w 666750"/>
                  <a:gd name="connsiteY402" fmla="*/ 200692 h 552450"/>
                  <a:gd name="connsiteX403" fmla="*/ 104680 w 666750"/>
                  <a:gd name="connsiteY403" fmla="*/ 201549 h 552450"/>
                  <a:gd name="connsiteX404" fmla="*/ 104680 w 666750"/>
                  <a:gd name="connsiteY404" fmla="*/ 215075 h 552450"/>
                  <a:gd name="connsiteX405" fmla="*/ 104680 w 666750"/>
                  <a:gd name="connsiteY405" fmla="*/ 215932 h 552450"/>
                  <a:gd name="connsiteX406" fmla="*/ 105442 w 666750"/>
                  <a:gd name="connsiteY406" fmla="*/ 217646 h 552450"/>
                  <a:gd name="connsiteX407" fmla="*/ 106299 w 666750"/>
                  <a:gd name="connsiteY407" fmla="*/ 220218 h 552450"/>
                  <a:gd name="connsiteX408" fmla="*/ 106299 w 666750"/>
                  <a:gd name="connsiteY408" fmla="*/ 221075 h 552450"/>
                  <a:gd name="connsiteX409" fmla="*/ 107156 w 666750"/>
                  <a:gd name="connsiteY409" fmla="*/ 222790 h 552450"/>
                  <a:gd name="connsiteX410" fmla="*/ 107156 w 666750"/>
                  <a:gd name="connsiteY410" fmla="*/ 224504 h 552450"/>
                  <a:gd name="connsiteX411" fmla="*/ 107156 w 666750"/>
                  <a:gd name="connsiteY411" fmla="*/ 225362 h 552450"/>
                  <a:gd name="connsiteX412" fmla="*/ 106299 w 666750"/>
                  <a:gd name="connsiteY412" fmla="*/ 227838 h 552450"/>
                  <a:gd name="connsiteX413" fmla="*/ 106299 w 666750"/>
                  <a:gd name="connsiteY413" fmla="*/ 229553 h 552450"/>
                  <a:gd name="connsiteX414" fmla="*/ 103822 w 666750"/>
                  <a:gd name="connsiteY414" fmla="*/ 237268 h 552450"/>
                  <a:gd name="connsiteX415" fmla="*/ 103822 w 666750"/>
                  <a:gd name="connsiteY415" fmla="*/ 238887 h 552450"/>
                  <a:gd name="connsiteX416" fmla="*/ 104680 w 666750"/>
                  <a:gd name="connsiteY416" fmla="*/ 240602 h 552450"/>
                  <a:gd name="connsiteX417" fmla="*/ 106299 w 666750"/>
                  <a:gd name="connsiteY417" fmla="*/ 244031 h 552450"/>
                  <a:gd name="connsiteX418" fmla="*/ 106299 w 666750"/>
                  <a:gd name="connsiteY418" fmla="*/ 244031 h 552450"/>
                  <a:gd name="connsiteX419" fmla="*/ 106299 w 666750"/>
                  <a:gd name="connsiteY419" fmla="*/ 244031 h 552450"/>
                  <a:gd name="connsiteX420" fmla="*/ 106299 w 666750"/>
                  <a:gd name="connsiteY420" fmla="*/ 244031 h 552450"/>
                  <a:gd name="connsiteX421" fmla="*/ 107156 w 666750"/>
                  <a:gd name="connsiteY421" fmla="*/ 244031 h 552450"/>
                  <a:gd name="connsiteX422" fmla="*/ 107156 w 666750"/>
                  <a:gd name="connsiteY422" fmla="*/ 244031 h 552450"/>
                  <a:gd name="connsiteX423" fmla="*/ 107156 w 666750"/>
                  <a:gd name="connsiteY423" fmla="*/ 243173 h 552450"/>
                  <a:gd name="connsiteX424" fmla="*/ 108013 w 666750"/>
                  <a:gd name="connsiteY424" fmla="*/ 243173 h 552450"/>
                  <a:gd name="connsiteX425" fmla="*/ 108871 w 666750"/>
                  <a:gd name="connsiteY425" fmla="*/ 244031 h 552450"/>
                  <a:gd name="connsiteX426" fmla="*/ 108871 w 666750"/>
                  <a:gd name="connsiteY426" fmla="*/ 244031 h 552450"/>
                  <a:gd name="connsiteX427" fmla="*/ 108871 w 666750"/>
                  <a:gd name="connsiteY427" fmla="*/ 245745 h 552450"/>
                  <a:gd name="connsiteX428" fmla="*/ 108871 w 666750"/>
                  <a:gd name="connsiteY428" fmla="*/ 248317 h 552450"/>
                  <a:gd name="connsiteX429" fmla="*/ 109728 w 666750"/>
                  <a:gd name="connsiteY429" fmla="*/ 249174 h 552450"/>
                  <a:gd name="connsiteX430" fmla="*/ 110585 w 666750"/>
                  <a:gd name="connsiteY430" fmla="*/ 249936 h 552450"/>
                  <a:gd name="connsiteX431" fmla="*/ 110585 w 666750"/>
                  <a:gd name="connsiteY431" fmla="*/ 249936 h 552450"/>
                  <a:gd name="connsiteX432" fmla="*/ 111347 w 666750"/>
                  <a:gd name="connsiteY432" fmla="*/ 249174 h 552450"/>
                  <a:gd name="connsiteX433" fmla="*/ 112204 w 666750"/>
                  <a:gd name="connsiteY433" fmla="*/ 249174 h 552450"/>
                  <a:gd name="connsiteX434" fmla="*/ 112204 w 666750"/>
                  <a:gd name="connsiteY434" fmla="*/ 248317 h 552450"/>
                  <a:gd name="connsiteX435" fmla="*/ 113062 w 666750"/>
                  <a:gd name="connsiteY435" fmla="*/ 249936 h 552450"/>
                  <a:gd name="connsiteX436" fmla="*/ 113062 w 666750"/>
                  <a:gd name="connsiteY436" fmla="*/ 252508 h 552450"/>
                  <a:gd name="connsiteX437" fmla="*/ 112204 w 666750"/>
                  <a:gd name="connsiteY437" fmla="*/ 262700 h 552450"/>
                  <a:gd name="connsiteX438" fmla="*/ 112204 w 666750"/>
                  <a:gd name="connsiteY438" fmla="*/ 264414 h 552450"/>
                  <a:gd name="connsiteX439" fmla="*/ 112204 w 666750"/>
                  <a:gd name="connsiteY439" fmla="*/ 265271 h 552450"/>
                  <a:gd name="connsiteX440" fmla="*/ 113062 w 666750"/>
                  <a:gd name="connsiteY440" fmla="*/ 266129 h 552450"/>
                  <a:gd name="connsiteX441" fmla="*/ 113062 w 666750"/>
                  <a:gd name="connsiteY441" fmla="*/ 266986 h 552450"/>
                  <a:gd name="connsiteX442" fmla="*/ 113919 w 666750"/>
                  <a:gd name="connsiteY442" fmla="*/ 268700 h 552450"/>
                  <a:gd name="connsiteX443" fmla="*/ 113919 w 666750"/>
                  <a:gd name="connsiteY443" fmla="*/ 274606 h 552450"/>
                  <a:gd name="connsiteX444" fmla="*/ 114776 w 666750"/>
                  <a:gd name="connsiteY444" fmla="*/ 279749 h 552450"/>
                  <a:gd name="connsiteX445" fmla="*/ 114776 w 666750"/>
                  <a:gd name="connsiteY445" fmla="*/ 282321 h 552450"/>
                  <a:gd name="connsiteX446" fmla="*/ 114776 w 666750"/>
                  <a:gd name="connsiteY446" fmla="*/ 283940 h 552450"/>
                  <a:gd name="connsiteX447" fmla="*/ 112204 w 666750"/>
                  <a:gd name="connsiteY447" fmla="*/ 291656 h 552450"/>
                  <a:gd name="connsiteX448" fmla="*/ 112204 w 666750"/>
                  <a:gd name="connsiteY448" fmla="*/ 294227 h 552450"/>
                  <a:gd name="connsiteX449" fmla="*/ 112204 w 666750"/>
                  <a:gd name="connsiteY449" fmla="*/ 295085 h 552450"/>
                  <a:gd name="connsiteX450" fmla="*/ 117253 w 666750"/>
                  <a:gd name="connsiteY450" fmla="*/ 297561 h 552450"/>
                  <a:gd name="connsiteX451" fmla="*/ 118110 w 666750"/>
                  <a:gd name="connsiteY451" fmla="*/ 298418 h 552450"/>
                  <a:gd name="connsiteX452" fmla="*/ 120682 w 666750"/>
                  <a:gd name="connsiteY452" fmla="*/ 300133 h 552450"/>
                  <a:gd name="connsiteX453" fmla="*/ 120682 w 666750"/>
                  <a:gd name="connsiteY453" fmla="*/ 300133 h 552450"/>
                  <a:gd name="connsiteX454" fmla="*/ 121539 w 666750"/>
                  <a:gd name="connsiteY454" fmla="*/ 300133 h 552450"/>
                  <a:gd name="connsiteX455" fmla="*/ 122396 w 666750"/>
                  <a:gd name="connsiteY455" fmla="*/ 300133 h 552450"/>
                  <a:gd name="connsiteX456" fmla="*/ 127444 w 666750"/>
                  <a:gd name="connsiteY456" fmla="*/ 300133 h 552450"/>
                  <a:gd name="connsiteX457" fmla="*/ 128302 w 666750"/>
                  <a:gd name="connsiteY457" fmla="*/ 300133 h 552450"/>
                  <a:gd name="connsiteX458" fmla="*/ 129064 w 666750"/>
                  <a:gd name="connsiteY458" fmla="*/ 300133 h 552450"/>
                  <a:gd name="connsiteX459" fmla="*/ 129064 w 666750"/>
                  <a:gd name="connsiteY459" fmla="*/ 300990 h 552450"/>
                  <a:gd name="connsiteX460" fmla="*/ 129921 w 666750"/>
                  <a:gd name="connsiteY460" fmla="*/ 300990 h 552450"/>
                  <a:gd name="connsiteX461" fmla="*/ 131635 w 666750"/>
                  <a:gd name="connsiteY461" fmla="*/ 302705 h 552450"/>
                  <a:gd name="connsiteX462" fmla="*/ 131635 w 666750"/>
                  <a:gd name="connsiteY462" fmla="*/ 303562 h 552450"/>
                  <a:gd name="connsiteX463" fmla="*/ 132493 w 666750"/>
                  <a:gd name="connsiteY463" fmla="*/ 303562 h 552450"/>
                  <a:gd name="connsiteX464" fmla="*/ 133350 w 666750"/>
                  <a:gd name="connsiteY464" fmla="*/ 304419 h 552450"/>
                  <a:gd name="connsiteX465" fmla="*/ 134207 w 666750"/>
                  <a:gd name="connsiteY465" fmla="*/ 304419 h 552450"/>
                  <a:gd name="connsiteX466" fmla="*/ 134969 w 666750"/>
                  <a:gd name="connsiteY466" fmla="*/ 304419 h 552450"/>
                  <a:gd name="connsiteX467" fmla="*/ 135826 w 666750"/>
                  <a:gd name="connsiteY467" fmla="*/ 303562 h 552450"/>
                  <a:gd name="connsiteX468" fmla="*/ 136684 w 666750"/>
                  <a:gd name="connsiteY468" fmla="*/ 302705 h 552450"/>
                  <a:gd name="connsiteX469" fmla="*/ 136684 w 666750"/>
                  <a:gd name="connsiteY469" fmla="*/ 302705 h 552450"/>
                  <a:gd name="connsiteX470" fmla="*/ 137541 w 666750"/>
                  <a:gd name="connsiteY470" fmla="*/ 302705 h 552450"/>
                  <a:gd name="connsiteX471" fmla="*/ 137541 w 666750"/>
                  <a:gd name="connsiteY471" fmla="*/ 302705 h 552450"/>
                  <a:gd name="connsiteX472" fmla="*/ 138398 w 666750"/>
                  <a:gd name="connsiteY472" fmla="*/ 302705 h 552450"/>
                  <a:gd name="connsiteX473" fmla="*/ 140113 w 666750"/>
                  <a:gd name="connsiteY473" fmla="*/ 302705 h 552450"/>
                  <a:gd name="connsiteX474" fmla="*/ 142589 w 666750"/>
                  <a:gd name="connsiteY474" fmla="*/ 302705 h 552450"/>
                  <a:gd name="connsiteX475" fmla="*/ 142589 w 666750"/>
                  <a:gd name="connsiteY475" fmla="*/ 302705 h 552450"/>
                  <a:gd name="connsiteX476" fmla="*/ 143446 w 666750"/>
                  <a:gd name="connsiteY476" fmla="*/ 302705 h 552450"/>
                  <a:gd name="connsiteX477" fmla="*/ 143446 w 666750"/>
                  <a:gd name="connsiteY477" fmla="*/ 302705 h 552450"/>
                  <a:gd name="connsiteX478" fmla="*/ 143446 w 666750"/>
                  <a:gd name="connsiteY478" fmla="*/ 305276 h 552450"/>
                  <a:gd name="connsiteX479" fmla="*/ 143446 w 666750"/>
                  <a:gd name="connsiteY479" fmla="*/ 306134 h 552450"/>
                  <a:gd name="connsiteX480" fmla="*/ 143446 w 666750"/>
                  <a:gd name="connsiteY480" fmla="*/ 308610 h 552450"/>
                  <a:gd name="connsiteX481" fmla="*/ 141732 w 666750"/>
                  <a:gd name="connsiteY481" fmla="*/ 313754 h 552450"/>
                  <a:gd name="connsiteX482" fmla="*/ 141732 w 666750"/>
                  <a:gd name="connsiteY482" fmla="*/ 315468 h 552450"/>
                  <a:gd name="connsiteX483" fmla="*/ 141732 w 666750"/>
                  <a:gd name="connsiteY483" fmla="*/ 316325 h 552450"/>
                  <a:gd name="connsiteX484" fmla="*/ 142589 w 666750"/>
                  <a:gd name="connsiteY484" fmla="*/ 316325 h 552450"/>
                  <a:gd name="connsiteX485" fmla="*/ 142589 w 666750"/>
                  <a:gd name="connsiteY485" fmla="*/ 317183 h 552450"/>
                  <a:gd name="connsiteX486" fmla="*/ 144304 w 666750"/>
                  <a:gd name="connsiteY486" fmla="*/ 318802 h 552450"/>
                  <a:gd name="connsiteX487" fmla="*/ 145161 w 666750"/>
                  <a:gd name="connsiteY487" fmla="*/ 319659 h 552450"/>
                  <a:gd name="connsiteX488" fmla="*/ 145161 w 666750"/>
                  <a:gd name="connsiteY488" fmla="*/ 320516 h 552450"/>
                  <a:gd name="connsiteX489" fmla="*/ 144304 w 666750"/>
                  <a:gd name="connsiteY489" fmla="*/ 321374 h 552450"/>
                  <a:gd name="connsiteX490" fmla="*/ 142589 w 666750"/>
                  <a:gd name="connsiteY490" fmla="*/ 323088 h 552450"/>
                  <a:gd name="connsiteX491" fmla="*/ 141732 w 666750"/>
                  <a:gd name="connsiteY491" fmla="*/ 323945 h 552450"/>
                  <a:gd name="connsiteX492" fmla="*/ 139255 w 666750"/>
                  <a:gd name="connsiteY492" fmla="*/ 324803 h 552450"/>
                  <a:gd name="connsiteX493" fmla="*/ 138398 w 666750"/>
                  <a:gd name="connsiteY493" fmla="*/ 324803 h 552450"/>
                  <a:gd name="connsiteX494" fmla="*/ 136684 w 666750"/>
                  <a:gd name="connsiteY494" fmla="*/ 325660 h 552450"/>
                  <a:gd name="connsiteX495" fmla="*/ 132493 w 666750"/>
                  <a:gd name="connsiteY495" fmla="*/ 329089 h 552450"/>
                  <a:gd name="connsiteX496" fmla="*/ 131635 w 666750"/>
                  <a:gd name="connsiteY496" fmla="*/ 329946 h 552450"/>
                  <a:gd name="connsiteX497" fmla="*/ 129921 w 666750"/>
                  <a:gd name="connsiteY497" fmla="*/ 329946 h 552450"/>
                  <a:gd name="connsiteX498" fmla="*/ 129921 w 666750"/>
                  <a:gd name="connsiteY498" fmla="*/ 329946 h 552450"/>
                  <a:gd name="connsiteX499" fmla="*/ 129921 w 666750"/>
                  <a:gd name="connsiteY499" fmla="*/ 329089 h 552450"/>
                  <a:gd name="connsiteX500" fmla="*/ 129921 w 666750"/>
                  <a:gd name="connsiteY500" fmla="*/ 328232 h 552450"/>
                  <a:gd name="connsiteX501" fmla="*/ 129921 w 666750"/>
                  <a:gd name="connsiteY501" fmla="*/ 327374 h 552450"/>
                  <a:gd name="connsiteX502" fmla="*/ 129064 w 666750"/>
                  <a:gd name="connsiteY502" fmla="*/ 325660 h 552450"/>
                  <a:gd name="connsiteX503" fmla="*/ 129921 w 666750"/>
                  <a:gd name="connsiteY503" fmla="*/ 324803 h 552450"/>
                  <a:gd name="connsiteX504" fmla="*/ 129921 w 666750"/>
                  <a:gd name="connsiteY504" fmla="*/ 323088 h 552450"/>
                  <a:gd name="connsiteX505" fmla="*/ 129921 w 666750"/>
                  <a:gd name="connsiteY505" fmla="*/ 322231 h 552450"/>
                  <a:gd name="connsiteX506" fmla="*/ 130778 w 666750"/>
                  <a:gd name="connsiteY506" fmla="*/ 321374 h 552450"/>
                  <a:gd name="connsiteX507" fmla="*/ 129921 w 666750"/>
                  <a:gd name="connsiteY507" fmla="*/ 320516 h 552450"/>
                  <a:gd name="connsiteX508" fmla="*/ 128302 w 666750"/>
                  <a:gd name="connsiteY508" fmla="*/ 320516 h 552450"/>
                  <a:gd name="connsiteX509" fmla="*/ 124873 w 666750"/>
                  <a:gd name="connsiteY509" fmla="*/ 320516 h 552450"/>
                  <a:gd name="connsiteX510" fmla="*/ 123158 w 666750"/>
                  <a:gd name="connsiteY510" fmla="*/ 319659 h 552450"/>
                  <a:gd name="connsiteX511" fmla="*/ 120682 w 666750"/>
                  <a:gd name="connsiteY511" fmla="*/ 318040 h 552450"/>
                  <a:gd name="connsiteX512" fmla="*/ 118967 w 666750"/>
                  <a:gd name="connsiteY512" fmla="*/ 318040 h 552450"/>
                  <a:gd name="connsiteX513" fmla="*/ 108871 w 666750"/>
                  <a:gd name="connsiteY513" fmla="*/ 316325 h 552450"/>
                  <a:gd name="connsiteX514" fmla="*/ 107156 w 666750"/>
                  <a:gd name="connsiteY514" fmla="*/ 316325 h 552450"/>
                  <a:gd name="connsiteX515" fmla="*/ 106299 w 666750"/>
                  <a:gd name="connsiteY515" fmla="*/ 316325 h 552450"/>
                  <a:gd name="connsiteX516" fmla="*/ 105442 w 666750"/>
                  <a:gd name="connsiteY516" fmla="*/ 317183 h 552450"/>
                  <a:gd name="connsiteX517" fmla="*/ 104680 w 666750"/>
                  <a:gd name="connsiteY517" fmla="*/ 317183 h 552450"/>
                  <a:gd name="connsiteX518" fmla="*/ 103822 w 666750"/>
                  <a:gd name="connsiteY518" fmla="*/ 318040 h 552450"/>
                  <a:gd name="connsiteX519" fmla="*/ 103822 w 666750"/>
                  <a:gd name="connsiteY519" fmla="*/ 318040 h 552450"/>
                  <a:gd name="connsiteX520" fmla="*/ 102965 w 666750"/>
                  <a:gd name="connsiteY520" fmla="*/ 318802 h 552450"/>
                  <a:gd name="connsiteX521" fmla="*/ 102108 w 666750"/>
                  <a:gd name="connsiteY521" fmla="*/ 322231 h 552450"/>
                  <a:gd name="connsiteX522" fmla="*/ 101251 w 666750"/>
                  <a:gd name="connsiteY522" fmla="*/ 323088 h 552450"/>
                  <a:gd name="connsiteX523" fmla="*/ 100393 w 666750"/>
                  <a:gd name="connsiteY523" fmla="*/ 323945 h 552450"/>
                  <a:gd name="connsiteX524" fmla="*/ 99536 w 666750"/>
                  <a:gd name="connsiteY524" fmla="*/ 323088 h 552450"/>
                  <a:gd name="connsiteX525" fmla="*/ 98774 w 666750"/>
                  <a:gd name="connsiteY525" fmla="*/ 322231 h 552450"/>
                  <a:gd name="connsiteX526" fmla="*/ 92011 w 666750"/>
                  <a:gd name="connsiteY526" fmla="*/ 307753 h 552450"/>
                  <a:gd name="connsiteX527" fmla="*/ 90297 w 666750"/>
                  <a:gd name="connsiteY527" fmla="*/ 306134 h 552450"/>
                  <a:gd name="connsiteX528" fmla="*/ 89440 w 666750"/>
                  <a:gd name="connsiteY528" fmla="*/ 305276 h 552450"/>
                  <a:gd name="connsiteX529" fmla="*/ 88582 w 666750"/>
                  <a:gd name="connsiteY529" fmla="*/ 305276 h 552450"/>
                  <a:gd name="connsiteX530" fmla="*/ 86868 w 666750"/>
                  <a:gd name="connsiteY530" fmla="*/ 305276 h 552450"/>
                  <a:gd name="connsiteX531" fmla="*/ 85249 w 666750"/>
                  <a:gd name="connsiteY531" fmla="*/ 305276 h 552450"/>
                  <a:gd name="connsiteX532" fmla="*/ 84392 w 666750"/>
                  <a:gd name="connsiteY532" fmla="*/ 305276 h 552450"/>
                  <a:gd name="connsiteX533" fmla="*/ 84392 w 666750"/>
                  <a:gd name="connsiteY533" fmla="*/ 305276 h 552450"/>
                  <a:gd name="connsiteX534" fmla="*/ 84392 w 666750"/>
                  <a:gd name="connsiteY534" fmla="*/ 304419 h 552450"/>
                  <a:gd name="connsiteX535" fmla="*/ 83534 w 666750"/>
                  <a:gd name="connsiteY535" fmla="*/ 303562 h 552450"/>
                  <a:gd name="connsiteX536" fmla="*/ 83534 w 666750"/>
                  <a:gd name="connsiteY536" fmla="*/ 303562 h 552450"/>
                  <a:gd name="connsiteX537" fmla="*/ 83534 w 666750"/>
                  <a:gd name="connsiteY537" fmla="*/ 302705 h 552450"/>
                  <a:gd name="connsiteX538" fmla="*/ 82677 w 666750"/>
                  <a:gd name="connsiteY538" fmla="*/ 301847 h 552450"/>
                  <a:gd name="connsiteX539" fmla="*/ 81820 w 666750"/>
                  <a:gd name="connsiteY539" fmla="*/ 301847 h 552450"/>
                  <a:gd name="connsiteX540" fmla="*/ 80963 w 666750"/>
                  <a:gd name="connsiteY540" fmla="*/ 300133 h 552450"/>
                  <a:gd name="connsiteX541" fmla="*/ 76771 w 666750"/>
                  <a:gd name="connsiteY541" fmla="*/ 296704 h 552450"/>
                  <a:gd name="connsiteX542" fmla="*/ 76771 w 666750"/>
                  <a:gd name="connsiteY542" fmla="*/ 296704 h 552450"/>
                  <a:gd name="connsiteX543" fmla="*/ 75914 w 666750"/>
                  <a:gd name="connsiteY543" fmla="*/ 295847 h 552450"/>
                  <a:gd name="connsiteX544" fmla="*/ 75914 w 666750"/>
                  <a:gd name="connsiteY544" fmla="*/ 295847 h 552450"/>
                  <a:gd name="connsiteX545" fmla="*/ 75057 w 666750"/>
                  <a:gd name="connsiteY545" fmla="*/ 295847 h 552450"/>
                  <a:gd name="connsiteX546" fmla="*/ 74295 w 666750"/>
                  <a:gd name="connsiteY546" fmla="*/ 295847 h 552450"/>
                  <a:gd name="connsiteX547" fmla="*/ 74295 w 666750"/>
                  <a:gd name="connsiteY547" fmla="*/ 296704 h 552450"/>
                  <a:gd name="connsiteX548" fmla="*/ 73438 w 666750"/>
                  <a:gd name="connsiteY548" fmla="*/ 297561 h 552450"/>
                  <a:gd name="connsiteX549" fmla="*/ 73438 w 666750"/>
                  <a:gd name="connsiteY549" fmla="*/ 298418 h 552450"/>
                  <a:gd name="connsiteX550" fmla="*/ 71723 w 666750"/>
                  <a:gd name="connsiteY550" fmla="*/ 300133 h 552450"/>
                  <a:gd name="connsiteX551" fmla="*/ 71723 w 666750"/>
                  <a:gd name="connsiteY551" fmla="*/ 300990 h 552450"/>
                  <a:gd name="connsiteX552" fmla="*/ 70866 w 666750"/>
                  <a:gd name="connsiteY552" fmla="*/ 300990 h 552450"/>
                  <a:gd name="connsiteX553" fmla="*/ 70009 w 666750"/>
                  <a:gd name="connsiteY553" fmla="*/ 301847 h 552450"/>
                  <a:gd name="connsiteX554" fmla="*/ 69151 w 666750"/>
                  <a:gd name="connsiteY554" fmla="*/ 301847 h 552450"/>
                  <a:gd name="connsiteX555" fmla="*/ 68389 w 666750"/>
                  <a:gd name="connsiteY555" fmla="*/ 300990 h 552450"/>
                  <a:gd name="connsiteX556" fmla="*/ 68389 w 666750"/>
                  <a:gd name="connsiteY556" fmla="*/ 300133 h 552450"/>
                  <a:gd name="connsiteX557" fmla="*/ 68389 w 666750"/>
                  <a:gd name="connsiteY557" fmla="*/ 299276 h 552450"/>
                  <a:gd name="connsiteX558" fmla="*/ 68389 w 666750"/>
                  <a:gd name="connsiteY558" fmla="*/ 298418 h 552450"/>
                  <a:gd name="connsiteX559" fmla="*/ 67532 w 666750"/>
                  <a:gd name="connsiteY559" fmla="*/ 297561 h 552450"/>
                  <a:gd name="connsiteX560" fmla="*/ 62484 w 666750"/>
                  <a:gd name="connsiteY560" fmla="*/ 291656 h 552450"/>
                  <a:gd name="connsiteX561" fmla="*/ 61627 w 666750"/>
                  <a:gd name="connsiteY561" fmla="*/ 290798 h 552450"/>
                  <a:gd name="connsiteX562" fmla="*/ 60769 w 666750"/>
                  <a:gd name="connsiteY562" fmla="*/ 290798 h 552450"/>
                  <a:gd name="connsiteX563" fmla="*/ 59912 w 666750"/>
                  <a:gd name="connsiteY563" fmla="*/ 290798 h 552450"/>
                  <a:gd name="connsiteX564" fmla="*/ 59055 w 666750"/>
                  <a:gd name="connsiteY564" fmla="*/ 291656 h 552450"/>
                  <a:gd name="connsiteX565" fmla="*/ 55721 w 666750"/>
                  <a:gd name="connsiteY565" fmla="*/ 295847 h 552450"/>
                  <a:gd name="connsiteX566" fmla="*/ 53150 w 666750"/>
                  <a:gd name="connsiteY566" fmla="*/ 296704 h 552450"/>
                  <a:gd name="connsiteX567" fmla="*/ 52292 w 666750"/>
                  <a:gd name="connsiteY567" fmla="*/ 297561 h 552450"/>
                  <a:gd name="connsiteX568" fmla="*/ 51435 w 666750"/>
                  <a:gd name="connsiteY568" fmla="*/ 298418 h 552450"/>
                  <a:gd name="connsiteX569" fmla="*/ 46387 w 666750"/>
                  <a:gd name="connsiteY569" fmla="*/ 306896 h 552450"/>
                  <a:gd name="connsiteX570" fmla="*/ 46387 w 666750"/>
                  <a:gd name="connsiteY570" fmla="*/ 307753 h 552450"/>
                  <a:gd name="connsiteX571" fmla="*/ 46387 w 666750"/>
                  <a:gd name="connsiteY571" fmla="*/ 309467 h 552450"/>
                  <a:gd name="connsiteX572" fmla="*/ 46387 w 666750"/>
                  <a:gd name="connsiteY572" fmla="*/ 310325 h 552450"/>
                  <a:gd name="connsiteX573" fmla="*/ 46387 w 666750"/>
                  <a:gd name="connsiteY573" fmla="*/ 312039 h 552450"/>
                  <a:gd name="connsiteX574" fmla="*/ 47244 w 666750"/>
                  <a:gd name="connsiteY574" fmla="*/ 312896 h 552450"/>
                  <a:gd name="connsiteX575" fmla="*/ 48101 w 666750"/>
                  <a:gd name="connsiteY575" fmla="*/ 314611 h 552450"/>
                  <a:gd name="connsiteX576" fmla="*/ 49816 w 666750"/>
                  <a:gd name="connsiteY576" fmla="*/ 315468 h 552450"/>
                  <a:gd name="connsiteX577" fmla="*/ 59055 w 666750"/>
                  <a:gd name="connsiteY577" fmla="*/ 320516 h 552450"/>
                  <a:gd name="connsiteX578" fmla="*/ 59912 w 666750"/>
                  <a:gd name="connsiteY578" fmla="*/ 321374 h 552450"/>
                  <a:gd name="connsiteX579" fmla="*/ 60769 w 666750"/>
                  <a:gd name="connsiteY579" fmla="*/ 323088 h 552450"/>
                  <a:gd name="connsiteX580" fmla="*/ 61627 w 666750"/>
                  <a:gd name="connsiteY580" fmla="*/ 325660 h 552450"/>
                  <a:gd name="connsiteX581" fmla="*/ 62484 w 666750"/>
                  <a:gd name="connsiteY581" fmla="*/ 326517 h 552450"/>
                  <a:gd name="connsiteX582" fmla="*/ 63246 w 666750"/>
                  <a:gd name="connsiteY582" fmla="*/ 327374 h 552450"/>
                  <a:gd name="connsiteX583" fmla="*/ 64103 w 666750"/>
                  <a:gd name="connsiteY583" fmla="*/ 327374 h 552450"/>
                  <a:gd name="connsiteX584" fmla="*/ 67532 w 666750"/>
                  <a:gd name="connsiteY584" fmla="*/ 328232 h 552450"/>
                  <a:gd name="connsiteX585" fmla="*/ 68389 w 666750"/>
                  <a:gd name="connsiteY585" fmla="*/ 328232 h 552450"/>
                  <a:gd name="connsiteX586" fmla="*/ 70009 w 666750"/>
                  <a:gd name="connsiteY586" fmla="*/ 329089 h 552450"/>
                  <a:gd name="connsiteX587" fmla="*/ 70866 w 666750"/>
                  <a:gd name="connsiteY587" fmla="*/ 329946 h 552450"/>
                  <a:gd name="connsiteX588" fmla="*/ 70866 w 666750"/>
                  <a:gd name="connsiteY588" fmla="*/ 331565 h 552450"/>
                  <a:gd name="connsiteX589" fmla="*/ 70009 w 666750"/>
                  <a:gd name="connsiteY589" fmla="*/ 335852 h 552450"/>
                  <a:gd name="connsiteX590" fmla="*/ 70009 w 666750"/>
                  <a:gd name="connsiteY590" fmla="*/ 338423 h 552450"/>
                  <a:gd name="connsiteX591" fmla="*/ 70009 w 666750"/>
                  <a:gd name="connsiteY591" fmla="*/ 340995 h 552450"/>
                  <a:gd name="connsiteX592" fmla="*/ 70866 w 666750"/>
                  <a:gd name="connsiteY592" fmla="*/ 343472 h 552450"/>
                  <a:gd name="connsiteX593" fmla="*/ 70866 w 666750"/>
                  <a:gd name="connsiteY593" fmla="*/ 345186 h 552450"/>
                  <a:gd name="connsiteX594" fmla="*/ 70866 w 666750"/>
                  <a:gd name="connsiteY594" fmla="*/ 346901 h 552450"/>
                  <a:gd name="connsiteX595" fmla="*/ 70009 w 666750"/>
                  <a:gd name="connsiteY595" fmla="*/ 350330 h 552450"/>
                  <a:gd name="connsiteX596" fmla="*/ 70009 w 666750"/>
                  <a:gd name="connsiteY596" fmla="*/ 359664 h 552450"/>
                  <a:gd name="connsiteX597" fmla="*/ 70009 w 666750"/>
                  <a:gd name="connsiteY597" fmla="*/ 360521 h 552450"/>
                  <a:gd name="connsiteX598" fmla="*/ 70866 w 666750"/>
                  <a:gd name="connsiteY598" fmla="*/ 361379 h 552450"/>
                  <a:gd name="connsiteX599" fmla="*/ 74295 w 666750"/>
                  <a:gd name="connsiteY599" fmla="*/ 362236 h 552450"/>
                  <a:gd name="connsiteX600" fmla="*/ 75057 w 666750"/>
                  <a:gd name="connsiteY600" fmla="*/ 362236 h 552450"/>
                  <a:gd name="connsiteX601" fmla="*/ 75914 w 666750"/>
                  <a:gd name="connsiteY601" fmla="*/ 363093 h 552450"/>
                  <a:gd name="connsiteX602" fmla="*/ 75914 w 666750"/>
                  <a:gd name="connsiteY602" fmla="*/ 363950 h 552450"/>
                  <a:gd name="connsiteX603" fmla="*/ 77629 w 666750"/>
                  <a:gd name="connsiteY603" fmla="*/ 368141 h 552450"/>
                  <a:gd name="connsiteX604" fmla="*/ 78486 w 666750"/>
                  <a:gd name="connsiteY604" fmla="*/ 368141 h 552450"/>
                  <a:gd name="connsiteX605" fmla="*/ 78486 w 666750"/>
                  <a:gd name="connsiteY605" fmla="*/ 368999 h 552450"/>
                  <a:gd name="connsiteX606" fmla="*/ 79343 w 666750"/>
                  <a:gd name="connsiteY606" fmla="*/ 368999 h 552450"/>
                  <a:gd name="connsiteX607" fmla="*/ 82677 w 666750"/>
                  <a:gd name="connsiteY607" fmla="*/ 369856 h 552450"/>
                  <a:gd name="connsiteX608" fmla="*/ 83534 w 666750"/>
                  <a:gd name="connsiteY608" fmla="*/ 369856 h 552450"/>
                  <a:gd name="connsiteX609" fmla="*/ 84392 w 666750"/>
                  <a:gd name="connsiteY609" fmla="*/ 370713 h 552450"/>
                  <a:gd name="connsiteX610" fmla="*/ 85249 w 666750"/>
                  <a:gd name="connsiteY610" fmla="*/ 372428 h 552450"/>
                  <a:gd name="connsiteX611" fmla="*/ 85249 w 666750"/>
                  <a:gd name="connsiteY611" fmla="*/ 373285 h 552450"/>
                  <a:gd name="connsiteX612" fmla="*/ 85249 w 666750"/>
                  <a:gd name="connsiteY612" fmla="*/ 374999 h 552450"/>
                  <a:gd name="connsiteX613" fmla="*/ 84392 w 666750"/>
                  <a:gd name="connsiteY613" fmla="*/ 375857 h 552450"/>
                  <a:gd name="connsiteX614" fmla="*/ 82677 w 666750"/>
                  <a:gd name="connsiteY614" fmla="*/ 376619 h 552450"/>
                  <a:gd name="connsiteX615" fmla="*/ 81820 w 666750"/>
                  <a:gd name="connsiteY615" fmla="*/ 377476 h 552450"/>
                  <a:gd name="connsiteX616" fmla="*/ 81820 w 666750"/>
                  <a:gd name="connsiteY616" fmla="*/ 378333 h 552450"/>
                  <a:gd name="connsiteX617" fmla="*/ 81820 w 666750"/>
                  <a:gd name="connsiteY617" fmla="*/ 379190 h 552450"/>
                  <a:gd name="connsiteX618" fmla="*/ 82677 w 666750"/>
                  <a:gd name="connsiteY618" fmla="*/ 379190 h 552450"/>
                  <a:gd name="connsiteX619" fmla="*/ 84392 w 666750"/>
                  <a:gd name="connsiteY619" fmla="*/ 380905 h 552450"/>
                  <a:gd name="connsiteX620" fmla="*/ 85249 w 666750"/>
                  <a:gd name="connsiteY620" fmla="*/ 381762 h 552450"/>
                  <a:gd name="connsiteX621" fmla="*/ 85249 w 666750"/>
                  <a:gd name="connsiteY621" fmla="*/ 382619 h 552450"/>
                  <a:gd name="connsiteX622" fmla="*/ 85249 w 666750"/>
                  <a:gd name="connsiteY622" fmla="*/ 384334 h 552450"/>
                  <a:gd name="connsiteX623" fmla="*/ 83534 w 666750"/>
                  <a:gd name="connsiteY623" fmla="*/ 388525 h 552450"/>
                  <a:gd name="connsiteX624" fmla="*/ 82677 w 666750"/>
                  <a:gd name="connsiteY624" fmla="*/ 389382 h 552450"/>
                  <a:gd name="connsiteX625" fmla="*/ 82677 w 666750"/>
                  <a:gd name="connsiteY625" fmla="*/ 391097 h 552450"/>
                  <a:gd name="connsiteX626" fmla="*/ 82677 w 666750"/>
                  <a:gd name="connsiteY626" fmla="*/ 393668 h 552450"/>
                  <a:gd name="connsiteX627" fmla="*/ 82677 w 666750"/>
                  <a:gd name="connsiteY627" fmla="*/ 395383 h 552450"/>
                  <a:gd name="connsiteX628" fmla="*/ 83534 w 666750"/>
                  <a:gd name="connsiteY628" fmla="*/ 396240 h 552450"/>
                  <a:gd name="connsiteX629" fmla="*/ 85249 w 666750"/>
                  <a:gd name="connsiteY629" fmla="*/ 398812 h 552450"/>
                  <a:gd name="connsiteX630" fmla="*/ 85249 w 666750"/>
                  <a:gd name="connsiteY630" fmla="*/ 400431 h 552450"/>
                  <a:gd name="connsiteX631" fmla="*/ 85249 w 666750"/>
                  <a:gd name="connsiteY631" fmla="*/ 402146 h 552450"/>
                  <a:gd name="connsiteX632" fmla="*/ 84392 w 666750"/>
                  <a:gd name="connsiteY632" fmla="*/ 404717 h 552450"/>
                  <a:gd name="connsiteX633" fmla="*/ 84392 w 666750"/>
                  <a:gd name="connsiteY633" fmla="*/ 405575 h 552450"/>
                  <a:gd name="connsiteX634" fmla="*/ 84392 w 666750"/>
                  <a:gd name="connsiteY634" fmla="*/ 406432 h 552450"/>
                  <a:gd name="connsiteX635" fmla="*/ 86868 w 666750"/>
                  <a:gd name="connsiteY635" fmla="*/ 408146 h 552450"/>
                  <a:gd name="connsiteX636" fmla="*/ 87725 w 666750"/>
                  <a:gd name="connsiteY636" fmla="*/ 409004 h 552450"/>
                  <a:gd name="connsiteX637" fmla="*/ 88582 w 666750"/>
                  <a:gd name="connsiteY637" fmla="*/ 409861 h 552450"/>
                  <a:gd name="connsiteX638" fmla="*/ 88582 w 666750"/>
                  <a:gd name="connsiteY638" fmla="*/ 413195 h 552450"/>
                  <a:gd name="connsiteX639" fmla="*/ 89440 w 666750"/>
                  <a:gd name="connsiteY639" fmla="*/ 414909 h 552450"/>
                  <a:gd name="connsiteX640" fmla="*/ 91154 w 666750"/>
                  <a:gd name="connsiteY640" fmla="*/ 417481 h 552450"/>
                  <a:gd name="connsiteX641" fmla="*/ 91154 w 666750"/>
                  <a:gd name="connsiteY641" fmla="*/ 418338 h 552450"/>
                  <a:gd name="connsiteX642" fmla="*/ 91154 w 666750"/>
                  <a:gd name="connsiteY642" fmla="*/ 419195 h 552450"/>
                  <a:gd name="connsiteX643" fmla="*/ 91154 w 666750"/>
                  <a:gd name="connsiteY643" fmla="*/ 420053 h 552450"/>
                  <a:gd name="connsiteX644" fmla="*/ 92011 w 666750"/>
                  <a:gd name="connsiteY644" fmla="*/ 427673 h 552450"/>
                  <a:gd name="connsiteX645" fmla="*/ 91154 w 666750"/>
                  <a:gd name="connsiteY645" fmla="*/ 429387 h 552450"/>
                  <a:gd name="connsiteX646" fmla="*/ 91154 w 666750"/>
                  <a:gd name="connsiteY646" fmla="*/ 430244 h 552450"/>
                  <a:gd name="connsiteX647" fmla="*/ 90297 w 666750"/>
                  <a:gd name="connsiteY647" fmla="*/ 430244 h 552450"/>
                  <a:gd name="connsiteX648" fmla="*/ 87725 w 666750"/>
                  <a:gd name="connsiteY648" fmla="*/ 431102 h 552450"/>
                  <a:gd name="connsiteX649" fmla="*/ 86868 w 666750"/>
                  <a:gd name="connsiteY649" fmla="*/ 431959 h 552450"/>
                  <a:gd name="connsiteX650" fmla="*/ 86868 w 666750"/>
                  <a:gd name="connsiteY650" fmla="*/ 431959 h 552450"/>
                  <a:gd name="connsiteX651" fmla="*/ 86106 w 666750"/>
                  <a:gd name="connsiteY651" fmla="*/ 432816 h 552450"/>
                  <a:gd name="connsiteX652" fmla="*/ 86106 w 666750"/>
                  <a:gd name="connsiteY652" fmla="*/ 432816 h 552450"/>
                  <a:gd name="connsiteX653" fmla="*/ 85249 w 666750"/>
                  <a:gd name="connsiteY653" fmla="*/ 433673 h 552450"/>
                  <a:gd name="connsiteX654" fmla="*/ 85249 w 666750"/>
                  <a:gd name="connsiteY654" fmla="*/ 434435 h 552450"/>
                  <a:gd name="connsiteX655" fmla="*/ 84392 w 666750"/>
                  <a:gd name="connsiteY655" fmla="*/ 435293 h 552450"/>
                  <a:gd name="connsiteX656" fmla="*/ 84392 w 666750"/>
                  <a:gd name="connsiteY656" fmla="*/ 438722 h 552450"/>
                  <a:gd name="connsiteX657" fmla="*/ 83534 w 666750"/>
                  <a:gd name="connsiteY657" fmla="*/ 443865 h 552450"/>
                  <a:gd name="connsiteX658" fmla="*/ 83534 w 666750"/>
                  <a:gd name="connsiteY658" fmla="*/ 444722 h 552450"/>
                  <a:gd name="connsiteX659" fmla="*/ 83534 w 666750"/>
                  <a:gd name="connsiteY659" fmla="*/ 445484 h 552450"/>
                  <a:gd name="connsiteX660" fmla="*/ 82677 w 666750"/>
                  <a:gd name="connsiteY660" fmla="*/ 447199 h 552450"/>
                  <a:gd name="connsiteX661" fmla="*/ 81820 w 666750"/>
                  <a:gd name="connsiteY661" fmla="*/ 448913 h 552450"/>
                  <a:gd name="connsiteX662" fmla="*/ 80963 w 666750"/>
                  <a:gd name="connsiteY662" fmla="*/ 448913 h 552450"/>
                  <a:gd name="connsiteX663" fmla="*/ 80200 w 666750"/>
                  <a:gd name="connsiteY663" fmla="*/ 448056 h 552450"/>
                  <a:gd name="connsiteX664" fmla="*/ 78486 w 666750"/>
                  <a:gd name="connsiteY664" fmla="*/ 447199 h 552450"/>
                  <a:gd name="connsiteX665" fmla="*/ 77629 w 666750"/>
                  <a:gd name="connsiteY665" fmla="*/ 446342 h 552450"/>
                  <a:gd name="connsiteX666" fmla="*/ 77629 w 666750"/>
                  <a:gd name="connsiteY666" fmla="*/ 446342 h 552450"/>
                  <a:gd name="connsiteX667" fmla="*/ 76771 w 666750"/>
                  <a:gd name="connsiteY667" fmla="*/ 447199 h 552450"/>
                  <a:gd name="connsiteX668" fmla="*/ 76771 w 666750"/>
                  <a:gd name="connsiteY668" fmla="*/ 447199 h 552450"/>
                  <a:gd name="connsiteX669" fmla="*/ 75057 w 666750"/>
                  <a:gd name="connsiteY669" fmla="*/ 451485 h 552450"/>
                  <a:gd name="connsiteX670" fmla="*/ 74295 w 666750"/>
                  <a:gd name="connsiteY670" fmla="*/ 452342 h 552450"/>
                  <a:gd name="connsiteX671" fmla="*/ 73438 w 666750"/>
                  <a:gd name="connsiteY671" fmla="*/ 453200 h 552450"/>
                  <a:gd name="connsiteX672" fmla="*/ 71723 w 666750"/>
                  <a:gd name="connsiteY672" fmla="*/ 454057 h 552450"/>
                  <a:gd name="connsiteX673" fmla="*/ 67532 w 666750"/>
                  <a:gd name="connsiteY673" fmla="*/ 454057 h 552450"/>
                  <a:gd name="connsiteX674" fmla="*/ 66675 w 666750"/>
                  <a:gd name="connsiteY674" fmla="*/ 454057 h 552450"/>
                  <a:gd name="connsiteX675" fmla="*/ 65818 w 666750"/>
                  <a:gd name="connsiteY675" fmla="*/ 454914 h 552450"/>
                  <a:gd name="connsiteX676" fmla="*/ 64103 w 666750"/>
                  <a:gd name="connsiteY676" fmla="*/ 455771 h 552450"/>
                  <a:gd name="connsiteX677" fmla="*/ 63246 w 666750"/>
                  <a:gd name="connsiteY677" fmla="*/ 456629 h 552450"/>
                  <a:gd name="connsiteX678" fmla="*/ 62484 w 666750"/>
                  <a:gd name="connsiteY678" fmla="*/ 457391 h 552450"/>
                  <a:gd name="connsiteX679" fmla="*/ 60769 w 666750"/>
                  <a:gd name="connsiteY679" fmla="*/ 459962 h 552450"/>
                  <a:gd name="connsiteX680" fmla="*/ 59912 w 666750"/>
                  <a:gd name="connsiteY680" fmla="*/ 460820 h 552450"/>
                  <a:gd name="connsiteX681" fmla="*/ 59055 w 666750"/>
                  <a:gd name="connsiteY681" fmla="*/ 460820 h 552450"/>
                  <a:gd name="connsiteX682" fmla="*/ 58198 w 666750"/>
                  <a:gd name="connsiteY682" fmla="*/ 460820 h 552450"/>
                  <a:gd name="connsiteX683" fmla="*/ 57340 w 666750"/>
                  <a:gd name="connsiteY683" fmla="*/ 461677 h 552450"/>
                  <a:gd name="connsiteX684" fmla="*/ 56578 w 666750"/>
                  <a:gd name="connsiteY684" fmla="*/ 461677 h 552450"/>
                  <a:gd name="connsiteX685" fmla="*/ 55721 w 666750"/>
                  <a:gd name="connsiteY685" fmla="*/ 462534 h 552450"/>
                  <a:gd name="connsiteX686" fmla="*/ 55721 w 666750"/>
                  <a:gd name="connsiteY686" fmla="*/ 463391 h 552450"/>
                  <a:gd name="connsiteX687" fmla="*/ 55721 w 666750"/>
                  <a:gd name="connsiteY687" fmla="*/ 464249 h 552450"/>
                  <a:gd name="connsiteX688" fmla="*/ 56578 w 666750"/>
                  <a:gd name="connsiteY688" fmla="*/ 464249 h 552450"/>
                  <a:gd name="connsiteX689" fmla="*/ 57340 w 666750"/>
                  <a:gd name="connsiteY689" fmla="*/ 465106 h 552450"/>
                  <a:gd name="connsiteX690" fmla="*/ 59912 w 666750"/>
                  <a:gd name="connsiteY690" fmla="*/ 465963 h 552450"/>
                  <a:gd name="connsiteX691" fmla="*/ 60769 w 666750"/>
                  <a:gd name="connsiteY691" fmla="*/ 467678 h 552450"/>
                  <a:gd name="connsiteX692" fmla="*/ 60769 w 666750"/>
                  <a:gd name="connsiteY692" fmla="*/ 469297 h 552450"/>
                  <a:gd name="connsiteX693" fmla="*/ 60769 w 666750"/>
                  <a:gd name="connsiteY693" fmla="*/ 470154 h 552450"/>
                  <a:gd name="connsiteX694" fmla="*/ 59912 w 666750"/>
                  <a:gd name="connsiteY694" fmla="*/ 471011 h 552450"/>
                  <a:gd name="connsiteX695" fmla="*/ 59055 w 666750"/>
                  <a:gd name="connsiteY695" fmla="*/ 471869 h 552450"/>
                  <a:gd name="connsiteX696" fmla="*/ 58198 w 666750"/>
                  <a:gd name="connsiteY696" fmla="*/ 471869 h 552450"/>
                  <a:gd name="connsiteX697" fmla="*/ 57340 w 666750"/>
                  <a:gd name="connsiteY697" fmla="*/ 472726 h 552450"/>
                  <a:gd name="connsiteX698" fmla="*/ 54864 w 666750"/>
                  <a:gd name="connsiteY698" fmla="*/ 475298 h 552450"/>
                  <a:gd name="connsiteX699" fmla="*/ 52292 w 666750"/>
                  <a:gd name="connsiteY699" fmla="*/ 477012 h 552450"/>
                  <a:gd name="connsiteX700" fmla="*/ 49816 w 666750"/>
                  <a:gd name="connsiteY700" fmla="*/ 480346 h 552450"/>
                  <a:gd name="connsiteX701" fmla="*/ 45529 w 666750"/>
                  <a:gd name="connsiteY701" fmla="*/ 483775 h 552450"/>
                  <a:gd name="connsiteX702" fmla="*/ 43910 w 666750"/>
                  <a:gd name="connsiteY702" fmla="*/ 485489 h 552450"/>
                  <a:gd name="connsiteX703" fmla="*/ 41338 w 666750"/>
                  <a:gd name="connsiteY703" fmla="*/ 488061 h 552450"/>
                  <a:gd name="connsiteX704" fmla="*/ 38005 w 666750"/>
                  <a:gd name="connsiteY704" fmla="*/ 494824 h 552450"/>
                  <a:gd name="connsiteX705" fmla="*/ 37147 w 666750"/>
                  <a:gd name="connsiteY705" fmla="*/ 495681 h 552450"/>
                  <a:gd name="connsiteX706" fmla="*/ 36290 w 666750"/>
                  <a:gd name="connsiteY706" fmla="*/ 496538 h 552450"/>
                  <a:gd name="connsiteX707" fmla="*/ 35433 w 666750"/>
                  <a:gd name="connsiteY707" fmla="*/ 496538 h 552450"/>
                  <a:gd name="connsiteX708" fmla="*/ 32861 w 666750"/>
                  <a:gd name="connsiteY708" fmla="*/ 497396 h 552450"/>
                  <a:gd name="connsiteX709" fmla="*/ 32099 w 666750"/>
                  <a:gd name="connsiteY709" fmla="*/ 497396 h 552450"/>
                  <a:gd name="connsiteX710" fmla="*/ 31242 w 666750"/>
                  <a:gd name="connsiteY710" fmla="*/ 498253 h 552450"/>
                  <a:gd name="connsiteX711" fmla="*/ 30385 w 666750"/>
                  <a:gd name="connsiteY711" fmla="*/ 498253 h 552450"/>
                  <a:gd name="connsiteX712" fmla="*/ 29527 w 666750"/>
                  <a:gd name="connsiteY712" fmla="*/ 500825 h 552450"/>
                  <a:gd name="connsiteX713" fmla="*/ 28670 w 666750"/>
                  <a:gd name="connsiteY713" fmla="*/ 501682 h 552450"/>
                  <a:gd name="connsiteX714" fmla="*/ 26956 w 666750"/>
                  <a:gd name="connsiteY714" fmla="*/ 502539 h 552450"/>
                  <a:gd name="connsiteX715" fmla="*/ 21907 w 666750"/>
                  <a:gd name="connsiteY715" fmla="*/ 504158 h 552450"/>
                  <a:gd name="connsiteX716" fmla="*/ 20288 w 666750"/>
                  <a:gd name="connsiteY716" fmla="*/ 505016 h 552450"/>
                  <a:gd name="connsiteX717" fmla="*/ 18574 w 666750"/>
                  <a:gd name="connsiteY717" fmla="*/ 505016 h 552450"/>
                  <a:gd name="connsiteX718" fmla="*/ 17717 w 666750"/>
                  <a:gd name="connsiteY718" fmla="*/ 505016 h 552450"/>
                  <a:gd name="connsiteX719" fmla="*/ 17717 w 666750"/>
                  <a:gd name="connsiteY719" fmla="*/ 505016 h 552450"/>
                  <a:gd name="connsiteX720" fmla="*/ 16859 w 666750"/>
                  <a:gd name="connsiteY720" fmla="*/ 505016 h 552450"/>
                  <a:gd name="connsiteX721" fmla="*/ 16002 w 666750"/>
                  <a:gd name="connsiteY721" fmla="*/ 505873 h 552450"/>
                  <a:gd name="connsiteX722" fmla="*/ 15145 w 666750"/>
                  <a:gd name="connsiteY722" fmla="*/ 509302 h 552450"/>
                  <a:gd name="connsiteX723" fmla="*/ 14383 w 666750"/>
                  <a:gd name="connsiteY723" fmla="*/ 511016 h 552450"/>
                  <a:gd name="connsiteX724" fmla="*/ 13525 w 666750"/>
                  <a:gd name="connsiteY724" fmla="*/ 511874 h 552450"/>
                  <a:gd name="connsiteX725" fmla="*/ 13525 w 666750"/>
                  <a:gd name="connsiteY725" fmla="*/ 512731 h 552450"/>
                  <a:gd name="connsiteX726" fmla="*/ 13525 w 666750"/>
                  <a:gd name="connsiteY726" fmla="*/ 513588 h 552450"/>
                  <a:gd name="connsiteX727" fmla="*/ 13525 w 666750"/>
                  <a:gd name="connsiteY727" fmla="*/ 514445 h 552450"/>
                  <a:gd name="connsiteX728" fmla="*/ 13525 w 666750"/>
                  <a:gd name="connsiteY728" fmla="*/ 514445 h 552450"/>
                  <a:gd name="connsiteX729" fmla="*/ 14383 w 666750"/>
                  <a:gd name="connsiteY729" fmla="*/ 516065 h 552450"/>
                  <a:gd name="connsiteX730" fmla="*/ 14383 w 666750"/>
                  <a:gd name="connsiteY730" fmla="*/ 517779 h 552450"/>
                  <a:gd name="connsiteX731" fmla="*/ 14383 w 666750"/>
                  <a:gd name="connsiteY731" fmla="*/ 518636 h 552450"/>
                  <a:gd name="connsiteX732" fmla="*/ 13525 w 666750"/>
                  <a:gd name="connsiteY732" fmla="*/ 520351 h 552450"/>
                  <a:gd name="connsiteX733" fmla="*/ 13525 w 666750"/>
                  <a:gd name="connsiteY733" fmla="*/ 522923 h 552450"/>
                  <a:gd name="connsiteX734" fmla="*/ 12668 w 666750"/>
                  <a:gd name="connsiteY734" fmla="*/ 526256 h 552450"/>
                  <a:gd name="connsiteX735" fmla="*/ 11811 w 666750"/>
                  <a:gd name="connsiteY735" fmla="*/ 527114 h 552450"/>
                  <a:gd name="connsiteX736" fmla="*/ 11811 w 666750"/>
                  <a:gd name="connsiteY736" fmla="*/ 527114 h 552450"/>
                  <a:gd name="connsiteX737" fmla="*/ 10954 w 666750"/>
                  <a:gd name="connsiteY737" fmla="*/ 527971 h 552450"/>
                  <a:gd name="connsiteX738" fmla="*/ 10096 w 666750"/>
                  <a:gd name="connsiteY738" fmla="*/ 528828 h 552450"/>
                  <a:gd name="connsiteX739" fmla="*/ 10096 w 666750"/>
                  <a:gd name="connsiteY739" fmla="*/ 529685 h 552450"/>
                  <a:gd name="connsiteX740" fmla="*/ 9239 w 666750"/>
                  <a:gd name="connsiteY740" fmla="*/ 531400 h 552450"/>
                  <a:gd name="connsiteX741" fmla="*/ 9239 w 666750"/>
                  <a:gd name="connsiteY741" fmla="*/ 531400 h 552450"/>
                  <a:gd name="connsiteX742" fmla="*/ 10096 w 666750"/>
                  <a:gd name="connsiteY742" fmla="*/ 533114 h 552450"/>
                  <a:gd name="connsiteX743" fmla="*/ 10096 w 666750"/>
                  <a:gd name="connsiteY743" fmla="*/ 536543 h 552450"/>
                  <a:gd name="connsiteX744" fmla="*/ 9239 w 666750"/>
                  <a:gd name="connsiteY744" fmla="*/ 539020 h 552450"/>
                  <a:gd name="connsiteX745" fmla="*/ 9239 w 666750"/>
                  <a:gd name="connsiteY745" fmla="*/ 540734 h 552450"/>
                  <a:gd name="connsiteX746" fmla="*/ 8477 w 666750"/>
                  <a:gd name="connsiteY746" fmla="*/ 541592 h 552450"/>
                  <a:gd name="connsiteX747" fmla="*/ 7620 w 666750"/>
                  <a:gd name="connsiteY747" fmla="*/ 542449 h 552450"/>
                  <a:gd name="connsiteX748" fmla="*/ 6763 w 666750"/>
                  <a:gd name="connsiteY748" fmla="*/ 543306 h 552450"/>
                  <a:gd name="connsiteX749" fmla="*/ 6763 w 666750"/>
                  <a:gd name="connsiteY749" fmla="*/ 545021 h 552450"/>
                  <a:gd name="connsiteX750" fmla="*/ 5905 w 666750"/>
                  <a:gd name="connsiteY750" fmla="*/ 545878 h 552450"/>
                  <a:gd name="connsiteX751" fmla="*/ 5905 w 666750"/>
                  <a:gd name="connsiteY751" fmla="*/ 547592 h 552450"/>
                  <a:gd name="connsiteX752" fmla="*/ 5905 w 666750"/>
                  <a:gd name="connsiteY752" fmla="*/ 548450 h 552450"/>
                  <a:gd name="connsiteX753" fmla="*/ 5905 w 666750"/>
                  <a:gd name="connsiteY753" fmla="*/ 549212 h 552450"/>
                  <a:gd name="connsiteX754" fmla="*/ 5048 w 666750"/>
                  <a:gd name="connsiteY754" fmla="*/ 550069 h 552450"/>
                  <a:gd name="connsiteX755" fmla="*/ 5048 w 666750"/>
                  <a:gd name="connsiteY755" fmla="*/ 550069 h 552450"/>
                  <a:gd name="connsiteX756" fmla="*/ 4191 w 666750"/>
                  <a:gd name="connsiteY756" fmla="*/ 550069 h 552450"/>
                  <a:gd name="connsiteX757" fmla="*/ 4191 w 666750"/>
                  <a:gd name="connsiteY757" fmla="*/ 550069 h 552450"/>
                  <a:gd name="connsiteX758" fmla="*/ 3334 w 666750"/>
                  <a:gd name="connsiteY758" fmla="*/ 550069 h 552450"/>
                  <a:gd name="connsiteX759" fmla="*/ 2572 w 666750"/>
                  <a:gd name="connsiteY759" fmla="*/ 549212 h 552450"/>
                  <a:gd name="connsiteX760" fmla="*/ 2572 w 666750"/>
                  <a:gd name="connsiteY760" fmla="*/ 549212 h 552450"/>
                  <a:gd name="connsiteX761" fmla="*/ 1714 w 666750"/>
                  <a:gd name="connsiteY761" fmla="*/ 549212 h 552450"/>
                  <a:gd name="connsiteX762" fmla="*/ 857 w 666750"/>
                  <a:gd name="connsiteY762" fmla="*/ 549212 h 552450"/>
                  <a:gd name="connsiteX763" fmla="*/ 857 w 666750"/>
                  <a:gd name="connsiteY763" fmla="*/ 550069 h 552450"/>
                  <a:gd name="connsiteX764" fmla="*/ 0 w 666750"/>
                  <a:gd name="connsiteY764" fmla="*/ 550069 h 552450"/>
                  <a:gd name="connsiteX765" fmla="*/ 0 w 666750"/>
                  <a:gd name="connsiteY765" fmla="*/ 550926 h 552450"/>
                  <a:gd name="connsiteX766" fmla="*/ 0 w 666750"/>
                  <a:gd name="connsiteY766" fmla="*/ 552641 h 552450"/>
                  <a:gd name="connsiteX767" fmla="*/ 0 w 666750"/>
                  <a:gd name="connsiteY767" fmla="*/ 555212 h 552450"/>
                  <a:gd name="connsiteX768" fmla="*/ 0 w 666750"/>
                  <a:gd name="connsiteY768" fmla="*/ 556927 h 552450"/>
                  <a:gd name="connsiteX769" fmla="*/ 0 w 666750"/>
                  <a:gd name="connsiteY769" fmla="*/ 558641 h 552450"/>
                  <a:gd name="connsiteX770" fmla="*/ 5905 w 666750"/>
                  <a:gd name="connsiteY770" fmla="*/ 559499 h 552450"/>
                  <a:gd name="connsiteX771" fmla="*/ 7620 w 666750"/>
                  <a:gd name="connsiteY771" fmla="*/ 560356 h 552450"/>
                  <a:gd name="connsiteX772" fmla="*/ 8477 w 666750"/>
                  <a:gd name="connsiteY772" fmla="*/ 561118 h 552450"/>
                  <a:gd name="connsiteX773" fmla="*/ 9239 w 666750"/>
                  <a:gd name="connsiteY773" fmla="*/ 561118 h 552450"/>
                  <a:gd name="connsiteX774" fmla="*/ 10096 w 666750"/>
                  <a:gd name="connsiteY774" fmla="*/ 560356 h 552450"/>
                  <a:gd name="connsiteX775" fmla="*/ 10954 w 666750"/>
                  <a:gd name="connsiteY775" fmla="*/ 559499 h 552450"/>
                  <a:gd name="connsiteX776" fmla="*/ 11811 w 666750"/>
                  <a:gd name="connsiteY776" fmla="*/ 556927 h 552450"/>
                  <a:gd name="connsiteX777" fmla="*/ 11811 w 666750"/>
                  <a:gd name="connsiteY777" fmla="*/ 556070 h 552450"/>
                  <a:gd name="connsiteX778" fmla="*/ 12668 w 666750"/>
                  <a:gd name="connsiteY778" fmla="*/ 556070 h 552450"/>
                  <a:gd name="connsiteX779" fmla="*/ 14383 w 666750"/>
                  <a:gd name="connsiteY779" fmla="*/ 556927 h 552450"/>
                  <a:gd name="connsiteX780" fmla="*/ 17717 w 666750"/>
                  <a:gd name="connsiteY780" fmla="*/ 558641 h 552450"/>
                  <a:gd name="connsiteX781" fmla="*/ 20288 w 666750"/>
                  <a:gd name="connsiteY781" fmla="*/ 559499 h 552450"/>
                  <a:gd name="connsiteX782" fmla="*/ 23622 w 666750"/>
                  <a:gd name="connsiteY782" fmla="*/ 557784 h 552450"/>
                  <a:gd name="connsiteX783" fmla="*/ 25336 w 666750"/>
                  <a:gd name="connsiteY783" fmla="*/ 556070 h 552450"/>
                  <a:gd name="connsiteX784" fmla="*/ 26956 w 666750"/>
                  <a:gd name="connsiteY784" fmla="*/ 554355 h 552450"/>
                  <a:gd name="connsiteX785" fmla="*/ 28670 w 666750"/>
                  <a:gd name="connsiteY785" fmla="*/ 553498 h 552450"/>
                  <a:gd name="connsiteX786" fmla="*/ 32861 w 666750"/>
                  <a:gd name="connsiteY786" fmla="*/ 552641 h 552450"/>
                  <a:gd name="connsiteX787" fmla="*/ 33718 w 666750"/>
                  <a:gd name="connsiteY787" fmla="*/ 552641 h 552450"/>
                  <a:gd name="connsiteX788" fmla="*/ 35433 w 666750"/>
                  <a:gd name="connsiteY788" fmla="*/ 550926 h 552450"/>
                  <a:gd name="connsiteX789" fmla="*/ 36290 w 666750"/>
                  <a:gd name="connsiteY789" fmla="*/ 549212 h 552450"/>
                  <a:gd name="connsiteX790" fmla="*/ 38005 w 666750"/>
                  <a:gd name="connsiteY790" fmla="*/ 548450 h 552450"/>
                  <a:gd name="connsiteX791" fmla="*/ 40481 w 666750"/>
                  <a:gd name="connsiteY791" fmla="*/ 546735 h 552450"/>
                  <a:gd name="connsiteX792" fmla="*/ 47244 w 666750"/>
                  <a:gd name="connsiteY792" fmla="*/ 543306 h 552450"/>
                  <a:gd name="connsiteX793" fmla="*/ 58198 w 666750"/>
                  <a:gd name="connsiteY793" fmla="*/ 536543 h 552450"/>
                  <a:gd name="connsiteX794" fmla="*/ 62484 w 666750"/>
                  <a:gd name="connsiteY794" fmla="*/ 535686 h 552450"/>
                  <a:gd name="connsiteX795" fmla="*/ 65818 w 666750"/>
                  <a:gd name="connsiteY795" fmla="*/ 534829 h 552450"/>
                  <a:gd name="connsiteX796" fmla="*/ 71723 w 666750"/>
                  <a:gd name="connsiteY796" fmla="*/ 531400 h 552450"/>
                  <a:gd name="connsiteX797" fmla="*/ 76771 w 666750"/>
                  <a:gd name="connsiteY797" fmla="*/ 530543 h 552450"/>
                  <a:gd name="connsiteX798" fmla="*/ 80963 w 666750"/>
                  <a:gd name="connsiteY798" fmla="*/ 531400 h 552450"/>
                  <a:gd name="connsiteX799" fmla="*/ 82677 w 666750"/>
                  <a:gd name="connsiteY799" fmla="*/ 533114 h 552450"/>
                  <a:gd name="connsiteX800" fmla="*/ 84392 w 666750"/>
                  <a:gd name="connsiteY800" fmla="*/ 533972 h 552450"/>
                  <a:gd name="connsiteX801" fmla="*/ 86106 w 666750"/>
                  <a:gd name="connsiteY801" fmla="*/ 536543 h 552450"/>
                  <a:gd name="connsiteX802" fmla="*/ 86868 w 666750"/>
                  <a:gd name="connsiteY802" fmla="*/ 536543 h 552450"/>
                  <a:gd name="connsiteX803" fmla="*/ 87725 w 666750"/>
                  <a:gd name="connsiteY803" fmla="*/ 536543 h 552450"/>
                  <a:gd name="connsiteX804" fmla="*/ 89440 w 666750"/>
                  <a:gd name="connsiteY804" fmla="*/ 536543 h 552450"/>
                  <a:gd name="connsiteX805" fmla="*/ 90297 w 666750"/>
                  <a:gd name="connsiteY805" fmla="*/ 536543 h 552450"/>
                  <a:gd name="connsiteX806" fmla="*/ 91154 w 666750"/>
                  <a:gd name="connsiteY806" fmla="*/ 536543 h 552450"/>
                  <a:gd name="connsiteX807" fmla="*/ 92011 w 666750"/>
                  <a:gd name="connsiteY807" fmla="*/ 536543 h 552450"/>
                  <a:gd name="connsiteX808" fmla="*/ 92773 w 666750"/>
                  <a:gd name="connsiteY808" fmla="*/ 537401 h 552450"/>
                  <a:gd name="connsiteX809" fmla="*/ 94488 w 666750"/>
                  <a:gd name="connsiteY809" fmla="*/ 536543 h 552450"/>
                  <a:gd name="connsiteX810" fmla="*/ 95345 w 666750"/>
                  <a:gd name="connsiteY810" fmla="*/ 535686 h 552450"/>
                  <a:gd name="connsiteX811" fmla="*/ 95345 w 666750"/>
                  <a:gd name="connsiteY811" fmla="*/ 533972 h 552450"/>
                  <a:gd name="connsiteX812" fmla="*/ 96202 w 666750"/>
                  <a:gd name="connsiteY812" fmla="*/ 532257 h 552450"/>
                  <a:gd name="connsiteX813" fmla="*/ 97060 w 666750"/>
                  <a:gd name="connsiteY813" fmla="*/ 531400 h 552450"/>
                  <a:gd name="connsiteX814" fmla="*/ 98774 w 666750"/>
                  <a:gd name="connsiteY814" fmla="*/ 531400 h 552450"/>
                  <a:gd name="connsiteX815" fmla="*/ 102108 w 666750"/>
                  <a:gd name="connsiteY815" fmla="*/ 531400 h 552450"/>
                  <a:gd name="connsiteX816" fmla="*/ 102965 w 666750"/>
                  <a:gd name="connsiteY816" fmla="*/ 530543 h 552450"/>
                  <a:gd name="connsiteX817" fmla="*/ 103822 w 666750"/>
                  <a:gd name="connsiteY817" fmla="*/ 529685 h 552450"/>
                  <a:gd name="connsiteX818" fmla="*/ 103822 w 666750"/>
                  <a:gd name="connsiteY818" fmla="*/ 527971 h 552450"/>
                  <a:gd name="connsiteX819" fmla="*/ 103822 w 666750"/>
                  <a:gd name="connsiteY819" fmla="*/ 526256 h 552450"/>
                  <a:gd name="connsiteX820" fmla="*/ 102965 w 666750"/>
                  <a:gd name="connsiteY820" fmla="*/ 524637 h 552450"/>
                  <a:gd name="connsiteX821" fmla="*/ 102965 w 666750"/>
                  <a:gd name="connsiteY821" fmla="*/ 522923 h 552450"/>
                  <a:gd name="connsiteX822" fmla="*/ 103822 w 666750"/>
                  <a:gd name="connsiteY822" fmla="*/ 522065 h 552450"/>
                  <a:gd name="connsiteX823" fmla="*/ 104680 w 666750"/>
                  <a:gd name="connsiteY823" fmla="*/ 522065 h 552450"/>
                  <a:gd name="connsiteX824" fmla="*/ 105442 w 666750"/>
                  <a:gd name="connsiteY824" fmla="*/ 521208 h 552450"/>
                  <a:gd name="connsiteX825" fmla="*/ 106299 w 666750"/>
                  <a:gd name="connsiteY825" fmla="*/ 519494 h 552450"/>
                  <a:gd name="connsiteX826" fmla="*/ 106299 w 666750"/>
                  <a:gd name="connsiteY826" fmla="*/ 518636 h 552450"/>
                  <a:gd name="connsiteX827" fmla="*/ 105442 w 666750"/>
                  <a:gd name="connsiteY827" fmla="*/ 517779 h 552450"/>
                  <a:gd name="connsiteX828" fmla="*/ 102108 w 666750"/>
                  <a:gd name="connsiteY828" fmla="*/ 515207 h 552450"/>
                  <a:gd name="connsiteX829" fmla="*/ 101251 w 666750"/>
                  <a:gd name="connsiteY829" fmla="*/ 514445 h 552450"/>
                  <a:gd name="connsiteX830" fmla="*/ 100393 w 666750"/>
                  <a:gd name="connsiteY830" fmla="*/ 513588 h 552450"/>
                  <a:gd name="connsiteX831" fmla="*/ 101251 w 666750"/>
                  <a:gd name="connsiteY831" fmla="*/ 512731 h 552450"/>
                  <a:gd name="connsiteX832" fmla="*/ 101251 w 666750"/>
                  <a:gd name="connsiteY832" fmla="*/ 511016 h 552450"/>
                  <a:gd name="connsiteX833" fmla="*/ 105442 w 666750"/>
                  <a:gd name="connsiteY833" fmla="*/ 505016 h 552450"/>
                  <a:gd name="connsiteX834" fmla="*/ 105442 w 666750"/>
                  <a:gd name="connsiteY834" fmla="*/ 504158 h 552450"/>
                  <a:gd name="connsiteX835" fmla="*/ 106299 w 666750"/>
                  <a:gd name="connsiteY835" fmla="*/ 502539 h 552450"/>
                  <a:gd name="connsiteX836" fmla="*/ 106299 w 666750"/>
                  <a:gd name="connsiteY836" fmla="*/ 500825 h 552450"/>
                  <a:gd name="connsiteX837" fmla="*/ 105442 w 666750"/>
                  <a:gd name="connsiteY837" fmla="*/ 499110 h 552450"/>
                  <a:gd name="connsiteX838" fmla="*/ 105442 w 666750"/>
                  <a:gd name="connsiteY838" fmla="*/ 499110 h 552450"/>
                  <a:gd name="connsiteX839" fmla="*/ 105442 w 666750"/>
                  <a:gd name="connsiteY839" fmla="*/ 498253 h 552450"/>
                  <a:gd name="connsiteX840" fmla="*/ 107156 w 666750"/>
                  <a:gd name="connsiteY840" fmla="*/ 493109 h 552450"/>
                  <a:gd name="connsiteX841" fmla="*/ 107156 w 666750"/>
                  <a:gd name="connsiteY841" fmla="*/ 491395 h 552450"/>
                  <a:gd name="connsiteX842" fmla="*/ 107156 w 666750"/>
                  <a:gd name="connsiteY842" fmla="*/ 489776 h 552450"/>
                  <a:gd name="connsiteX843" fmla="*/ 107156 w 666750"/>
                  <a:gd name="connsiteY843" fmla="*/ 488061 h 552450"/>
                  <a:gd name="connsiteX844" fmla="*/ 107156 w 666750"/>
                  <a:gd name="connsiteY844" fmla="*/ 487204 h 552450"/>
                  <a:gd name="connsiteX845" fmla="*/ 108013 w 666750"/>
                  <a:gd name="connsiteY845" fmla="*/ 486347 h 552450"/>
                  <a:gd name="connsiteX846" fmla="*/ 111347 w 666750"/>
                  <a:gd name="connsiteY846" fmla="*/ 482060 h 552450"/>
                  <a:gd name="connsiteX847" fmla="*/ 112204 w 666750"/>
                  <a:gd name="connsiteY847" fmla="*/ 480346 h 552450"/>
                  <a:gd name="connsiteX848" fmla="*/ 113919 w 666750"/>
                  <a:gd name="connsiteY848" fmla="*/ 477012 h 552450"/>
                  <a:gd name="connsiteX849" fmla="*/ 114776 w 666750"/>
                  <a:gd name="connsiteY849" fmla="*/ 476155 h 552450"/>
                  <a:gd name="connsiteX850" fmla="*/ 115633 w 666750"/>
                  <a:gd name="connsiteY850" fmla="*/ 475298 h 552450"/>
                  <a:gd name="connsiteX851" fmla="*/ 118110 w 666750"/>
                  <a:gd name="connsiteY851" fmla="*/ 476155 h 552450"/>
                  <a:gd name="connsiteX852" fmla="*/ 118967 w 666750"/>
                  <a:gd name="connsiteY852" fmla="*/ 477012 h 552450"/>
                  <a:gd name="connsiteX853" fmla="*/ 120682 w 666750"/>
                  <a:gd name="connsiteY853" fmla="*/ 477012 h 552450"/>
                  <a:gd name="connsiteX854" fmla="*/ 121539 w 666750"/>
                  <a:gd name="connsiteY854" fmla="*/ 477012 h 552450"/>
                  <a:gd name="connsiteX855" fmla="*/ 122396 w 666750"/>
                  <a:gd name="connsiteY855" fmla="*/ 477012 h 552450"/>
                  <a:gd name="connsiteX856" fmla="*/ 122396 w 666750"/>
                  <a:gd name="connsiteY856" fmla="*/ 477869 h 552450"/>
                  <a:gd name="connsiteX857" fmla="*/ 122396 w 666750"/>
                  <a:gd name="connsiteY857" fmla="*/ 478727 h 552450"/>
                  <a:gd name="connsiteX858" fmla="*/ 122396 w 666750"/>
                  <a:gd name="connsiteY858" fmla="*/ 479584 h 552450"/>
                  <a:gd name="connsiteX859" fmla="*/ 122396 w 666750"/>
                  <a:gd name="connsiteY859" fmla="*/ 480346 h 552450"/>
                  <a:gd name="connsiteX860" fmla="*/ 122396 w 666750"/>
                  <a:gd name="connsiteY860" fmla="*/ 481203 h 552450"/>
                  <a:gd name="connsiteX861" fmla="*/ 123158 w 666750"/>
                  <a:gd name="connsiteY861" fmla="*/ 482060 h 552450"/>
                  <a:gd name="connsiteX862" fmla="*/ 123158 w 666750"/>
                  <a:gd name="connsiteY862" fmla="*/ 482918 h 552450"/>
                  <a:gd name="connsiteX863" fmla="*/ 123158 w 666750"/>
                  <a:gd name="connsiteY863" fmla="*/ 483775 h 552450"/>
                  <a:gd name="connsiteX864" fmla="*/ 123158 w 666750"/>
                  <a:gd name="connsiteY864" fmla="*/ 485489 h 552450"/>
                  <a:gd name="connsiteX865" fmla="*/ 123158 w 666750"/>
                  <a:gd name="connsiteY865" fmla="*/ 487204 h 552450"/>
                  <a:gd name="connsiteX866" fmla="*/ 123158 w 666750"/>
                  <a:gd name="connsiteY866" fmla="*/ 488061 h 552450"/>
                  <a:gd name="connsiteX867" fmla="*/ 124873 w 666750"/>
                  <a:gd name="connsiteY867" fmla="*/ 489776 h 552450"/>
                  <a:gd name="connsiteX868" fmla="*/ 129921 w 666750"/>
                  <a:gd name="connsiteY868" fmla="*/ 494824 h 552450"/>
                  <a:gd name="connsiteX869" fmla="*/ 130778 w 666750"/>
                  <a:gd name="connsiteY869" fmla="*/ 495681 h 552450"/>
                  <a:gd name="connsiteX870" fmla="*/ 131635 w 666750"/>
                  <a:gd name="connsiteY870" fmla="*/ 496538 h 552450"/>
                  <a:gd name="connsiteX871" fmla="*/ 132493 w 666750"/>
                  <a:gd name="connsiteY871" fmla="*/ 497396 h 552450"/>
                  <a:gd name="connsiteX872" fmla="*/ 132493 w 666750"/>
                  <a:gd name="connsiteY872" fmla="*/ 498253 h 552450"/>
                  <a:gd name="connsiteX873" fmla="*/ 132493 w 666750"/>
                  <a:gd name="connsiteY873" fmla="*/ 499110 h 552450"/>
                  <a:gd name="connsiteX874" fmla="*/ 132493 w 666750"/>
                  <a:gd name="connsiteY874" fmla="*/ 499967 h 552450"/>
                  <a:gd name="connsiteX875" fmla="*/ 130778 w 666750"/>
                  <a:gd name="connsiteY875" fmla="*/ 503301 h 552450"/>
                  <a:gd name="connsiteX876" fmla="*/ 130778 w 666750"/>
                  <a:gd name="connsiteY876" fmla="*/ 505016 h 552450"/>
                  <a:gd name="connsiteX877" fmla="*/ 130778 w 666750"/>
                  <a:gd name="connsiteY877" fmla="*/ 505873 h 552450"/>
                  <a:gd name="connsiteX878" fmla="*/ 130778 w 666750"/>
                  <a:gd name="connsiteY878" fmla="*/ 506730 h 552450"/>
                  <a:gd name="connsiteX879" fmla="*/ 131635 w 666750"/>
                  <a:gd name="connsiteY879" fmla="*/ 507587 h 552450"/>
                  <a:gd name="connsiteX880" fmla="*/ 131635 w 666750"/>
                  <a:gd name="connsiteY880" fmla="*/ 508445 h 552450"/>
                  <a:gd name="connsiteX881" fmla="*/ 132493 w 666750"/>
                  <a:gd name="connsiteY881" fmla="*/ 508445 h 552450"/>
                  <a:gd name="connsiteX882" fmla="*/ 134207 w 666750"/>
                  <a:gd name="connsiteY882" fmla="*/ 508445 h 552450"/>
                  <a:gd name="connsiteX883" fmla="*/ 134969 w 666750"/>
                  <a:gd name="connsiteY883" fmla="*/ 508445 h 552450"/>
                  <a:gd name="connsiteX884" fmla="*/ 136684 w 666750"/>
                  <a:gd name="connsiteY884" fmla="*/ 509302 h 552450"/>
                  <a:gd name="connsiteX885" fmla="*/ 137541 w 666750"/>
                  <a:gd name="connsiteY885" fmla="*/ 509302 h 552450"/>
                  <a:gd name="connsiteX886" fmla="*/ 138398 w 666750"/>
                  <a:gd name="connsiteY886" fmla="*/ 508445 h 552450"/>
                  <a:gd name="connsiteX887" fmla="*/ 138398 w 666750"/>
                  <a:gd name="connsiteY887" fmla="*/ 507587 h 552450"/>
                  <a:gd name="connsiteX888" fmla="*/ 139255 w 666750"/>
                  <a:gd name="connsiteY888" fmla="*/ 504158 h 552450"/>
                  <a:gd name="connsiteX889" fmla="*/ 139255 w 666750"/>
                  <a:gd name="connsiteY889" fmla="*/ 503301 h 552450"/>
                  <a:gd name="connsiteX890" fmla="*/ 140113 w 666750"/>
                  <a:gd name="connsiteY890" fmla="*/ 502539 h 552450"/>
                  <a:gd name="connsiteX891" fmla="*/ 141732 w 666750"/>
                  <a:gd name="connsiteY891" fmla="*/ 501682 h 552450"/>
                  <a:gd name="connsiteX892" fmla="*/ 143446 w 666750"/>
                  <a:gd name="connsiteY892" fmla="*/ 500825 h 552450"/>
                  <a:gd name="connsiteX893" fmla="*/ 146780 w 666750"/>
                  <a:gd name="connsiteY893" fmla="*/ 498253 h 552450"/>
                  <a:gd name="connsiteX894" fmla="*/ 150209 w 666750"/>
                  <a:gd name="connsiteY894" fmla="*/ 497396 h 552450"/>
                  <a:gd name="connsiteX895" fmla="*/ 151924 w 666750"/>
                  <a:gd name="connsiteY895" fmla="*/ 496538 h 552450"/>
                  <a:gd name="connsiteX896" fmla="*/ 152781 w 666750"/>
                  <a:gd name="connsiteY896" fmla="*/ 494824 h 552450"/>
                  <a:gd name="connsiteX897" fmla="*/ 152781 w 666750"/>
                  <a:gd name="connsiteY897" fmla="*/ 493109 h 552450"/>
                  <a:gd name="connsiteX898" fmla="*/ 153543 w 666750"/>
                  <a:gd name="connsiteY898" fmla="*/ 491395 h 552450"/>
                  <a:gd name="connsiteX899" fmla="*/ 152781 w 666750"/>
                  <a:gd name="connsiteY899" fmla="*/ 488918 h 552450"/>
                  <a:gd name="connsiteX900" fmla="*/ 152781 w 666750"/>
                  <a:gd name="connsiteY900" fmla="*/ 488061 h 552450"/>
                  <a:gd name="connsiteX901" fmla="*/ 152781 w 666750"/>
                  <a:gd name="connsiteY901" fmla="*/ 487204 h 552450"/>
                  <a:gd name="connsiteX902" fmla="*/ 154400 w 666750"/>
                  <a:gd name="connsiteY902" fmla="*/ 486347 h 552450"/>
                  <a:gd name="connsiteX903" fmla="*/ 156115 w 666750"/>
                  <a:gd name="connsiteY903" fmla="*/ 486347 h 552450"/>
                  <a:gd name="connsiteX904" fmla="*/ 157829 w 666750"/>
                  <a:gd name="connsiteY904" fmla="*/ 486347 h 552450"/>
                  <a:gd name="connsiteX905" fmla="*/ 158686 w 666750"/>
                  <a:gd name="connsiteY905" fmla="*/ 487204 h 552450"/>
                  <a:gd name="connsiteX906" fmla="*/ 160306 w 666750"/>
                  <a:gd name="connsiteY906" fmla="*/ 488061 h 552450"/>
                  <a:gd name="connsiteX907" fmla="*/ 161163 w 666750"/>
                  <a:gd name="connsiteY907" fmla="*/ 488918 h 552450"/>
                  <a:gd name="connsiteX908" fmla="*/ 162877 w 666750"/>
                  <a:gd name="connsiteY908" fmla="*/ 488918 h 552450"/>
                  <a:gd name="connsiteX909" fmla="*/ 163735 w 666750"/>
                  <a:gd name="connsiteY909" fmla="*/ 488918 h 552450"/>
                  <a:gd name="connsiteX910" fmla="*/ 164592 w 666750"/>
                  <a:gd name="connsiteY910" fmla="*/ 489776 h 552450"/>
                  <a:gd name="connsiteX911" fmla="*/ 163735 w 666750"/>
                  <a:gd name="connsiteY911" fmla="*/ 492252 h 552450"/>
                  <a:gd name="connsiteX912" fmla="*/ 163735 w 666750"/>
                  <a:gd name="connsiteY912" fmla="*/ 493109 h 552450"/>
                  <a:gd name="connsiteX913" fmla="*/ 164592 w 666750"/>
                  <a:gd name="connsiteY913" fmla="*/ 493967 h 552450"/>
                  <a:gd name="connsiteX914" fmla="*/ 165354 w 666750"/>
                  <a:gd name="connsiteY914" fmla="*/ 494824 h 552450"/>
                  <a:gd name="connsiteX915" fmla="*/ 166211 w 666750"/>
                  <a:gd name="connsiteY915" fmla="*/ 494824 h 552450"/>
                  <a:gd name="connsiteX916" fmla="*/ 170497 w 666750"/>
                  <a:gd name="connsiteY916" fmla="*/ 494824 h 552450"/>
                  <a:gd name="connsiteX917" fmla="*/ 171259 w 666750"/>
                  <a:gd name="connsiteY917" fmla="*/ 494824 h 552450"/>
                  <a:gd name="connsiteX918" fmla="*/ 175546 w 666750"/>
                  <a:gd name="connsiteY918" fmla="*/ 492252 h 552450"/>
                  <a:gd name="connsiteX919" fmla="*/ 176403 w 666750"/>
                  <a:gd name="connsiteY919" fmla="*/ 492252 h 552450"/>
                  <a:gd name="connsiteX920" fmla="*/ 177165 w 666750"/>
                  <a:gd name="connsiteY920" fmla="*/ 492252 h 552450"/>
                  <a:gd name="connsiteX921" fmla="*/ 178879 w 666750"/>
                  <a:gd name="connsiteY921" fmla="*/ 492252 h 552450"/>
                  <a:gd name="connsiteX922" fmla="*/ 179737 w 666750"/>
                  <a:gd name="connsiteY922" fmla="*/ 491395 h 552450"/>
                  <a:gd name="connsiteX923" fmla="*/ 180594 w 666750"/>
                  <a:gd name="connsiteY923" fmla="*/ 490633 h 552450"/>
                  <a:gd name="connsiteX924" fmla="*/ 181451 w 666750"/>
                  <a:gd name="connsiteY924" fmla="*/ 488061 h 552450"/>
                  <a:gd name="connsiteX925" fmla="*/ 181451 w 666750"/>
                  <a:gd name="connsiteY925" fmla="*/ 486347 h 552450"/>
                  <a:gd name="connsiteX926" fmla="*/ 180594 w 666750"/>
                  <a:gd name="connsiteY926" fmla="*/ 485489 h 552450"/>
                  <a:gd name="connsiteX927" fmla="*/ 180594 w 666750"/>
                  <a:gd name="connsiteY927" fmla="*/ 484632 h 552450"/>
                  <a:gd name="connsiteX928" fmla="*/ 179737 w 666750"/>
                  <a:gd name="connsiteY928" fmla="*/ 483775 h 552450"/>
                  <a:gd name="connsiteX929" fmla="*/ 179737 w 666750"/>
                  <a:gd name="connsiteY929" fmla="*/ 482918 h 552450"/>
                  <a:gd name="connsiteX930" fmla="*/ 180594 w 666750"/>
                  <a:gd name="connsiteY930" fmla="*/ 482060 h 552450"/>
                  <a:gd name="connsiteX931" fmla="*/ 185642 w 666750"/>
                  <a:gd name="connsiteY931" fmla="*/ 475298 h 552450"/>
                  <a:gd name="connsiteX932" fmla="*/ 185642 w 666750"/>
                  <a:gd name="connsiteY932" fmla="*/ 473583 h 552450"/>
                  <a:gd name="connsiteX933" fmla="*/ 185642 w 666750"/>
                  <a:gd name="connsiteY933" fmla="*/ 473583 h 552450"/>
                  <a:gd name="connsiteX934" fmla="*/ 184785 w 666750"/>
                  <a:gd name="connsiteY934" fmla="*/ 472726 h 552450"/>
                  <a:gd name="connsiteX935" fmla="*/ 184785 w 666750"/>
                  <a:gd name="connsiteY935" fmla="*/ 472726 h 552450"/>
                  <a:gd name="connsiteX936" fmla="*/ 182309 w 666750"/>
                  <a:gd name="connsiteY936" fmla="*/ 473583 h 552450"/>
                  <a:gd name="connsiteX937" fmla="*/ 182309 w 666750"/>
                  <a:gd name="connsiteY937" fmla="*/ 472726 h 552450"/>
                  <a:gd name="connsiteX938" fmla="*/ 181451 w 666750"/>
                  <a:gd name="connsiteY938" fmla="*/ 472726 h 552450"/>
                  <a:gd name="connsiteX939" fmla="*/ 180594 w 666750"/>
                  <a:gd name="connsiteY939" fmla="*/ 470154 h 552450"/>
                  <a:gd name="connsiteX940" fmla="*/ 178879 w 666750"/>
                  <a:gd name="connsiteY940" fmla="*/ 467678 h 552450"/>
                  <a:gd name="connsiteX941" fmla="*/ 178879 w 666750"/>
                  <a:gd name="connsiteY941" fmla="*/ 466820 h 552450"/>
                  <a:gd name="connsiteX942" fmla="*/ 178879 w 666750"/>
                  <a:gd name="connsiteY942" fmla="*/ 465963 h 552450"/>
                  <a:gd name="connsiteX943" fmla="*/ 178879 w 666750"/>
                  <a:gd name="connsiteY943" fmla="*/ 465106 h 552450"/>
                  <a:gd name="connsiteX944" fmla="*/ 179737 w 666750"/>
                  <a:gd name="connsiteY944" fmla="*/ 464249 h 552450"/>
                  <a:gd name="connsiteX945" fmla="*/ 178879 w 666750"/>
                  <a:gd name="connsiteY945" fmla="*/ 463391 h 552450"/>
                  <a:gd name="connsiteX946" fmla="*/ 179737 w 666750"/>
                  <a:gd name="connsiteY946" fmla="*/ 462534 h 552450"/>
                  <a:gd name="connsiteX947" fmla="*/ 179737 w 666750"/>
                  <a:gd name="connsiteY947" fmla="*/ 461677 h 552450"/>
                  <a:gd name="connsiteX948" fmla="*/ 182309 w 666750"/>
                  <a:gd name="connsiteY948" fmla="*/ 459105 h 552450"/>
                  <a:gd name="connsiteX949" fmla="*/ 183928 w 666750"/>
                  <a:gd name="connsiteY949" fmla="*/ 457391 h 552450"/>
                  <a:gd name="connsiteX950" fmla="*/ 184785 w 666750"/>
                  <a:gd name="connsiteY950" fmla="*/ 455771 h 552450"/>
                  <a:gd name="connsiteX951" fmla="*/ 187357 w 666750"/>
                  <a:gd name="connsiteY951" fmla="*/ 451485 h 552450"/>
                  <a:gd name="connsiteX952" fmla="*/ 188214 w 666750"/>
                  <a:gd name="connsiteY952" fmla="*/ 449771 h 552450"/>
                  <a:gd name="connsiteX953" fmla="*/ 190690 w 666750"/>
                  <a:gd name="connsiteY953" fmla="*/ 448056 h 552450"/>
                  <a:gd name="connsiteX954" fmla="*/ 191548 w 666750"/>
                  <a:gd name="connsiteY954" fmla="*/ 447199 h 552450"/>
                  <a:gd name="connsiteX955" fmla="*/ 193262 w 666750"/>
                  <a:gd name="connsiteY955" fmla="*/ 447199 h 552450"/>
                  <a:gd name="connsiteX956" fmla="*/ 194119 w 666750"/>
                  <a:gd name="connsiteY956" fmla="*/ 447199 h 552450"/>
                  <a:gd name="connsiteX957" fmla="*/ 195739 w 666750"/>
                  <a:gd name="connsiteY957" fmla="*/ 448056 h 552450"/>
                  <a:gd name="connsiteX958" fmla="*/ 196596 w 666750"/>
                  <a:gd name="connsiteY958" fmla="*/ 448913 h 552450"/>
                  <a:gd name="connsiteX959" fmla="*/ 197453 w 666750"/>
                  <a:gd name="connsiteY959" fmla="*/ 449771 h 552450"/>
                  <a:gd name="connsiteX960" fmla="*/ 198310 w 666750"/>
                  <a:gd name="connsiteY960" fmla="*/ 449771 h 552450"/>
                  <a:gd name="connsiteX961" fmla="*/ 205073 w 666750"/>
                  <a:gd name="connsiteY961" fmla="*/ 447199 h 552450"/>
                  <a:gd name="connsiteX962" fmla="*/ 206788 w 666750"/>
                  <a:gd name="connsiteY962" fmla="*/ 445484 h 552450"/>
                  <a:gd name="connsiteX963" fmla="*/ 209264 w 666750"/>
                  <a:gd name="connsiteY963" fmla="*/ 443008 h 552450"/>
                  <a:gd name="connsiteX964" fmla="*/ 212693 w 666750"/>
                  <a:gd name="connsiteY964" fmla="*/ 440436 h 552450"/>
                  <a:gd name="connsiteX965" fmla="*/ 214313 w 666750"/>
                  <a:gd name="connsiteY965" fmla="*/ 439579 h 552450"/>
                  <a:gd name="connsiteX966" fmla="*/ 216884 w 666750"/>
                  <a:gd name="connsiteY966" fmla="*/ 438722 h 552450"/>
                  <a:gd name="connsiteX967" fmla="*/ 218599 w 666750"/>
                  <a:gd name="connsiteY967" fmla="*/ 437864 h 552450"/>
                  <a:gd name="connsiteX968" fmla="*/ 219361 w 666750"/>
                  <a:gd name="connsiteY968" fmla="*/ 437007 h 552450"/>
                  <a:gd name="connsiteX969" fmla="*/ 220218 w 666750"/>
                  <a:gd name="connsiteY969" fmla="*/ 436150 h 552450"/>
                  <a:gd name="connsiteX970" fmla="*/ 220218 w 666750"/>
                  <a:gd name="connsiteY970" fmla="*/ 435293 h 552450"/>
                  <a:gd name="connsiteX971" fmla="*/ 219361 w 666750"/>
                  <a:gd name="connsiteY971" fmla="*/ 434435 h 552450"/>
                  <a:gd name="connsiteX972" fmla="*/ 218599 w 666750"/>
                  <a:gd name="connsiteY972" fmla="*/ 434435 h 552450"/>
                  <a:gd name="connsiteX973" fmla="*/ 218599 w 666750"/>
                  <a:gd name="connsiteY973" fmla="*/ 433673 h 552450"/>
                  <a:gd name="connsiteX974" fmla="*/ 218599 w 666750"/>
                  <a:gd name="connsiteY974" fmla="*/ 433673 h 552450"/>
                  <a:gd name="connsiteX975" fmla="*/ 217742 w 666750"/>
                  <a:gd name="connsiteY975" fmla="*/ 431959 h 552450"/>
                  <a:gd name="connsiteX976" fmla="*/ 217742 w 666750"/>
                  <a:gd name="connsiteY976" fmla="*/ 431959 h 552450"/>
                  <a:gd name="connsiteX977" fmla="*/ 216884 w 666750"/>
                  <a:gd name="connsiteY977" fmla="*/ 431959 h 552450"/>
                  <a:gd name="connsiteX978" fmla="*/ 216027 w 666750"/>
                  <a:gd name="connsiteY978" fmla="*/ 431959 h 552450"/>
                  <a:gd name="connsiteX979" fmla="*/ 216027 w 666750"/>
                  <a:gd name="connsiteY979" fmla="*/ 431959 h 552450"/>
                  <a:gd name="connsiteX980" fmla="*/ 215170 w 666750"/>
                  <a:gd name="connsiteY980" fmla="*/ 431102 h 552450"/>
                  <a:gd name="connsiteX981" fmla="*/ 215170 w 666750"/>
                  <a:gd name="connsiteY981" fmla="*/ 431102 h 552450"/>
                  <a:gd name="connsiteX982" fmla="*/ 212693 w 666750"/>
                  <a:gd name="connsiteY982" fmla="*/ 428530 h 552450"/>
                  <a:gd name="connsiteX983" fmla="*/ 212693 w 666750"/>
                  <a:gd name="connsiteY983" fmla="*/ 427673 h 552450"/>
                  <a:gd name="connsiteX984" fmla="*/ 211836 w 666750"/>
                  <a:gd name="connsiteY984" fmla="*/ 425101 h 552450"/>
                  <a:gd name="connsiteX985" fmla="*/ 210979 w 666750"/>
                  <a:gd name="connsiteY985" fmla="*/ 424244 h 552450"/>
                  <a:gd name="connsiteX986" fmla="*/ 210979 w 666750"/>
                  <a:gd name="connsiteY986" fmla="*/ 423386 h 552450"/>
                  <a:gd name="connsiteX987" fmla="*/ 210121 w 666750"/>
                  <a:gd name="connsiteY987" fmla="*/ 423386 h 552450"/>
                  <a:gd name="connsiteX988" fmla="*/ 209264 w 666750"/>
                  <a:gd name="connsiteY988" fmla="*/ 422529 h 552450"/>
                  <a:gd name="connsiteX989" fmla="*/ 209264 w 666750"/>
                  <a:gd name="connsiteY989" fmla="*/ 421767 h 552450"/>
                  <a:gd name="connsiteX990" fmla="*/ 209264 w 666750"/>
                  <a:gd name="connsiteY990" fmla="*/ 420910 h 552450"/>
                  <a:gd name="connsiteX991" fmla="*/ 210979 w 666750"/>
                  <a:gd name="connsiteY991" fmla="*/ 420053 h 552450"/>
                  <a:gd name="connsiteX992" fmla="*/ 211836 w 666750"/>
                  <a:gd name="connsiteY992" fmla="*/ 420053 h 552450"/>
                  <a:gd name="connsiteX993" fmla="*/ 213455 w 666750"/>
                  <a:gd name="connsiteY993" fmla="*/ 419195 h 552450"/>
                  <a:gd name="connsiteX994" fmla="*/ 214313 w 666750"/>
                  <a:gd name="connsiteY994" fmla="*/ 419195 h 552450"/>
                  <a:gd name="connsiteX995" fmla="*/ 215170 w 666750"/>
                  <a:gd name="connsiteY995" fmla="*/ 420053 h 552450"/>
                  <a:gd name="connsiteX996" fmla="*/ 216027 w 666750"/>
                  <a:gd name="connsiteY996" fmla="*/ 420053 h 552450"/>
                  <a:gd name="connsiteX997" fmla="*/ 216884 w 666750"/>
                  <a:gd name="connsiteY997" fmla="*/ 420910 h 552450"/>
                  <a:gd name="connsiteX998" fmla="*/ 219361 w 666750"/>
                  <a:gd name="connsiteY998" fmla="*/ 421767 h 552450"/>
                  <a:gd name="connsiteX999" fmla="*/ 221075 w 666750"/>
                  <a:gd name="connsiteY999" fmla="*/ 422529 h 552450"/>
                  <a:gd name="connsiteX1000" fmla="*/ 223647 w 666750"/>
                  <a:gd name="connsiteY1000" fmla="*/ 424244 h 552450"/>
                  <a:gd name="connsiteX1001" fmla="*/ 224504 w 666750"/>
                  <a:gd name="connsiteY1001" fmla="*/ 424244 h 552450"/>
                  <a:gd name="connsiteX1002" fmla="*/ 226123 w 666750"/>
                  <a:gd name="connsiteY1002" fmla="*/ 423386 h 552450"/>
                  <a:gd name="connsiteX1003" fmla="*/ 226981 w 666750"/>
                  <a:gd name="connsiteY1003" fmla="*/ 422529 h 552450"/>
                  <a:gd name="connsiteX1004" fmla="*/ 226981 w 666750"/>
                  <a:gd name="connsiteY1004" fmla="*/ 421767 h 552450"/>
                  <a:gd name="connsiteX1005" fmla="*/ 226123 w 666750"/>
                  <a:gd name="connsiteY1005" fmla="*/ 420910 h 552450"/>
                  <a:gd name="connsiteX1006" fmla="*/ 226123 w 666750"/>
                  <a:gd name="connsiteY1006" fmla="*/ 420053 h 552450"/>
                  <a:gd name="connsiteX1007" fmla="*/ 226123 w 666750"/>
                  <a:gd name="connsiteY1007" fmla="*/ 420053 h 552450"/>
                  <a:gd name="connsiteX1008" fmla="*/ 226123 w 666750"/>
                  <a:gd name="connsiteY1008" fmla="*/ 420053 h 552450"/>
                  <a:gd name="connsiteX1009" fmla="*/ 226123 w 666750"/>
                  <a:gd name="connsiteY1009" fmla="*/ 419195 h 552450"/>
                  <a:gd name="connsiteX1010" fmla="*/ 227838 w 666750"/>
                  <a:gd name="connsiteY1010" fmla="*/ 418338 h 552450"/>
                  <a:gd name="connsiteX1011" fmla="*/ 227838 w 666750"/>
                  <a:gd name="connsiteY1011" fmla="*/ 417481 h 552450"/>
                  <a:gd name="connsiteX1012" fmla="*/ 227838 w 666750"/>
                  <a:gd name="connsiteY1012" fmla="*/ 416624 h 552450"/>
                  <a:gd name="connsiteX1013" fmla="*/ 226981 w 666750"/>
                  <a:gd name="connsiteY1013" fmla="*/ 412337 h 552450"/>
                  <a:gd name="connsiteX1014" fmla="*/ 226981 w 666750"/>
                  <a:gd name="connsiteY1014" fmla="*/ 411480 h 552450"/>
                  <a:gd name="connsiteX1015" fmla="*/ 227838 w 666750"/>
                  <a:gd name="connsiteY1015" fmla="*/ 411480 h 552450"/>
                  <a:gd name="connsiteX1016" fmla="*/ 228695 w 666750"/>
                  <a:gd name="connsiteY1016" fmla="*/ 411480 h 552450"/>
                  <a:gd name="connsiteX1017" fmla="*/ 229552 w 666750"/>
                  <a:gd name="connsiteY1017" fmla="*/ 412337 h 552450"/>
                  <a:gd name="connsiteX1018" fmla="*/ 230410 w 666750"/>
                  <a:gd name="connsiteY1018" fmla="*/ 414052 h 552450"/>
                  <a:gd name="connsiteX1019" fmla="*/ 231172 w 666750"/>
                  <a:gd name="connsiteY1019" fmla="*/ 414909 h 552450"/>
                  <a:gd name="connsiteX1020" fmla="*/ 231172 w 666750"/>
                  <a:gd name="connsiteY1020" fmla="*/ 418338 h 552450"/>
                  <a:gd name="connsiteX1021" fmla="*/ 232029 w 666750"/>
                  <a:gd name="connsiteY1021" fmla="*/ 419195 h 552450"/>
                  <a:gd name="connsiteX1022" fmla="*/ 232886 w 666750"/>
                  <a:gd name="connsiteY1022" fmla="*/ 419195 h 552450"/>
                  <a:gd name="connsiteX1023" fmla="*/ 233743 w 666750"/>
                  <a:gd name="connsiteY1023" fmla="*/ 418338 h 552450"/>
                  <a:gd name="connsiteX1024" fmla="*/ 234601 w 666750"/>
                  <a:gd name="connsiteY1024" fmla="*/ 418338 h 552450"/>
                  <a:gd name="connsiteX1025" fmla="*/ 235458 w 666750"/>
                  <a:gd name="connsiteY1025" fmla="*/ 416624 h 552450"/>
                  <a:gd name="connsiteX1026" fmla="*/ 236315 w 666750"/>
                  <a:gd name="connsiteY1026" fmla="*/ 414052 h 552450"/>
                  <a:gd name="connsiteX1027" fmla="*/ 236315 w 666750"/>
                  <a:gd name="connsiteY1027" fmla="*/ 413195 h 552450"/>
                  <a:gd name="connsiteX1028" fmla="*/ 237077 w 666750"/>
                  <a:gd name="connsiteY1028" fmla="*/ 412337 h 552450"/>
                  <a:gd name="connsiteX1029" fmla="*/ 239649 w 666750"/>
                  <a:gd name="connsiteY1029" fmla="*/ 411480 h 552450"/>
                  <a:gd name="connsiteX1030" fmla="*/ 240506 w 666750"/>
                  <a:gd name="connsiteY1030" fmla="*/ 410623 h 552450"/>
                  <a:gd name="connsiteX1031" fmla="*/ 241363 w 666750"/>
                  <a:gd name="connsiteY1031" fmla="*/ 409004 h 552450"/>
                  <a:gd name="connsiteX1032" fmla="*/ 241363 w 666750"/>
                  <a:gd name="connsiteY1032" fmla="*/ 407289 h 552450"/>
                  <a:gd name="connsiteX1033" fmla="*/ 241363 w 666750"/>
                  <a:gd name="connsiteY1033" fmla="*/ 406432 h 552450"/>
                  <a:gd name="connsiteX1034" fmla="*/ 242221 w 666750"/>
                  <a:gd name="connsiteY1034" fmla="*/ 404717 h 552450"/>
                  <a:gd name="connsiteX1035" fmla="*/ 242983 w 666750"/>
                  <a:gd name="connsiteY1035" fmla="*/ 404717 h 552450"/>
                  <a:gd name="connsiteX1036" fmla="*/ 243840 w 666750"/>
                  <a:gd name="connsiteY1036" fmla="*/ 404717 h 552450"/>
                  <a:gd name="connsiteX1037" fmla="*/ 245554 w 666750"/>
                  <a:gd name="connsiteY1037" fmla="*/ 406432 h 552450"/>
                  <a:gd name="connsiteX1038" fmla="*/ 246412 w 666750"/>
                  <a:gd name="connsiteY1038" fmla="*/ 409861 h 552450"/>
                  <a:gd name="connsiteX1039" fmla="*/ 247269 w 666750"/>
                  <a:gd name="connsiteY1039" fmla="*/ 410623 h 552450"/>
                  <a:gd name="connsiteX1040" fmla="*/ 252317 w 666750"/>
                  <a:gd name="connsiteY1040" fmla="*/ 415766 h 552450"/>
                  <a:gd name="connsiteX1041" fmla="*/ 254032 w 666750"/>
                  <a:gd name="connsiteY1041" fmla="*/ 418338 h 552450"/>
                  <a:gd name="connsiteX1042" fmla="*/ 254032 w 666750"/>
                  <a:gd name="connsiteY1042" fmla="*/ 420053 h 552450"/>
                  <a:gd name="connsiteX1043" fmla="*/ 256508 w 666750"/>
                  <a:gd name="connsiteY1043" fmla="*/ 425958 h 552450"/>
                  <a:gd name="connsiteX1044" fmla="*/ 257365 w 666750"/>
                  <a:gd name="connsiteY1044" fmla="*/ 427673 h 552450"/>
                  <a:gd name="connsiteX1045" fmla="*/ 257365 w 666750"/>
                  <a:gd name="connsiteY1045" fmla="*/ 428530 h 552450"/>
                  <a:gd name="connsiteX1046" fmla="*/ 258223 w 666750"/>
                  <a:gd name="connsiteY1046" fmla="*/ 428530 h 552450"/>
                  <a:gd name="connsiteX1047" fmla="*/ 259080 w 666750"/>
                  <a:gd name="connsiteY1047" fmla="*/ 427673 h 552450"/>
                  <a:gd name="connsiteX1048" fmla="*/ 259080 w 666750"/>
                  <a:gd name="connsiteY1048" fmla="*/ 425958 h 552450"/>
                  <a:gd name="connsiteX1049" fmla="*/ 259080 w 666750"/>
                  <a:gd name="connsiteY1049" fmla="*/ 425101 h 552450"/>
                  <a:gd name="connsiteX1050" fmla="*/ 259080 w 666750"/>
                  <a:gd name="connsiteY1050" fmla="*/ 424244 h 552450"/>
                  <a:gd name="connsiteX1051" fmla="*/ 259080 w 666750"/>
                  <a:gd name="connsiteY1051" fmla="*/ 423386 h 552450"/>
                  <a:gd name="connsiteX1052" fmla="*/ 258223 w 666750"/>
                  <a:gd name="connsiteY1052" fmla="*/ 421767 h 552450"/>
                  <a:gd name="connsiteX1053" fmla="*/ 258223 w 666750"/>
                  <a:gd name="connsiteY1053" fmla="*/ 420910 h 552450"/>
                  <a:gd name="connsiteX1054" fmla="*/ 259080 w 666750"/>
                  <a:gd name="connsiteY1054" fmla="*/ 420910 h 552450"/>
                  <a:gd name="connsiteX1055" fmla="*/ 259080 w 666750"/>
                  <a:gd name="connsiteY1055" fmla="*/ 420053 h 552450"/>
                  <a:gd name="connsiteX1056" fmla="*/ 259080 w 666750"/>
                  <a:gd name="connsiteY1056" fmla="*/ 420053 h 552450"/>
                  <a:gd name="connsiteX1057" fmla="*/ 259937 w 666750"/>
                  <a:gd name="connsiteY1057" fmla="*/ 419195 h 552450"/>
                  <a:gd name="connsiteX1058" fmla="*/ 260794 w 666750"/>
                  <a:gd name="connsiteY1058" fmla="*/ 419195 h 552450"/>
                  <a:gd name="connsiteX1059" fmla="*/ 261556 w 666750"/>
                  <a:gd name="connsiteY1059" fmla="*/ 419195 h 552450"/>
                  <a:gd name="connsiteX1060" fmla="*/ 262414 w 666750"/>
                  <a:gd name="connsiteY1060" fmla="*/ 419195 h 552450"/>
                  <a:gd name="connsiteX1061" fmla="*/ 264985 w 666750"/>
                  <a:gd name="connsiteY1061" fmla="*/ 420053 h 552450"/>
                  <a:gd name="connsiteX1062" fmla="*/ 266700 w 666750"/>
                  <a:gd name="connsiteY1062" fmla="*/ 424244 h 552450"/>
                  <a:gd name="connsiteX1063" fmla="*/ 267462 w 666750"/>
                  <a:gd name="connsiteY1063" fmla="*/ 429387 h 552450"/>
                  <a:gd name="connsiteX1064" fmla="*/ 267462 w 666750"/>
                  <a:gd name="connsiteY1064" fmla="*/ 430244 h 552450"/>
                  <a:gd name="connsiteX1065" fmla="*/ 269176 w 666750"/>
                  <a:gd name="connsiteY1065" fmla="*/ 431102 h 552450"/>
                  <a:gd name="connsiteX1066" fmla="*/ 270034 w 666750"/>
                  <a:gd name="connsiteY1066" fmla="*/ 434435 h 552450"/>
                  <a:gd name="connsiteX1067" fmla="*/ 270891 w 666750"/>
                  <a:gd name="connsiteY1067" fmla="*/ 436150 h 552450"/>
                  <a:gd name="connsiteX1068" fmla="*/ 270891 w 666750"/>
                  <a:gd name="connsiteY1068" fmla="*/ 437007 h 552450"/>
                  <a:gd name="connsiteX1069" fmla="*/ 270891 w 666750"/>
                  <a:gd name="connsiteY1069" fmla="*/ 437007 h 552450"/>
                  <a:gd name="connsiteX1070" fmla="*/ 271748 w 666750"/>
                  <a:gd name="connsiteY1070" fmla="*/ 437864 h 552450"/>
                  <a:gd name="connsiteX1071" fmla="*/ 272605 w 666750"/>
                  <a:gd name="connsiteY1071" fmla="*/ 438722 h 552450"/>
                  <a:gd name="connsiteX1072" fmla="*/ 273367 w 666750"/>
                  <a:gd name="connsiteY1072" fmla="*/ 440436 h 552450"/>
                  <a:gd name="connsiteX1073" fmla="*/ 273367 w 666750"/>
                  <a:gd name="connsiteY1073" fmla="*/ 441293 h 552450"/>
                  <a:gd name="connsiteX1074" fmla="*/ 274225 w 666750"/>
                  <a:gd name="connsiteY1074" fmla="*/ 441293 h 552450"/>
                  <a:gd name="connsiteX1075" fmla="*/ 274225 w 666750"/>
                  <a:gd name="connsiteY1075" fmla="*/ 441293 h 552450"/>
                  <a:gd name="connsiteX1076" fmla="*/ 275082 w 666750"/>
                  <a:gd name="connsiteY1076" fmla="*/ 442151 h 552450"/>
                  <a:gd name="connsiteX1077" fmla="*/ 275939 w 666750"/>
                  <a:gd name="connsiteY1077" fmla="*/ 443008 h 552450"/>
                  <a:gd name="connsiteX1078" fmla="*/ 280988 w 666750"/>
                  <a:gd name="connsiteY1078" fmla="*/ 442151 h 552450"/>
                  <a:gd name="connsiteX1079" fmla="*/ 286036 w 666750"/>
                  <a:gd name="connsiteY1079" fmla="*/ 442151 h 552450"/>
                  <a:gd name="connsiteX1080" fmla="*/ 292798 w 666750"/>
                  <a:gd name="connsiteY1080" fmla="*/ 441293 h 552450"/>
                  <a:gd name="connsiteX1081" fmla="*/ 294513 w 666750"/>
                  <a:gd name="connsiteY1081" fmla="*/ 441293 h 552450"/>
                  <a:gd name="connsiteX1082" fmla="*/ 296227 w 666750"/>
                  <a:gd name="connsiteY1082" fmla="*/ 441293 h 552450"/>
                  <a:gd name="connsiteX1083" fmla="*/ 296989 w 666750"/>
                  <a:gd name="connsiteY1083" fmla="*/ 442151 h 552450"/>
                  <a:gd name="connsiteX1084" fmla="*/ 297847 w 666750"/>
                  <a:gd name="connsiteY1084" fmla="*/ 443008 h 552450"/>
                  <a:gd name="connsiteX1085" fmla="*/ 300418 w 666750"/>
                  <a:gd name="connsiteY1085" fmla="*/ 443008 h 552450"/>
                  <a:gd name="connsiteX1086" fmla="*/ 302133 w 666750"/>
                  <a:gd name="connsiteY1086" fmla="*/ 443865 h 552450"/>
                  <a:gd name="connsiteX1087" fmla="*/ 303752 w 666750"/>
                  <a:gd name="connsiteY1087" fmla="*/ 444722 h 552450"/>
                  <a:gd name="connsiteX1088" fmla="*/ 304609 w 666750"/>
                  <a:gd name="connsiteY1088" fmla="*/ 444722 h 552450"/>
                  <a:gd name="connsiteX1089" fmla="*/ 306324 w 666750"/>
                  <a:gd name="connsiteY1089" fmla="*/ 444722 h 552450"/>
                  <a:gd name="connsiteX1090" fmla="*/ 314801 w 666750"/>
                  <a:gd name="connsiteY1090" fmla="*/ 443008 h 552450"/>
                  <a:gd name="connsiteX1091" fmla="*/ 321469 w 666750"/>
                  <a:gd name="connsiteY1091" fmla="*/ 442151 h 552450"/>
                  <a:gd name="connsiteX1092" fmla="*/ 323183 w 666750"/>
                  <a:gd name="connsiteY1092" fmla="*/ 441293 h 552450"/>
                  <a:gd name="connsiteX1093" fmla="*/ 324898 w 666750"/>
                  <a:gd name="connsiteY1093" fmla="*/ 439579 h 552450"/>
                  <a:gd name="connsiteX1094" fmla="*/ 327374 w 666750"/>
                  <a:gd name="connsiteY1094" fmla="*/ 437007 h 552450"/>
                  <a:gd name="connsiteX1095" fmla="*/ 328231 w 666750"/>
                  <a:gd name="connsiteY1095" fmla="*/ 435293 h 552450"/>
                  <a:gd name="connsiteX1096" fmla="*/ 329089 w 666750"/>
                  <a:gd name="connsiteY1096" fmla="*/ 431959 h 552450"/>
                  <a:gd name="connsiteX1097" fmla="*/ 329946 w 666750"/>
                  <a:gd name="connsiteY1097" fmla="*/ 431102 h 552450"/>
                  <a:gd name="connsiteX1098" fmla="*/ 329946 w 666750"/>
                  <a:gd name="connsiteY1098" fmla="*/ 431102 h 552450"/>
                  <a:gd name="connsiteX1099" fmla="*/ 331660 w 666750"/>
                  <a:gd name="connsiteY1099" fmla="*/ 431102 h 552450"/>
                  <a:gd name="connsiteX1100" fmla="*/ 332518 w 666750"/>
                  <a:gd name="connsiteY1100" fmla="*/ 431102 h 552450"/>
                  <a:gd name="connsiteX1101" fmla="*/ 333280 w 666750"/>
                  <a:gd name="connsiteY1101" fmla="*/ 431102 h 552450"/>
                  <a:gd name="connsiteX1102" fmla="*/ 337566 w 666750"/>
                  <a:gd name="connsiteY1102" fmla="*/ 425958 h 552450"/>
                  <a:gd name="connsiteX1103" fmla="*/ 337566 w 666750"/>
                  <a:gd name="connsiteY1103" fmla="*/ 425101 h 552450"/>
                  <a:gd name="connsiteX1104" fmla="*/ 338423 w 666750"/>
                  <a:gd name="connsiteY1104" fmla="*/ 424244 h 552450"/>
                  <a:gd name="connsiteX1105" fmla="*/ 337566 w 666750"/>
                  <a:gd name="connsiteY1105" fmla="*/ 424244 h 552450"/>
                  <a:gd name="connsiteX1106" fmla="*/ 337566 w 666750"/>
                  <a:gd name="connsiteY1106" fmla="*/ 423386 h 552450"/>
                  <a:gd name="connsiteX1107" fmla="*/ 337566 w 666750"/>
                  <a:gd name="connsiteY1107" fmla="*/ 422529 h 552450"/>
                  <a:gd name="connsiteX1108" fmla="*/ 337566 w 666750"/>
                  <a:gd name="connsiteY1108" fmla="*/ 422529 h 552450"/>
                  <a:gd name="connsiteX1109" fmla="*/ 337566 w 666750"/>
                  <a:gd name="connsiteY1109" fmla="*/ 421767 h 552450"/>
                  <a:gd name="connsiteX1110" fmla="*/ 338423 w 666750"/>
                  <a:gd name="connsiteY1110" fmla="*/ 420053 h 552450"/>
                  <a:gd name="connsiteX1111" fmla="*/ 338423 w 666750"/>
                  <a:gd name="connsiteY1111" fmla="*/ 420053 h 552450"/>
                  <a:gd name="connsiteX1112" fmla="*/ 338423 w 666750"/>
                  <a:gd name="connsiteY1112" fmla="*/ 419195 h 552450"/>
                  <a:gd name="connsiteX1113" fmla="*/ 338423 w 666750"/>
                  <a:gd name="connsiteY1113" fmla="*/ 417481 h 552450"/>
                  <a:gd name="connsiteX1114" fmla="*/ 337566 w 666750"/>
                  <a:gd name="connsiteY1114" fmla="*/ 416624 h 552450"/>
                  <a:gd name="connsiteX1115" fmla="*/ 338423 w 666750"/>
                  <a:gd name="connsiteY1115" fmla="*/ 416624 h 552450"/>
                  <a:gd name="connsiteX1116" fmla="*/ 339185 w 666750"/>
                  <a:gd name="connsiteY1116" fmla="*/ 415766 h 552450"/>
                  <a:gd name="connsiteX1117" fmla="*/ 340042 w 666750"/>
                  <a:gd name="connsiteY1117" fmla="*/ 415766 h 552450"/>
                  <a:gd name="connsiteX1118" fmla="*/ 341757 w 666750"/>
                  <a:gd name="connsiteY1118" fmla="*/ 416624 h 552450"/>
                  <a:gd name="connsiteX1119" fmla="*/ 342614 w 666750"/>
                  <a:gd name="connsiteY1119" fmla="*/ 416624 h 552450"/>
                  <a:gd name="connsiteX1120" fmla="*/ 344329 w 666750"/>
                  <a:gd name="connsiteY1120" fmla="*/ 415766 h 552450"/>
                  <a:gd name="connsiteX1121" fmla="*/ 347663 w 666750"/>
                  <a:gd name="connsiteY1121" fmla="*/ 413195 h 552450"/>
                  <a:gd name="connsiteX1122" fmla="*/ 348520 w 666750"/>
                  <a:gd name="connsiteY1122" fmla="*/ 412337 h 552450"/>
                  <a:gd name="connsiteX1123" fmla="*/ 356902 w 666750"/>
                  <a:gd name="connsiteY1123" fmla="*/ 408146 h 552450"/>
                  <a:gd name="connsiteX1124" fmla="*/ 358616 w 666750"/>
                  <a:gd name="connsiteY1124" fmla="*/ 408146 h 552450"/>
                  <a:gd name="connsiteX1125" fmla="*/ 358616 w 666750"/>
                  <a:gd name="connsiteY1125" fmla="*/ 409004 h 552450"/>
                  <a:gd name="connsiteX1126" fmla="*/ 359473 w 666750"/>
                  <a:gd name="connsiteY1126" fmla="*/ 409004 h 552450"/>
                  <a:gd name="connsiteX1127" fmla="*/ 360331 w 666750"/>
                  <a:gd name="connsiteY1127" fmla="*/ 409004 h 552450"/>
                  <a:gd name="connsiteX1128" fmla="*/ 361188 w 666750"/>
                  <a:gd name="connsiteY1128" fmla="*/ 408146 h 552450"/>
                  <a:gd name="connsiteX1129" fmla="*/ 362045 w 666750"/>
                  <a:gd name="connsiteY1129" fmla="*/ 406432 h 552450"/>
                  <a:gd name="connsiteX1130" fmla="*/ 362045 w 666750"/>
                  <a:gd name="connsiteY1130" fmla="*/ 405575 h 552450"/>
                  <a:gd name="connsiteX1131" fmla="*/ 362045 w 666750"/>
                  <a:gd name="connsiteY1131" fmla="*/ 403860 h 552450"/>
                  <a:gd name="connsiteX1132" fmla="*/ 362045 w 666750"/>
                  <a:gd name="connsiteY1132" fmla="*/ 403860 h 552450"/>
                  <a:gd name="connsiteX1133" fmla="*/ 362045 w 666750"/>
                  <a:gd name="connsiteY1133" fmla="*/ 403003 h 552450"/>
                  <a:gd name="connsiteX1134" fmla="*/ 361188 w 666750"/>
                  <a:gd name="connsiteY1134" fmla="*/ 402146 h 552450"/>
                  <a:gd name="connsiteX1135" fmla="*/ 362045 w 666750"/>
                  <a:gd name="connsiteY1135" fmla="*/ 401288 h 552450"/>
                  <a:gd name="connsiteX1136" fmla="*/ 362902 w 666750"/>
                  <a:gd name="connsiteY1136" fmla="*/ 401288 h 552450"/>
                  <a:gd name="connsiteX1137" fmla="*/ 364522 w 666750"/>
                  <a:gd name="connsiteY1137" fmla="*/ 401288 h 552450"/>
                  <a:gd name="connsiteX1138" fmla="*/ 367951 w 666750"/>
                  <a:gd name="connsiteY1138" fmla="*/ 401288 h 552450"/>
                  <a:gd name="connsiteX1139" fmla="*/ 369570 w 666750"/>
                  <a:gd name="connsiteY1139" fmla="*/ 401288 h 552450"/>
                  <a:gd name="connsiteX1140" fmla="*/ 370427 w 666750"/>
                  <a:gd name="connsiteY1140" fmla="*/ 401288 h 552450"/>
                  <a:gd name="connsiteX1141" fmla="*/ 371284 w 666750"/>
                  <a:gd name="connsiteY1141" fmla="*/ 403003 h 552450"/>
                  <a:gd name="connsiteX1142" fmla="*/ 371284 w 666750"/>
                  <a:gd name="connsiteY1142" fmla="*/ 403860 h 552450"/>
                  <a:gd name="connsiteX1143" fmla="*/ 372142 w 666750"/>
                  <a:gd name="connsiteY1143" fmla="*/ 406432 h 552450"/>
                  <a:gd name="connsiteX1144" fmla="*/ 373856 w 666750"/>
                  <a:gd name="connsiteY1144" fmla="*/ 405575 h 552450"/>
                  <a:gd name="connsiteX1145" fmla="*/ 382238 w 666750"/>
                  <a:gd name="connsiteY1145" fmla="*/ 394526 h 552450"/>
                  <a:gd name="connsiteX1146" fmla="*/ 395764 w 666750"/>
                  <a:gd name="connsiteY1146" fmla="*/ 381762 h 552450"/>
                  <a:gd name="connsiteX1147" fmla="*/ 404241 w 666750"/>
                  <a:gd name="connsiteY1147" fmla="*/ 376619 h 552450"/>
                  <a:gd name="connsiteX1148" fmla="*/ 416052 w 666750"/>
                  <a:gd name="connsiteY1148" fmla="*/ 364712 h 552450"/>
                  <a:gd name="connsiteX1149" fmla="*/ 422815 w 666750"/>
                  <a:gd name="connsiteY1149" fmla="*/ 359664 h 552450"/>
                  <a:gd name="connsiteX1150" fmla="*/ 427863 w 666750"/>
                  <a:gd name="connsiteY1150" fmla="*/ 357092 h 552450"/>
                  <a:gd name="connsiteX1151" fmla="*/ 433768 w 666750"/>
                  <a:gd name="connsiteY1151" fmla="*/ 352901 h 552450"/>
                  <a:gd name="connsiteX1152" fmla="*/ 437959 w 666750"/>
                  <a:gd name="connsiteY1152" fmla="*/ 350330 h 552450"/>
                  <a:gd name="connsiteX1153" fmla="*/ 447199 w 666750"/>
                  <a:gd name="connsiteY1153" fmla="*/ 346043 h 552450"/>
                  <a:gd name="connsiteX1154" fmla="*/ 455676 w 666750"/>
                  <a:gd name="connsiteY1154" fmla="*/ 341757 h 552450"/>
                  <a:gd name="connsiteX1155" fmla="*/ 459867 w 666750"/>
                  <a:gd name="connsiteY1155" fmla="*/ 339281 h 552450"/>
                  <a:gd name="connsiteX1156" fmla="*/ 432911 w 666750"/>
                  <a:gd name="connsiteY1156" fmla="*/ 352901 h 552450"/>
                  <a:gd name="connsiteX1157" fmla="*/ 429482 w 666750"/>
                  <a:gd name="connsiteY1157" fmla="*/ 352901 h 552450"/>
                  <a:gd name="connsiteX1158" fmla="*/ 430339 w 666750"/>
                  <a:gd name="connsiteY1158" fmla="*/ 352044 h 552450"/>
                  <a:gd name="connsiteX1159" fmla="*/ 429482 w 666750"/>
                  <a:gd name="connsiteY1159" fmla="*/ 351187 h 552450"/>
                  <a:gd name="connsiteX1160" fmla="*/ 427863 w 666750"/>
                  <a:gd name="connsiteY1160" fmla="*/ 349472 h 552450"/>
                  <a:gd name="connsiteX1161" fmla="*/ 428720 w 666750"/>
                  <a:gd name="connsiteY1161" fmla="*/ 350330 h 552450"/>
                  <a:gd name="connsiteX1162" fmla="*/ 429482 w 666750"/>
                  <a:gd name="connsiteY1162" fmla="*/ 350330 h 552450"/>
                  <a:gd name="connsiteX1163" fmla="*/ 430339 w 666750"/>
                  <a:gd name="connsiteY1163" fmla="*/ 350330 h 552450"/>
                  <a:gd name="connsiteX1164" fmla="*/ 430339 w 666750"/>
                  <a:gd name="connsiteY1164" fmla="*/ 348615 h 552450"/>
                  <a:gd name="connsiteX1165" fmla="*/ 431197 w 666750"/>
                  <a:gd name="connsiteY1165" fmla="*/ 347758 h 552450"/>
                  <a:gd name="connsiteX1166" fmla="*/ 432054 w 666750"/>
                  <a:gd name="connsiteY1166" fmla="*/ 347758 h 552450"/>
                  <a:gd name="connsiteX1167" fmla="*/ 432911 w 666750"/>
                  <a:gd name="connsiteY1167" fmla="*/ 349472 h 552450"/>
                  <a:gd name="connsiteX1168" fmla="*/ 433768 w 666750"/>
                  <a:gd name="connsiteY1168" fmla="*/ 350330 h 552450"/>
                  <a:gd name="connsiteX1169" fmla="*/ 435388 w 666750"/>
                  <a:gd name="connsiteY1169" fmla="*/ 350330 h 552450"/>
                  <a:gd name="connsiteX1170" fmla="*/ 437102 w 666750"/>
                  <a:gd name="connsiteY1170" fmla="*/ 348615 h 552450"/>
                  <a:gd name="connsiteX1171" fmla="*/ 437959 w 666750"/>
                  <a:gd name="connsiteY1171" fmla="*/ 347758 h 552450"/>
                  <a:gd name="connsiteX1172" fmla="*/ 437959 w 666750"/>
                  <a:gd name="connsiteY1172" fmla="*/ 347758 h 552450"/>
                  <a:gd name="connsiteX1173" fmla="*/ 438817 w 666750"/>
                  <a:gd name="connsiteY1173" fmla="*/ 346043 h 552450"/>
                  <a:gd name="connsiteX1174" fmla="*/ 438817 w 666750"/>
                  <a:gd name="connsiteY1174" fmla="*/ 345186 h 552450"/>
                  <a:gd name="connsiteX1175" fmla="*/ 439674 w 666750"/>
                  <a:gd name="connsiteY1175" fmla="*/ 345186 h 552450"/>
                  <a:gd name="connsiteX1176" fmla="*/ 440531 w 666750"/>
                  <a:gd name="connsiteY1176" fmla="*/ 344329 h 552450"/>
                  <a:gd name="connsiteX1177" fmla="*/ 441293 w 666750"/>
                  <a:gd name="connsiteY1177" fmla="*/ 344329 h 552450"/>
                  <a:gd name="connsiteX1178" fmla="*/ 441293 w 666750"/>
                  <a:gd name="connsiteY1178" fmla="*/ 342614 h 552450"/>
                  <a:gd name="connsiteX1179" fmla="*/ 440531 w 666750"/>
                  <a:gd name="connsiteY1179" fmla="*/ 341757 h 552450"/>
                  <a:gd name="connsiteX1180" fmla="*/ 440531 w 666750"/>
                  <a:gd name="connsiteY1180" fmla="*/ 340138 h 552450"/>
                  <a:gd name="connsiteX1181" fmla="*/ 439674 w 666750"/>
                  <a:gd name="connsiteY1181" fmla="*/ 339281 h 552450"/>
                  <a:gd name="connsiteX1182" fmla="*/ 438817 w 666750"/>
                  <a:gd name="connsiteY1182" fmla="*/ 340995 h 552450"/>
                  <a:gd name="connsiteX1183" fmla="*/ 437959 w 666750"/>
                  <a:gd name="connsiteY1183" fmla="*/ 340995 h 552450"/>
                  <a:gd name="connsiteX1184" fmla="*/ 436245 w 666750"/>
                  <a:gd name="connsiteY1184" fmla="*/ 340995 h 552450"/>
                  <a:gd name="connsiteX1185" fmla="*/ 434626 w 666750"/>
                  <a:gd name="connsiteY1185" fmla="*/ 340995 h 552450"/>
                  <a:gd name="connsiteX1186" fmla="*/ 430339 w 666750"/>
                  <a:gd name="connsiteY1186" fmla="*/ 344329 h 552450"/>
                  <a:gd name="connsiteX1187" fmla="*/ 425291 w 666750"/>
                  <a:gd name="connsiteY1187" fmla="*/ 343472 h 552450"/>
                  <a:gd name="connsiteX1188" fmla="*/ 423577 w 666750"/>
                  <a:gd name="connsiteY1188" fmla="*/ 343472 h 552450"/>
                  <a:gd name="connsiteX1189" fmla="*/ 423577 w 666750"/>
                  <a:gd name="connsiteY1189" fmla="*/ 343472 h 552450"/>
                  <a:gd name="connsiteX1190" fmla="*/ 422815 w 666750"/>
                  <a:gd name="connsiteY1190" fmla="*/ 345186 h 552450"/>
                  <a:gd name="connsiteX1191" fmla="*/ 421957 w 666750"/>
                  <a:gd name="connsiteY1191" fmla="*/ 346043 h 552450"/>
                  <a:gd name="connsiteX1192" fmla="*/ 421957 w 666750"/>
                  <a:gd name="connsiteY1192" fmla="*/ 346901 h 552450"/>
                  <a:gd name="connsiteX1193" fmla="*/ 422815 w 666750"/>
                  <a:gd name="connsiteY1193" fmla="*/ 347758 h 552450"/>
                  <a:gd name="connsiteX1194" fmla="*/ 422815 w 666750"/>
                  <a:gd name="connsiteY1194" fmla="*/ 347758 h 552450"/>
                  <a:gd name="connsiteX1195" fmla="*/ 423577 w 666750"/>
                  <a:gd name="connsiteY1195" fmla="*/ 347758 h 552450"/>
                  <a:gd name="connsiteX1196" fmla="*/ 423577 w 666750"/>
                  <a:gd name="connsiteY1196" fmla="*/ 348615 h 552450"/>
                  <a:gd name="connsiteX1197" fmla="*/ 421957 w 666750"/>
                  <a:gd name="connsiteY1197" fmla="*/ 349472 h 552450"/>
                  <a:gd name="connsiteX1198" fmla="*/ 421100 w 666750"/>
                  <a:gd name="connsiteY1198" fmla="*/ 351187 h 552450"/>
                  <a:gd name="connsiteX1199" fmla="*/ 420243 w 666750"/>
                  <a:gd name="connsiteY1199" fmla="*/ 352044 h 552450"/>
                  <a:gd name="connsiteX1200" fmla="*/ 417671 w 666750"/>
                  <a:gd name="connsiteY1200" fmla="*/ 352044 h 552450"/>
                  <a:gd name="connsiteX1201" fmla="*/ 417671 w 666750"/>
                  <a:gd name="connsiteY1201" fmla="*/ 352901 h 552450"/>
                  <a:gd name="connsiteX1202" fmla="*/ 418528 w 666750"/>
                  <a:gd name="connsiteY1202" fmla="*/ 352901 h 552450"/>
                  <a:gd name="connsiteX1203" fmla="*/ 421957 w 666750"/>
                  <a:gd name="connsiteY1203" fmla="*/ 355378 h 552450"/>
                  <a:gd name="connsiteX1204" fmla="*/ 421100 w 666750"/>
                  <a:gd name="connsiteY1204" fmla="*/ 355378 h 552450"/>
                  <a:gd name="connsiteX1205" fmla="*/ 420243 w 666750"/>
                  <a:gd name="connsiteY1205" fmla="*/ 356235 h 552450"/>
                  <a:gd name="connsiteX1206" fmla="*/ 419386 w 666750"/>
                  <a:gd name="connsiteY1206" fmla="*/ 356235 h 552450"/>
                  <a:gd name="connsiteX1207" fmla="*/ 418528 w 666750"/>
                  <a:gd name="connsiteY1207" fmla="*/ 355378 h 552450"/>
                  <a:gd name="connsiteX1208" fmla="*/ 417671 w 666750"/>
                  <a:gd name="connsiteY1208" fmla="*/ 357092 h 552450"/>
                  <a:gd name="connsiteX1209" fmla="*/ 418528 w 666750"/>
                  <a:gd name="connsiteY1209" fmla="*/ 357950 h 552450"/>
                  <a:gd name="connsiteX1210" fmla="*/ 418528 w 666750"/>
                  <a:gd name="connsiteY1210" fmla="*/ 359664 h 552450"/>
                  <a:gd name="connsiteX1211" fmla="*/ 416909 w 666750"/>
                  <a:gd name="connsiteY1211" fmla="*/ 360521 h 552450"/>
                  <a:gd name="connsiteX1212" fmla="*/ 416052 w 666750"/>
                  <a:gd name="connsiteY1212" fmla="*/ 361379 h 552450"/>
                  <a:gd name="connsiteX1213" fmla="*/ 415195 w 666750"/>
                  <a:gd name="connsiteY1213" fmla="*/ 361379 h 552450"/>
                  <a:gd name="connsiteX1214" fmla="*/ 414338 w 666750"/>
                  <a:gd name="connsiteY1214" fmla="*/ 361379 h 552450"/>
                  <a:gd name="connsiteX1215" fmla="*/ 413480 w 666750"/>
                  <a:gd name="connsiteY1215" fmla="*/ 361379 h 552450"/>
                  <a:gd name="connsiteX1216" fmla="*/ 412623 w 666750"/>
                  <a:gd name="connsiteY1216" fmla="*/ 362236 h 552450"/>
                  <a:gd name="connsiteX1217" fmla="*/ 411766 w 666750"/>
                  <a:gd name="connsiteY1217" fmla="*/ 363093 h 552450"/>
                  <a:gd name="connsiteX1218" fmla="*/ 411766 w 666750"/>
                  <a:gd name="connsiteY1218" fmla="*/ 363950 h 552450"/>
                  <a:gd name="connsiteX1219" fmla="*/ 410146 w 666750"/>
                  <a:gd name="connsiteY1219" fmla="*/ 363950 h 552450"/>
                  <a:gd name="connsiteX1220" fmla="*/ 410909 w 666750"/>
                  <a:gd name="connsiteY1220" fmla="*/ 363093 h 552450"/>
                  <a:gd name="connsiteX1221" fmla="*/ 410909 w 666750"/>
                  <a:gd name="connsiteY1221" fmla="*/ 361379 h 552450"/>
                  <a:gd name="connsiteX1222" fmla="*/ 410909 w 666750"/>
                  <a:gd name="connsiteY1222" fmla="*/ 360521 h 552450"/>
                  <a:gd name="connsiteX1223" fmla="*/ 410146 w 666750"/>
                  <a:gd name="connsiteY1223" fmla="*/ 358807 h 552450"/>
                  <a:gd name="connsiteX1224" fmla="*/ 409289 w 666750"/>
                  <a:gd name="connsiteY1224" fmla="*/ 360521 h 552450"/>
                  <a:gd name="connsiteX1225" fmla="*/ 408432 w 666750"/>
                  <a:gd name="connsiteY1225" fmla="*/ 360521 h 552450"/>
                  <a:gd name="connsiteX1226" fmla="*/ 408432 w 666750"/>
                  <a:gd name="connsiteY1226" fmla="*/ 359664 h 552450"/>
                  <a:gd name="connsiteX1227" fmla="*/ 407575 w 666750"/>
                  <a:gd name="connsiteY1227" fmla="*/ 357950 h 552450"/>
                  <a:gd name="connsiteX1228" fmla="*/ 408432 w 666750"/>
                  <a:gd name="connsiteY1228" fmla="*/ 357092 h 552450"/>
                  <a:gd name="connsiteX1229" fmla="*/ 410146 w 666750"/>
                  <a:gd name="connsiteY1229" fmla="*/ 355378 h 552450"/>
                  <a:gd name="connsiteX1230" fmla="*/ 411766 w 666750"/>
                  <a:gd name="connsiteY1230" fmla="*/ 354521 h 552450"/>
                  <a:gd name="connsiteX1231" fmla="*/ 413480 w 666750"/>
                  <a:gd name="connsiteY1231" fmla="*/ 354521 h 552450"/>
                  <a:gd name="connsiteX1232" fmla="*/ 413480 w 666750"/>
                  <a:gd name="connsiteY1232" fmla="*/ 353663 h 552450"/>
                  <a:gd name="connsiteX1233" fmla="*/ 411766 w 666750"/>
                  <a:gd name="connsiteY1233" fmla="*/ 352044 h 552450"/>
                  <a:gd name="connsiteX1234" fmla="*/ 411766 w 666750"/>
                  <a:gd name="connsiteY1234" fmla="*/ 350330 h 552450"/>
                  <a:gd name="connsiteX1235" fmla="*/ 412623 w 666750"/>
                  <a:gd name="connsiteY1235" fmla="*/ 348615 h 552450"/>
                  <a:gd name="connsiteX1236" fmla="*/ 414338 w 666750"/>
                  <a:gd name="connsiteY1236" fmla="*/ 346901 h 552450"/>
                  <a:gd name="connsiteX1237" fmla="*/ 416052 w 666750"/>
                  <a:gd name="connsiteY1237" fmla="*/ 345186 h 552450"/>
                  <a:gd name="connsiteX1238" fmla="*/ 417671 w 666750"/>
                  <a:gd name="connsiteY1238" fmla="*/ 341757 h 552450"/>
                  <a:gd name="connsiteX1239" fmla="*/ 419386 w 666750"/>
                  <a:gd name="connsiteY1239" fmla="*/ 340138 h 552450"/>
                  <a:gd name="connsiteX1240" fmla="*/ 418528 w 666750"/>
                  <a:gd name="connsiteY1240" fmla="*/ 337566 h 552450"/>
                  <a:gd name="connsiteX1241" fmla="*/ 421100 w 666750"/>
                  <a:gd name="connsiteY1241" fmla="*/ 334137 h 552450"/>
                  <a:gd name="connsiteX1242" fmla="*/ 423577 w 666750"/>
                  <a:gd name="connsiteY1242" fmla="*/ 330708 h 552450"/>
                  <a:gd name="connsiteX1243" fmla="*/ 426148 w 666750"/>
                  <a:gd name="connsiteY1243" fmla="*/ 329089 h 552450"/>
                  <a:gd name="connsiteX1244" fmla="*/ 427006 w 666750"/>
                  <a:gd name="connsiteY1244" fmla="*/ 328232 h 552450"/>
                  <a:gd name="connsiteX1245" fmla="*/ 428720 w 666750"/>
                  <a:gd name="connsiteY1245" fmla="*/ 327374 h 552450"/>
                  <a:gd name="connsiteX1246" fmla="*/ 430339 w 666750"/>
                  <a:gd name="connsiteY1246" fmla="*/ 327374 h 552450"/>
                  <a:gd name="connsiteX1247" fmla="*/ 431197 w 666750"/>
                  <a:gd name="connsiteY1247" fmla="*/ 327374 h 552450"/>
                  <a:gd name="connsiteX1248" fmla="*/ 437959 w 666750"/>
                  <a:gd name="connsiteY1248" fmla="*/ 322231 h 552450"/>
                  <a:gd name="connsiteX1249" fmla="*/ 442150 w 666750"/>
                  <a:gd name="connsiteY1249" fmla="*/ 317183 h 552450"/>
                  <a:gd name="connsiteX1250" fmla="*/ 444722 w 666750"/>
                  <a:gd name="connsiteY1250" fmla="*/ 315468 h 552450"/>
                  <a:gd name="connsiteX1251" fmla="*/ 447199 w 666750"/>
                  <a:gd name="connsiteY1251" fmla="*/ 314611 h 552450"/>
                  <a:gd name="connsiteX1252" fmla="*/ 448913 w 666750"/>
                  <a:gd name="connsiteY1252" fmla="*/ 314611 h 552450"/>
                  <a:gd name="connsiteX1253" fmla="*/ 453104 w 666750"/>
                  <a:gd name="connsiteY1253" fmla="*/ 315468 h 552450"/>
                  <a:gd name="connsiteX1254" fmla="*/ 458248 w 666750"/>
                  <a:gd name="connsiteY1254" fmla="*/ 317183 h 552450"/>
                  <a:gd name="connsiteX1255" fmla="*/ 459010 w 666750"/>
                  <a:gd name="connsiteY1255" fmla="*/ 317183 h 552450"/>
                  <a:gd name="connsiteX1256" fmla="*/ 459010 w 666750"/>
                  <a:gd name="connsiteY1256" fmla="*/ 327374 h 552450"/>
                  <a:gd name="connsiteX1257" fmla="*/ 459010 w 666750"/>
                  <a:gd name="connsiteY1257" fmla="*/ 329089 h 552450"/>
                  <a:gd name="connsiteX1258" fmla="*/ 458248 w 666750"/>
                  <a:gd name="connsiteY1258" fmla="*/ 330708 h 552450"/>
                  <a:gd name="connsiteX1259" fmla="*/ 458248 w 666750"/>
                  <a:gd name="connsiteY1259" fmla="*/ 331565 h 552450"/>
                  <a:gd name="connsiteX1260" fmla="*/ 459010 w 666750"/>
                  <a:gd name="connsiteY1260" fmla="*/ 332423 h 552450"/>
                  <a:gd name="connsiteX1261" fmla="*/ 459867 w 666750"/>
                  <a:gd name="connsiteY1261" fmla="*/ 332423 h 552450"/>
                  <a:gd name="connsiteX1262" fmla="*/ 458248 w 666750"/>
                  <a:gd name="connsiteY1262" fmla="*/ 333280 h 552450"/>
                  <a:gd name="connsiteX1263" fmla="*/ 453104 w 666750"/>
                  <a:gd name="connsiteY1263" fmla="*/ 336709 h 552450"/>
                  <a:gd name="connsiteX1264" fmla="*/ 453104 w 666750"/>
                  <a:gd name="connsiteY1264" fmla="*/ 335852 h 552450"/>
                  <a:gd name="connsiteX1265" fmla="*/ 453961 w 666750"/>
                  <a:gd name="connsiteY1265" fmla="*/ 334994 h 552450"/>
                  <a:gd name="connsiteX1266" fmla="*/ 453961 w 666750"/>
                  <a:gd name="connsiteY1266" fmla="*/ 334137 h 552450"/>
                  <a:gd name="connsiteX1267" fmla="*/ 453961 w 666750"/>
                  <a:gd name="connsiteY1267" fmla="*/ 333280 h 552450"/>
                  <a:gd name="connsiteX1268" fmla="*/ 448913 w 666750"/>
                  <a:gd name="connsiteY1268" fmla="*/ 334994 h 552450"/>
                  <a:gd name="connsiteX1269" fmla="*/ 446437 w 666750"/>
                  <a:gd name="connsiteY1269" fmla="*/ 335852 h 552450"/>
                  <a:gd name="connsiteX1270" fmla="*/ 444722 w 666750"/>
                  <a:gd name="connsiteY1270" fmla="*/ 337566 h 552450"/>
                  <a:gd name="connsiteX1271" fmla="*/ 444722 w 666750"/>
                  <a:gd name="connsiteY1271" fmla="*/ 337566 h 552450"/>
                  <a:gd name="connsiteX1272" fmla="*/ 443865 w 666750"/>
                  <a:gd name="connsiteY1272" fmla="*/ 337566 h 552450"/>
                  <a:gd name="connsiteX1273" fmla="*/ 443008 w 666750"/>
                  <a:gd name="connsiteY1273" fmla="*/ 337566 h 552450"/>
                  <a:gd name="connsiteX1274" fmla="*/ 443008 w 666750"/>
                  <a:gd name="connsiteY1274" fmla="*/ 338423 h 552450"/>
                  <a:gd name="connsiteX1275" fmla="*/ 443865 w 666750"/>
                  <a:gd name="connsiteY1275" fmla="*/ 339281 h 552450"/>
                  <a:gd name="connsiteX1276" fmla="*/ 444722 w 666750"/>
                  <a:gd name="connsiteY1276" fmla="*/ 339281 h 552450"/>
                  <a:gd name="connsiteX1277" fmla="*/ 444722 w 666750"/>
                  <a:gd name="connsiteY1277" fmla="*/ 339281 h 552450"/>
                  <a:gd name="connsiteX1278" fmla="*/ 445580 w 666750"/>
                  <a:gd name="connsiteY1278" fmla="*/ 339281 h 552450"/>
                  <a:gd name="connsiteX1279" fmla="*/ 445580 w 666750"/>
                  <a:gd name="connsiteY1279" fmla="*/ 340995 h 552450"/>
                  <a:gd name="connsiteX1280" fmla="*/ 446437 w 666750"/>
                  <a:gd name="connsiteY1280" fmla="*/ 341757 h 552450"/>
                  <a:gd name="connsiteX1281" fmla="*/ 446437 w 666750"/>
                  <a:gd name="connsiteY1281" fmla="*/ 342614 h 552450"/>
                  <a:gd name="connsiteX1282" fmla="*/ 449771 w 666750"/>
                  <a:gd name="connsiteY1282" fmla="*/ 341757 h 552450"/>
                  <a:gd name="connsiteX1283" fmla="*/ 457390 w 666750"/>
                  <a:gd name="connsiteY1283" fmla="*/ 339281 h 552450"/>
                  <a:gd name="connsiteX1284" fmla="*/ 464153 w 666750"/>
                  <a:gd name="connsiteY1284" fmla="*/ 334994 h 552450"/>
                  <a:gd name="connsiteX1285" fmla="*/ 466630 w 666750"/>
                  <a:gd name="connsiteY1285" fmla="*/ 334137 h 552450"/>
                  <a:gd name="connsiteX1286" fmla="*/ 466630 w 666750"/>
                  <a:gd name="connsiteY1286" fmla="*/ 334994 h 552450"/>
                  <a:gd name="connsiteX1287" fmla="*/ 464915 w 666750"/>
                  <a:gd name="connsiteY1287" fmla="*/ 335852 h 552450"/>
                  <a:gd name="connsiteX1288" fmla="*/ 464915 w 666750"/>
                  <a:gd name="connsiteY1288" fmla="*/ 335852 h 552450"/>
                  <a:gd name="connsiteX1289" fmla="*/ 471678 w 666750"/>
                  <a:gd name="connsiteY1289" fmla="*/ 332423 h 552450"/>
                  <a:gd name="connsiteX1290" fmla="*/ 475107 w 666750"/>
                  <a:gd name="connsiteY1290" fmla="*/ 331565 h 552450"/>
                  <a:gd name="connsiteX1291" fmla="*/ 477584 w 666750"/>
                  <a:gd name="connsiteY1291" fmla="*/ 330708 h 552450"/>
                  <a:gd name="connsiteX1292" fmla="*/ 478441 w 666750"/>
                  <a:gd name="connsiteY1292" fmla="*/ 330708 h 552450"/>
                  <a:gd name="connsiteX1293" fmla="*/ 481870 w 666750"/>
                  <a:gd name="connsiteY1293" fmla="*/ 330708 h 552450"/>
                  <a:gd name="connsiteX1294" fmla="*/ 483489 w 666750"/>
                  <a:gd name="connsiteY1294" fmla="*/ 330708 h 552450"/>
                  <a:gd name="connsiteX1295" fmla="*/ 485203 w 666750"/>
                  <a:gd name="connsiteY1295" fmla="*/ 329089 h 552450"/>
                  <a:gd name="connsiteX1296" fmla="*/ 489394 w 666750"/>
                  <a:gd name="connsiteY1296" fmla="*/ 326517 h 552450"/>
                  <a:gd name="connsiteX1297" fmla="*/ 494538 w 666750"/>
                  <a:gd name="connsiteY1297" fmla="*/ 325660 h 552450"/>
                  <a:gd name="connsiteX1298" fmla="*/ 507968 w 666750"/>
                  <a:gd name="connsiteY1298" fmla="*/ 322231 h 552450"/>
                  <a:gd name="connsiteX1299" fmla="*/ 509683 w 666750"/>
                  <a:gd name="connsiteY1299" fmla="*/ 321374 h 552450"/>
                  <a:gd name="connsiteX1300" fmla="*/ 510540 w 666750"/>
                  <a:gd name="connsiteY1300" fmla="*/ 321374 h 552450"/>
                  <a:gd name="connsiteX1301" fmla="*/ 511397 w 666750"/>
                  <a:gd name="connsiteY1301" fmla="*/ 319659 h 552450"/>
                  <a:gd name="connsiteX1302" fmla="*/ 513017 w 666750"/>
                  <a:gd name="connsiteY1302" fmla="*/ 319659 h 552450"/>
                  <a:gd name="connsiteX1303" fmla="*/ 513874 w 666750"/>
                  <a:gd name="connsiteY1303" fmla="*/ 320516 h 552450"/>
                  <a:gd name="connsiteX1304" fmla="*/ 514731 w 666750"/>
                  <a:gd name="connsiteY1304" fmla="*/ 321374 h 552450"/>
                  <a:gd name="connsiteX1305" fmla="*/ 516446 w 666750"/>
                  <a:gd name="connsiteY1305" fmla="*/ 321374 h 552450"/>
                  <a:gd name="connsiteX1306" fmla="*/ 518922 w 666750"/>
                  <a:gd name="connsiteY1306" fmla="*/ 319659 h 552450"/>
                  <a:gd name="connsiteX1307" fmla="*/ 535876 w 666750"/>
                  <a:gd name="connsiteY1307" fmla="*/ 313754 h 552450"/>
                  <a:gd name="connsiteX1308" fmla="*/ 547688 w 666750"/>
                  <a:gd name="connsiteY1308" fmla="*/ 306896 h 552450"/>
                  <a:gd name="connsiteX1309" fmla="*/ 545973 w 666750"/>
                  <a:gd name="connsiteY1309" fmla="*/ 306134 h 552450"/>
                  <a:gd name="connsiteX1310" fmla="*/ 544259 w 666750"/>
                  <a:gd name="connsiteY1310" fmla="*/ 305276 h 552450"/>
                  <a:gd name="connsiteX1311" fmla="*/ 542639 w 666750"/>
                  <a:gd name="connsiteY1311" fmla="*/ 304419 h 552450"/>
                  <a:gd name="connsiteX1312" fmla="*/ 540925 w 666750"/>
                  <a:gd name="connsiteY1312" fmla="*/ 304419 h 552450"/>
                  <a:gd name="connsiteX1313" fmla="*/ 540068 w 666750"/>
                  <a:gd name="connsiteY1313" fmla="*/ 303562 h 552450"/>
                  <a:gd name="connsiteX1314" fmla="*/ 540068 w 666750"/>
                  <a:gd name="connsiteY1314" fmla="*/ 302705 h 552450"/>
                  <a:gd name="connsiteX1315" fmla="*/ 539210 w 666750"/>
                  <a:gd name="connsiteY1315" fmla="*/ 301847 h 552450"/>
                  <a:gd name="connsiteX1316" fmla="*/ 539210 w 666750"/>
                  <a:gd name="connsiteY1316" fmla="*/ 301847 h 552450"/>
                  <a:gd name="connsiteX1317" fmla="*/ 539210 w 666750"/>
                  <a:gd name="connsiteY1317" fmla="*/ 300990 h 552450"/>
                  <a:gd name="connsiteX1318" fmla="*/ 538353 w 666750"/>
                  <a:gd name="connsiteY1318" fmla="*/ 300133 h 552450"/>
                  <a:gd name="connsiteX1319" fmla="*/ 538353 w 666750"/>
                  <a:gd name="connsiteY1319" fmla="*/ 300133 h 552450"/>
                  <a:gd name="connsiteX1320" fmla="*/ 537496 w 666750"/>
                  <a:gd name="connsiteY1320" fmla="*/ 299276 h 552450"/>
                  <a:gd name="connsiteX1321" fmla="*/ 536734 w 666750"/>
                  <a:gd name="connsiteY1321" fmla="*/ 300133 h 552450"/>
                  <a:gd name="connsiteX1322" fmla="*/ 535876 w 666750"/>
                  <a:gd name="connsiteY1322" fmla="*/ 300133 h 552450"/>
                  <a:gd name="connsiteX1323" fmla="*/ 531590 w 666750"/>
                  <a:gd name="connsiteY1323" fmla="*/ 298418 h 552450"/>
                  <a:gd name="connsiteX1324" fmla="*/ 529971 w 666750"/>
                  <a:gd name="connsiteY1324" fmla="*/ 297561 h 552450"/>
                  <a:gd name="connsiteX1325" fmla="*/ 527399 w 666750"/>
                  <a:gd name="connsiteY1325" fmla="*/ 295847 h 552450"/>
                  <a:gd name="connsiteX1326" fmla="*/ 524923 w 666750"/>
                  <a:gd name="connsiteY1326" fmla="*/ 294227 h 552450"/>
                  <a:gd name="connsiteX1327" fmla="*/ 524065 w 666750"/>
                  <a:gd name="connsiteY1327" fmla="*/ 293370 h 552450"/>
                  <a:gd name="connsiteX1328" fmla="*/ 523208 w 666750"/>
                  <a:gd name="connsiteY1328" fmla="*/ 292513 h 552450"/>
                  <a:gd name="connsiteX1329" fmla="*/ 522351 w 666750"/>
                  <a:gd name="connsiteY1329" fmla="*/ 288227 h 552450"/>
                  <a:gd name="connsiteX1330" fmla="*/ 523208 w 666750"/>
                  <a:gd name="connsiteY1330" fmla="*/ 286512 h 552450"/>
                  <a:gd name="connsiteX1331" fmla="*/ 524065 w 666750"/>
                  <a:gd name="connsiteY1331" fmla="*/ 286512 h 552450"/>
                  <a:gd name="connsiteX1332" fmla="*/ 524065 w 666750"/>
                  <a:gd name="connsiteY1332" fmla="*/ 287369 h 552450"/>
                  <a:gd name="connsiteX1333" fmla="*/ 524923 w 666750"/>
                  <a:gd name="connsiteY1333" fmla="*/ 289941 h 552450"/>
                  <a:gd name="connsiteX1334" fmla="*/ 525685 w 666750"/>
                  <a:gd name="connsiteY1334" fmla="*/ 290798 h 552450"/>
                  <a:gd name="connsiteX1335" fmla="*/ 528256 w 666750"/>
                  <a:gd name="connsiteY1335" fmla="*/ 293370 h 552450"/>
                  <a:gd name="connsiteX1336" fmla="*/ 528256 w 666750"/>
                  <a:gd name="connsiteY1336" fmla="*/ 293370 h 552450"/>
                  <a:gd name="connsiteX1337" fmla="*/ 529114 w 666750"/>
                  <a:gd name="connsiteY1337" fmla="*/ 295085 h 552450"/>
                  <a:gd name="connsiteX1338" fmla="*/ 531590 w 666750"/>
                  <a:gd name="connsiteY1338" fmla="*/ 295085 h 552450"/>
                  <a:gd name="connsiteX1339" fmla="*/ 536734 w 666750"/>
                  <a:gd name="connsiteY1339" fmla="*/ 295085 h 552450"/>
                  <a:gd name="connsiteX1340" fmla="*/ 544259 w 666750"/>
                  <a:gd name="connsiteY1340" fmla="*/ 301847 h 552450"/>
                  <a:gd name="connsiteX1341" fmla="*/ 550164 w 666750"/>
                  <a:gd name="connsiteY1341" fmla="*/ 305276 h 552450"/>
                  <a:gd name="connsiteX1342" fmla="*/ 553593 w 666750"/>
                  <a:gd name="connsiteY1342" fmla="*/ 302705 h 552450"/>
                  <a:gd name="connsiteX1343" fmla="*/ 551878 w 666750"/>
                  <a:gd name="connsiteY1343" fmla="*/ 302705 h 552450"/>
                  <a:gd name="connsiteX1344" fmla="*/ 551021 w 666750"/>
                  <a:gd name="connsiteY1344" fmla="*/ 302705 h 552450"/>
                  <a:gd name="connsiteX1345" fmla="*/ 550164 w 666750"/>
                  <a:gd name="connsiteY1345" fmla="*/ 301847 h 552450"/>
                  <a:gd name="connsiteX1346" fmla="*/ 549307 w 666750"/>
                  <a:gd name="connsiteY1346" fmla="*/ 300133 h 552450"/>
                  <a:gd name="connsiteX1347" fmla="*/ 551878 w 666750"/>
                  <a:gd name="connsiteY1347" fmla="*/ 298418 h 552450"/>
                  <a:gd name="connsiteX1348" fmla="*/ 557784 w 666750"/>
                  <a:gd name="connsiteY1348" fmla="*/ 291656 h 552450"/>
                  <a:gd name="connsiteX1349" fmla="*/ 557784 w 666750"/>
                  <a:gd name="connsiteY1349" fmla="*/ 289941 h 552450"/>
                  <a:gd name="connsiteX1350" fmla="*/ 559498 w 666750"/>
                  <a:gd name="connsiteY1350" fmla="*/ 287369 h 552450"/>
                  <a:gd name="connsiteX1351" fmla="*/ 560356 w 666750"/>
                  <a:gd name="connsiteY1351" fmla="*/ 282321 h 552450"/>
                  <a:gd name="connsiteX1352" fmla="*/ 561118 w 666750"/>
                  <a:gd name="connsiteY1352" fmla="*/ 281464 h 552450"/>
                  <a:gd name="connsiteX1353" fmla="*/ 562832 w 666750"/>
                  <a:gd name="connsiteY1353" fmla="*/ 279749 h 552450"/>
                  <a:gd name="connsiteX1354" fmla="*/ 565404 w 666750"/>
                  <a:gd name="connsiteY1354" fmla="*/ 278892 h 552450"/>
                  <a:gd name="connsiteX1355" fmla="*/ 570452 w 666750"/>
                  <a:gd name="connsiteY1355" fmla="*/ 277178 h 552450"/>
                  <a:gd name="connsiteX1356" fmla="*/ 575501 w 666750"/>
                  <a:gd name="connsiteY1356" fmla="*/ 275463 h 552450"/>
                  <a:gd name="connsiteX1357" fmla="*/ 585597 w 666750"/>
                  <a:gd name="connsiteY1357" fmla="*/ 269558 h 552450"/>
                  <a:gd name="connsiteX1358" fmla="*/ 589883 w 666750"/>
                  <a:gd name="connsiteY1358" fmla="*/ 266129 h 552450"/>
                  <a:gd name="connsiteX1359" fmla="*/ 585597 w 666750"/>
                  <a:gd name="connsiteY1359" fmla="*/ 268700 h 552450"/>
                  <a:gd name="connsiteX1360" fmla="*/ 583978 w 666750"/>
                  <a:gd name="connsiteY1360" fmla="*/ 269558 h 552450"/>
                  <a:gd name="connsiteX1361" fmla="*/ 583121 w 666750"/>
                  <a:gd name="connsiteY1361" fmla="*/ 268700 h 552450"/>
                  <a:gd name="connsiteX1362" fmla="*/ 583978 w 666750"/>
                  <a:gd name="connsiteY1362" fmla="*/ 266986 h 552450"/>
                  <a:gd name="connsiteX1363" fmla="*/ 585597 w 666750"/>
                  <a:gd name="connsiteY1363" fmla="*/ 266129 h 552450"/>
                  <a:gd name="connsiteX1364" fmla="*/ 587311 w 666750"/>
                  <a:gd name="connsiteY1364" fmla="*/ 264414 h 552450"/>
                  <a:gd name="connsiteX1365" fmla="*/ 589026 w 666750"/>
                  <a:gd name="connsiteY1365" fmla="*/ 264414 h 552450"/>
                  <a:gd name="connsiteX1366" fmla="*/ 590740 w 666750"/>
                  <a:gd name="connsiteY1366" fmla="*/ 262700 h 552450"/>
                  <a:gd name="connsiteX1367" fmla="*/ 594074 w 666750"/>
                  <a:gd name="connsiteY1367" fmla="*/ 258509 h 552450"/>
                  <a:gd name="connsiteX1368" fmla="*/ 595789 w 666750"/>
                  <a:gd name="connsiteY1368" fmla="*/ 254222 h 552450"/>
                  <a:gd name="connsiteX1369" fmla="*/ 594074 w 666750"/>
                  <a:gd name="connsiteY1369" fmla="*/ 251651 h 552450"/>
                  <a:gd name="connsiteX1370" fmla="*/ 593217 w 666750"/>
                  <a:gd name="connsiteY1370" fmla="*/ 254222 h 552450"/>
                  <a:gd name="connsiteX1371" fmla="*/ 593217 w 666750"/>
                  <a:gd name="connsiteY1371" fmla="*/ 255937 h 552450"/>
                  <a:gd name="connsiteX1372" fmla="*/ 593217 w 666750"/>
                  <a:gd name="connsiteY1372" fmla="*/ 256794 h 552450"/>
                  <a:gd name="connsiteX1373" fmla="*/ 591502 w 666750"/>
                  <a:gd name="connsiteY1373" fmla="*/ 255937 h 552450"/>
                  <a:gd name="connsiteX1374" fmla="*/ 589883 w 666750"/>
                  <a:gd name="connsiteY1374" fmla="*/ 256794 h 552450"/>
                  <a:gd name="connsiteX1375" fmla="*/ 588169 w 666750"/>
                  <a:gd name="connsiteY1375" fmla="*/ 258509 h 552450"/>
                  <a:gd name="connsiteX1376" fmla="*/ 585597 w 666750"/>
                  <a:gd name="connsiteY1376" fmla="*/ 259366 h 552450"/>
                  <a:gd name="connsiteX1377" fmla="*/ 585597 w 666750"/>
                  <a:gd name="connsiteY1377" fmla="*/ 251651 h 552450"/>
                  <a:gd name="connsiteX1378" fmla="*/ 587311 w 666750"/>
                  <a:gd name="connsiteY1378" fmla="*/ 248317 h 552450"/>
                  <a:gd name="connsiteX1379" fmla="*/ 589026 w 666750"/>
                  <a:gd name="connsiteY1379" fmla="*/ 245745 h 552450"/>
                  <a:gd name="connsiteX1380" fmla="*/ 591502 w 666750"/>
                  <a:gd name="connsiteY1380" fmla="*/ 243173 h 552450"/>
                  <a:gd name="connsiteX1381" fmla="*/ 607600 w 666750"/>
                  <a:gd name="connsiteY1381" fmla="*/ 229553 h 552450"/>
                  <a:gd name="connsiteX1382" fmla="*/ 613505 w 666750"/>
                  <a:gd name="connsiteY1382" fmla="*/ 227838 h 552450"/>
                  <a:gd name="connsiteX1383" fmla="*/ 616839 w 666750"/>
                  <a:gd name="connsiteY1383" fmla="*/ 225362 h 552450"/>
                  <a:gd name="connsiteX1384" fmla="*/ 619411 w 666750"/>
                  <a:gd name="connsiteY1384" fmla="*/ 222790 h 552450"/>
                  <a:gd name="connsiteX1385" fmla="*/ 621030 w 666750"/>
                  <a:gd name="connsiteY1385" fmla="*/ 221075 h 552450"/>
                  <a:gd name="connsiteX1386" fmla="*/ 620268 w 666750"/>
                  <a:gd name="connsiteY1386" fmla="*/ 221933 h 552450"/>
                  <a:gd name="connsiteX1387" fmla="*/ 618553 w 666750"/>
                  <a:gd name="connsiteY1387" fmla="*/ 222790 h 552450"/>
                  <a:gd name="connsiteX1388" fmla="*/ 615982 w 666750"/>
                  <a:gd name="connsiteY1388" fmla="*/ 223647 h 552450"/>
                  <a:gd name="connsiteX1389" fmla="*/ 615125 w 666750"/>
                  <a:gd name="connsiteY1389" fmla="*/ 222790 h 552450"/>
                  <a:gd name="connsiteX1390" fmla="*/ 615125 w 666750"/>
                  <a:gd name="connsiteY1390" fmla="*/ 222790 h 552450"/>
                  <a:gd name="connsiteX1391" fmla="*/ 614363 w 666750"/>
                  <a:gd name="connsiteY1391" fmla="*/ 221933 h 552450"/>
                  <a:gd name="connsiteX1392" fmla="*/ 613505 w 666750"/>
                  <a:gd name="connsiteY1392" fmla="*/ 222790 h 552450"/>
                  <a:gd name="connsiteX1393" fmla="*/ 612648 w 666750"/>
                  <a:gd name="connsiteY1393" fmla="*/ 221933 h 552450"/>
                  <a:gd name="connsiteX1394" fmla="*/ 611791 w 666750"/>
                  <a:gd name="connsiteY1394" fmla="*/ 221075 h 552450"/>
                  <a:gd name="connsiteX1395" fmla="*/ 610934 w 666750"/>
                  <a:gd name="connsiteY1395" fmla="*/ 221075 h 552450"/>
                  <a:gd name="connsiteX1396" fmla="*/ 610076 w 666750"/>
                  <a:gd name="connsiteY1396" fmla="*/ 221075 h 552450"/>
                  <a:gd name="connsiteX1397" fmla="*/ 610934 w 666750"/>
                  <a:gd name="connsiteY1397" fmla="*/ 219361 h 552450"/>
                  <a:gd name="connsiteX1398" fmla="*/ 611791 w 666750"/>
                  <a:gd name="connsiteY1398" fmla="*/ 219361 h 552450"/>
                  <a:gd name="connsiteX1399" fmla="*/ 613505 w 666750"/>
                  <a:gd name="connsiteY1399" fmla="*/ 219361 h 552450"/>
                  <a:gd name="connsiteX1400" fmla="*/ 615125 w 666750"/>
                  <a:gd name="connsiteY1400" fmla="*/ 220218 h 552450"/>
                  <a:gd name="connsiteX1401" fmla="*/ 615982 w 666750"/>
                  <a:gd name="connsiteY1401" fmla="*/ 219361 h 552450"/>
                  <a:gd name="connsiteX1402" fmla="*/ 616839 w 666750"/>
                  <a:gd name="connsiteY1402" fmla="*/ 218504 h 552450"/>
                  <a:gd name="connsiteX1403" fmla="*/ 615982 w 666750"/>
                  <a:gd name="connsiteY1403" fmla="*/ 217646 h 552450"/>
                  <a:gd name="connsiteX1404" fmla="*/ 615982 w 666750"/>
                  <a:gd name="connsiteY1404" fmla="*/ 215932 h 552450"/>
                  <a:gd name="connsiteX1405" fmla="*/ 615125 w 666750"/>
                  <a:gd name="connsiteY1405" fmla="*/ 214313 h 552450"/>
                  <a:gd name="connsiteX1406" fmla="*/ 614363 w 666750"/>
                  <a:gd name="connsiteY1406" fmla="*/ 214313 h 552450"/>
                  <a:gd name="connsiteX1407" fmla="*/ 611791 w 666750"/>
                  <a:gd name="connsiteY1407" fmla="*/ 214313 h 552450"/>
                  <a:gd name="connsiteX1408" fmla="*/ 606743 w 666750"/>
                  <a:gd name="connsiteY1408" fmla="*/ 214313 h 552450"/>
                  <a:gd name="connsiteX1409" fmla="*/ 604171 w 666750"/>
                  <a:gd name="connsiteY1409" fmla="*/ 212598 h 552450"/>
                  <a:gd name="connsiteX1410" fmla="*/ 603313 w 666750"/>
                  <a:gd name="connsiteY1410" fmla="*/ 210884 h 552450"/>
                  <a:gd name="connsiteX1411" fmla="*/ 606743 w 666750"/>
                  <a:gd name="connsiteY1411" fmla="*/ 210026 h 552450"/>
                  <a:gd name="connsiteX1412" fmla="*/ 609219 w 666750"/>
                  <a:gd name="connsiteY1412" fmla="*/ 210026 h 552450"/>
                  <a:gd name="connsiteX1413" fmla="*/ 610934 w 666750"/>
                  <a:gd name="connsiteY1413" fmla="*/ 210884 h 552450"/>
                  <a:gd name="connsiteX1414" fmla="*/ 612648 w 666750"/>
                  <a:gd name="connsiteY1414" fmla="*/ 208312 h 552450"/>
                  <a:gd name="connsiteX1415" fmla="*/ 610934 w 666750"/>
                  <a:gd name="connsiteY1415" fmla="*/ 203168 h 552450"/>
                  <a:gd name="connsiteX1416" fmla="*/ 599122 w 666750"/>
                  <a:gd name="connsiteY1416" fmla="*/ 176022 h 552450"/>
                  <a:gd name="connsiteX1417" fmla="*/ 598265 w 666750"/>
                  <a:gd name="connsiteY1417" fmla="*/ 164973 h 552450"/>
                  <a:gd name="connsiteX1418" fmla="*/ 601694 w 666750"/>
                  <a:gd name="connsiteY1418" fmla="*/ 154781 h 552450"/>
                  <a:gd name="connsiteX1419" fmla="*/ 607600 w 666750"/>
                  <a:gd name="connsiteY1419" fmla="*/ 146209 h 552450"/>
                  <a:gd name="connsiteX1420" fmla="*/ 623602 w 666750"/>
                  <a:gd name="connsiteY1420" fmla="*/ 129254 h 552450"/>
                  <a:gd name="connsiteX1421" fmla="*/ 628650 w 666750"/>
                  <a:gd name="connsiteY1421" fmla="*/ 124968 h 552450"/>
                  <a:gd name="connsiteX1422" fmla="*/ 638842 w 666750"/>
                  <a:gd name="connsiteY1422" fmla="*/ 119920 h 552450"/>
                  <a:gd name="connsiteX1423" fmla="*/ 639604 w 666750"/>
                  <a:gd name="connsiteY1423" fmla="*/ 119920 h 552450"/>
                  <a:gd name="connsiteX1424" fmla="*/ 642176 w 666750"/>
                  <a:gd name="connsiteY1424" fmla="*/ 119920 h 552450"/>
                  <a:gd name="connsiteX1425" fmla="*/ 643890 w 666750"/>
                  <a:gd name="connsiteY1425" fmla="*/ 119063 h 552450"/>
                  <a:gd name="connsiteX1426" fmla="*/ 644747 w 666750"/>
                  <a:gd name="connsiteY1426" fmla="*/ 119063 h 552450"/>
                  <a:gd name="connsiteX1427" fmla="*/ 648938 w 666750"/>
                  <a:gd name="connsiteY1427" fmla="*/ 119920 h 552450"/>
                  <a:gd name="connsiteX1428" fmla="*/ 653986 w 666750"/>
                  <a:gd name="connsiteY1428" fmla="*/ 118205 h 552450"/>
                  <a:gd name="connsiteX1429" fmla="*/ 660749 w 666750"/>
                  <a:gd name="connsiteY1429" fmla="*/ 115634 h 552450"/>
                  <a:gd name="connsiteX1430" fmla="*/ 667512 w 666750"/>
                  <a:gd name="connsiteY1430" fmla="*/ 113062 h 552450"/>
                  <a:gd name="connsiteX1431" fmla="*/ 669131 w 666750"/>
                  <a:gd name="connsiteY1431" fmla="*/ 112205 h 552450"/>
                  <a:gd name="connsiteX1432" fmla="*/ 667512 w 666750"/>
                  <a:gd name="connsiteY1432" fmla="*/ 110585 h 552450"/>
                  <a:gd name="connsiteX1433" fmla="*/ 667512 w 666750"/>
                  <a:gd name="connsiteY1433" fmla="*/ 110585 h 552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</a:cxnLst>
                <a:rect l="l" t="t" r="r" b="b"/>
                <a:pathLst>
                  <a:path w="666750" h="552450">
                    <a:moveTo>
                      <a:pt x="667512" y="110585"/>
                    </a:moveTo>
                    <a:lnTo>
                      <a:pt x="664083" y="105442"/>
                    </a:lnTo>
                    <a:lnTo>
                      <a:pt x="664083" y="103727"/>
                    </a:lnTo>
                    <a:lnTo>
                      <a:pt x="663226" y="102013"/>
                    </a:lnTo>
                    <a:lnTo>
                      <a:pt x="663226" y="100298"/>
                    </a:lnTo>
                    <a:lnTo>
                      <a:pt x="664083" y="96965"/>
                    </a:lnTo>
                    <a:lnTo>
                      <a:pt x="664083" y="95250"/>
                    </a:lnTo>
                    <a:lnTo>
                      <a:pt x="663226" y="93536"/>
                    </a:lnTo>
                    <a:lnTo>
                      <a:pt x="661606" y="91821"/>
                    </a:lnTo>
                    <a:lnTo>
                      <a:pt x="646367" y="88392"/>
                    </a:lnTo>
                    <a:lnTo>
                      <a:pt x="643890" y="87630"/>
                    </a:lnTo>
                    <a:lnTo>
                      <a:pt x="643033" y="86773"/>
                    </a:lnTo>
                    <a:lnTo>
                      <a:pt x="642176" y="85058"/>
                    </a:lnTo>
                    <a:lnTo>
                      <a:pt x="641318" y="83344"/>
                    </a:lnTo>
                    <a:lnTo>
                      <a:pt x="640461" y="79915"/>
                    </a:lnTo>
                    <a:lnTo>
                      <a:pt x="640461" y="75724"/>
                    </a:lnTo>
                    <a:lnTo>
                      <a:pt x="639604" y="74009"/>
                    </a:lnTo>
                    <a:lnTo>
                      <a:pt x="637127" y="72295"/>
                    </a:lnTo>
                    <a:lnTo>
                      <a:pt x="633698" y="69723"/>
                    </a:lnTo>
                    <a:lnTo>
                      <a:pt x="631222" y="69723"/>
                    </a:lnTo>
                    <a:lnTo>
                      <a:pt x="629507" y="69723"/>
                    </a:lnTo>
                    <a:lnTo>
                      <a:pt x="628650" y="70580"/>
                    </a:lnTo>
                    <a:lnTo>
                      <a:pt x="627793" y="71438"/>
                    </a:lnTo>
                    <a:lnTo>
                      <a:pt x="626935" y="72295"/>
                    </a:lnTo>
                    <a:lnTo>
                      <a:pt x="626935" y="74009"/>
                    </a:lnTo>
                    <a:lnTo>
                      <a:pt x="625316" y="74009"/>
                    </a:lnTo>
                    <a:lnTo>
                      <a:pt x="624459" y="74867"/>
                    </a:lnTo>
                    <a:lnTo>
                      <a:pt x="623602" y="75724"/>
                    </a:lnTo>
                    <a:lnTo>
                      <a:pt x="623602" y="76486"/>
                    </a:lnTo>
                    <a:lnTo>
                      <a:pt x="622744" y="77343"/>
                    </a:lnTo>
                    <a:lnTo>
                      <a:pt x="621887" y="78200"/>
                    </a:lnTo>
                    <a:lnTo>
                      <a:pt x="620268" y="77343"/>
                    </a:lnTo>
                    <a:lnTo>
                      <a:pt x="616839" y="74009"/>
                    </a:lnTo>
                    <a:lnTo>
                      <a:pt x="615982" y="72295"/>
                    </a:lnTo>
                    <a:lnTo>
                      <a:pt x="615982" y="69723"/>
                    </a:lnTo>
                    <a:lnTo>
                      <a:pt x="616839" y="66294"/>
                    </a:lnTo>
                    <a:lnTo>
                      <a:pt x="616839" y="66294"/>
                    </a:lnTo>
                    <a:lnTo>
                      <a:pt x="616839" y="64675"/>
                    </a:lnTo>
                    <a:lnTo>
                      <a:pt x="616839" y="63818"/>
                    </a:lnTo>
                    <a:lnTo>
                      <a:pt x="615982" y="61246"/>
                    </a:lnTo>
                    <a:lnTo>
                      <a:pt x="615982" y="60389"/>
                    </a:lnTo>
                    <a:lnTo>
                      <a:pt x="615982" y="60389"/>
                    </a:lnTo>
                    <a:lnTo>
                      <a:pt x="615125" y="58674"/>
                    </a:lnTo>
                    <a:lnTo>
                      <a:pt x="613505" y="56960"/>
                    </a:lnTo>
                    <a:lnTo>
                      <a:pt x="610076" y="55245"/>
                    </a:lnTo>
                    <a:lnTo>
                      <a:pt x="604171" y="52769"/>
                    </a:lnTo>
                    <a:lnTo>
                      <a:pt x="602551" y="52769"/>
                    </a:lnTo>
                    <a:lnTo>
                      <a:pt x="600837" y="52769"/>
                    </a:lnTo>
                    <a:lnTo>
                      <a:pt x="599980" y="52769"/>
                    </a:lnTo>
                    <a:lnTo>
                      <a:pt x="598265" y="51911"/>
                    </a:lnTo>
                    <a:lnTo>
                      <a:pt x="592360" y="48482"/>
                    </a:lnTo>
                    <a:lnTo>
                      <a:pt x="590740" y="46768"/>
                    </a:lnTo>
                    <a:lnTo>
                      <a:pt x="589026" y="45911"/>
                    </a:lnTo>
                    <a:lnTo>
                      <a:pt x="586454" y="45911"/>
                    </a:lnTo>
                    <a:lnTo>
                      <a:pt x="584835" y="45053"/>
                    </a:lnTo>
                    <a:lnTo>
                      <a:pt x="583978" y="44196"/>
                    </a:lnTo>
                    <a:lnTo>
                      <a:pt x="582263" y="40862"/>
                    </a:lnTo>
                    <a:lnTo>
                      <a:pt x="577215" y="39148"/>
                    </a:lnTo>
                    <a:lnTo>
                      <a:pt x="572929" y="34004"/>
                    </a:lnTo>
                    <a:lnTo>
                      <a:pt x="561975" y="27242"/>
                    </a:lnTo>
                    <a:lnTo>
                      <a:pt x="561118" y="27242"/>
                    </a:lnTo>
                    <a:lnTo>
                      <a:pt x="560356" y="26384"/>
                    </a:lnTo>
                    <a:lnTo>
                      <a:pt x="558641" y="26384"/>
                    </a:lnTo>
                    <a:lnTo>
                      <a:pt x="554450" y="28099"/>
                    </a:lnTo>
                    <a:lnTo>
                      <a:pt x="552736" y="28956"/>
                    </a:lnTo>
                    <a:lnTo>
                      <a:pt x="551021" y="28956"/>
                    </a:lnTo>
                    <a:lnTo>
                      <a:pt x="548545" y="28099"/>
                    </a:lnTo>
                    <a:lnTo>
                      <a:pt x="546830" y="27242"/>
                    </a:lnTo>
                    <a:lnTo>
                      <a:pt x="544259" y="25527"/>
                    </a:lnTo>
                    <a:lnTo>
                      <a:pt x="542639" y="23813"/>
                    </a:lnTo>
                    <a:lnTo>
                      <a:pt x="541782" y="22955"/>
                    </a:lnTo>
                    <a:lnTo>
                      <a:pt x="540068" y="19526"/>
                    </a:lnTo>
                    <a:lnTo>
                      <a:pt x="538353" y="17907"/>
                    </a:lnTo>
                    <a:lnTo>
                      <a:pt x="535876" y="16193"/>
                    </a:lnTo>
                    <a:lnTo>
                      <a:pt x="518160" y="6858"/>
                    </a:lnTo>
                    <a:lnTo>
                      <a:pt x="513874" y="1715"/>
                    </a:lnTo>
                    <a:lnTo>
                      <a:pt x="513017" y="857"/>
                    </a:lnTo>
                    <a:lnTo>
                      <a:pt x="512255" y="0"/>
                    </a:lnTo>
                    <a:lnTo>
                      <a:pt x="510540" y="0"/>
                    </a:lnTo>
                    <a:lnTo>
                      <a:pt x="509683" y="857"/>
                    </a:lnTo>
                    <a:lnTo>
                      <a:pt x="508825" y="1715"/>
                    </a:lnTo>
                    <a:lnTo>
                      <a:pt x="507111" y="4286"/>
                    </a:lnTo>
                    <a:lnTo>
                      <a:pt x="506349" y="5144"/>
                    </a:lnTo>
                    <a:lnTo>
                      <a:pt x="505492" y="5144"/>
                    </a:lnTo>
                    <a:lnTo>
                      <a:pt x="505492" y="5144"/>
                    </a:lnTo>
                    <a:lnTo>
                      <a:pt x="503777" y="5144"/>
                    </a:lnTo>
                    <a:lnTo>
                      <a:pt x="502920" y="6001"/>
                    </a:lnTo>
                    <a:lnTo>
                      <a:pt x="500443" y="6858"/>
                    </a:lnTo>
                    <a:lnTo>
                      <a:pt x="499586" y="6858"/>
                    </a:lnTo>
                    <a:lnTo>
                      <a:pt x="499586" y="6858"/>
                    </a:lnTo>
                    <a:lnTo>
                      <a:pt x="499586" y="7620"/>
                    </a:lnTo>
                    <a:lnTo>
                      <a:pt x="499586" y="7620"/>
                    </a:lnTo>
                    <a:lnTo>
                      <a:pt x="499586" y="8477"/>
                    </a:lnTo>
                    <a:lnTo>
                      <a:pt x="499586" y="11049"/>
                    </a:lnTo>
                    <a:lnTo>
                      <a:pt x="501205" y="12764"/>
                    </a:lnTo>
                    <a:lnTo>
                      <a:pt x="503777" y="16193"/>
                    </a:lnTo>
                    <a:lnTo>
                      <a:pt x="504634" y="17907"/>
                    </a:lnTo>
                    <a:lnTo>
                      <a:pt x="504634" y="19526"/>
                    </a:lnTo>
                    <a:lnTo>
                      <a:pt x="505492" y="26384"/>
                    </a:lnTo>
                    <a:lnTo>
                      <a:pt x="505492" y="28956"/>
                    </a:lnTo>
                    <a:lnTo>
                      <a:pt x="505492" y="30575"/>
                    </a:lnTo>
                    <a:lnTo>
                      <a:pt x="502920" y="34004"/>
                    </a:lnTo>
                    <a:lnTo>
                      <a:pt x="502920" y="35719"/>
                    </a:lnTo>
                    <a:lnTo>
                      <a:pt x="502920" y="37433"/>
                    </a:lnTo>
                    <a:lnTo>
                      <a:pt x="502920" y="39148"/>
                    </a:lnTo>
                    <a:lnTo>
                      <a:pt x="504634" y="42482"/>
                    </a:lnTo>
                    <a:lnTo>
                      <a:pt x="505492" y="44196"/>
                    </a:lnTo>
                    <a:lnTo>
                      <a:pt x="504634" y="45911"/>
                    </a:lnTo>
                    <a:lnTo>
                      <a:pt x="503777" y="48482"/>
                    </a:lnTo>
                    <a:lnTo>
                      <a:pt x="503777" y="51054"/>
                    </a:lnTo>
                    <a:lnTo>
                      <a:pt x="503777" y="52769"/>
                    </a:lnTo>
                    <a:lnTo>
                      <a:pt x="503777" y="53531"/>
                    </a:lnTo>
                    <a:lnTo>
                      <a:pt x="503777" y="54388"/>
                    </a:lnTo>
                    <a:lnTo>
                      <a:pt x="502920" y="55245"/>
                    </a:lnTo>
                    <a:lnTo>
                      <a:pt x="502063" y="56960"/>
                    </a:lnTo>
                    <a:lnTo>
                      <a:pt x="497014" y="63818"/>
                    </a:lnTo>
                    <a:lnTo>
                      <a:pt x="495300" y="65437"/>
                    </a:lnTo>
                    <a:lnTo>
                      <a:pt x="492823" y="67151"/>
                    </a:lnTo>
                    <a:lnTo>
                      <a:pt x="488632" y="68866"/>
                    </a:lnTo>
                    <a:lnTo>
                      <a:pt x="482727" y="65437"/>
                    </a:lnTo>
                    <a:lnTo>
                      <a:pt x="482727" y="63818"/>
                    </a:lnTo>
                    <a:lnTo>
                      <a:pt x="481870" y="62103"/>
                    </a:lnTo>
                    <a:lnTo>
                      <a:pt x="481870" y="60389"/>
                    </a:lnTo>
                    <a:lnTo>
                      <a:pt x="481870" y="59531"/>
                    </a:lnTo>
                    <a:lnTo>
                      <a:pt x="481870" y="57817"/>
                    </a:lnTo>
                    <a:lnTo>
                      <a:pt x="482727" y="56960"/>
                    </a:lnTo>
                    <a:lnTo>
                      <a:pt x="484346" y="55245"/>
                    </a:lnTo>
                    <a:lnTo>
                      <a:pt x="484346" y="53531"/>
                    </a:lnTo>
                    <a:lnTo>
                      <a:pt x="484346" y="52769"/>
                    </a:lnTo>
                    <a:lnTo>
                      <a:pt x="484346" y="51911"/>
                    </a:lnTo>
                    <a:lnTo>
                      <a:pt x="483489" y="51054"/>
                    </a:lnTo>
                    <a:lnTo>
                      <a:pt x="482727" y="51911"/>
                    </a:lnTo>
                    <a:lnTo>
                      <a:pt x="481013" y="52769"/>
                    </a:lnTo>
                    <a:lnTo>
                      <a:pt x="479298" y="53531"/>
                    </a:lnTo>
                    <a:lnTo>
                      <a:pt x="478441" y="54388"/>
                    </a:lnTo>
                    <a:lnTo>
                      <a:pt x="477584" y="55245"/>
                    </a:lnTo>
                    <a:lnTo>
                      <a:pt x="475107" y="56102"/>
                    </a:lnTo>
                    <a:lnTo>
                      <a:pt x="474250" y="56102"/>
                    </a:lnTo>
                    <a:lnTo>
                      <a:pt x="471678" y="57817"/>
                    </a:lnTo>
                    <a:lnTo>
                      <a:pt x="470916" y="57817"/>
                    </a:lnTo>
                    <a:lnTo>
                      <a:pt x="468344" y="56960"/>
                    </a:lnTo>
                    <a:lnTo>
                      <a:pt x="463296" y="56102"/>
                    </a:lnTo>
                    <a:lnTo>
                      <a:pt x="457390" y="53531"/>
                    </a:lnTo>
                    <a:lnTo>
                      <a:pt x="447199" y="47625"/>
                    </a:lnTo>
                    <a:lnTo>
                      <a:pt x="445580" y="47625"/>
                    </a:lnTo>
                    <a:lnTo>
                      <a:pt x="444722" y="47625"/>
                    </a:lnTo>
                    <a:lnTo>
                      <a:pt x="443008" y="46768"/>
                    </a:lnTo>
                    <a:lnTo>
                      <a:pt x="441293" y="47625"/>
                    </a:lnTo>
                    <a:lnTo>
                      <a:pt x="439674" y="47625"/>
                    </a:lnTo>
                    <a:lnTo>
                      <a:pt x="437959" y="49340"/>
                    </a:lnTo>
                    <a:lnTo>
                      <a:pt x="432911" y="51054"/>
                    </a:lnTo>
                    <a:lnTo>
                      <a:pt x="432054" y="51911"/>
                    </a:lnTo>
                    <a:lnTo>
                      <a:pt x="427006" y="56960"/>
                    </a:lnTo>
                    <a:lnTo>
                      <a:pt x="421957" y="62960"/>
                    </a:lnTo>
                    <a:lnTo>
                      <a:pt x="421100" y="62960"/>
                    </a:lnTo>
                    <a:lnTo>
                      <a:pt x="421100" y="62960"/>
                    </a:lnTo>
                    <a:lnTo>
                      <a:pt x="420243" y="62960"/>
                    </a:lnTo>
                    <a:lnTo>
                      <a:pt x="419386" y="62103"/>
                    </a:lnTo>
                    <a:lnTo>
                      <a:pt x="416909" y="59531"/>
                    </a:lnTo>
                    <a:lnTo>
                      <a:pt x="408432" y="53531"/>
                    </a:lnTo>
                    <a:lnTo>
                      <a:pt x="407575" y="52769"/>
                    </a:lnTo>
                    <a:lnTo>
                      <a:pt x="405003" y="52769"/>
                    </a:lnTo>
                    <a:lnTo>
                      <a:pt x="403384" y="51911"/>
                    </a:lnTo>
                    <a:lnTo>
                      <a:pt x="401669" y="51911"/>
                    </a:lnTo>
                    <a:lnTo>
                      <a:pt x="400812" y="52769"/>
                    </a:lnTo>
                    <a:lnTo>
                      <a:pt x="396621" y="53531"/>
                    </a:lnTo>
                    <a:lnTo>
                      <a:pt x="395764" y="54388"/>
                    </a:lnTo>
                    <a:lnTo>
                      <a:pt x="394906" y="53531"/>
                    </a:lnTo>
                    <a:lnTo>
                      <a:pt x="394906" y="53531"/>
                    </a:lnTo>
                    <a:lnTo>
                      <a:pt x="395764" y="51911"/>
                    </a:lnTo>
                    <a:lnTo>
                      <a:pt x="396621" y="50197"/>
                    </a:lnTo>
                    <a:lnTo>
                      <a:pt x="397478" y="48482"/>
                    </a:lnTo>
                    <a:lnTo>
                      <a:pt x="400812" y="40862"/>
                    </a:lnTo>
                    <a:lnTo>
                      <a:pt x="405860" y="33147"/>
                    </a:lnTo>
                    <a:lnTo>
                      <a:pt x="406717" y="32290"/>
                    </a:lnTo>
                    <a:lnTo>
                      <a:pt x="407575" y="30575"/>
                    </a:lnTo>
                    <a:lnTo>
                      <a:pt x="408432" y="27242"/>
                    </a:lnTo>
                    <a:lnTo>
                      <a:pt x="408432" y="23813"/>
                    </a:lnTo>
                    <a:lnTo>
                      <a:pt x="407575" y="19526"/>
                    </a:lnTo>
                    <a:lnTo>
                      <a:pt x="405860" y="13621"/>
                    </a:lnTo>
                    <a:lnTo>
                      <a:pt x="403384" y="6858"/>
                    </a:lnTo>
                    <a:lnTo>
                      <a:pt x="400812" y="9335"/>
                    </a:lnTo>
                    <a:lnTo>
                      <a:pt x="394906" y="12764"/>
                    </a:lnTo>
                    <a:lnTo>
                      <a:pt x="394906" y="12764"/>
                    </a:lnTo>
                    <a:lnTo>
                      <a:pt x="391573" y="13621"/>
                    </a:lnTo>
                    <a:lnTo>
                      <a:pt x="390715" y="13621"/>
                    </a:lnTo>
                    <a:lnTo>
                      <a:pt x="389858" y="14478"/>
                    </a:lnTo>
                    <a:lnTo>
                      <a:pt x="388144" y="16193"/>
                    </a:lnTo>
                    <a:lnTo>
                      <a:pt x="387286" y="16193"/>
                    </a:lnTo>
                    <a:lnTo>
                      <a:pt x="386525" y="16193"/>
                    </a:lnTo>
                    <a:lnTo>
                      <a:pt x="383096" y="15335"/>
                    </a:lnTo>
                    <a:lnTo>
                      <a:pt x="376333" y="13621"/>
                    </a:lnTo>
                    <a:lnTo>
                      <a:pt x="374713" y="12764"/>
                    </a:lnTo>
                    <a:lnTo>
                      <a:pt x="372142" y="13621"/>
                    </a:lnTo>
                    <a:lnTo>
                      <a:pt x="371284" y="13621"/>
                    </a:lnTo>
                    <a:lnTo>
                      <a:pt x="370427" y="14478"/>
                    </a:lnTo>
                    <a:lnTo>
                      <a:pt x="369570" y="15335"/>
                    </a:lnTo>
                    <a:lnTo>
                      <a:pt x="368808" y="15335"/>
                    </a:lnTo>
                    <a:lnTo>
                      <a:pt x="367093" y="16193"/>
                    </a:lnTo>
                    <a:lnTo>
                      <a:pt x="345091" y="16193"/>
                    </a:lnTo>
                    <a:lnTo>
                      <a:pt x="343471" y="17050"/>
                    </a:lnTo>
                    <a:lnTo>
                      <a:pt x="342614" y="17050"/>
                    </a:lnTo>
                    <a:lnTo>
                      <a:pt x="341757" y="17907"/>
                    </a:lnTo>
                    <a:lnTo>
                      <a:pt x="341757" y="18669"/>
                    </a:lnTo>
                    <a:lnTo>
                      <a:pt x="341757" y="20384"/>
                    </a:lnTo>
                    <a:lnTo>
                      <a:pt x="341757" y="21241"/>
                    </a:lnTo>
                    <a:lnTo>
                      <a:pt x="341757" y="22098"/>
                    </a:lnTo>
                    <a:lnTo>
                      <a:pt x="340900" y="22098"/>
                    </a:lnTo>
                    <a:lnTo>
                      <a:pt x="340900" y="22955"/>
                    </a:lnTo>
                    <a:lnTo>
                      <a:pt x="340042" y="23813"/>
                    </a:lnTo>
                    <a:lnTo>
                      <a:pt x="332518" y="27242"/>
                    </a:lnTo>
                    <a:lnTo>
                      <a:pt x="331660" y="27242"/>
                    </a:lnTo>
                    <a:lnTo>
                      <a:pt x="320707" y="28099"/>
                    </a:lnTo>
                    <a:lnTo>
                      <a:pt x="318992" y="27242"/>
                    </a:lnTo>
                    <a:lnTo>
                      <a:pt x="312230" y="23813"/>
                    </a:lnTo>
                    <a:lnTo>
                      <a:pt x="310515" y="23813"/>
                    </a:lnTo>
                    <a:lnTo>
                      <a:pt x="308038" y="23813"/>
                    </a:lnTo>
                    <a:lnTo>
                      <a:pt x="307181" y="23813"/>
                    </a:lnTo>
                    <a:lnTo>
                      <a:pt x="306324" y="22955"/>
                    </a:lnTo>
                    <a:lnTo>
                      <a:pt x="302895" y="20384"/>
                    </a:lnTo>
                    <a:lnTo>
                      <a:pt x="301276" y="18669"/>
                    </a:lnTo>
                    <a:lnTo>
                      <a:pt x="301276" y="17907"/>
                    </a:lnTo>
                    <a:lnTo>
                      <a:pt x="300418" y="16193"/>
                    </a:lnTo>
                    <a:lnTo>
                      <a:pt x="293656" y="6858"/>
                    </a:lnTo>
                    <a:lnTo>
                      <a:pt x="290322" y="5144"/>
                    </a:lnTo>
                    <a:lnTo>
                      <a:pt x="287750" y="3429"/>
                    </a:lnTo>
                    <a:lnTo>
                      <a:pt x="283559" y="2572"/>
                    </a:lnTo>
                    <a:lnTo>
                      <a:pt x="283559" y="4286"/>
                    </a:lnTo>
                    <a:lnTo>
                      <a:pt x="283559" y="5144"/>
                    </a:lnTo>
                    <a:lnTo>
                      <a:pt x="285178" y="9335"/>
                    </a:lnTo>
                    <a:lnTo>
                      <a:pt x="286036" y="11049"/>
                    </a:lnTo>
                    <a:lnTo>
                      <a:pt x="286036" y="12764"/>
                    </a:lnTo>
                    <a:lnTo>
                      <a:pt x="286036" y="14478"/>
                    </a:lnTo>
                    <a:lnTo>
                      <a:pt x="286036" y="15335"/>
                    </a:lnTo>
                    <a:lnTo>
                      <a:pt x="286036" y="16193"/>
                    </a:lnTo>
                    <a:lnTo>
                      <a:pt x="285178" y="17050"/>
                    </a:lnTo>
                    <a:lnTo>
                      <a:pt x="285178" y="17907"/>
                    </a:lnTo>
                    <a:lnTo>
                      <a:pt x="281845" y="21241"/>
                    </a:lnTo>
                    <a:lnTo>
                      <a:pt x="280130" y="22098"/>
                    </a:lnTo>
                    <a:lnTo>
                      <a:pt x="279273" y="22955"/>
                    </a:lnTo>
                    <a:lnTo>
                      <a:pt x="277654" y="23813"/>
                    </a:lnTo>
                    <a:lnTo>
                      <a:pt x="273367" y="23813"/>
                    </a:lnTo>
                    <a:lnTo>
                      <a:pt x="269176" y="25527"/>
                    </a:lnTo>
                    <a:lnTo>
                      <a:pt x="266700" y="27242"/>
                    </a:lnTo>
                    <a:lnTo>
                      <a:pt x="257365" y="35719"/>
                    </a:lnTo>
                    <a:lnTo>
                      <a:pt x="255651" y="36576"/>
                    </a:lnTo>
                    <a:lnTo>
                      <a:pt x="249746" y="38291"/>
                    </a:lnTo>
                    <a:lnTo>
                      <a:pt x="247269" y="40005"/>
                    </a:lnTo>
                    <a:lnTo>
                      <a:pt x="245554" y="41624"/>
                    </a:lnTo>
                    <a:lnTo>
                      <a:pt x="242983" y="43339"/>
                    </a:lnTo>
                    <a:lnTo>
                      <a:pt x="237934" y="51054"/>
                    </a:lnTo>
                    <a:lnTo>
                      <a:pt x="237077" y="53531"/>
                    </a:lnTo>
                    <a:lnTo>
                      <a:pt x="236315" y="54388"/>
                    </a:lnTo>
                    <a:lnTo>
                      <a:pt x="237077" y="55245"/>
                    </a:lnTo>
                    <a:lnTo>
                      <a:pt x="237934" y="56960"/>
                    </a:lnTo>
                    <a:lnTo>
                      <a:pt x="238792" y="56960"/>
                    </a:lnTo>
                    <a:lnTo>
                      <a:pt x="238792" y="57817"/>
                    </a:lnTo>
                    <a:lnTo>
                      <a:pt x="239649" y="58674"/>
                    </a:lnTo>
                    <a:lnTo>
                      <a:pt x="239649" y="59531"/>
                    </a:lnTo>
                    <a:lnTo>
                      <a:pt x="238792" y="60389"/>
                    </a:lnTo>
                    <a:lnTo>
                      <a:pt x="237934" y="61246"/>
                    </a:lnTo>
                    <a:lnTo>
                      <a:pt x="236315" y="61246"/>
                    </a:lnTo>
                    <a:lnTo>
                      <a:pt x="234601" y="62960"/>
                    </a:lnTo>
                    <a:lnTo>
                      <a:pt x="233743" y="62960"/>
                    </a:lnTo>
                    <a:lnTo>
                      <a:pt x="233743" y="64675"/>
                    </a:lnTo>
                    <a:lnTo>
                      <a:pt x="232886" y="68866"/>
                    </a:lnTo>
                    <a:lnTo>
                      <a:pt x="232886" y="69723"/>
                    </a:lnTo>
                    <a:lnTo>
                      <a:pt x="233743" y="71438"/>
                    </a:lnTo>
                    <a:lnTo>
                      <a:pt x="233743" y="72295"/>
                    </a:lnTo>
                    <a:lnTo>
                      <a:pt x="234601" y="73152"/>
                    </a:lnTo>
                    <a:lnTo>
                      <a:pt x="237934" y="74867"/>
                    </a:lnTo>
                    <a:lnTo>
                      <a:pt x="238792" y="74867"/>
                    </a:lnTo>
                    <a:lnTo>
                      <a:pt x="239649" y="75724"/>
                    </a:lnTo>
                    <a:lnTo>
                      <a:pt x="239649" y="76486"/>
                    </a:lnTo>
                    <a:lnTo>
                      <a:pt x="239649" y="77343"/>
                    </a:lnTo>
                    <a:lnTo>
                      <a:pt x="237934" y="80772"/>
                    </a:lnTo>
                    <a:lnTo>
                      <a:pt x="237934" y="81629"/>
                    </a:lnTo>
                    <a:lnTo>
                      <a:pt x="237934" y="82487"/>
                    </a:lnTo>
                    <a:lnTo>
                      <a:pt x="238792" y="84201"/>
                    </a:lnTo>
                    <a:lnTo>
                      <a:pt x="237934" y="86773"/>
                    </a:lnTo>
                    <a:lnTo>
                      <a:pt x="237077" y="86773"/>
                    </a:lnTo>
                    <a:lnTo>
                      <a:pt x="236315" y="86773"/>
                    </a:lnTo>
                    <a:lnTo>
                      <a:pt x="234601" y="86773"/>
                    </a:lnTo>
                    <a:lnTo>
                      <a:pt x="233743" y="86773"/>
                    </a:lnTo>
                    <a:lnTo>
                      <a:pt x="233743" y="87630"/>
                    </a:lnTo>
                    <a:lnTo>
                      <a:pt x="233743" y="89249"/>
                    </a:lnTo>
                    <a:lnTo>
                      <a:pt x="233743" y="90107"/>
                    </a:lnTo>
                    <a:lnTo>
                      <a:pt x="232886" y="90964"/>
                    </a:lnTo>
                    <a:lnTo>
                      <a:pt x="232029" y="90964"/>
                    </a:lnTo>
                    <a:lnTo>
                      <a:pt x="231172" y="90107"/>
                    </a:lnTo>
                    <a:lnTo>
                      <a:pt x="231172" y="90107"/>
                    </a:lnTo>
                    <a:lnTo>
                      <a:pt x="230410" y="89249"/>
                    </a:lnTo>
                    <a:lnTo>
                      <a:pt x="228695" y="89249"/>
                    </a:lnTo>
                    <a:lnTo>
                      <a:pt x="227838" y="90107"/>
                    </a:lnTo>
                    <a:lnTo>
                      <a:pt x="227838" y="91821"/>
                    </a:lnTo>
                    <a:lnTo>
                      <a:pt x="227838" y="94393"/>
                    </a:lnTo>
                    <a:lnTo>
                      <a:pt x="226981" y="96965"/>
                    </a:lnTo>
                    <a:lnTo>
                      <a:pt x="225266" y="100298"/>
                    </a:lnTo>
                    <a:lnTo>
                      <a:pt x="215170" y="116491"/>
                    </a:lnTo>
                    <a:lnTo>
                      <a:pt x="214313" y="119063"/>
                    </a:lnTo>
                    <a:lnTo>
                      <a:pt x="214313" y="119920"/>
                    </a:lnTo>
                    <a:lnTo>
                      <a:pt x="213455" y="124111"/>
                    </a:lnTo>
                    <a:lnTo>
                      <a:pt x="212693" y="125825"/>
                    </a:lnTo>
                    <a:lnTo>
                      <a:pt x="212693" y="127540"/>
                    </a:lnTo>
                    <a:lnTo>
                      <a:pt x="212693" y="130112"/>
                    </a:lnTo>
                    <a:lnTo>
                      <a:pt x="212693" y="131826"/>
                    </a:lnTo>
                    <a:lnTo>
                      <a:pt x="213455" y="132683"/>
                    </a:lnTo>
                    <a:lnTo>
                      <a:pt x="214313" y="133541"/>
                    </a:lnTo>
                    <a:lnTo>
                      <a:pt x="217742" y="136874"/>
                    </a:lnTo>
                    <a:lnTo>
                      <a:pt x="218599" y="137732"/>
                    </a:lnTo>
                    <a:lnTo>
                      <a:pt x="218599" y="139446"/>
                    </a:lnTo>
                    <a:lnTo>
                      <a:pt x="219361" y="140303"/>
                    </a:lnTo>
                    <a:lnTo>
                      <a:pt x="219361" y="142875"/>
                    </a:lnTo>
                    <a:lnTo>
                      <a:pt x="218599" y="144590"/>
                    </a:lnTo>
                    <a:lnTo>
                      <a:pt x="218599" y="145447"/>
                    </a:lnTo>
                    <a:lnTo>
                      <a:pt x="217742" y="145447"/>
                    </a:lnTo>
                    <a:lnTo>
                      <a:pt x="216027" y="145447"/>
                    </a:lnTo>
                    <a:lnTo>
                      <a:pt x="215170" y="145447"/>
                    </a:lnTo>
                    <a:lnTo>
                      <a:pt x="214313" y="144590"/>
                    </a:lnTo>
                    <a:lnTo>
                      <a:pt x="209264" y="142875"/>
                    </a:lnTo>
                    <a:lnTo>
                      <a:pt x="208407" y="142875"/>
                    </a:lnTo>
                    <a:lnTo>
                      <a:pt x="207550" y="142875"/>
                    </a:lnTo>
                    <a:lnTo>
                      <a:pt x="206788" y="143732"/>
                    </a:lnTo>
                    <a:lnTo>
                      <a:pt x="205930" y="144590"/>
                    </a:lnTo>
                    <a:lnTo>
                      <a:pt x="205073" y="145447"/>
                    </a:lnTo>
                    <a:lnTo>
                      <a:pt x="205073" y="147066"/>
                    </a:lnTo>
                    <a:lnTo>
                      <a:pt x="205073" y="147923"/>
                    </a:lnTo>
                    <a:lnTo>
                      <a:pt x="205073" y="148781"/>
                    </a:lnTo>
                    <a:lnTo>
                      <a:pt x="205073" y="148781"/>
                    </a:lnTo>
                    <a:lnTo>
                      <a:pt x="205073" y="148781"/>
                    </a:lnTo>
                    <a:lnTo>
                      <a:pt x="205073" y="149638"/>
                    </a:lnTo>
                    <a:lnTo>
                      <a:pt x="205073" y="151352"/>
                    </a:lnTo>
                    <a:lnTo>
                      <a:pt x="202501" y="153924"/>
                    </a:lnTo>
                    <a:lnTo>
                      <a:pt x="201644" y="155639"/>
                    </a:lnTo>
                    <a:lnTo>
                      <a:pt x="198310" y="164973"/>
                    </a:lnTo>
                    <a:lnTo>
                      <a:pt x="197453" y="167545"/>
                    </a:lnTo>
                    <a:lnTo>
                      <a:pt x="195739" y="168402"/>
                    </a:lnTo>
                    <a:lnTo>
                      <a:pt x="194119" y="170021"/>
                    </a:lnTo>
                    <a:lnTo>
                      <a:pt x="192405" y="170879"/>
                    </a:lnTo>
                    <a:lnTo>
                      <a:pt x="190690" y="170879"/>
                    </a:lnTo>
                    <a:lnTo>
                      <a:pt x="184785" y="171736"/>
                    </a:lnTo>
                    <a:lnTo>
                      <a:pt x="183928" y="171736"/>
                    </a:lnTo>
                    <a:lnTo>
                      <a:pt x="183071" y="170879"/>
                    </a:lnTo>
                    <a:lnTo>
                      <a:pt x="182309" y="169164"/>
                    </a:lnTo>
                    <a:lnTo>
                      <a:pt x="180594" y="168402"/>
                    </a:lnTo>
                    <a:lnTo>
                      <a:pt x="179737" y="168402"/>
                    </a:lnTo>
                    <a:lnTo>
                      <a:pt x="178879" y="167545"/>
                    </a:lnTo>
                    <a:lnTo>
                      <a:pt x="177165" y="167545"/>
                    </a:lnTo>
                    <a:lnTo>
                      <a:pt x="176403" y="166688"/>
                    </a:lnTo>
                    <a:lnTo>
                      <a:pt x="176403" y="166688"/>
                    </a:lnTo>
                    <a:lnTo>
                      <a:pt x="175546" y="164973"/>
                    </a:lnTo>
                    <a:lnTo>
                      <a:pt x="173831" y="164116"/>
                    </a:lnTo>
                    <a:lnTo>
                      <a:pt x="172974" y="164116"/>
                    </a:lnTo>
                    <a:lnTo>
                      <a:pt x="161163" y="165830"/>
                    </a:lnTo>
                    <a:lnTo>
                      <a:pt x="159448" y="165830"/>
                    </a:lnTo>
                    <a:lnTo>
                      <a:pt x="156972" y="166688"/>
                    </a:lnTo>
                    <a:lnTo>
                      <a:pt x="156115" y="166688"/>
                    </a:lnTo>
                    <a:lnTo>
                      <a:pt x="154400" y="167545"/>
                    </a:lnTo>
                    <a:lnTo>
                      <a:pt x="153543" y="168402"/>
                    </a:lnTo>
                    <a:lnTo>
                      <a:pt x="152781" y="168402"/>
                    </a:lnTo>
                    <a:lnTo>
                      <a:pt x="151924" y="167545"/>
                    </a:lnTo>
                    <a:lnTo>
                      <a:pt x="151067" y="166688"/>
                    </a:lnTo>
                    <a:lnTo>
                      <a:pt x="150209" y="166688"/>
                    </a:lnTo>
                    <a:lnTo>
                      <a:pt x="149352" y="166688"/>
                    </a:lnTo>
                    <a:lnTo>
                      <a:pt x="140113" y="166688"/>
                    </a:lnTo>
                    <a:lnTo>
                      <a:pt x="138398" y="167545"/>
                    </a:lnTo>
                    <a:lnTo>
                      <a:pt x="137541" y="167545"/>
                    </a:lnTo>
                    <a:lnTo>
                      <a:pt x="137541" y="168402"/>
                    </a:lnTo>
                    <a:lnTo>
                      <a:pt x="137541" y="168402"/>
                    </a:lnTo>
                    <a:lnTo>
                      <a:pt x="137541" y="169164"/>
                    </a:lnTo>
                    <a:lnTo>
                      <a:pt x="137541" y="170879"/>
                    </a:lnTo>
                    <a:lnTo>
                      <a:pt x="137541" y="172593"/>
                    </a:lnTo>
                    <a:lnTo>
                      <a:pt x="135826" y="176022"/>
                    </a:lnTo>
                    <a:lnTo>
                      <a:pt x="133350" y="181928"/>
                    </a:lnTo>
                    <a:lnTo>
                      <a:pt x="128302" y="190500"/>
                    </a:lnTo>
                    <a:lnTo>
                      <a:pt x="126587" y="192119"/>
                    </a:lnTo>
                    <a:lnTo>
                      <a:pt x="125730" y="192977"/>
                    </a:lnTo>
                    <a:lnTo>
                      <a:pt x="124873" y="192977"/>
                    </a:lnTo>
                    <a:lnTo>
                      <a:pt x="124015" y="193834"/>
                    </a:lnTo>
                    <a:lnTo>
                      <a:pt x="123158" y="193834"/>
                    </a:lnTo>
                    <a:lnTo>
                      <a:pt x="121539" y="196406"/>
                    </a:lnTo>
                    <a:lnTo>
                      <a:pt x="120682" y="198120"/>
                    </a:lnTo>
                    <a:lnTo>
                      <a:pt x="118967" y="200692"/>
                    </a:lnTo>
                    <a:lnTo>
                      <a:pt x="117253" y="202406"/>
                    </a:lnTo>
                    <a:lnTo>
                      <a:pt x="116491" y="203168"/>
                    </a:lnTo>
                    <a:lnTo>
                      <a:pt x="114776" y="204026"/>
                    </a:lnTo>
                    <a:lnTo>
                      <a:pt x="113062" y="204883"/>
                    </a:lnTo>
                    <a:lnTo>
                      <a:pt x="112204" y="204883"/>
                    </a:lnTo>
                    <a:lnTo>
                      <a:pt x="112204" y="204883"/>
                    </a:lnTo>
                    <a:lnTo>
                      <a:pt x="111347" y="204026"/>
                    </a:lnTo>
                    <a:lnTo>
                      <a:pt x="111347" y="204026"/>
                    </a:lnTo>
                    <a:lnTo>
                      <a:pt x="111347" y="203168"/>
                    </a:lnTo>
                    <a:lnTo>
                      <a:pt x="111347" y="201549"/>
                    </a:lnTo>
                    <a:lnTo>
                      <a:pt x="111347" y="201549"/>
                    </a:lnTo>
                    <a:lnTo>
                      <a:pt x="111347" y="200692"/>
                    </a:lnTo>
                    <a:lnTo>
                      <a:pt x="110585" y="199835"/>
                    </a:lnTo>
                    <a:lnTo>
                      <a:pt x="110585" y="199835"/>
                    </a:lnTo>
                    <a:lnTo>
                      <a:pt x="106299" y="198977"/>
                    </a:lnTo>
                    <a:lnTo>
                      <a:pt x="106299" y="198977"/>
                    </a:lnTo>
                    <a:lnTo>
                      <a:pt x="105442" y="198977"/>
                    </a:lnTo>
                    <a:lnTo>
                      <a:pt x="104680" y="199835"/>
                    </a:lnTo>
                    <a:lnTo>
                      <a:pt x="104680" y="199835"/>
                    </a:lnTo>
                    <a:lnTo>
                      <a:pt x="104680" y="200692"/>
                    </a:lnTo>
                    <a:lnTo>
                      <a:pt x="104680" y="201549"/>
                    </a:lnTo>
                    <a:lnTo>
                      <a:pt x="104680" y="215075"/>
                    </a:lnTo>
                    <a:lnTo>
                      <a:pt x="104680" y="215932"/>
                    </a:lnTo>
                    <a:lnTo>
                      <a:pt x="105442" y="217646"/>
                    </a:lnTo>
                    <a:lnTo>
                      <a:pt x="106299" y="220218"/>
                    </a:lnTo>
                    <a:lnTo>
                      <a:pt x="106299" y="221075"/>
                    </a:lnTo>
                    <a:lnTo>
                      <a:pt x="107156" y="222790"/>
                    </a:lnTo>
                    <a:lnTo>
                      <a:pt x="107156" y="224504"/>
                    </a:lnTo>
                    <a:lnTo>
                      <a:pt x="107156" y="225362"/>
                    </a:lnTo>
                    <a:lnTo>
                      <a:pt x="106299" y="227838"/>
                    </a:lnTo>
                    <a:lnTo>
                      <a:pt x="106299" y="229553"/>
                    </a:lnTo>
                    <a:lnTo>
                      <a:pt x="103822" y="237268"/>
                    </a:lnTo>
                    <a:lnTo>
                      <a:pt x="103822" y="238887"/>
                    </a:lnTo>
                    <a:lnTo>
                      <a:pt x="104680" y="240602"/>
                    </a:lnTo>
                    <a:lnTo>
                      <a:pt x="106299" y="244031"/>
                    </a:lnTo>
                    <a:lnTo>
                      <a:pt x="106299" y="244031"/>
                    </a:lnTo>
                    <a:lnTo>
                      <a:pt x="106299" y="244031"/>
                    </a:lnTo>
                    <a:lnTo>
                      <a:pt x="106299" y="244031"/>
                    </a:lnTo>
                    <a:lnTo>
                      <a:pt x="107156" y="244031"/>
                    </a:lnTo>
                    <a:lnTo>
                      <a:pt x="107156" y="244031"/>
                    </a:lnTo>
                    <a:lnTo>
                      <a:pt x="107156" y="243173"/>
                    </a:lnTo>
                    <a:lnTo>
                      <a:pt x="108013" y="243173"/>
                    </a:lnTo>
                    <a:lnTo>
                      <a:pt x="108871" y="244031"/>
                    </a:lnTo>
                    <a:lnTo>
                      <a:pt x="108871" y="244031"/>
                    </a:lnTo>
                    <a:lnTo>
                      <a:pt x="108871" y="245745"/>
                    </a:lnTo>
                    <a:lnTo>
                      <a:pt x="108871" y="248317"/>
                    </a:lnTo>
                    <a:lnTo>
                      <a:pt x="109728" y="249174"/>
                    </a:lnTo>
                    <a:lnTo>
                      <a:pt x="110585" y="249936"/>
                    </a:lnTo>
                    <a:lnTo>
                      <a:pt x="110585" y="249936"/>
                    </a:lnTo>
                    <a:lnTo>
                      <a:pt x="111347" y="249174"/>
                    </a:lnTo>
                    <a:lnTo>
                      <a:pt x="112204" y="249174"/>
                    </a:lnTo>
                    <a:lnTo>
                      <a:pt x="112204" y="248317"/>
                    </a:lnTo>
                    <a:lnTo>
                      <a:pt x="113062" y="249936"/>
                    </a:lnTo>
                    <a:lnTo>
                      <a:pt x="113062" y="252508"/>
                    </a:lnTo>
                    <a:lnTo>
                      <a:pt x="112204" y="262700"/>
                    </a:lnTo>
                    <a:lnTo>
                      <a:pt x="112204" y="264414"/>
                    </a:lnTo>
                    <a:lnTo>
                      <a:pt x="112204" y="265271"/>
                    </a:lnTo>
                    <a:lnTo>
                      <a:pt x="113062" y="266129"/>
                    </a:lnTo>
                    <a:lnTo>
                      <a:pt x="113062" y="266986"/>
                    </a:lnTo>
                    <a:lnTo>
                      <a:pt x="113919" y="268700"/>
                    </a:lnTo>
                    <a:lnTo>
                      <a:pt x="113919" y="274606"/>
                    </a:lnTo>
                    <a:lnTo>
                      <a:pt x="114776" y="279749"/>
                    </a:lnTo>
                    <a:lnTo>
                      <a:pt x="114776" y="282321"/>
                    </a:lnTo>
                    <a:lnTo>
                      <a:pt x="114776" y="283940"/>
                    </a:lnTo>
                    <a:lnTo>
                      <a:pt x="112204" y="291656"/>
                    </a:lnTo>
                    <a:lnTo>
                      <a:pt x="112204" y="294227"/>
                    </a:lnTo>
                    <a:lnTo>
                      <a:pt x="112204" y="295085"/>
                    </a:lnTo>
                    <a:lnTo>
                      <a:pt x="117253" y="297561"/>
                    </a:lnTo>
                    <a:lnTo>
                      <a:pt x="118110" y="298418"/>
                    </a:lnTo>
                    <a:lnTo>
                      <a:pt x="120682" y="300133"/>
                    </a:lnTo>
                    <a:lnTo>
                      <a:pt x="120682" y="300133"/>
                    </a:lnTo>
                    <a:lnTo>
                      <a:pt x="121539" y="300133"/>
                    </a:lnTo>
                    <a:lnTo>
                      <a:pt x="122396" y="300133"/>
                    </a:lnTo>
                    <a:lnTo>
                      <a:pt x="127444" y="300133"/>
                    </a:lnTo>
                    <a:lnTo>
                      <a:pt x="128302" y="300133"/>
                    </a:lnTo>
                    <a:lnTo>
                      <a:pt x="129064" y="300133"/>
                    </a:lnTo>
                    <a:lnTo>
                      <a:pt x="129064" y="300990"/>
                    </a:lnTo>
                    <a:lnTo>
                      <a:pt x="129921" y="300990"/>
                    </a:lnTo>
                    <a:lnTo>
                      <a:pt x="131635" y="302705"/>
                    </a:lnTo>
                    <a:lnTo>
                      <a:pt x="131635" y="303562"/>
                    </a:lnTo>
                    <a:lnTo>
                      <a:pt x="132493" y="303562"/>
                    </a:lnTo>
                    <a:lnTo>
                      <a:pt x="133350" y="304419"/>
                    </a:lnTo>
                    <a:lnTo>
                      <a:pt x="134207" y="304419"/>
                    </a:lnTo>
                    <a:lnTo>
                      <a:pt x="134969" y="304419"/>
                    </a:lnTo>
                    <a:lnTo>
                      <a:pt x="135826" y="303562"/>
                    </a:lnTo>
                    <a:lnTo>
                      <a:pt x="136684" y="302705"/>
                    </a:lnTo>
                    <a:lnTo>
                      <a:pt x="136684" y="302705"/>
                    </a:lnTo>
                    <a:lnTo>
                      <a:pt x="137541" y="302705"/>
                    </a:lnTo>
                    <a:lnTo>
                      <a:pt x="137541" y="302705"/>
                    </a:lnTo>
                    <a:lnTo>
                      <a:pt x="138398" y="302705"/>
                    </a:lnTo>
                    <a:lnTo>
                      <a:pt x="140113" y="302705"/>
                    </a:lnTo>
                    <a:lnTo>
                      <a:pt x="142589" y="302705"/>
                    </a:lnTo>
                    <a:lnTo>
                      <a:pt x="142589" y="302705"/>
                    </a:lnTo>
                    <a:lnTo>
                      <a:pt x="143446" y="302705"/>
                    </a:lnTo>
                    <a:lnTo>
                      <a:pt x="143446" y="302705"/>
                    </a:lnTo>
                    <a:lnTo>
                      <a:pt x="143446" y="305276"/>
                    </a:lnTo>
                    <a:lnTo>
                      <a:pt x="143446" y="306134"/>
                    </a:lnTo>
                    <a:lnTo>
                      <a:pt x="143446" y="308610"/>
                    </a:lnTo>
                    <a:lnTo>
                      <a:pt x="141732" y="313754"/>
                    </a:lnTo>
                    <a:lnTo>
                      <a:pt x="141732" y="315468"/>
                    </a:lnTo>
                    <a:lnTo>
                      <a:pt x="141732" y="316325"/>
                    </a:lnTo>
                    <a:lnTo>
                      <a:pt x="142589" y="316325"/>
                    </a:lnTo>
                    <a:lnTo>
                      <a:pt x="142589" y="317183"/>
                    </a:lnTo>
                    <a:lnTo>
                      <a:pt x="144304" y="318802"/>
                    </a:lnTo>
                    <a:lnTo>
                      <a:pt x="145161" y="319659"/>
                    </a:lnTo>
                    <a:lnTo>
                      <a:pt x="145161" y="320516"/>
                    </a:lnTo>
                    <a:lnTo>
                      <a:pt x="144304" y="321374"/>
                    </a:lnTo>
                    <a:lnTo>
                      <a:pt x="142589" y="323088"/>
                    </a:lnTo>
                    <a:lnTo>
                      <a:pt x="141732" y="323945"/>
                    </a:lnTo>
                    <a:lnTo>
                      <a:pt x="139255" y="324803"/>
                    </a:lnTo>
                    <a:lnTo>
                      <a:pt x="138398" y="324803"/>
                    </a:lnTo>
                    <a:lnTo>
                      <a:pt x="136684" y="325660"/>
                    </a:lnTo>
                    <a:lnTo>
                      <a:pt x="132493" y="329089"/>
                    </a:lnTo>
                    <a:lnTo>
                      <a:pt x="131635" y="329946"/>
                    </a:lnTo>
                    <a:lnTo>
                      <a:pt x="129921" y="329946"/>
                    </a:lnTo>
                    <a:lnTo>
                      <a:pt x="129921" y="329946"/>
                    </a:lnTo>
                    <a:lnTo>
                      <a:pt x="129921" y="329089"/>
                    </a:lnTo>
                    <a:lnTo>
                      <a:pt x="129921" y="328232"/>
                    </a:lnTo>
                    <a:lnTo>
                      <a:pt x="129921" y="327374"/>
                    </a:lnTo>
                    <a:lnTo>
                      <a:pt x="129064" y="325660"/>
                    </a:lnTo>
                    <a:lnTo>
                      <a:pt x="129921" y="324803"/>
                    </a:lnTo>
                    <a:lnTo>
                      <a:pt x="129921" y="323088"/>
                    </a:lnTo>
                    <a:lnTo>
                      <a:pt x="129921" y="322231"/>
                    </a:lnTo>
                    <a:lnTo>
                      <a:pt x="130778" y="321374"/>
                    </a:lnTo>
                    <a:lnTo>
                      <a:pt x="129921" y="320516"/>
                    </a:lnTo>
                    <a:lnTo>
                      <a:pt x="128302" y="320516"/>
                    </a:lnTo>
                    <a:lnTo>
                      <a:pt x="124873" y="320516"/>
                    </a:lnTo>
                    <a:lnTo>
                      <a:pt x="123158" y="319659"/>
                    </a:lnTo>
                    <a:lnTo>
                      <a:pt x="120682" y="318040"/>
                    </a:lnTo>
                    <a:lnTo>
                      <a:pt x="118967" y="318040"/>
                    </a:lnTo>
                    <a:lnTo>
                      <a:pt x="108871" y="316325"/>
                    </a:lnTo>
                    <a:lnTo>
                      <a:pt x="107156" y="316325"/>
                    </a:lnTo>
                    <a:lnTo>
                      <a:pt x="106299" y="316325"/>
                    </a:lnTo>
                    <a:lnTo>
                      <a:pt x="105442" y="317183"/>
                    </a:lnTo>
                    <a:lnTo>
                      <a:pt x="104680" y="317183"/>
                    </a:lnTo>
                    <a:lnTo>
                      <a:pt x="103822" y="318040"/>
                    </a:lnTo>
                    <a:lnTo>
                      <a:pt x="103822" y="318040"/>
                    </a:lnTo>
                    <a:lnTo>
                      <a:pt x="102965" y="318802"/>
                    </a:lnTo>
                    <a:lnTo>
                      <a:pt x="102108" y="322231"/>
                    </a:lnTo>
                    <a:lnTo>
                      <a:pt x="101251" y="323088"/>
                    </a:lnTo>
                    <a:lnTo>
                      <a:pt x="100393" y="323945"/>
                    </a:lnTo>
                    <a:lnTo>
                      <a:pt x="99536" y="323088"/>
                    </a:lnTo>
                    <a:lnTo>
                      <a:pt x="98774" y="322231"/>
                    </a:lnTo>
                    <a:lnTo>
                      <a:pt x="92011" y="307753"/>
                    </a:lnTo>
                    <a:lnTo>
                      <a:pt x="90297" y="306134"/>
                    </a:lnTo>
                    <a:lnTo>
                      <a:pt x="89440" y="305276"/>
                    </a:lnTo>
                    <a:lnTo>
                      <a:pt x="88582" y="305276"/>
                    </a:lnTo>
                    <a:lnTo>
                      <a:pt x="86868" y="305276"/>
                    </a:lnTo>
                    <a:lnTo>
                      <a:pt x="85249" y="305276"/>
                    </a:lnTo>
                    <a:lnTo>
                      <a:pt x="84392" y="305276"/>
                    </a:lnTo>
                    <a:lnTo>
                      <a:pt x="84392" y="305276"/>
                    </a:lnTo>
                    <a:lnTo>
                      <a:pt x="84392" y="304419"/>
                    </a:lnTo>
                    <a:lnTo>
                      <a:pt x="83534" y="303562"/>
                    </a:lnTo>
                    <a:lnTo>
                      <a:pt x="83534" y="303562"/>
                    </a:lnTo>
                    <a:lnTo>
                      <a:pt x="83534" y="302705"/>
                    </a:lnTo>
                    <a:lnTo>
                      <a:pt x="82677" y="301847"/>
                    </a:lnTo>
                    <a:lnTo>
                      <a:pt x="81820" y="301847"/>
                    </a:lnTo>
                    <a:lnTo>
                      <a:pt x="80963" y="300133"/>
                    </a:lnTo>
                    <a:lnTo>
                      <a:pt x="76771" y="296704"/>
                    </a:lnTo>
                    <a:lnTo>
                      <a:pt x="76771" y="296704"/>
                    </a:lnTo>
                    <a:lnTo>
                      <a:pt x="75914" y="295847"/>
                    </a:lnTo>
                    <a:lnTo>
                      <a:pt x="75914" y="295847"/>
                    </a:lnTo>
                    <a:lnTo>
                      <a:pt x="75057" y="295847"/>
                    </a:lnTo>
                    <a:lnTo>
                      <a:pt x="74295" y="295847"/>
                    </a:lnTo>
                    <a:lnTo>
                      <a:pt x="74295" y="296704"/>
                    </a:lnTo>
                    <a:lnTo>
                      <a:pt x="73438" y="297561"/>
                    </a:lnTo>
                    <a:lnTo>
                      <a:pt x="73438" y="298418"/>
                    </a:lnTo>
                    <a:lnTo>
                      <a:pt x="71723" y="300133"/>
                    </a:lnTo>
                    <a:lnTo>
                      <a:pt x="71723" y="300990"/>
                    </a:lnTo>
                    <a:lnTo>
                      <a:pt x="70866" y="300990"/>
                    </a:lnTo>
                    <a:lnTo>
                      <a:pt x="70009" y="301847"/>
                    </a:lnTo>
                    <a:lnTo>
                      <a:pt x="69151" y="301847"/>
                    </a:lnTo>
                    <a:lnTo>
                      <a:pt x="68389" y="300990"/>
                    </a:lnTo>
                    <a:lnTo>
                      <a:pt x="68389" y="300133"/>
                    </a:lnTo>
                    <a:lnTo>
                      <a:pt x="68389" y="299276"/>
                    </a:lnTo>
                    <a:lnTo>
                      <a:pt x="68389" y="298418"/>
                    </a:lnTo>
                    <a:lnTo>
                      <a:pt x="67532" y="297561"/>
                    </a:lnTo>
                    <a:lnTo>
                      <a:pt x="62484" y="291656"/>
                    </a:lnTo>
                    <a:lnTo>
                      <a:pt x="61627" y="290798"/>
                    </a:lnTo>
                    <a:lnTo>
                      <a:pt x="60769" y="290798"/>
                    </a:lnTo>
                    <a:lnTo>
                      <a:pt x="59912" y="290798"/>
                    </a:lnTo>
                    <a:lnTo>
                      <a:pt x="59055" y="291656"/>
                    </a:lnTo>
                    <a:lnTo>
                      <a:pt x="55721" y="295847"/>
                    </a:lnTo>
                    <a:lnTo>
                      <a:pt x="53150" y="296704"/>
                    </a:lnTo>
                    <a:lnTo>
                      <a:pt x="52292" y="297561"/>
                    </a:lnTo>
                    <a:lnTo>
                      <a:pt x="51435" y="298418"/>
                    </a:lnTo>
                    <a:lnTo>
                      <a:pt x="46387" y="306896"/>
                    </a:lnTo>
                    <a:lnTo>
                      <a:pt x="46387" y="307753"/>
                    </a:lnTo>
                    <a:lnTo>
                      <a:pt x="46387" y="309467"/>
                    </a:lnTo>
                    <a:lnTo>
                      <a:pt x="46387" y="310325"/>
                    </a:lnTo>
                    <a:lnTo>
                      <a:pt x="46387" y="312039"/>
                    </a:lnTo>
                    <a:lnTo>
                      <a:pt x="47244" y="312896"/>
                    </a:lnTo>
                    <a:lnTo>
                      <a:pt x="48101" y="314611"/>
                    </a:lnTo>
                    <a:lnTo>
                      <a:pt x="49816" y="315468"/>
                    </a:lnTo>
                    <a:lnTo>
                      <a:pt x="59055" y="320516"/>
                    </a:lnTo>
                    <a:lnTo>
                      <a:pt x="59912" y="321374"/>
                    </a:lnTo>
                    <a:lnTo>
                      <a:pt x="60769" y="323088"/>
                    </a:lnTo>
                    <a:lnTo>
                      <a:pt x="61627" y="325660"/>
                    </a:lnTo>
                    <a:lnTo>
                      <a:pt x="62484" y="326517"/>
                    </a:lnTo>
                    <a:lnTo>
                      <a:pt x="63246" y="327374"/>
                    </a:lnTo>
                    <a:lnTo>
                      <a:pt x="64103" y="327374"/>
                    </a:lnTo>
                    <a:lnTo>
                      <a:pt x="67532" y="328232"/>
                    </a:lnTo>
                    <a:lnTo>
                      <a:pt x="68389" y="328232"/>
                    </a:lnTo>
                    <a:lnTo>
                      <a:pt x="70009" y="329089"/>
                    </a:lnTo>
                    <a:lnTo>
                      <a:pt x="70866" y="329946"/>
                    </a:lnTo>
                    <a:lnTo>
                      <a:pt x="70866" y="331565"/>
                    </a:lnTo>
                    <a:lnTo>
                      <a:pt x="70009" y="335852"/>
                    </a:lnTo>
                    <a:lnTo>
                      <a:pt x="70009" y="338423"/>
                    </a:lnTo>
                    <a:lnTo>
                      <a:pt x="70009" y="340995"/>
                    </a:lnTo>
                    <a:lnTo>
                      <a:pt x="70866" y="343472"/>
                    </a:lnTo>
                    <a:lnTo>
                      <a:pt x="70866" y="345186"/>
                    </a:lnTo>
                    <a:lnTo>
                      <a:pt x="70866" y="346901"/>
                    </a:lnTo>
                    <a:lnTo>
                      <a:pt x="70009" y="350330"/>
                    </a:lnTo>
                    <a:lnTo>
                      <a:pt x="70009" y="359664"/>
                    </a:lnTo>
                    <a:lnTo>
                      <a:pt x="70009" y="360521"/>
                    </a:lnTo>
                    <a:lnTo>
                      <a:pt x="70866" y="361379"/>
                    </a:lnTo>
                    <a:lnTo>
                      <a:pt x="74295" y="362236"/>
                    </a:lnTo>
                    <a:lnTo>
                      <a:pt x="75057" y="362236"/>
                    </a:lnTo>
                    <a:lnTo>
                      <a:pt x="75914" y="363093"/>
                    </a:lnTo>
                    <a:lnTo>
                      <a:pt x="75914" y="363950"/>
                    </a:lnTo>
                    <a:lnTo>
                      <a:pt x="77629" y="368141"/>
                    </a:lnTo>
                    <a:lnTo>
                      <a:pt x="78486" y="368141"/>
                    </a:lnTo>
                    <a:lnTo>
                      <a:pt x="78486" y="368999"/>
                    </a:lnTo>
                    <a:lnTo>
                      <a:pt x="79343" y="368999"/>
                    </a:lnTo>
                    <a:lnTo>
                      <a:pt x="82677" y="369856"/>
                    </a:lnTo>
                    <a:lnTo>
                      <a:pt x="83534" y="369856"/>
                    </a:lnTo>
                    <a:lnTo>
                      <a:pt x="84392" y="370713"/>
                    </a:lnTo>
                    <a:lnTo>
                      <a:pt x="85249" y="372428"/>
                    </a:lnTo>
                    <a:lnTo>
                      <a:pt x="85249" y="373285"/>
                    </a:lnTo>
                    <a:lnTo>
                      <a:pt x="85249" y="374999"/>
                    </a:lnTo>
                    <a:lnTo>
                      <a:pt x="84392" y="375857"/>
                    </a:lnTo>
                    <a:lnTo>
                      <a:pt x="82677" y="376619"/>
                    </a:lnTo>
                    <a:lnTo>
                      <a:pt x="81820" y="377476"/>
                    </a:lnTo>
                    <a:lnTo>
                      <a:pt x="81820" y="378333"/>
                    </a:lnTo>
                    <a:lnTo>
                      <a:pt x="81820" y="379190"/>
                    </a:lnTo>
                    <a:lnTo>
                      <a:pt x="82677" y="379190"/>
                    </a:lnTo>
                    <a:lnTo>
                      <a:pt x="84392" y="380905"/>
                    </a:lnTo>
                    <a:lnTo>
                      <a:pt x="85249" y="381762"/>
                    </a:lnTo>
                    <a:lnTo>
                      <a:pt x="85249" y="382619"/>
                    </a:lnTo>
                    <a:lnTo>
                      <a:pt x="85249" y="384334"/>
                    </a:lnTo>
                    <a:lnTo>
                      <a:pt x="83534" y="388525"/>
                    </a:lnTo>
                    <a:lnTo>
                      <a:pt x="82677" y="389382"/>
                    </a:lnTo>
                    <a:lnTo>
                      <a:pt x="82677" y="391097"/>
                    </a:lnTo>
                    <a:lnTo>
                      <a:pt x="82677" y="393668"/>
                    </a:lnTo>
                    <a:lnTo>
                      <a:pt x="82677" y="395383"/>
                    </a:lnTo>
                    <a:lnTo>
                      <a:pt x="83534" y="396240"/>
                    </a:lnTo>
                    <a:lnTo>
                      <a:pt x="85249" y="398812"/>
                    </a:lnTo>
                    <a:lnTo>
                      <a:pt x="85249" y="400431"/>
                    </a:lnTo>
                    <a:lnTo>
                      <a:pt x="85249" y="402146"/>
                    </a:lnTo>
                    <a:lnTo>
                      <a:pt x="84392" y="404717"/>
                    </a:lnTo>
                    <a:lnTo>
                      <a:pt x="84392" y="405575"/>
                    </a:lnTo>
                    <a:lnTo>
                      <a:pt x="84392" y="406432"/>
                    </a:lnTo>
                    <a:lnTo>
                      <a:pt x="86868" y="408146"/>
                    </a:lnTo>
                    <a:lnTo>
                      <a:pt x="87725" y="409004"/>
                    </a:lnTo>
                    <a:lnTo>
                      <a:pt x="88582" y="409861"/>
                    </a:lnTo>
                    <a:lnTo>
                      <a:pt x="88582" y="413195"/>
                    </a:lnTo>
                    <a:lnTo>
                      <a:pt x="89440" y="414909"/>
                    </a:lnTo>
                    <a:lnTo>
                      <a:pt x="91154" y="417481"/>
                    </a:lnTo>
                    <a:lnTo>
                      <a:pt x="91154" y="418338"/>
                    </a:lnTo>
                    <a:lnTo>
                      <a:pt x="91154" y="419195"/>
                    </a:lnTo>
                    <a:lnTo>
                      <a:pt x="91154" y="420053"/>
                    </a:lnTo>
                    <a:lnTo>
                      <a:pt x="92011" y="427673"/>
                    </a:lnTo>
                    <a:lnTo>
                      <a:pt x="91154" y="429387"/>
                    </a:lnTo>
                    <a:lnTo>
                      <a:pt x="91154" y="430244"/>
                    </a:lnTo>
                    <a:lnTo>
                      <a:pt x="90297" y="430244"/>
                    </a:lnTo>
                    <a:lnTo>
                      <a:pt x="87725" y="431102"/>
                    </a:lnTo>
                    <a:lnTo>
                      <a:pt x="86868" y="431959"/>
                    </a:lnTo>
                    <a:lnTo>
                      <a:pt x="86868" y="431959"/>
                    </a:lnTo>
                    <a:lnTo>
                      <a:pt x="86106" y="432816"/>
                    </a:lnTo>
                    <a:lnTo>
                      <a:pt x="86106" y="432816"/>
                    </a:lnTo>
                    <a:lnTo>
                      <a:pt x="85249" y="433673"/>
                    </a:lnTo>
                    <a:lnTo>
                      <a:pt x="85249" y="434435"/>
                    </a:lnTo>
                    <a:lnTo>
                      <a:pt x="84392" y="435293"/>
                    </a:lnTo>
                    <a:lnTo>
                      <a:pt x="84392" y="438722"/>
                    </a:lnTo>
                    <a:lnTo>
                      <a:pt x="83534" y="443865"/>
                    </a:lnTo>
                    <a:lnTo>
                      <a:pt x="83534" y="444722"/>
                    </a:lnTo>
                    <a:lnTo>
                      <a:pt x="83534" y="445484"/>
                    </a:lnTo>
                    <a:lnTo>
                      <a:pt x="82677" y="447199"/>
                    </a:lnTo>
                    <a:lnTo>
                      <a:pt x="81820" y="448913"/>
                    </a:lnTo>
                    <a:lnTo>
                      <a:pt x="80963" y="448913"/>
                    </a:lnTo>
                    <a:lnTo>
                      <a:pt x="80200" y="448056"/>
                    </a:lnTo>
                    <a:lnTo>
                      <a:pt x="78486" y="447199"/>
                    </a:lnTo>
                    <a:lnTo>
                      <a:pt x="77629" y="446342"/>
                    </a:lnTo>
                    <a:lnTo>
                      <a:pt x="77629" y="446342"/>
                    </a:lnTo>
                    <a:lnTo>
                      <a:pt x="76771" y="447199"/>
                    </a:lnTo>
                    <a:lnTo>
                      <a:pt x="76771" y="447199"/>
                    </a:lnTo>
                    <a:lnTo>
                      <a:pt x="75057" y="451485"/>
                    </a:lnTo>
                    <a:lnTo>
                      <a:pt x="74295" y="452342"/>
                    </a:lnTo>
                    <a:lnTo>
                      <a:pt x="73438" y="453200"/>
                    </a:lnTo>
                    <a:lnTo>
                      <a:pt x="71723" y="454057"/>
                    </a:lnTo>
                    <a:lnTo>
                      <a:pt x="67532" y="454057"/>
                    </a:lnTo>
                    <a:lnTo>
                      <a:pt x="66675" y="454057"/>
                    </a:lnTo>
                    <a:lnTo>
                      <a:pt x="65818" y="454914"/>
                    </a:lnTo>
                    <a:lnTo>
                      <a:pt x="64103" y="455771"/>
                    </a:lnTo>
                    <a:lnTo>
                      <a:pt x="63246" y="456629"/>
                    </a:lnTo>
                    <a:lnTo>
                      <a:pt x="62484" y="457391"/>
                    </a:lnTo>
                    <a:lnTo>
                      <a:pt x="60769" y="459962"/>
                    </a:lnTo>
                    <a:lnTo>
                      <a:pt x="59912" y="460820"/>
                    </a:lnTo>
                    <a:lnTo>
                      <a:pt x="59055" y="460820"/>
                    </a:lnTo>
                    <a:lnTo>
                      <a:pt x="58198" y="460820"/>
                    </a:lnTo>
                    <a:lnTo>
                      <a:pt x="57340" y="461677"/>
                    </a:lnTo>
                    <a:lnTo>
                      <a:pt x="56578" y="461677"/>
                    </a:lnTo>
                    <a:lnTo>
                      <a:pt x="55721" y="462534"/>
                    </a:lnTo>
                    <a:lnTo>
                      <a:pt x="55721" y="463391"/>
                    </a:lnTo>
                    <a:lnTo>
                      <a:pt x="55721" y="464249"/>
                    </a:lnTo>
                    <a:lnTo>
                      <a:pt x="56578" y="464249"/>
                    </a:lnTo>
                    <a:lnTo>
                      <a:pt x="57340" y="465106"/>
                    </a:lnTo>
                    <a:lnTo>
                      <a:pt x="59912" y="465963"/>
                    </a:lnTo>
                    <a:lnTo>
                      <a:pt x="60769" y="467678"/>
                    </a:lnTo>
                    <a:lnTo>
                      <a:pt x="60769" y="469297"/>
                    </a:lnTo>
                    <a:lnTo>
                      <a:pt x="60769" y="470154"/>
                    </a:lnTo>
                    <a:lnTo>
                      <a:pt x="59912" y="471011"/>
                    </a:lnTo>
                    <a:lnTo>
                      <a:pt x="59055" y="471869"/>
                    </a:lnTo>
                    <a:lnTo>
                      <a:pt x="58198" y="471869"/>
                    </a:lnTo>
                    <a:lnTo>
                      <a:pt x="57340" y="472726"/>
                    </a:lnTo>
                    <a:lnTo>
                      <a:pt x="54864" y="475298"/>
                    </a:lnTo>
                    <a:lnTo>
                      <a:pt x="52292" y="477012"/>
                    </a:lnTo>
                    <a:lnTo>
                      <a:pt x="49816" y="480346"/>
                    </a:lnTo>
                    <a:lnTo>
                      <a:pt x="45529" y="483775"/>
                    </a:lnTo>
                    <a:lnTo>
                      <a:pt x="43910" y="485489"/>
                    </a:lnTo>
                    <a:lnTo>
                      <a:pt x="41338" y="488061"/>
                    </a:lnTo>
                    <a:lnTo>
                      <a:pt x="38005" y="494824"/>
                    </a:lnTo>
                    <a:lnTo>
                      <a:pt x="37147" y="495681"/>
                    </a:lnTo>
                    <a:lnTo>
                      <a:pt x="36290" y="496538"/>
                    </a:lnTo>
                    <a:lnTo>
                      <a:pt x="35433" y="496538"/>
                    </a:lnTo>
                    <a:lnTo>
                      <a:pt x="32861" y="497396"/>
                    </a:lnTo>
                    <a:lnTo>
                      <a:pt x="32099" y="497396"/>
                    </a:lnTo>
                    <a:lnTo>
                      <a:pt x="31242" y="498253"/>
                    </a:lnTo>
                    <a:lnTo>
                      <a:pt x="30385" y="498253"/>
                    </a:lnTo>
                    <a:lnTo>
                      <a:pt x="29527" y="500825"/>
                    </a:lnTo>
                    <a:lnTo>
                      <a:pt x="28670" y="501682"/>
                    </a:lnTo>
                    <a:lnTo>
                      <a:pt x="26956" y="502539"/>
                    </a:lnTo>
                    <a:lnTo>
                      <a:pt x="21907" y="504158"/>
                    </a:lnTo>
                    <a:lnTo>
                      <a:pt x="20288" y="505016"/>
                    </a:lnTo>
                    <a:lnTo>
                      <a:pt x="18574" y="505016"/>
                    </a:lnTo>
                    <a:lnTo>
                      <a:pt x="17717" y="505016"/>
                    </a:lnTo>
                    <a:lnTo>
                      <a:pt x="17717" y="505016"/>
                    </a:lnTo>
                    <a:lnTo>
                      <a:pt x="16859" y="505016"/>
                    </a:lnTo>
                    <a:lnTo>
                      <a:pt x="16002" y="505873"/>
                    </a:lnTo>
                    <a:lnTo>
                      <a:pt x="15145" y="509302"/>
                    </a:lnTo>
                    <a:lnTo>
                      <a:pt x="14383" y="511016"/>
                    </a:lnTo>
                    <a:lnTo>
                      <a:pt x="13525" y="511874"/>
                    </a:lnTo>
                    <a:lnTo>
                      <a:pt x="13525" y="512731"/>
                    </a:lnTo>
                    <a:lnTo>
                      <a:pt x="13525" y="513588"/>
                    </a:lnTo>
                    <a:lnTo>
                      <a:pt x="13525" y="514445"/>
                    </a:lnTo>
                    <a:lnTo>
                      <a:pt x="13525" y="514445"/>
                    </a:lnTo>
                    <a:lnTo>
                      <a:pt x="14383" y="516065"/>
                    </a:lnTo>
                    <a:lnTo>
                      <a:pt x="14383" y="517779"/>
                    </a:lnTo>
                    <a:lnTo>
                      <a:pt x="14383" y="518636"/>
                    </a:lnTo>
                    <a:lnTo>
                      <a:pt x="13525" y="520351"/>
                    </a:lnTo>
                    <a:lnTo>
                      <a:pt x="13525" y="522923"/>
                    </a:lnTo>
                    <a:lnTo>
                      <a:pt x="12668" y="526256"/>
                    </a:lnTo>
                    <a:lnTo>
                      <a:pt x="11811" y="527114"/>
                    </a:lnTo>
                    <a:lnTo>
                      <a:pt x="11811" y="527114"/>
                    </a:lnTo>
                    <a:lnTo>
                      <a:pt x="10954" y="527971"/>
                    </a:lnTo>
                    <a:lnTo>
                      <a:pt x="10096" y="528828"/>
                    </a:lnTo>
                    <a:lnTo>
                      <a:pt x="10096" y="529685"/>
                    </a:lnTo>
                    <a:lnTo>
                      <a:pt x="9239" y="531400"/>
                    </a:lnTo>
                    <a:lnTo>
                      <a:pt x="9239" y="531400"/>
                    </a:lnTo>
                    <a:lnTo>
                      <a:pt x="10096" y="533114"/>
                    </a:lnTo>
                    <a:lnTo>
                      <a:pt x="10096" y="536543"/>
                    </a:lnTo>
                    <a:lnTo>
                      <a:pt x="9239" y="539020"/>
                    </a:lnTo>
                    <a:lnTo>
                      <a:pt x="9239" y="540734"/>
                    </a:lnTo>
                    <a:lnTo>
                      <a:pt x="8477" y="541592"/>
                    </a:lnTo>
                    <a:lnTo>
                      <a:pt x="7620" y="542449"/>
                    </a:lnTo>
                    <a:lnTo>
                      <a:pt x="6763" y="543306"/>
                    </a:lnTo>
                    <a:lnTo>
                      <a:pt x="6763" y="545021"/>
                    </a:lnTo>
                    <a:lnTo>
                      <a:pt x="5905" y="545878"/>
                    </a:lnTo>
                    <a:lnTo>
                      <a:pt x="5905" y="547592"/>
                    </a:lnTo>
                    <a:lnTo>
                      <a:pt x="5905" y="548450"/>
                    </a:lnTo>
                    <a:lnTo>
                      <a:pt x="5905" y="549212"/>
                    </a:lnTo>
                    <a:lnTo>
                      <a:pt x="5048" y="550069"/>
                    </a:lnTo>
                    <a:lnTo>
                      <a:pt x="5048" y="550069"/>
                    </a:lnTo>
                    <a:lnTo>
                      <a:pt x="4191" y="550069"/>
                    </a:lnTo>
                    <a:lnTo>
                      <a:pt x="4191" y="550069"/>
                    </a:lnTo>
                    <a:lnTo>
                      <a:pt x="3334" y="550069"/>
                    </a:lnTo>
                    <a:lnTo>
                      <a:pt x="2572" y="549212"/>
                    </a:lnTo>
                    <a:lnTo>
                      <a:pt x="2572" y="549212"/>
                    </a:lnTo>
                    <a:lnTo>
                      <a:pt x="1714" y="549212"/>
                    </a:lnTo>
                    <a:lnTo>
                      <a:pt x="857" y="549212"/>
                    </a:lnTo>
                    <a:lnTo>
                      <a:pt x="857" y="550069"/>
                    </a:lnTo>
                    <a:lnTo>
                      <a:pt x="0" y="550069"/>
                    </a:lnTo>
                    <a:lnTo>
                      <a:pt x="0" y="550926"/>
                    </a:lnTo>
                    <a:lnTo>
                      <a:pt x="0" y="552641"/>
                    </a:lnTo>
                    <a:lnTo>
                      <a:pt x="0" y="555212"/>
                    </a:lnTo>
                    <a:lnTo>
                      <a:pt x="0" y="556927"/>
                    </a:lnTo>
                    <a:lnTo>
                      <a:pt x="0" y="558641"/>
                    </a:lnTo>
                    <a:lnTo>
                      <a:pt x="5905" y="559499"/>
                    </a:lnTo>
                    <a:lnTo>
                      <a:pt x="7620" y="560356"/>
                    </a:lnTo>
                    <a:lnTo>
                      <a:pt x="8477" y="561118"/>
                    </a:lnTo>
                    <a:lnTo>
                      <a:pt x="9239" y="561118"/>
                    </a:lnTo>
                    <a:lnTo>
                      <a:pt x="10096" y="560356"/>
                    </a:lnTo>
                    <a:lnTo>
                      <a:pt x="10954" y="559499"/>
                    </a:lnTo>
                    <a:lnTo>
                      <a:pt x="11811" y="556927"/>
                    </a:lnTo>
                    <a:lnTo>
                      <a:pt x="11811" y="556070"/>
                    </a:lnTo>
                    <a:lnTo>
                      <a:pt x="12668" y="556070"/>
                    </a:lnTo>
                    <a:lnTo>
                      <a:pt x="14383" y="556927"/>
                    </a:lnTo>
                    <a:lnTo>
                      <a:pt x="17717" y="558641"/>
                    </a:lnTo>
                    <a:lnTo>
                      <a:pt x="20288" y="559499"/>
                    </a:lnTo>
                    <a:lnTo>
                      <a:pt x="23622" y="557784"/>
                    </a:lnTo>
                    <a:lnTo>
                      <a:pt x="25336" y="556070"/>
                    </a:lnTo>
                    <a:lnTo>
                      <a:pt x="26956" y="554355"/>
                    </a:lnTo>
                    <a:lnTo>
                      <a:pt x="28670" y="553498"/>
                    </a:lnTo>
                    <a:lnTo>
                      <a:pt x="32861" y="552641"/>
                    </a:lnTo>
                    <a:lnTo>
                      <a:pt x="33718" y="552641"/>
                    </a:lnTo>
                    <a:lnTo>
                      <a:pt x="35433" y="550926"/>
                    </a:lnTo>
                    <a:lnTo>
                      <a:pt x="36290" y="549212"/>
                    </a:lnTo>
                    <a:lnTo>
                      <a:pt x="38005" y="548450"/>
                    </a:lnTo>
                    <a:lnTo>
                      <a:pt x="40481" y="546735"/>
                    </a:lnTo>
                    <a:lnTo>
                      <a:pt x="47244" y="543306"/>
                    </a:lnTo>
                    <a:lnTo>
                      <a:pt x="58198" y="536543"/>
                    </a:lnTo>
                    <a:lnTo>
                      <a:pt x="62484" y="535686"/>
                    </a:lnTo>
                    <a:lnTo>
                      <a:pt x="65818" y="534829"/>
                    </a:lnTo>
                    <a:lnTo>
                      <a:pt x="71723" y="531400"/>
                    </a:lnTo>
                    <a:lnTo>
                      <a:pt x="76771" y="530543"/>
                    </a:lnTo>
                    <a:lnTo>
                      <a:pt x="80963" y="531400"/>
                    </a:lnTo>
                    <a:lnTo>
                      <a:pt x="82677" y="533114"/>
                    </a:lnTo>
                    <a:lnTo>
                      <a:pt x="84392" y="533972"/>
                    </a:lnTo>
                    <a:lnTo>
                      <a:pt x="86106" y="536543"/>
                    </a:lnTo>
                    <a:lnTo>
                      <a:pt x="86868" y="536543"/>
                    </a:lnTo>
                    <a:lnTo>
                      <a:pt x="87725" y="536543"/>
                    </a:lnTo>
                    <a:lnTo>
                      <a:pt x="89440" y="536543"/>
                    </a:lnTo>
                    <a:lnTo>
                      <a:pt x="90297" y="536543"/>
                    </a:lnTo>
                    <a:lnTo>
                      <a:pt x="91154" y="536543"/>
                    </a:lnTo>
                    <a:lnTo>
                      <a:pt x="92011" y="536543"/>
                    </a:lnTo>
                    <a:lnTo>
                      <a:pt x="92773" y="537401"/>
                    </a:lnTo>
                    <a:lnTo>
                      <a:pt x="94488" y="536543"/>
                    </a:lnTo>
                    <a:lnTo>
                      <a:pt x="95345" y="535686"/>
                    </a:lnTo>
                    <a:lnTo>
                      <a:pt x="95345" y="533972"/>
                    </a:lnTo>
                    <a:lnTo>
                      <a:pt x="96202" y="532257"/>
                    </a:lnTo>
                    <a:lnTo>
                      <a:pt x="97060" y="531400"/>
                    </a:lnTo>
                    <a:lnTo>
                      <a:pt x="98774" y="531400"/>
                    </a:lnTo>
                    <a:lnTo>
                      <a:pt x="102108" y="531400"/>
                    </a:lnTo>
                    <a:lnTo>
                      <a:pt x="102965" y="530543"/>
                    </a:lnTo>
                    <a:lnTo>
                      <a:pt x="103822" y="529685"/>
                    </a:lnTo>
                    <a:lnTo>
                      <a:pt x="103822" y="527971"/>
                    </a:lnTo>
                    <a:lnTo>
                      <a:pt x="103822" y="526256"/>
                    </a:lnTo>
                    <a:lnTo>
                      <a:pt x="102965" y="524637"/>
                    </a:lnTo>
                    <a:lnTo>
                      <a:pt x="102965" y="522923"/>
                    </a:lnTo>
                    <a:lnTo>
                      <a:pt x="103822" y="522065"/>
                    </a:lnTo>
                    <a:lnTo>
                      <a:pt x="104680" y="522065"/>
                    </a:lnTo>
                    <a:lnTo>
                      <a:pt x="105442" y="521208"/>
                    </a:lnTo>
                    <a:lnTo>
                      <a:pt x="106299" y="519494"/>
                    </a:lnTo>
                    <a:lnTo>
                      <a:pt x="106299" y="518636"/>
                    </a:lnTo>
                    <a:lnTo>
                      <a:pt x="105442" y="517779"/>
                    </a:lnTo>
                    <a:lnTo>
                      <a:pt x="102108" y="515207"/>
                    </a:lnTo>
                    <a:lnTo>
                      <a:pt x="101251" y="514445"/>
                    </a:lnTo>
                    <a:lnTo>
                      <a:pt x="100393" y="513588"/>
                    </a:lnTo>
                    <a:lnTo>
                      <a:pt x="101251" y="512731"/>
                    </a:lnTo>
                    <a:lnTo>
                      <a:pt x="101251" y="511016"/>
                    </a:lnTo>
                    <a:lnTo>
                      <a:pt x="105442" y="505016"/>
                    </a:lnTo>
                    <a:lnTo>
                      <a:pt x="105442" y="504158"/>
                    </a:lnTo>
                    <a:lnTo>
                      <a:pt x="106299" y="502539"/>
                    </a:lnTo>
                    <a:lnTo>
                      <a:pt x="106299" y="500825"/>
                    </a:lnTo>
                    <a:lnTo>
                      <a:pt x="105442" y="499110"/>
                    </a:lnTo>
                    <a:lnTo>
                      <a:pt x="105442" y="499110"/>
                    </a:lnTo>
                    <a:lnTo>
                      <a:pt x="105442" y="498253"/>
                    </a:lnTo>
                    <a:lnTo>
                      <a:pt x="107156" y="493109"/>
                    </a:lnTo>
                    <a:lnTo>
                      <a:pt x="107156" y="491395"/>
                    </a:lnTo>
                    <a:lnTo>
                      <a:pt x="107156" y="489776"/>
                    </a:lnTo>
                    <a:lnTo>
                      <a:pt x="107156" y="488061"/>
                    </a:lnTo>
                    <a:lnTo>
                      <a:pt x="107156" y="487204"/>
                    </a:lnTo>
                    <a:lnTo>
                      <a:pt x="108013" y="486347"/>
                    </a:lnTo>
                    <a:lnTo>
                      <a:pt x="111347" y="482060"/>
                    </a:lnTo>
                    <a:lnTo>
                      <a:pt x="112204" y="480346"/>
                    </a:lnTo>
                    <a:lnTo>
                      <a:pt x="113919" y="477012"/>
                    </a:lnTo>
                    <a:lnTo>
                      <a:pt x="114776" y="476155"/>
                    </a:lnTo>
                    <a:lnTo>
                      <a:pt x="115633" y="475298"/>
                    </a:lnTo>
                    <a:lnTo>
                      <a:pt x="118110" y="476155"/>
                    </a:lnTo>
                    <a:lnTo>
                      <a:pt x="118967" y="477012"/>
                    </a:lnTo>
                    <a:lnTo>
                      <a:pt x="120682" y="477012"/>
                    </a:lnTo>
                    <a:lnTo>
                      <a:pt x="121539" y="477012"/>
                    </a:lnTo>
                    <a:lnTo>
                      <a:pt x="122396" y="477012"/>
                    </a:lnTo>
                    <a:lnTo>
                      <a:pt x="122396" y="477869"/>
                    </a:lnTo>
                    <a:lnTo>
                      <a:pt x="122396" y="478727"/>
                    </a:lnTo>
                    <a:lnTo>
                      <a:pt x="122396" y="479584"/>
                    </a:lnTo>
                    <a:lnTo>
                      <a:pt x="122396" y="480346"/>
                    </a:lnTo>
                    <a:lnTo>
                      <a:pt x="122396" y="481203"/>
                    </a:lnTo>
                    <a:lnTo>
                      <a:pt x="123158" y="482060"/>
                    </a:lnTo>
                    <a:lnTo>
                      <a:pt x="123158" y="482918"/>
                    </a:lnTo>
                    <a:lnTo>
                      <a:pt x="123158" y="483775"/>
                    </a:lnTo>
                    <a:lnTo>
                      <a:pt x="123158" y="485489"/>
                    </a:lnTo>
                    <a:lnTo>
                      <a:pt x="123158" y="487204"/>
                    </a:lnTo>
                    <a:lnTo>
                      <a:pt x="123158" y="488061"/>
                    </a:lnTo>
                    <a:lnTo>
                      <a:pt x="124873" y="489776"/>
                    </a:lnTo>
                    <a:lnTo>
                      <a:pt x="129921" y="494824"/>
                    </a:lnTo>
                    <a:lnTo>
                      <a:pt x="130778" y="495681"/>
                    </a:lnTo>
                    <a:lnTo>
                      <a:pt x="131635" y="496538"/>
                    </a:lnTo>
                    <a:lnTo>
                      <a:pt x="132493" y="497396"/>
                    </a:lnTo>
                    <a:lnTo>
                      <a:pt x="132493" y="498253"/>
                    </a:lnTo>
                    <a:lnTo>
                      <a:pt x="132493" y="499110"/>
                    </a:lnTo>
                    <a:lnTo>
                      <a:pt x="132493" y="499967"/>
                    </a:lnTo>
                    <a:lnTo>
                      <a:pt x="130778" y="503301"/>
                    </a:lnTo>
                    <a:lnTo>
                      <a:pt x="130778" y="505016"/>
                    </a:lnTo>
                    <a:lnTo>
                      <a:pt x="130778" y="505873"/>
                    </a:lnTo>
                    <a:lnTo>
                      <a:pt x="130778" y="506730"/>
                    </a:lnTo>
                    <a:lnTo>
                      <a:pt x="131635" y="507587"/>
                    </a:lnTo>
                    <a:lnTo>
                      <a:pt x="131635" y="508445"/>
                    </a:lnTo>
                    <a:lnTo>
                      <a:pt x="132493" y="508445"/>
                    </a:lnTo>
                    <a:lnTo>
                      <a:pt x="134207" y="508445"/>
                    </a:lnTo>
                    <a:lnTo>
                      <a:pt x="134969" y="508445"/>
                    </a:lnTo>
                    <a:lnTo>
                      <a:pt x="136684" y="509302"/>
                    </a:lnTo>
                    <a:lnTo>
                      <a:pt x="137541" y="509302"/>
                    </a:lnTo>
                    <a:lnTo>
                      <a:pt x="138398" y="508445"/>
                    </a:lnTo>
                    <a:lnTo>
                      <a:pt x="138398" y="507587"/>
                    </a:lnTo>
                    <a:lnTo>
                      <a:pt x="139255" y="504158"/>
                    </a:lnTo>
                    <a:lnTo>
                      <a:pt x="139255" y="503301"/>
                    </a:lnTo>
                    <a:lnTo>
                      <a:pt x="140113" y="502539"/>
                    </a:lnTo>
                    <a:lnTo>
                      <a:pt x="141732" y="501682"/>
                    </a:lnTo>
                    <a:lnTo>
                      <a:pt x="143446" y="500825"/>
                    </a:lnTo>
                    <a:lnTo>
                      <a:pt x="146780" y="498253"/>
                    </a:lnTo>
                    <a:lnTo>
                      <a:pt x="150209" y="497396"/>
                    </a:lnTo>
                    <a:lnTo>
                      <a:pt x="151924" y="496538"/>
                    </a:lnTo>
                    <a:lnTo>
                      <a:pt x="152781" y="494824"/>
                    </a:lnTo>
                    <a:lnTo>
                      <a:pt x="152781" y="493109"/>
                    </a:lnTo>
                    <a:lnTo>
                      <a:pt x="153543" y="491395"/>
                    </a:lnTo>
                    <a:lnTo>
                      <a:pt x="152781" y="488918"/>
                    </a:lnTo>
                    <a:lnTo>
                      <a:pt x="152781" y="488061"/>
                    </a:lnTo>
                    <a:lnTo>
                      <a:pt x="152781" y="487204"/>
                    </a:lnTo>
                    <a:lnTo>
                      <a:pt x="154400" y="486347"/>
                    </a:lnTo>
                    <a:lnTo>
                      <a:pt x="156115" y="486347"/>
                    </a:lnTo>
                    <a:lnTo>
                      <a:pt x="157829" y="486347"/>
                    </a:lnTo>
                    <a:lnTo>
                      <a:pt x="158686" y="487204"/>
                    </a:lnTo>
                    <a:lnTo>
                      <a:pt x="160306" y="488061"/>
                    </a:lnTo>
                    <a:lnTo>
                      <a:pt x="161163" y="488918"/>
                    </a:lnTo>
                    <a:lnTo>
                      <a:pt x="162877" y="488918"/>
                    </a:lnTo>
                    <a:lnTo>
                      <a:pt x="163735" y="488918"/>
                    </a:lnTo>
                    <a:lnTo>
                      <a:pt x="164592" y="489776"/>
                    </a:lnTo>
                    <a:lnTo>
                      <a:pt x="163735" y="492252"/>
                    </a:lnTo>
                    <a:lnTo>
                      <a:pt x="163735" y="493109"/>
                    </a:lnTo>
                    <a:lnTo>
                      <a:pt x="164592" y="493967"/>
                    </a:lnTo>
                    <a:lnTo>
                      <a:pt x="165354" y="494824"/>
                    </a:lnTo>
                    <a:lnTo>
                      <a:pt x="166211" y="494824"/>
                    </a:lnTo>
                    <a:lnTo>
                      <a:pt x="170497" y="494824"/>
                    </a:lnTo>
                    <a:lnTo>
                      <a:pt x="171259" y="494824"/>
                    </a:lnTo>
                    <a:lnTo>
                      <a:pt x="175546" y="492252"/>
                    </a:lnTo>
                    <a:lnTo>
                      <a:pt x="176403" y="492252"/>
                    </a:lnTo>
                    <a:lnTo>
                      <a:pt x="177165" y="492252"/>
                    </a:lnTo>
                    <a:lnTo>
                      <a:pt x="178879" y="492252"/>
                    </a:lnTo>
                    <a:lnTo>
                      <a:pt x="179737" y="491395"/>
                    </a:lnTo>
                    <a:lnTo>
                      <a:pt x="180594" y="490633"/>
                    </a:lnTo>
                    <a:lnTo>
                      <a:pt x="181451" y="488061"/>
                    </a:lnTo>
                    <a:lnTo>
                      <a:pt x="181451" y="486347"/>
                    </a:lnTo>
                    <a:lnTo>
                      <a:pt x="180594" y="485489"/>
                    </a:lnTo>
                    <a:lnTo>
                      <a:pt x="180594" y="484632"/>
                    </a:lnTo>
                    <a:lnTo>
                      <a:pt x="179737" y="483775"/>
                    </a:lnTo>
                    <a:lnTo>
                      <a:pt x="179737" y="482918"/>
                    </a:lnTo>
                    <a:lnTo>
                      <a:pt x="180594" y="482060"/>
                    </a:lnTo>
                    <a:lnTo>
                      <a:pt x="185642" y="475298"/>
                    </a:lnTo>
                    <a:lnTo>
                      <a:pt x="185642" y="473583"/>
                    </a:lnTo>
                    <a:lnTo>
                      <a:pt x="185642" y="473583"/>
                    </a:lnTo>
                    <a:lnTo>
                      <a:pt x="184785" y="472726"/>
                    </a:lnTo>
                    <a:lnTo>
                      <a:pt x="184785" y="472726"/>
                    </a:lnTo>
                    <a:lnTo>
                      <a:pt x="182309" y="473583"/>
                    </a:lnTo>
                    <a:lnTo>
                      <a:pt x="182309" y="472726"/>
                    </a:lnTo>
                    <a:lnTo>
                      <a:pt x="181451" y="472726"/>
                    </a:lnTo>
                    <a:lnTo>
                      <a:pt x="180594" y="470154"/>
                    </a:lnTo>
                    <a:lnTo>
                      <a:pt x="178879" y="467678"/>
                    </a:lnTo>
                    <a:lnTo>
                      <a:pt x="178879" y="466820"/>
                    </a:lnTo>
                    <a:lnTo>
                      <a:pt x="178879" y="465963"/>
                    </a:lnTo>
                    <a:lnTo>
                      <a:pt x="178879" y="465106"/>
                    </a:lnTo>
                    <a:lnTo>
                      <a:pt x="179737" y="464249"/>
                    </a:lnTo>
                    <a:lnTo>
                      <a:pt x="178879" y="463391"/>
                    </a:lnTo>
                    <a:lnTo>
                      <a:pt x="179737" y="462534"/>
                    </a:lnTo>
                    <a:lnTo>
                      <a:pt x="179737" y="461677"/>
                    </a:lnTo>
                    <a:lnTo>
                      <a:pt x="182309" y="459105"/>
                    </a:lnTo>
                    <a:lnTo>
                      <a:pt x="183928" y="457391"/>
                    </a:lnTo>
                    <a:lnTo>
                      <a:pt x="184785" y="455771"/>
                    </a:lnTo>
                    <a:lnTo>
                      <a:pt x="187357" y="451485"/>
                    </a:lnTo>
                    <a:lnTo>
                      <a:pt x="188214" y="449771"/>
                    </a:lnTo>
                    <a:lnTo>
                      <a:pt x="190690" y="448056"/>
                    </a:lnTo>
                    <a:lnTo>
                      <a:pt x="191548" y="447199"/>
                    </a:lnTo>
                    <a:lnTo>
                      <a:pt x="193262" y="447199"/>
                    </a:lnTo>
                    <a:lnTo>
                      <a:pt x="194119" y="447199"/>
                    </a:lnTo>
                    <a:lnTo>
                      <a:pt x="195739" y="448056"/>
                    </a:lnTo>
                    <a:lnTo>
                      <a:pt x="196596" y="448913"/>
                    </a:lnTo>
                    <a:lnTo>
                      <a:pt x="197453" y="449771"/>
                    </a:lnTo>
                    <a:lnTo>
                      <a:pt x="198310" y="449771"/>
                    </a:lnTo>
                    <a:lnTo>
                      <a:pt x="205073" y="447199"/>
                    </a:lnTo>
                    <a:lnTo>
                      <a:pt x="206788" y="445484"/>
                    </a:lnTo>
                    <a:lnTo>
                      <a:pt x="209264" y="443008"/>
                    </a:lnTo>
                    <a:lnTo>
                      <a:pt x="212693" y="440436"/>
                    </a:lnTo>
                    <a:lnTo>
                      <a:pt x="214313" y="439579"/>
                    </a:lnTo>
                    <a:lnTo>
                      <a:pt x="216884" y="438722"/>
                    </a:lnTo>
                    <a:lnTo>
                      <a:pt x="218599" y="437864"/>
                    </a:lnTo>
                    <a:lnTo>
                      <a:pt x="219361" y="437007"/>
                    </a:lnTo>
                    <a:lnTo>
                      <a:pt x="220218" y="436150"/>
                    </a:lnTo>
                    <a:lnTo>
                      <a:pt x="220218" y="435293"/>
                    </a:lnTo>
                    <a:lnTo>
                      <a:pt x="219361" y="434435"/>
                    </a:lnTo>
                    <a:lnTo>
                      <a:pt x="218599" y="434435"/>
                    </a:lnTo>
                    <a:lnTo>
                      <a:pt x="218599" y="433673"/>
                    </a:lnTo>
                    <a:lnTo>
                      <a:pt x="218599" y="433673"/>
                    </a:lnTo>
                    <a:lnTo>
                      <a:pt x="217742" y="431959"/>
                    </a:lnTo>
                    <a:lnTo>
                      <a:pt x="217742" y="431959"/>
                    </a:lnTo>
                    <a:lnTo>
                      <a:pt x="216884" y="431959"/>
                    </a:lnTo>
                    <a:lnTo>
                      <a:pt x="216027" y="431959"/>
                    </a:lnTo>
                    <a:lnTo>
                      <a:pt x="216027" y="431959"/>
                    </a:lnTo>
                    <a:lnTo>
                      <a:pt x="215170" y="431102"/>
                    </a:lnTo>
                    <a:lnTo>
                      <a:pt x="215170" y="431102"/>
                    </a:lnTo>
                    <a:lnTo>
                      <a:pt x="212693" y="428530"/>
                    </a:lnTo>
                    <a:lnTo>
                      <a:pt x="212693" y="427673"/>
                    </a:lnTo>
                    <a:lnTo>
                      <a:pt x="211836" y="425101"/>
                    </a:lnTo>
                    <a:lnTo>
                      <a:pt x="210979" y="424244"/>
                    </a:lnTo>
                    <a:lnTo>
                      <a:pt x="210979" y="423386"/>
                    </a:lnTo>
                    <a:lnTo>
                      <a:pt x="210121" y="423386"/>
                    </a:lnTo>
                    <a:lnTo>
                      <a:pt x="209264" y="422529"/>
                    </a:lnTo>
                    <a:lnTo>
                      <a:pt x="209264" y="421767"/>
                    </a:lnTo>
                    <a:lnTo>
                      <a:pt x="209264" y="420910"/>
                    </a:lnTo>
                    <a:lnTo>
                      <a:pt x="210979" y="420053"/>
                    </a:lnTo>
                    <a:lnTo>
                      <a:pt x="211836" y="420053"/>
                    </a:lnTo>
                    <a:lnTo>
                      <a:pt x="213455" y="419195"/>
                    </a:lnTo>
                    <a:lnTo>
                      <a:pt x="214313" y="419195"/>
                    </a:lnTo>
                    <a:lnTo>
                      <a:pt x="215170" y="420053"/>
                    </a:lnTo>
                    <a:lnTo>
                      <a:pt x="216027" y="420053"/>
                    </a:lnTo>
                    <a:lnTo>
                      <a:pt x="216884" y="420910"/>
                    </a:lnTo>
                    <a:lnTo>
                      <a:pt x="219361" y="421767"/>
                    </a:lnTo>
                    <a:lnTo>
                      <a:pt x="221075" y="422529"/>
                    </a:lnTo>
                    <a:lnTo>
                      <a:pt x="223647" y="424244"/>
                    </a:lnTo>
                    <a:lnTo>
                      <a:pt x="224504" y="424244"/>
                    </a:lnTo>
                    <a:lnTo>
                      <a:pt x="226123" y="423386"/>
                    </a:lnTo>
                    <a:lnTo>
                      <a:pt x="226981" y="422529"/>
                    </a:lnTo>
                    <a:lnTo>
                      <a:pt x="226981" y="421767"/>
                    </a:lnTo>
                    <a:lnTo>
                      <a:pt x="226123" y="420910"/>
                    </a:lnTo>
                    <a:lnTo>
                      <a:pt x="226123" y="420053"/>
                    </a:lnTo>
                    <a:lnTo>
                      <a:pt x="226123" y="420053"/>
                    </a:lnTo>
                    <a:lnTo>
                      <a:pt x="226123" y="420053"/>
                    </a:lnTo>
                    <a:lnTo>
                      <a:pt x="226123" y="419195"/>
                    </a:lnTo>
                    <a:lnTo>
                      <a:pt x="227838" y="418338"/>
                    </a:lnTo>
                    <a:lnTo>
                      <a:pt x="227838" y="417481"/>
                    </a:lnTo>
                    <a:lnTo>
                      <a:pt x="227838" y="416624"/>
                    </a:lnTo>
                    <a:lnTo>
                      <a:pt x="226981" y="412337"/>
                    </a:lnTo>
                    <a:lnTo>
                      <a:pt x="226981" y="411480"/>
                    </a:lnTo>
                    <a:lnTo>
                      <a:pt x="227838" y="411480"/>
                    </a:lnTo>
                    <a:lnTo>
                      <a:pt x="228695" y="411480"/>
                    </a:lnTo>
                    <a:lnTo>
                      <a:pt x="229552" y="412337"/>
                    </a:lnTo>
                    <a:lnTo>
                      <a:pt x="230410" y="414052"/>
                    </a:lnTo>
                    <a:lnTo>
                      <a:pt x="231172" y="414909"/>
                    </a:lnTo>
                    <a:lnTo>
                      <a:pt x="231172" y="418338"/>
                    </a:lnTo>
                    <a:lnTo>
                      <a:pt x="232029" y="419195"/>
                    </a:lnTo>
                    <a:lnTo>
                      <a:pt x="232886" y="419195"/>
                    </a:lnTo>
                    <a:lnTo>
                      <a:pt x="233743" y="418338"/>
                    </a:lnTo>
                    <a:lnTo>
                      <a:pt x="234601" y="418338"/>
                    </a:lnTo>
                    <a:lnTo>
                      <a:pt x="235458" y="416624"/>
                    </a:lnTo>
                    <a:lnTo>
                      <a:pt x="236315" y="414052"/>
                    </a:lnTo>
                    <a:lnTo>
                      <a:pt x="236315" y="413195"/>
                    </a:lnTo>
                    <a:lnTo>
                      <a:pt x="237077" y="412337"/>
                    </a:lnTo>
                    <a:lnTo>
                      <a:pt x="239649" y="411480"/>
                    </a:lnTo>
                    <a:lnTo>
                      <a:pt x="240506" y="410623"/>
                    </a:lnTo>
                    <a:lnTo>
                      <a:pt x="241363" y="409004"/>
                    </a:lnTo>
                    <a:lnTo>
                      <a:pt x="241363" y="407289"/>
                    </a:lnTo>
                    <a:lnTo>
                      <a:pt x="241363" y="406432"/>
                    </a:lnTo>
                    <a:lnTo>
                      <a:pt x="242221" y="404717"/>
                    </a:lnTo>
                    <a:lnTo>
                      <a:pt x="242983" y="404717"/>
                    </a:lnTo>
                    <a:lnTo>
                      <a:pt x="243840" y="404717"/>
                    </a:lnTo>
                    <a:lnTo>
                      <a:pt x="245554" y="406432"/>
                    </a:lnTo>
                    <a:lnTo>
                      <a:pt x="246412" y="409861"/>
                    </a:lnTo>
                    <a:lnTo>
                      <a:pt x="247269" y="410623"/>
                    </a:lnTo>
                    <a:lnTo>
                      <a:pt x="252317" y="415766"/>
                    </a:lnTo>
                    <a:lnTo>
                      <a:pt x="254032" y="418338"/>
                    </a:lnTo>
                    <a:lnTo>
                      <a:pt x="254032" y="420053"/>
                    </a:lnTo>
                    <a:lnTo>
                      <a:pt x="256508" y="425958"/>
                    </a:lnTo>
                    <a:lnTo>
                      <a:pt x="257365" y="427673"/>
                    </a:lnTo>
                    <a:lnTo>
                      <a:pt x="257365" y="428530"/>
                    </a:lnTo>
                    <a:lnTo>
                      <a:pt x="258223" y="428530"/>
                    </a:lnTo>
                    <a:lnTo>
                      <a:pt x="259080" y="427673"/>
                    </a:lnTo>
                    <a:lnTo>
                      <a:pt x="259080" y="425958"/>
                    </a:lnTo>
                    <a:lnTo>
                      <a:pt x="259080" y="425101"/>
                    </a:lnTo>
                    <a:lnTo>
                      <a:pt x="259080" y="424244"/>
                    </a:lnTo>
                    <a:lnTo>
                      <a:pt x="259080" y="423386"/>
                    </a:lnTo>
                    <a:lnTo>
                      <a:pt x="258223" y="421767"/>
                    </a:lnTo>
                    <a:lnTo>
                      <a:pt x="258223" y="420910"/>
                    </a:lnTo>
                    <a:lnTo>
                      <a:pt x="259080" y="420910"/>
                    </a:lnTo>
                    <a:lnTo>
                      <a:pt x="259080" y="420053"/>
                    </a:lnTo>
                    <a:lnTo>
                      <a:pt x="259080" y="420053"/>
                    </a:lnTo>
                    <a:lnTo>
                      <a:pt x="259937" y="419195"/>
                    </a:lnTo>
                    <a:lnTo>
                      <a:pt x="260794" y="419195"/>
                    </a:lnTo>
                    <a:lnTo>
                      <a:pt x="261556" y="419195"/>
                    </a:lnTo>
                    <a:lnTo>
                      <a:pt x="262414" y="419195"/>
                    </a:lnTo>
                    <a:lnTo>
                      <a:pt x="264985" y="420053"/>
                    </a:lnTo>
                    <a:lnTo>
                      <a:pt x="266700" y="424244"/>
                    </a:lnTo>
                    <a:lnTo>
                      <a:pt x="267462" y="429387"/>
                    </a:lnTo>
                    <a:lnTo>
                      <a:pt x="267462" y="430244"/>
                    </a:lnTo>
                    <a:lnTo>
                      <a:pt x="269176" y="431102"/>
                    </a:lnTo>
                    <a:lnTo>
                      <a:pt x="270034" y="434435"/>
                    </a:lnTo>
                    <a:lnTo>
                      <a:pt x="270891" y="436150"/>
                    </a:lnTo>
                    <a:lnTo>
                      <a:pt x="270891" y="437007"/>
                    </a:lnTo>
                    <a:lnTo>
                      <a:pt x="270891" y="437007"/>
                    </a:lnTo>
                    <a:lnTo>
                      <a:pt x="271748" y="437864"/>
                    </a:lnTo>
                    <a:lnTo>
                      <a:pt x="272605" y="438722"/>
                    </a:lnTo>
                    <a:lnTo>
                      <a:pt x="273367" y="440436"/>
                    </a:lnTo>
                    <a:lnTo>
                      <a:pt x="273367" y="441293"/>
                    </a:lnTo>
                    <a:lnTo>
                      <a:pt x="274225" y="441293"/>
                    </a:lnTo>
                    <a:lnTo>
                      <a:pt x="274225" y="441293"/>
                    </a:lnTo>
                    <a:lnTo>
                      <a:pt x="275082" y="442151"/>
                    </a:lnTo>
                    <a:lnTo>
                      <a:pt x="275939" y="443008"/>
                    </a:lnTo>
                    <a:lnTo>
                      <a:pt x="280988" y="442151"/>
                    </a:lnTo>
                    <a:lnTo>
                      <a:pt x="286036" y="442151"/>
                    </a:lnTo>
                    <a:lnTo>
                      <a:pt x="292798" y="441293"/>
                    </a:lnTo>
                    <a:lnTo>
                      <a:pt x="294513" y="441293"/>
                    </a:lnTo>
                    <a:lnTo>
                      <a:pt x="296227" y="441293"/>
                    </a:lnTo>
                    <a:lnTo>
                      <a:pt x="296989" y="442151"/>
                    </a:lnTo>
                    <a:lnTo>
                      <a:pt x="297847" y="443008"/>
                    </a:lnTo>
                    <a:lnTo>
                      <a:pt x="300418" y="443008"/>
                    </a:lnTo>
                    <a:lnTo>
                      <a:pt x="302133" y="443865"/>
                    </a:lnTo>
                    <a:lnTo>
                      <a:pt x="303752" y="444722"/>
                    </a:lnTo>
                    <a:lnTo>
                      <a:pt x="304609" y="444722"/>
                    </a:lnTo>
                    <a:lnTo>
                      <a:pt x="306324" y="444722"/>
                    </a:lnTo>
                    <a:lnTo>
                      <a:pt x="314801" y="443008"/>
                    </a:lnTo>
                    <a:lnTo>
                      <a:pt x="321469" y="442151"/>
                    </a:lnTo>
                    <a:lnTo>
                      <a:pt x="323183" y="441293"/>
                    </a:lnTo>
                    <a:lnTo>
                      <a:pt x="324898" y="439579"/>
                    </a:lnTo>
                    <a:lnTo>
                      <a:pt x="327374" y="437007"/>
                    </a:lnTo>
                    <a:lnTo>
                      <a:pt x="328231" y="435293"/>
                    </a:lnTo>
                    <a:lnTo>
                      <a:pt x="329089" y="431959"/>
                    </a:lnTo>
                    <a:lnTo>
                      <a:pt x="329946" y="431102"/>
                    </a:lnTo>
                    <a:lnTo>
                      <a:pt x="329946" y="431102"/>
                    </a:lnTo>
                    <a:lnTo>
                      <a:pt x="331660" y="431102"/>
                    </a:lnTo>
                    <a:lnTo>
                      <a:pt x="332518" y="431102"/>
                    </a:lnTo>
                    <a:lnTo>
                      <a:pt x="333280" y="431102"/>
                    </a:lnTo>
                    <a:lnTo>
                      <a:pt x="337566" y="425958"/>
                    </a:lnTo>
                    <a:lnTo>
                      <a:pt x="337566" y="425101"/>
                    </a:lnTo>
                    <a:lnTo>
                      <a:pt x="338423" y="424244"/>
                    </a:lnTo>
                    <a:lnTo>
                      <a:pt x="337566" y="424244"/>
                    </a:lnTo>
                    <a:lnTo>
                      <a:pt x="337566" y="423386"/>
                    </a:lnTo>
                    <a:lnTo>
                      <a:pt x="337566" y="422529"/>
                    </a:lnTo>
                    <a:lnTo>
                      <a:pt x="337566" y="422529"/>
                    </a:lnTo>
                    <a:lnTo>
                      <a:pt x="337566" y="421767"/>
                    </a:lnTo>
                    <a:lnTo>
                      <a:pt x="338423" y="420053"/>
                    </a:lnTo>
                    <a:lnTo>
                      <a:pt x="338423" y="420053"/>
                    </a:lnTo>
                    <a:lnTo>
                      <a:pt x="338423" y="419195"/>
                    </a:lnTo>
                    <a:lnTo>
                      <a:pt x="338423" y="417481"/>
                    </a:lnTo>
                    <a:lnTo>
                      <a:pt x="337566" y="416624"/>
                    </a:lnTo>
                    <a:lnTo>
                      <a:pt x="338423" y="416624"/>
                    </a:lnTo>
                    <a:lnTo>
                      <a:pt x="339185" y="415766"/>
                    </a:lnTo>
                    <a:lnTo>
                      <a:pt x="340042" y="415766"/>
                    </a:lnTo>
                    <a:lnTo>
                      <a:pt x="341757" y="416624"/>
                    </a:lnTo>
                    <a:lnTo>
                      <a:pt x="342614" y="416624"/>
                    </a:lnTo>
                    <a:lnTo>
                      <a:pt x="344329" y="415766"/>
                    </a:lnTo>
                    <a:lnTo>
                      <a:pt x="347663" y="413195"/>
                    </a:lnTo>
                    <a:lnTo>
                      <a:pt x="348520" y="412337"/>
                    </a:lnTo>
                    <a:lnTo>
                      <a:pt x="356902" y="408146"/>
                    </a:lnTo>
                    <a:lnTo>
                      <a:pt x="358616" y="408146"/>
                    </a:lnTo>
                    <a:lnTo>
                      <a:pt x="358616" y="409004"/>
                    </a:lnTo>
                    <a:lnTo>
                      <a:pt x="359473" y="409004"/>
                    </a:lnTo>
                    <a:lnTo>
                      <a:pt x="360331" y="409004"/>
                    </a:lnTo>
                    <a:lnTo>
                      <a:pt x="361188" y="408146"/>
                    </a:lnTo>
                    <a:lnTo>
                      <a:pt x="362045" y="406432"/>
                    </a:lnTo>
                    <a:lnTo>
                      <a:pt x="362045" y="405575"/>
                    </a:lnTo>
                    <a:lnTo>
                      <a:pt x="362045" y="403860"/>
                    </a:lnTo>
                    <a:lnTo>
                      <a:pt x="362045" y="403860"/>
                    </a:lnTo>
                    <a:lnTo>
                      <a:pt x="362045" y="403003"/>
                    </a:lnTo>
                    <a:lnTo>
                      <a:pt x="361188" y="402146"/>
                    </a:lnTo>
                    <a:lnTo>
                      <a:pt x="362045" y="401288"/>
                    </a:lnTo>
                    <a:lnTo>
                      <a:pt x="362902" y="401288"/>
                    </a:lnTo>
                    <a:lnTo>
                      <a:pt x="364522" y="401288"/>
                    </a:lnTo>
                    <a:lnTo>
                      <a:pt x="367951" y="401288"/>
                    </a:lnTo>
                    <a:lnTo>
                      <a:pt x="369570" y="401288"/>
                    </a:lnTo>
                    <a:lnTo>
                      <a:pt x="370427" y="401288"/>
                    </a:lnTo>
                    <a:lnTo>
                      <a:pt x="371284" y="403003"/>
                    </a:lnTo>
                    <a:lnTo>
                      <a:pt x="371284" y="403860"/>
                    </a:lnTo>
                    <a:lnTo>
                      <a:pt x="372142" y="406432"/>
                    </a:lnTo>
                    <a:lnTo>
                      <a:pt x="373856" y="405575"/>
                    </a:lnTo>
                    <a:lnTo>
                      <a:pt x="382238" y="394526"/>
                    </a:lnTo>
                    <a:lnTo>
                      <a:pt x="395764" y="381762"/>
                    </a:lnTo>
                    <a:lnTo>
                      <a:pt x="404241" y="376619"/>
                    </a:lnTo>
                    <a:lnTo>
                      <a:pt x="416052" y="364712"/>
                    </a:lnTo>
                    <a:lnTo>
                      <a:pt x="422815" y="359664"/>
                    </a:lnTo>
                    <a:lnTo>
                      <a:pt x="427863" y="357092"/>
                    </a:lnTo>
                    <a:lnTo>
                      <a:pt x="433768" y="352901"/>
                    </a:lnTo>
                    <a:lnTo>
                      <a:pt x="437959" y="350330"/>
                    </a:lnTo>
                    <a:lnTo>
                      <a:pt x="447199" y="346043"/>
                    </a:lnTo>
                    <a:lnTo>
                      <a:pt x="455676" y="341757"/>
                    </a:lnTo>
                    <a:lnTo>
                      <a:pt x="459867" y="339281"/>
                    </a:lnTo>
                    <a:lnTo>
                      <a:pt x="432911" y="352901"/>
                    </a:lnTo>
                    <a:lnTo>
                      <a:pt x="429482" y="352901"/>
                    </a:lnTo>
                    <a:lnTo>
                      <a:pt x="430339" y="352044"/>
                    </a:lnTo>
                    <a:lnTo>
                      <a:pt x="429482" y="351187"/>
                    </a:lnTo>
                    <a:lnTo>
                      <a:pt x="427863" y="349472"/>
                    </a:lnTo>
                    <a:lnTo>
                      <a:pt x="428720" y="350330"/>
                    </a:lnTo>
                    <a:lnTo>
                      <a:pt x="429482" y="350330"/>
                    </a:lnTo>
                    <a:lnTo>
                      <a:pt x="430339" y="350330"/>
                    </a:lnTo>
                    <a:lnTo>
                      <a:pt x="430339" y="348615"/>
                    </a:lnTo>
                    <a:lnTo>
                      <a:pt x="431197" y="347758"/>
                    </a:lnTo>
                    <a:lnTo>
                      <a:pt x="432054" y="347758"/>
                    </a:lnTo>
                    <a:lnTo>
                      <a:pt x="432911" y="349472"/>
                    </a:lnTo>
                    <a:lnTo>
                      <a:pt x="433768" y="350330"/>
                    </a:lnTo>
                    <a:lnTo>
                      <a:pt x="435388" y="350330"/>
                    </a:lnTo>
                    <a:lnTo>
                      <a:pt x="437102" y="348615"/>
                    </a:lnTo>
                    <a:lnTo>
                      <a:pt x="437959" y="347758"/>
                    </a:lnTo>
                    <a:lnTo>
                      <a:pt x="437959" y="347758"/>
                    </a:lnTo>
                    <a:lnTo>
                      <a:pt x="438817" y="346043"/>
                    </a:lnTo>
                    <a:lnTo>
                      <a:pt x="438817" y="345186"/>
                    </a:lnTo>
                    <a:lnTo>
                      <a:pt x="439674" y="345186"/>
                    </a:lnTo>
                    <a:lnTo>
                      <a:pt x="440531" y="344329"/>
                    </a:lnTo>
                    <a:lnTo>
                      <a:pt x="441293" y="344329"/>
                    </a:lnTo>
                    <a:lnTo>
                      <a:pt x="441293" y="342614"/>
                    </a:lnTo>
                    <a:lnTo>
                      <a:pt x="440531" y="341757"/>
                    </a:lnTo>
                    <a:lnTo>
                      <a:pt x="440531" y="340138"/>
                    </a:lnTo>
                    <a:lnTo>
                      <a:pt x="439674" y="339281"/>
                    </a:lnTo>
                    <a:lnTo>
                      <a:pt x="438817" y="340995"/>
                    </a:lnTo>
                    <a:lnTo>
                      <a:pt x="437959" y="340995"/>
                    </a:lnTo>
                    <a:lnTo>
                      <a:pt x="436245" y="340995"/>
                    </a:lnTo>
                    <a:lnTo>
                      <a:pt x="434626" y="340995"/>
                    </a:lnTo>
                    <a:lnTo>
                      <a:pt x="430339" y="344329"/>
                    </a:lnTo>
                    <a:lnTo>
                      <a:pt x="425291" y="343472"/>
                    </a:lnTo>
                    <a:lnTo>
                      <a:pt x="423577" y="343472"/>
                    </a:lnTo>
                    <a:lnTo>
                      <a:pt x="423577" y="343472"/>
                    </a:lnTo>
                    <a:lnTo>
                      <a:pt x="422815" y="345186"/>
                    </a:lnTo>
                    <a:lnTo>
                      <a:pt x="421957" y="346043"/>
                    </a:lnTo>
                    <a:lnTo>
                      <a:pt x="421957" y="346901"/>
                    </a:lnTo>
                    <a:lnTo>
                      <a:pt x="422815" y="347758"/>
                    </a:lnTo>
                    <a:lnTo>
                      <a:pt x="422815" y="347758"/>
                    </a:lnTo>
                    <a:lnTo>
                      <a:pt x="423577" y="347758"/>
                    </a:lnTo>
                    <a:lnTo>
                      <a:pt x="423577" y="348615"/>
                    </a:lnTo>
                    <a:lnTo>
                      <a:pt x="421957" y="349472"/>
                    </a:lnTo>
                    <a:lnTo>
                      <a:pt x="421100" y="351187"/>
                    </a:lnTo>
                    <a:lnTo>
                      <a:pt x="420243" y="352044"/>
                    </a:lnTo>
                    <a:lnTo>
                      <a:pt x="417671" y="352044"/>
                    </a:lnTo>
                    <a:lnTo>
                      <a:pt x="417671" y="352901"/>
                    </a:lnTo>
                    <a:lnTo>
                      <a:pt x="418528" y="352901"/>
                    </a:lnTo>
                    <a:lnTo>
                      <a:pt x="421957" y="355378"/>
                    </a:lnTo>
                    <a:lnTo>
                      <a:pt x="421100" y="355378"/>
                    </a:lnTo>
                    <a:lnTo>
                      <a:pt x="420243" y="356235"/>
                    </a:lnTo>
                    <a:lnTo>
                      <a:pt x="419386" y="356235"/>
                    </a:lnTo>
                    <a:lnTo>
                      <a:pt x="418528" y="355378"/>
                    </a:lnTo>
                    <a:lnTo>
                      <a:pt x="417671" y="357092"/>
                    </a:lnTo>
                    <a:lnTo>
                      <a:pt x="418528" y="357950"/>
                    </a:lnTo>
                    <a:lnTo>
                      <a:pt x="418528" y="359664"/>
                    </a:lnTo>
                    <a:lnTo>
                      <a:pt x="416909" y="360521"/>
                    </a:lnTo>
                    <a:lnTo>
                      <a:pt x="416052" y="361379"/>
                    </a:lnTo>
                    <a:lnTo>
                      <a:pt x="415195" y="361379"/>
                    </a:lnTo>
                    <a:lnTo>
                      <a:pt x="414338" y="361379"/>
                    </a:lnTo>
                    <a:lnTo>
                      <a:pt x="413480" y="361379"/>
                    </a:lnTo>
                    <a:lnTo>
                      <a:pt x="412623" y="362236"/>
                    </a:lnTo>
                    <a:lnTo>
                      <a:pt x="411766" y="363093"/>
                    </a:lnTo>
                    <a:lnTo>
                      <a:pt x="411766" y="363950"/>
                    </a:lnTo>
                    <a:lnTo>
                      <a:pt x="410146" y="363950"/>
                    </a:lnTo>
                    <a:lnTo>
                      <a:pt x="410909" y="363093"/>
                    </a:lnTo>
                    <a:lnTo>
                      <a:pt x="410909" y="361379"/>
                    </a:lnTo>
                    <a:lnTo>
                      <a:pt x="410909" y="360521"/>
                    </a:lnTo>
                    <a:lnTo>
                      <a:pt x="410146" y="358807"/>
                    </a:lnTo>
                    <a:lnTo>
                      <a:pt x="409289" y="360521"/>
                    </a:lnTo>
                    <a:lnTo>
                      <a:pt x="408432" y="360521"/>
                    </a:lnTo>
                    <a:lnTo>
                      <a:pt x="408432" y="359664"/>
                    </a:lnTo>
                    <a:lnTo>
                      <a:pt x="407575" y="357950"/>
                    </a:lnTo>
                    <a:lnTo>
                      <a:pt x="408432" y="357092"/>
                    </a:lnTo>
                    <a:lnTo>
                      <a:pt x="410146" y="355378"/>
                    </a:lnTo>
                    <a:lnTo>
                      <a:pt x="411766" y="354521"/>
                    </a:lnTo>
                    <a:lnTo>
                      <a:pt x="413480" y="354521"/>
                    </a:lnTo>
                    <a:lnTo>
                      <a:pt x="413480" y="353663"/>
                    </a:lnTo>
                    <a:lnTo>
                      <a:pt x="411766" y="352044"/>
                    </a:lnTo>
                    <a:lnTo>
                      <a:pt x="411766" y="350330"/>
                    </a:lnTo>
                    <a:lnTo>
                      <a:pt x="412623" y="348615"/>
                    </a:lnTo>
                    <a:lnTo>
                      <a:pt x="414338" y="346901"/>
                    </a:lnTo>
                    <a:lnTo>
                      <a:pt x="416052" y="345186"/>
                    </a:lnTo>
                    <a:lnTo>
                      <a:pt x="417671" y="341757"/>
                    </a:lnTo>
                    <a:lnTo>
                      <a:pt x="419386" y="340138"/>
                    </a:lnTo>
                    <a:lnTo>
                      <a:pt x="418528" y="337566"/>
                    </a:lnTo>
                    <a:lnTo>
                      <a:pt x="421100" y="334137"/>
                    </a:lnTo>
                    <a:lnTo>
                      <a:pt x="423577" y="330708"/>
                    </a:lnTo>
                    <a:lnTo>
                      <a:pt x="426148" y="329089"/>
                    </a:lnTo>
                    <a:lnTo>
                      <a:pt x="427006" y="328232"/>
                    </a:lnTo>
                    <a:lnTo>
                      <a:pt x="428720" y="327374"/>
                    </a:lnTo>
                    <a:lnTo>
                      <a:pt x="430339" y="327374"/>
                    </a:lnTo>
                    <a:lnTo>
                      <a:pt x="431197" y="327374"/>
                    </a:lnTo>
                    <a:lnTo>
                      <a:pt x="437959" y="322231"/>
                    </a:lnTo>
                    <a:lnTo>
                      <a:pt x="442150" y="317183"/>
                    </a:lnTo>
                    <a:lnTo>
                      <a:pt x="444722" y="315468"/>
                    </a:lnTo>
                    <a:lnTo>
                      <a:pt x="447199" y="314611"/>
                    </a:lnTo>
                    <a:lnTo>
                      <a:pt x="448913" y="314611"/>
                    </a:lnTo>
                    <a:lnTo>
                      <a:pt x="453104" y="315468"/>
                    </a:lnTo>
                    <a:lnTo>
                      <a:pt x="458248" y="317183"/>
                    </a:lnTo>
                    <a:lnTo>
                      <a:pt x="459010" y="317183"/>
                    </a:lnTo>
                    <a:lnTo>
                      <a:pt x="459010" y="327374"/>
                    </a:lnTo>
                    <a:lnTo>
                      <a:pt x="459010" y="329089"/>
                    </a:lnTo>
                    <a:lnTo>
                      <a:pt x="458248" y="330708"/>
                    </a:lnTo>
                    <a:lnTo>
                      <a:pt x="458248" y="331565"/>
                    </a:lnTo>
                    <a:lnTo>
                      <a:pt x="459010" y="332423"/>
                    </a:lnTo>
                    <a:lnTo>
                      <a:pt x="459867" y="332423"/>
                    </a:lnTo>
                    <a:lnTo>
                      <a:pt x="458248" y="333280"/>
                    </a:lnTo>
                    <a:lnTo>
                      <a:pt x="453104" y="336709"/>
                    </a:lnTo>
                    <a:lnTo>
                      <a:pt x="453104" y="335852"/>
                    </a:lnTo>
                    <a:lnTo>
                      <a:pt x="453961" y="334994"/>
                    </a:lnTo>
                    <a:lnTo>
                      <a:pt x="453961" y="334137"/>
                    </a:lnTo>
                    <a:lnTo>
                      <a:pt x="453961" y="333280"/>
                    </a:lnTo>
                    <a:lnTo>
                      <a:pt x="448913" y="334994"/>
                    </a:lnTo>
                    <a:lnTo>
                      <a:pt x="446437" y="335852"/>
                    </a:lnTo>
                    <a:lnTo>
                      <a:pt x="444722" y="337566"/>
                    </a:lnTo>
                    <a:lnTo>
                      <a:pt x="444722" y="337566"/>
                    </a:lnTo>
                    <a:lnTo>
                      <a:pt x="443865" y="337566"/>
                    </a:lnTo>
                    <a:lnTo>
                      <a:pt x="443008" y="337566"/>
                    </a:lnTo>
                    <a:lnTo>
                      <a:pt x="443008" y="338423"/>
                    </a:lnTo>
                    <a:lnTo>
                      <a:pt x="443865" y="339281"/>
                    </a:lnTo>
                    <a:lnTo>
                      <a:pt x="444722" y="339281"/>
                    </a:lnTo>
                    <a:lnTo>
                      <a:pt x="444722" y="339281"/>
                    </a:lnTo>
                    <a:lnTo>
                      <a:pt x="445580" y="339281"/>
                    </a:lnTo>
                    <a:lnTo>
                      <a:pt x="445580" y="340995"/>
                    </a:lnTo>
                    <a:lnTo>
                      <a:pt x="446437" y="341757"/>
                    </a:lnTo>
                    <a:lnTo>
                      <a:pt x="446437" y="342614"/>
                    </a:lnTo>
                    <a:lnTo>
                      <a:pt x="449771" y="341757"/>
                    </a:lnTo>
                    <a:lnTo>
                      <a:pt x="457390" y="339281"/>
                    </a:lnTo>
                    <a:lnTo>
                      <a:pt x="464153" y="334994"/>
                    </a:lnTo>
                    <a:lnTo>
                      <a:pt x="466630" y="334137"/>
                    </a:lnTo>
                    <a:lnTo>
                      <a:pt x="466630" y="334994"/>
                    </a:lnTo>
                    <a:lnTo>
                      <a:pt x="464915" y="335852"/>
                    </a:lnTo>
                    <a:lnTo>
                      <a:pt x="464915" y="335852"/>
                    </a:lnTo>
                    <a:lnTo>
                      <a:pt x="471678" y="332423"/>
                    </a:lnTo>
                    <a:lnTo>
                      <a:pt x="475107" y="331565"/>
                    </a:lnTo>
                    <a:lnTo>
                      <a:pt x="477584" y="330708"/>
                    </a:lnTo>
                    <a:lnTo>
                      <a:pt x="478441" y="330708"/>
                    </a:lnTo>
                    <a:lnTo>
                      <a:pt x="481870" y="330708"/>
                    </a:lnTo>
                    <a:lnTo>
                      <a:pt x="483489" y="330708"/>
                    </a:lnTo>
                    <a:lnTo>
                      <a:pt x="485203" y="329089"/>
                    </a:lnTo>
                    <a:lnTo>
                      <a:pt x="489394" y="326517"/>
                    </a:lnTo>
                    <a:lnTo>
                      <a:pt x="494538" y="325660"/>
                    </a:lnTo>
                    <a:lnTo>
                      <a:pt x="507968" y="322231"/>
                    </a:lnTo>
                    <a:lnTo>
                      <a:pt x="509683" y="321374"/>
                    </a:lnTo>
                    <a:lnTo>
                      <a:pt x="510540" y="321374"/>
                    </a:lnTo>
                    <a:lnTo>
                      <a:pt x="511397" y="319659"/>
                    </a:lnTo>
                    <a:lnTo>
                      <a:pt x="513017" y="319659"/>
                    </a:lnTo>
                    <a:lnTo>
                      <a:pt x="513874" y="320516"/>
                    </a:lnTo>
                    <a:lnTo>
                      <a:pt x="514731" y="321374"/>
                    </a:lnTo>
                    <a:lnTo>
                      <a:pt x="516446" y="321374"/>
                    </a:lnTo>
                    <a:lnTo>
                      <a:pt x="518922" y="319659"/>
                    </a:lnTo>
                    <a:lnTo>
                      <a:pt x="535876" y="313754"/>
                    </a:lnTo>
                    <a:lnTo>
                      <a:pt x="547688" y="306896"/>
                    </a:lnTo>
                    <a:lnTo>
                      <a:pt x="545973" y="306134"/>
                    </a:lnTo>
                    <a:lnTo>
                      <a:pt x="544259" y="305276"/>
                    </a:lnTo>
                    <a:lnTo>
                      <a:pt x="542639" y="304419"/>
                    </a:lnTo>
                    <a:lnTo>
                      <a:pt x="540925" y="304419"/>
                    </a:lnTo>
                    <a:lnTo>
                      <a:pt x="540068" y="303562"/>
                    </a:lnTo>
                    <a:lnTo>
                      <a:pt x="540068" y="302705"/>
                    </a:lnTo>
                    <a:lnTo>
                      <a:pt x="539210" y="301847"/>
                    </a:lnTo>
                    <a:lnTo>
                      <a:pt x="539210" y="301847"/>
                    </a:lnTo>
                    <a:lnTo>
                      <a:pt x="539210" y="300990"/>
                    </a:lnTo>
                    <a:lnTo>
                      <a:pt x="538353" y="300133"/>
                    </a:lnTo>
                    <a:lnTo>
                      <a:pt x="538353" y="300133"/>
                    </a:lnTo>
                    <a:lnTo>
                      <a:pt x="537496" y="299276"/>
                    </a:lnTo>
                    <a:lnTo>
                      <a:pt x="536734" y="300133"/>
                    </a:lnTo>
                    <a:lnTo>
                      <a:pt x="535876" y="300133"/>
                    </a:lnTo>
                    <a:lnTo>
                      <a:pt x="531590" y="298418"/>
                    </a:lnTo>
                    <a:lnTo>
                      <a:pt x="529971" y="297561"/>
                    </a:lnTo>
                    <a:lnTo>
                      <a:pt x="527399" y="295847"/>
                    </a:lnTo>
                    <a:lnTo>
                      <a:pt x="524923" y="294227"/>
                    </a:lnTo>
                    <a:lnTo>
                      <a:pt x="524065" y="293370"/>
                    </a:lnTo>
                    <a:lnTo>
                      <a:pt x="523208" y="292513"/>
                    </a:lnTo>
                    <a:lnTo>
                      <a:pt x="522351" y="288227"/>
                    </a:lnTo>
                    <a:lnTo>
                      <a:pt x="523208" y="286512"/>
                    </a:lnTo>
                    <a:lnTo>
                      <a:pt x="524065" y="286512"/>
                    </a:lnTo>
                    <a:lnTo>
                      <a:pt x="524065" y="287369"/>
                    </a:lnTo>
                    <a:lnTo>
                      <a:pt x="524923" y="289941"/>
                    </a:lnTo>
                    <a:lnTo>
                      <a:pt x="525685" y="290798"/>
                    </a:lnTo>
                    <a:lnTo>
                      <a:pt x="528256" y="293370"/>
                    </a:lnTo>
                    <a:lnTo>
                      <a:pt x="528256" y="293370"/>
                    </a:lnTo>
                    <a:lnTo>
                      <a:pt x="529114" y="295085"/>
                    </a:lnTo>
                    <a:lnTo>
                      <a:pt x="531590" y="295085"/>
                    </a:lnTo>
                    <a:lnTo>
                      <a:pt x="536734" y="295085"/>
                    </a:lnTo>
                    <a:lnTo>
                      <a:pt x="544259" y="301847"/>
                    </a:lnTo>
                    <a:lnTo>
                      <a:pt x="550164" y="305276"/>
                    </a:lnTo>
                    <a:lnTo>
                      <a:pt x="553593" y="302705"/>
                    </a:lnTo>
                    <a:lnTo>
                      <a:pt x="551878" y="302705"/>
                    </a:lnTo>
                    <a:lnTo>
                      <a:pt x="551021" y="302705"/>
                    </a:lnTo>
                    <a:lnTo>
                      <a:pt x="550164" y="301847"/>
                    </a:lnTo>
                    <a:lnTo>
                      <a:pt x="549307" y="300133"/>
                    </a:lnTo>
                    <a:lnTo>
                      <a:pt x="551878" y="298418"/>
                    </a:lnTo>
                    <a:lnTo>
                      <a:pt x="557784" y="291656"/>
                    </a:lnTo>
                    <a:lnTo>
                      <a:pt x="557784" y="289941"/>
                    </a:lnTo>
                    <a:lnTo>
                      <a:pt x="559498" y="287369"/>
                    </a:lnTo>
                    <a:lnTo>
                      <a:pt x="560356" y="282321"/>
                    </a:lnTo>
                    <a:lnTo>
                      <a:pt x="561118" y="281464"/>
                    </a:lnTo>
                    <a:lnTo>
                      <a:pt x="562832" y="279749"/>
                    </a:lnTo>
                    <a:lnTo>
                      <a:pt x="565404" y="278892"/>
                    </a:lnTo>
                    <a:lnTo>
                      <a:pt x="570452" y="277178"/>
                    </a:lnTo>
                    <a:lnTo>
                      <a:pt x="575501" y="275463"/>
                    </a:lnTo>
                    <a:lnTo>
                      <a:pt x="585597" y="269558"/>
                    </a:lnTo>
                    <a:lnTo>
                      <a:pt x="589883" y="266129"/>
                    </a:lnTo>
                    <a:lnTo>
                      <a:pt x="585597" y="268700"/>
                    </a:lnTo>
                    <a:lnTo>
                      <a:pt x="583978" y="269558"/>
                    </a:lnTo>
                    <a:lnTo>
                      <a:pt x="583121" y="268700"/>
                    </a:lnTo>
                    <a:lnTo>
                      <a:pt x="583978" y="266986"/>
                    </a:lnTo>
                    <a:lnTo>
                      <a:pt x="585597" y="266129"/>
                    </a:lnTo>
                    <a:lnTo>
                      <a:pt x="587311" y="264414"/>
                    </a:lnTo>
                    <a:lnTo>
                      <a:pt x="589026" y="264414"/>
                    </a:lnTo>
                    <a:lnTo>
                      <a:pt x="590740" y="262700"/>
                    </a:lnTo>
                    <a:lnTo>
                      <a:pt x="594074" y="258509"/>
                    </a:lnTo>
                    <a:lnTo>
                      <a:pt x="595789" y="254222"/>
                    </a:lnTo>
                    <a:lnTo>
                      <a:pt x="594074" y="251651"/>
                    </a:lnTo>
                    <a:lnTo>
                      <a:pt x="593217" y="254222"/>
                    </a:lnTo>
                    <a:lnTo>
                      <a:pt x="593217" y="255937"/>
                    </a:lnTo>
                    <a:lnTo>
                      <a:pt x="593217" y="256794"/>
                    </a:lnTo>
                    <a:lnTo>
                      <a:pt x="591502" y="255937"/>
                    </a:lnTo>
                    <a:lnTo>
                      <a:pt x="589883" y="256794"/>
                    </a:lnTo>
                    <a:lnTo>
                      <a:pt x="588169" y="258509"/>
                    </a:lnTo>
                    <a:lnTo>
                      <a:pt x="585597" y="259366"/>
                    </a:lnTo>
                    <a:lnTo>
                      <a:pt x="585597" y="251651"/>
                    </a:lnTo>
                    <a:lnTo>
                      <a:pt x="587311" y="248317"/>
                    </a:lnTo>
                    <a:lnTo>
                      <a:pt x="589026" y="245745"/>
                    </a:lnTo>
                    <a:lnTo>
                      <a:pt x="591502" y="243173"/>
                    </a:lnTo>
                    <a:lnTo>
                      <a:pt x="607600" y="229553"/>
                    </a:lnTo>
                    <a:lnTo>
                      <a:pt x="613505" y="227838"/>
                    </a:lnTo>
                    <a:lnTo>
                      <a:pt x="616839" y="225362"/>
                    </a:lnTo>
                    <a:lnTo>
                      <a:pt x="619411" y="222790"/>
                    </a:lnTo>
                    <a:lnTo>
                      <a:pt x="621030" y="221075"/>
                    </a:lnTo>
                    <a:lnTo>
                      <a:pt x="620268" y="221933"/>
                    </a:lnTo>
                    <a:lnTo>
                      <a:pt x="618553" y="222790"/>
                    </a:lnTo>
                    <a:lnTo>
                      <a:pt x="615982" y="223647"/>
                    </a:lnTo>
                    <a:lnTo>
                      <a:pt x="615125" y="222790"/>
                    </a:lnTo>
                    <a:lnTo>
                      <a:pt x="615125" y="222790"/>
                    </a:lnTo>
                    <a:lnTo>
                      <a:pt x="614363" y="221933"/>
                    </a:lnTo>
                    <a:lnTo>
                      <a:pt x="613505" y="222790"/>
                    </a:lnTo>
                    <a:lnTo>
                      <a:pt x="612648" y="221933"/>
                    </a:lnTo>
                    <a:lnTo>
                      <a:pt x="611791" y="221075"/>
                    </a:lnTo>
                    <a:lnTo>
                      <a:pt x="610934" y="221075"/>
                    </a:lnTo>
                    <a:lnTo>
                      <a:pt x="610076" y="221075"/>
                    </a:lnTo>
                    <a:lnTo>
                      <a:pt x="610934" y="219361"/>
                    </a:lnTo>
                    <a:lnTo>
                      <a:pt x="611791" y="219361"/>
                    </a:lnTo>
                    <a:lnTo>
                      <a:pt x="613505" y="219361"/>
                    </a:lnTo>
                    <a:lnTo>
                      <a:pt x="615125" y="220218"/>
                    </a:lnTo>
                    <a:lnTo>
                      <a:pt x="615982" y="219361"/>
                    </a:lnTo>
                    <a:lnTo>
                      <a:pt x="616839" y="218504"/>
                    </a:lnTo>
                    <a:lnTo>
                      <a:pt x="615982" y="217646"/>
                    </a:lnTo>
                    <a:lnTo>
                      <a:pt x="615982" y="215932"/>
                    </a:lnTo>
                    <a:lnTo>
                      <a:pt x="615125" y="214313"/>
                    </a:lnTo>
                    <a:lnTo>
                      <a:pt x="614363" y="214313"/>
                    </a:lnTo>
                    <a:lnTo>
                      <a:pt x="611791" y="214313"/>
                    </a:lnTo>
                    <a:lnTo>
                      <a:pt x="606743" y="214313"/>
                    </a:lnTo>
                    <a:lnTo>
                      <a:pt x="604171" y="212598"/>
                    </a:lnTo>
                    <a:lnTo>
                      <a:pt x="603313" y="210884"/>
                    </a:lnTo>
                    <a:lnTo>
                      <a:pt x="606743" y="210026"/>
                    </a:lnTo>
                    <a:lnTo>
                      <a:pt x="609219" y="210026"/>
                    </a:lnTo>
                    <a:lnTo>
                      <a:pt x="610934" y="210884"/>
                    </a:lnTo>
                    <a:lnTo>
                      <a:pt x="612648" y="208312"/>
                    </a:lnTo>
                    <a:lnTo>
                      <a:pt x="610934" y="203168"/>
                    </a:lnTo>
                    <a:lnTo>
                      <a:pt x="599122" y="176022"/>
                    </a:lnTo>
                    <a:lnTo>
                      <a:pt x="598265" y="164973"/>
                    </a:lnTo>
                    <a:lnTo>
                      <a:pt x="601694" y="154781"/>
                    </a:lnTo>
                    <a:lnTo>
                      <a:pt x="607600" y="146209"/>
                    </a:lnTo>
                    <a:lnTo>
                      <a:pt x="623602" y="129254"/>
                    </a:lnTo>
                    <a:lnTo>
                      <a:pt x="628650" y="124968"/>
                    </a:lnTo>
                    <a:lnTo>
                      <a:pt x="638842" y="119920"/>
                    </a:lnTo>
                    <a:lnTo>
                      <a:pt x="639604" y="119920"/>
                    </a:lnTo>
                    <a:lnTo>
                      <a:pt x="642176" y="119920"/>
                    </a:lnTo>
                    <a:lnTo>
                      <a:pt x="643890" y="119063"/>
                    </a:lnTo>
                    <a:lnTo>
                      <a:pt x="644747" y="119063"/>
                    </a:lnTo>
                    <a:lnTo>
                      <a:pt x="648938" y="119920"/>
                    </a:lnTo>
                    <a:lnTo>
                      <a:pt x="653986" y="118205"/>
                    </a:lnTo>
                    <a:lnTo>
                      <a:pt x="660749" y="115634"/>
                    </a:lnTo>
                    <a:lnTo>
                      <a:pt x="667512" y="113062"/>
                    </a:lnTo>
                    <a:lnTo>
                      <a:pt x="669131" y="112205"/>
                    </a:lnTo>
                    <a:lnTo>
                      <a:pt x="667512" y="110585"/>
                    </a:lnTo>
                    <a:lnTo>
                      <a:pt x="667512" y="110585"/>
                    </a:lnTo>
                    <a:close/>
                  </a:path>
                </a:pathLst>
              </a:custGeom>
              <a:solidFill>
                <a:srgbClr val="00A039"/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34" name="Freeform: Shape 138">
                <a:extLst>
                  <a:ext uri="{FF2B5EF4-FFF2-40B4-BE49-F238E27FC236}">
                    <a16:creationId xmlns:a16="http://schemas.microsoft.com/office/drawing/2014/main" id="{C5A5884B-83F5-4CED-A5B4-3BBE65D915D1}"/>
                  </a:ext>
                </a:extLst>
              </p:cNvPr>
              <p:cNvSpPr/>
              <p:nvPr/>
            </p:nvSpPr>
            <p:spPr>
              <a:xfrm>
                <a:off x="7262526" y="2900839"/>
                <a:ext cx="209550" cy="219075"/>
              </a:xfrm>
              <a:custGeom>
                <a:avLst/>
                <a:gdLst>
                  <a:gd name="connsiteX0" fmla="*/ 212884 w 209550"/>
                  <a:gd name="connsiteY0" fmla="*/ 42863 h 219075"/>
                  <a:gd name="connsiteX1" fmla="*/ 210312 w 209550"/>
                  <a:gd name="connsiteY1" fmla="*/ 37814 h 219075"/>
                  <a:gd name="connsiteX2" fmla="*/ 210312 w 209550"/>
                  <a:gd name="connsiteY2" fmla="*/ 36957 h 219075"/>
                  <a:gd name="connsiteX3" fmla="*/ 210312 w 209550"/>
                  <a:gd name="connsiteY3" fmla="*/ 35338 h 219075"/>
                  <a:gd name="connsiteX4" fmla="*/ 210312 w 209550"/>
                  <a:gd name="connsiteY4" fmla="*/ 33623 h 219075"/>
                  <a:gd name="connsiteX5" fmla="*/ 211169 w 209550"/>
                  <a:gd name="connsiteY5" fmla="*/ 29432 h 219075"/>
                  <a:gd name="connsiteX6" fmla="*/ 211169 w 209550"/>
                  <a:gd name="connsiteY6" fmla="*/ 28575 h 219075"/>
                  <a:gd name="connsiteX7" fmla="*/ 210312 w 209550"/>
                  <a:gd name="connsiteY7" fmla="*/ 27718 h 219075"/>
                  <a:gd name="connsiteX8" fmla="*/ 208597 w 209550"/>
                  <a:gd name="connsiteY8" fmla="*/ 26098 h 219075"/>
                  <a:gd name="connsiteX9" fmla="*/ 207740 w 209550"/>
                  <a:gd name="connsiteY9" fmla="*/ 24384 h 219075"/>
                  <a:gd name="connsiteX10" fmla="*/ 207740 w 209550"/>
                  <a:gd name="connsiteY10" fmla="*/ 23527 h 219075"/>
                  <a:gd name="connsiteX11" fmla="*/ 207740 w 209550"/>
                  <a:gd name="connsiteY11" fmla="*/ 21050 h 219075"/>
                  <a:gd name="connsiteX12" fmla="*/ 207740 w 209550"/>
                  <a:gd name="connsiteY12" fmla="*/ 20193 h 219075"/>
                  <a:gd name="connsiteX13" fmla="*/ 208597 w 209550"/>
                  <a:gd name="connsiteY13" fmla="*/ 19336 h 219075"/>
                  <a:gd name="connsiteX14" fmla="*/ 209455 w 209550"/>
                  <a:gd name="connsiteY14" fmla="*/ 19336 h 219075"/>
                  <a:gd name="connsiteX15" fmla="*/ 209455 w 209550"/>
                  <a:gd name="connsiteY15" fmla="*/ 18479 h 219075"/>
                  <a:gd name="connsiteX16" fmla="*/ 210312 w 209550"/>
                  <a:gd name="connsiteY16" fmla="*/ 17621 h 219075"/>
                  <a:gd name="connsiteX17" fmla="*/ 211169 w 209550"/>
                  <a:gd name="connsiteY17" fmla="*/ 16859 h 219075"/>
                  <a:gd name="connsiteX18" fmla="*/ 211169 w 209550"/>
                  <a:gd name="connsiteY18" fmla="*/ 15145 h 219075"/>
                  <a:gd name="connsiteX19" fmla="*/ 211169 w 209550"/>
                  <a:gd name="connsiteY19" fmla="*/ 10096 h 219075"/>
                  <a:gd name="connsiteX20" fmla="*/ 211169 w 209550"/>
                  <a:gd name="connsiteY20" fmla="*/ 8382 h 219075"/>
                  <a:gd name="connsiteX21" fmla="*/ 210312 w 209550"/>
                  <a:gd name="connsiteY21" fmla="*/ 6763 h 219075"/>
                  <a:gd name="connsiteX22" fmla="*/ 208597 w 209550"/>
                  <a:gd name="connsiteY22" fmla="*/ 5048 h 219075"/>
                  <a:gd name="connsiteX23" fmla="*/ 207740 w 209550"/>
                  <a:gd name="connsiteY23" fmla="*/ 5048 h 219075"/>
                  <a:gd name="connsiteX24" fmla="*/ 206883 w 209550"/>
                  <a:gd name="connsiteY24" fmla="*/ 4191 h 219075"/>
                  <a:gd name="connsiteX25" fmla="*/ 205169 w 209550"/>
                  <a:gd name="connsiteY25" fmla="*/ 3334 h 219075"/>
                  <a:gd name="connsiteX26" fmla="*/ 205169 w 209550"/>
                  <a:gd name="connsiteY26" fmla="*/ 0 h 219075"/>
                  <a:gd name="connsiteX27" fmla="*/ 204311 w 209550"/>
                  <a:gd name="connsiteY27" fmla="*/ 857 h 219075"/>
                  <a:gd name="connsiteX28" fmla="*/ 203454 w 209550"/>
                  <a:gd name="connsiteY28" fmla="*/ 2572 h 219075"/>
                  <a:gd name="connsiteX29" fmla="*/ 202692 w 209550"/>
                  <a:gd name="connsiteY29" fmla="*/ 3334 h 219075"/>
                  <a:gd name="connsiteX30" fmla="*/ 201835 w 209550"/>
                  <a:gd name="connsiteY30" fmla="*/ 4191 h 219075"/>
                  <a:gd name="connsiteX31" fmla="*/ 201835 w 209550"/>
                  <a:gd name="connsiteY31" fmla="*/ 4191 h 219075"/>
                  <a:gd name="connsiteX32" fmla="*/ 201835 w 209550"/>
                  <a:gd name="connsiteY32" fmla="*/ 4191 h 219075"/>
                  <a:gd name="connsiteX33" fmla="*/ 188976 w 209550"/>
                  <a:gd name="connsiteY33" fmla="*/ 11811 h 219075"/>
                  <a:gd name="connsiteX34" fmla="*/ 187262 w 209550"/>
                  <a:gd name="connsiteY34" fmla="*/ 12573 h 219075"/>
                  <a:gd name="connsiteX35" fmla="*/ 185547 w 209550"/>
                  <a:gd name="connsiteY35" fmla="*/ 13430 h 219075"/>
                  <a:gd name="connsiteX36" fmla="*/ 182975 w 209550"/>
                  <a:gd name="connsiteY36" fmla="*/ 13430 h 219075"/>
                  <a:gd name="connsiteX37" fmla="*/ 181261 w 209550"/>
                  <a:gd name="connsiteY37" fmla="*/ 12573 h 219075"/>
                  <a:gd name="connsiteX38" fmla="*/ 180404 w 209550"/>
                  <a:gd name="connsiteY38" fmla="*/ 12573 h 219075"/>
                  <a:gd name="connsiteX39" fmla="*/ 177832 w 209550"/>
                  <a:gd name="connsiteY39" fmla="*/ 10096 h 219075"/>
                  <a:gd name="connsiteX40" fmla="*/ 176974 w 209550"/>
                  <a:gd name="connsiteY40" fmla="*/ 10096 h 219075"/>
                  <a:gd name="connsiteX41" fmla="*/ 176117 w 209550"/>
                  <a:gd name="connsiteY41" fmla="*/ 10096 h 219075"/>
                  <a:gd name="connsiteX42" fmla="*/ 175260 w 209550"/>
                  <a:gd name="connsiteY42" fmla="*/ 10096 h 219075"/>
                  <a:gd name="connsiteX43" fmla="*/ 174403 w 209550"/>
                  <a:gd name="connsiteY43" fmla="*/ 11811 h 219075"/>
                  <a:gd name="connsiteX44" fmla="*/ 170974 w 209550"/>
                  <a:gd name="connsiteY44" fmla="*/ 14288 h 219075"/>
                  <a:gd name="connsiteX45" fmla="*/ 170116 w 209550"/>
                  <a:gd name="connsiteY45" fmla="*/ 16002 h 219075"/>
                  <a:gd name="connsiteX46" fmla="*/ 166688 w 209550"/>
                  <a:gd name="connsiteY46" fmla="*/ 21050 h 219075"/>
                  <a:gd name="connsiteX47" fmla="*/ 163354 w 209550"/>
                  <a:gd name="connsiteY47" fmla="*/ 26860 h 219075"/>
                  <a:gd name="connsiteX48" fmla="*/ 159068 w 209550"/>
                  <a:gd name="connsiteY48" fmla="*/ 30289 h 219075"/>
                  <a:gd name="connsiteX49" fmla="*/ 150495 w 209550"/>
                  <a:gd name="connsiteY49" fmla="*/ 35338 h 219075"/>
                  <a:gd name="connsiteX50" fmla="*/ 148780 w 209550"/>
                  <a:gd name="connsiteY50" fmla="*/ 36957 h 219075"/>
                  <a:gd name="connsiteX51" fmla="*/ 139351 w 209550"/>
                  <a:gd name="connsiteY51" fmla="*/ 40386 h 219075"/>
                  <a:gd name="connsiteX52" fmla="*/ 135922 w 209550"/>
                  <a:gd name="connsiteY52" fmla="*/ 40386 h 219075"/>
                  <a:gd name="connsiteX53" fmla="*/ 135064 w 209550"/>
                  <a:gd name="connsiteY53" fmla="*/ 40386 h 219075"/>
                  <a:gd name="connsiteX54" fmla="*/ 134207 w 209550"/>
                  <a:gd name="connsiteY54" fmla="*/ 41148 h 219075"/>
                  <a:gd name="connsiteX55" fmla="*/ 133350 w 209550"/>
                  <a:gd name="connsiteY55" fmla="*/ 42005 h 219075"/>
                  <a:gd name="connsiteX56" fmla="*/ 131636 w 209550"/>
                  <a:gd name="connsiteY56" fmla="*/ 42863 h 219075"/>
                  <a:gd name="connsiteX57" fmla="*/ 130778 w 209550"/>
                  <a:gd name="connsiteY57" fmla="*/ 43720 h 219075"/>
                  <a:gd name="connsiteX58" fmla="*/ 129064 w 209550"/>
                  <a:gd name="connsiteY58" fmla="*/ 43720 h 219075"/>
                  <a:gd name="connsiteX59" fmla="*/ 128206 w 209550"/>
                  <a:gd name="connsiteY59" fmla="*/ 43720 h 219075"/>
                  <a:gd name="connsiteX60" fmla="*/ 127349 w 209550"/>
                  <a:gd name="connsiteY60" fmla="*/ 43720 h 219075"/>
                  <a:gd name="connsiteX61" fmla="*/ 126587 w 209550"/>
                  <a:gd name="connsiteY61" fmla="*/ 45434 h 219075"/>
                  <a:gd name="connsiteX62" fmla="*/ 124873 w 209550"/>
                  <a:gd name="connsiteY62" fmla="*/ 47054 h 219075"/>
                  <a:gd name="connsiteX63" fmla="*/ 121444 w 209550"/>
                  <a:gd name="connsiteY63" fmla="*/ 50387 h 219075"/>
                  <a:gd name="connsiteX64" fmla="*/ 121444 w 209550"/>
                  <a:gd name="connsiteY64" fmla="*/ 52102 h 219075"/>
                  <a:gd name="connsiteX65" fmla="*/ 121444 w 209550"/>
                  <a:gd name="connsiteY65" fmla="*/ 53816 h 219075"/>
                  <a:gd name="connsiteX66" fmla="*/ 121444 w 209550"/>
                  <a:gd name="connsiteY66" fmla="*/ 54673 h 219075"/>
                  <a:gd name="connsiteX67" fmla="*/ 120587 w 209550"/>
                  <a:gd name="connsiteY67" fmla="*/ 57150 h 219075"/>
                  <a:gd name="connsiteX68" fmla="*/ 118015 w 209550"/>
                  <a:gd name="connsiteY68" fmla="*/ 60484 h 219075"/>
                  <a:gd name="connsiteX69" fmla="*/ 117157 w 209550"/>
                  <a:gd name="connsiteY69" fmla="*/ 62198 h 219075"/>
                  <a:gd name="connsiteX70" fmla="*/ 115443 w 209550"/>
                  <a:gd name="connsiteY70" fmla="*/ 63055 h 219075"/>
                  <a:gd name="connsiteX71" fmla="*/ 113729 w 209550"/>
                  <a:gd name="connsiteY71" fmla="*/ 65532 h 219075"/>
                  <a:gd name="connsiteX72" fmla="*/ 112871 w 209550"/>
                  <a:gd name="connsiteY72" fmla="*/ 66389 h 219075"/>
                  <a:gd name="connsiteX73" fmla="*/ 110299 w 209550"/>
                  <a:gd name="connsiteY73" fmla="*/ 67246 h 219075"/>
                  <a:gd name="connsiteX74" fmla="*/ 109442 w 209550"/>
                  <a:gd name="connsiteY74" fmla="*/ 67246 h 219075"/>
                  <a:gd name="connsiteX75" fmla="*/ 108585 w 209550"/>
                  <a:gd name="connsiteY75" fmla="*/ 66389 h 219075"/>
                  <a:gd name="connsiteX76" fmla="*/ 107728 w 209550"/>
                  <a:gd name="connsiteY76" fmla="*/ 66389 h 219075"/>
                  <a:gd name="connsiteX77" fmla="*/ 106871 w 209550"/>
                  <a:gd name="connsiteY77" fmla="*/ 64675 h 219075"/>
                  <a:gd name="connsiteX78" fmla="*/ 106871 w 209550"/>
                  <a:gd name="connsiteY78" fmla="*/ 64675 h 219075"/>
                  <a:gd name="connsiteX79" fmla="*/ 106871 w 209550"/>
                  <a:gd name="connsiteY79" fmla="*/ 64675 h 219075"/>
                  <a:gd name="connsiteX80" fmla="*/ 106871 w 209550"/>
                  <a:gd name="connsiteY80" fmla="*/ 61341 h 219075"/>
                  <a:gd name="connsiteX81" fmla="*/ 106013 w 209550"/>
                  <a:gd name="connsiteY81" fmla="*/ 59722 h 219075"/>
                  <a:gd name="connsiteX82" fmla="*/ 104299 w 209550"/>
                  <a:gd name="connsiteY82" fmla="*/ 58007 h 219075"/>
                  <a:gd name="connsiteX83" fmla="*/ 101727 w 209550"/>
                  <a:gd name="connsiteY83" fmla="*/ 62198 h 219075"/>
                  <a:gd name="connsiteX84" fmla="*/ 96583 w 209550"/>
                  <a:gd name="connsiteY84" fmla="*/ 67246 h 219075"/>
                  <a:gd name="connsiteX85" fmla="*/ 95726 w 209550"/>
                  <a:gd name="connsiteY85" fmla="*/ 68961 h 219075"/>
                  <a:gd name="connsiteX86" fmla="*/ 94869 w 209550"/>
                  <a:gd name="connsiteY86" fmla="*/ 71438 h 219075"/>
                  <a:gd name="connsiteX87" fmla="*/ 94012 w 209550"/>
                  <a:gd name="connsiteY87" fmla="*/ 77343 h 219075"/>
                  <a:gd name="connsiteX88" fmla="*/ 94012 w 209550"/>
                  <a:gd name="connsiteY88" fmla="*/ 80677 h 219075"/>
                  <a:gd name="connsiteX89" fmla="*/ 93154 w 209550"/>
                  <a:gd name="connsiteY89" fmla="*/ 81534 h 219075"/>
                  <a:gd name="connsiteX90" fmla="*/ 92297 w 209550"/>
                  <a:gd name="connsiteY90" fmla="*/ 83248 h 219075"/>
                  <a:gd name="connsiteX91" fmla="*/ 88963 w 209550"/>
                  <a:gd name="connsiteY91" fmla="*/ 84868 h 219075"/>
                  <a:gd name="connsiteX92" fmla="*/ 85535 w 209550"/>
                  <a:gd name="connsiteY92" fmla="*/ 89059 h 219075"/>
                  <a:gd name="connsiteX93" fmla="*/ 75247 w 209550"/>
                  <a:gd name="connsiteY93" fmla="*/ 103346 h 219075"/>
                  <a:gd name="connsiteX94" fmla="*/ 74390 w 209550"/>
                  <a:gd name="connsiteY94" fmla="*/ 105061 h 219075"/>
                  <a:gd name="connsiteX95" fmla="*/ 74390 w 209550"/>
                  <a:gd name="connsiteY95" fmla="*/ 105918 h 219075"/>
                  <a:gd name="connsiteX96" fmla="*/ 75247 w 209550"/>
                  <a:gd name="connsiteY96" fmla="*/ 108394 h 219075"/>
                  <a:gd name="connsiteX97" fmla="*/ 75247 w 209550"/>
                  <a:gd name="connsiteY97" fmla="*/ 110109 h 219075"/>
                  <a:gd name="connsiteX98" fmla="*/ 74390 w 209550"/>
                  <a:gd name="connsiteY98" fmla="*/ 116014 h 219075"/>
                  <a:gd name="connsiteX99" fmla="*/ 73533 w 209550"/>
                  <a:gd name="connsiteY99" fmla="*/ 117634 h 219075"/>
                  <a:gd name="connsiteX100" fmla="*/ 73533 w 209550"/>
                  <a:gd name="connsiteY100" fmla="*/ 118491 h 219075"/>
                  <a:gd name="connsiteX101" fmla="*/ 71819 w 209550"/>
                  <a:gd name="connsiteY101" fmla="*/ 119348 h 219075"/>
                  <a:gd name="connsiteX102" fmla="*/ 70961 w 209550"/>
                  <a:gd name="connsiteY102" fmla="*/ 121063 h 219075"/>
                  <a:gd name="connsiteX103" fmla="*/ 70961 w 209550"/>
                  <a:gd name="connsiteY103" fmla="*/ 122682 h 219075"/>
                  <a:gd name="connsiteX104" fmla="*/ 70961 w 209550"/>
                  <a:gd name="connsiteY104" fmla="*/ 126016 h 219075"/>
                  <a:gd name="connsiteX105" fmla="*/ 70961 w 209550"/>
                  <a:gd name="connsiteY105" fmla="*/ 126016 h 219075"/>
                  <a:gd name="connsiteX106" fmla="*/ 70961 w 209550"/>
                  <a:gd name="connsiteY106" fmla="*/ 127730 h 219075"/>
                  <a:gd name="connsiteX107" fmla="*/ 70961 w 209550"/>
                  <a:gd name="connsiteY107" fmla="*/ 128588 h 219075"/>
                  <a:gd name="connsiteX108" fmla="*/ 71819 w 209550"/>
                  <a:gd name="connsiteY108" fmla="*/ 129445 h 219075"/>
                  <a:gd name="connsiteX109" fmla="*/ 72676 w 209550"/>
                  <a:gd name="connsiteY109" fmla="*/ 131921 h 219075"/>
                  <a:gd name="connsiteX110" fmla="*/ 72676 w 209550"/>
                  <a:gd name="connsiteY110" fmla="*/ 132779 h 219075"/>
                  <a:gd name="connsiteX111" fmla="*/ 71819 w 209550"/>
                  <a:gd name="connsiteY111" fmla="*/ 134493 h 219075"/>
                  <a:gd name="connsiteX112" fmla="*/ 70961 w 209550"/>
                  <a:gd name="connsiteY112" fmla="*/ 135350 h 219075"/>
                  <a:gd name="connsiteX113" fmla="*/ 68389 w 209550"/>
                  <a:gd name="connsiteY113" fmla="*/ 139541 h 219075"/>
                  <a:gd name="connsiteX114" fmla="*/ 66675 w 209550"/>
                  <a:gd name="connsiteY114" fmla="*/ 141160 h 219075"/>
                  <a:gd name="connsiteX115" fmla="*/ 63246 w 209550"/>
                  <a:gd name="connsiteY115" fmla="*/ 142875 h 219075"/>
                  <a:gd name="connsiteX116" fmla="*/ 61531 w 209550"/>
                  <a:gd name="connsiteY116" fmla="*/ 143732 h 219075"/>
                  <a:gd name="connsiteX117" fmla="*/ 55531 w 209550"/>
                  <a:gd name="connsiteY117" fmla="*/ 144589 h 219075"/>
                  <a:gd name="connsiteX118" fmla="*/ 52102 w 209550"/>
                  <a:gd name="connsiteY118" fmla="*/ 146209 h 219075"/>
                  <a:gd name="connsiteX119" fmla="*/ 50482 w 209550"/>
                  <a:gd name="connsiteY119" fmla="*/ 146209 h 219075"/>
                  <a:gd name="connsiteX120" fmla="*/ 49625 w 209550"/>
                  <a:gd name="connsiteY120" fmla="*/ 146209 h 219075"/>
                  <a:gd name="connsiteX121" fmla="*/ 48768 w 209550"/>
                  <a:gd name="connsiteY121" fmla="*/ 146209 h 219075"/>
                  <a:gd name="connsiteX122" fmla="*/ 48768 w 209550"/>
                  <a:gd name="connsiteY122" fmla="*/ 145351 h 219075"/>
                  <a:gd name="connsiteX123" fmla="*/ 48768 w 209550"/>
                  <a:gd name="connsiteY123" fmla="*/ 144589 h 219075"/>
                  <a:gd name="connsiteX124" fmla="*/ 49625 w 209550"/>
                  <a:gd name="connsiteY124" fmla="*/ 142875 h 219075"/>
                  <a:gd name="connsiteX125" fmla="*/ 51245 w 209550"/>
                  <a:gd name="connsiteY125" fmla="*/ 141160 h 219075"/>
                  <a:gd name="connsiteX126" fmla="*/ 52102 w 209550"/>
                  <a:gd name="connsiteY126" fmla="*/ 140303 h 219075"/>
                  <a:gd name="connsiteX127" fmla="*/ 52102 w 209550"/>
                  <a:gd name="connsiteY127" fmla="*/ 138684 h 219075"/>
                  <a:gd name="connsiteX128" fmla="*/ 52959 w 209550"/>
                  <a:gd name="connsiteY128" fmla="*/ 136969 h 219075"/>
                  <a:gd name="connsiteX129" fmla="*/ 52959 w 209550"/>
                  <a:gd name="connsiteY129" fmla="*/ 135350 h 219075"/>
                  <a:gd name="connsiteX130" fmla="*/ 52959 w 209550"/>
                  <a:gd name="connsiteY130" fmla="*/ 134493 h 219075"/>
                  <a:gd name="connsiteX131" fmla="*/ 52102 w 209550"/>
                  <a:gd name="connsiteY131" fmla="*/ 132779 h 219075"/>
                  <a:gd name="connsiteX132" fmla="*/ 51245 w 209550"/>
                  <a:gd name="connsiteY132" fmla="*/ 131921 h 219075"/>
                  <a:gd name="connsiteX133" fmla="*/ 50482 w 209550"/>
                  <a:gd name="connsiteY133" fmla="*/ 131064 h 219075"/>
                  <a:gd name="connsiteX134" fmla="*/ 48768 w 209550"/>
                  <a:gd name="connsiteY134" fmla="*/ 130302 h 219075"/>
                  <a:gd name="connsiteX135" fmla="*/ 47054 w 209550"/>
                  <a:gd name="connsiteY135" fmla="*/ 130302 h 219075"/>
                  <a:gd name="connsiteX136" fmla="*/ 46196 w 209550"/>
                  <a:gd name="connsiteY136" fmla="*/ 131064 h 219075"/>
                  <a:gd name="connsiteX137" fmla="*/ 46196 w 209550"/>
                  <a:gd name="connsiteY137" fmla="*/ 131064 h 219075"/>
                  <a:gd name="connsiteX138" fmla="*/ 43624 w 209550"/>
                  <a:gd name="connsiteY138" fmla="*/ 132779 h 219075"/>
                  <a:gd name="connsiteX139" fmla="*/ 40196 w 209550"/>
                  <a:gd name="connsiteY139" fmla="*/ 133636 h 219075"/>
                  <a:gd name="connsiteX140" fmla="*/ 39338 w 209550"/>
                  <a:gd name="connsiteY140" fmla="*/ 134493 h 219075"/>
                  <a:gd name="connsiteX141" fmla="*/ 38481 w 209550"/>
                  <a:gd name="connsiteY141" fmla="*/ 135350 h 219075"/>
                  <a:gd name="connsiteX142" fmla="*/ 38481 w 209550"/>
                  <a:gd name="connsiteY142" fmla="*/ 136112 h 219075"/>
                  <a:gd name="connsiteX143" fmla="*/ 38481 w 209550"/>
                  <a:gd name="connsiteY143" fmla="*/ 137827 h 219075"/>
                  <a:gd name="connsiteX144" fmla="*/ 39338 w 209550"/>
                  <a:gd name="connsiteY144" fmla="*/ 138684 h 219075"/>
                  <a:gd name="connsiteX145" fmla="*/ 41053 w 209550"/>
                  <a:gd name="connsiteY145" fmla="*/ 140303 h 219075"/>
                  <a:gd name="connsiteX146" fmla="*/ 41053 w 209550"/>
                  <a:gd name="connsiteY146" fmla="*/ 140303 h 219075"/>
                  <a:gd name="connsiteX147" fmla="*/ 41910 w 209550"/>
                  <a:gd name="connsiteY147" fmla="*/ 141160 h 219075"/>
                  <a:gd name="connsiteX148" fmla="*/ 41053 w 209550"/>
                  <a:gd name="connsiteY148" fmla="*/ 142018 h 219075"/>
                  <a:gd name="connsiteX149" fmla="*/ 40196 w 209550"/>
                  <a:gd name="connsiteY149" fmla="*/ 142875 h 219075"/>
                  <a:gd name="connsiteX150" fmla="*/ 29051 w 209550"/>
                  <a:gd name="connsiteY150" fmla="*/ 152114 h 219075"/>
                  <a:gd name="connsiteX151" fmla="*/ 27337 w 209550"/>
                  <a:gd name="connsiteY151" fmla="*/ 154591 h 219075"/>
                  <a:gd name="connsiteX152" fmla="*/ 21336 w 209550"/>
                  <a:gd name="connsiteY152" fmla="*/ 163068 h 219075"/>
                  <a:gd name="connsiteX153" fmla="*/ 15335 w 209550"/>
                  <a:gd name="connsiteY153" fmla="*/ 167259 h 219075"/>
                  <a:gd name="connsiteX154" fmla="*/ 9430 w 209550"/>
                  <a:gd name="connsiteY154" fmla="*/ 172307 h 219075"/>
                  <a:gd name="connsiteX155" fmla="*/ 5144 w 209550"/>
                  <a:gd name="connsiteY155" fmla="*/ 176498 h 219075"/>
                  <a:gd name="connsiteX156" fmla="*/ 857 w 209550"/>
                  <a:gd name="connsiteY156" fmla="*/ 178975 h 219075"/>
                  <a:gd name="connsiteX157" fmla="*/ 0 w 209550"/>
                  <a:gd name="connsiteY157" fmla="*/ 180689 h 219075"/>
                  <a:gd name="connsiteX158" fmla="*/ 0 w 209550"/>
                  <a:gd name="connsiteY158" fmla="*/ 181546 h 219075"/>
                  <a:gd name="connsiteX159" fmla="*/ 857 w 209550"/>
                  <a:gd name="connsiteY159" fmla="*/ 182404 h 219075"/>
                  <a:gd name="connsiteX160" fmla="*/ 2572 w 209550"/>
                  <a:gd name="connsiteY160" fmla="*/ 184880 h 219075"/>
                  <a:gd name="connsiteX161" fmla="*/ 2572 w 209550"/>
                  <a:gd name="connsiteY161" fmla="*/ 185738 h 219075"/>
                  <a:gd name="connsiteX162" fmla="*/ 3429 w 209550"/>
                  <a:gd name="connsiteY162" fmla="*/ 186595 h 219075"/>
                  <a:gd name="connsiteX163" fmla="*/ 3429 w 209550"/>
                  <a:gd name="connsiteY163" fmla="*/ 186595 h 219075"/>
                  <a:gd name="connsiteX164" fmla="*/ 3429 w 209550"/>
                  <a:gd name="connsiteY164" fmla="*/ 186595 h 219075"/>
                  <a:gd name="connsiteX165" fmla="*/ 4286 w 209550"/>
                  <a:gd name="connsiteY165" fmla="*/ 187452 h 219075"/>
                  <a:gd name="connsiteX166" fmla="*/ 4286 w 209550"/>
                  <a:gd name="connsiteY166" fmla="*/ 187452 h 219075"/>
                  <a:gd name="connsiteX167" fmla="*/ 5144 w 209550"/>
                  <a:gd name="connsiteY167" fmla="*/ 188214 h 219075"/>
                  <a:gd name="connsiteX168" fmla="*/ 6001 w 209550"/>
                  <a:gd name="connsiteY168" fmla="*/ 189929 h 219075"/>
                  <a:gd name="connsiteX169" fmla="*/ 6858 w 209550"/>
                  <a:gd name="connsiteY169" fmla="*/ 190786 h 219075"/>
                  <a:gd name="connsiteX170" fmla="*/ 7715 w 209550"/>
                  <a:gd name="connsiteY170" fmla="*/ 191643 h 219075"/>
                  <a:gd name="connsiteX171" fmla="*/ 9430 w 209550"/>
                  <a:gd name="connsiteY171" fmla="*/ 192405 h 219075"/>
                  <a:gd name="connsiteX172" fmla="*/ 10287 w 209550"/>
                  <a:gd name="connsiteY172" fmla="*/ 193262 h 219075"/>
                  <a:gd name="connsiteX173" fmla="*/ 11144 w 209550"/>
                  <a:gd name="connsiteY173" fmla="*/ 194119 h 219075"/>
                  <a:gd name="connsiteX174" fmla="*/ 12002 w 209550"/>
                  <a:gd name="connsiteY174" fmla="*/ 195834 h 219075"/>
                  <a:gd name="connsiteX175" fmla="*/ 12859 w 209550"/>
                  <a:gd name="connsiteY175" fmla="*/ 197453 h 219075"/>
                  <a:gd name="connsiteX176" fmla="*/ 12859 w 209550"/>
                  <a:gd name="connsiteY176" fmla="*/ 199168 h 219075"/>
                  <a:gd name="connsiteX177" fmla="*/ 13621 w 209550"/>
                  <a:gd name="connsiteY177" fmla="*/ 200882 h 219075"/>
                  <a:gd name="connsiteX178" fmla="*/ 13621 w 209550"/>
                  <a:gd name="connsiteY178" fmla="*/ 202501 h 219075"/>
                  <a:gd name="connsiteX179" fmla="*/ 12859 w 209550"/>
                  <a:gd name="connsiteY179" fmla="*/ 205930 h 219075"/>
                  <a:gd name="connsiteX180" fmla="*/ 13621 w 209550"/>
                  <a:gd name="connsiteY180" fmla="*/ 207550 h 219075"/>
                  <a:gd name="connsiteX181" fmla="*/ 12859 w 209550"/>
                  <a:gd name="connsiteY181" fmla="*/ 210121 h 219075"/>
                  <a:gd name="connsiteX182" fmla="*/ 12859 w 209550"/>
                  <a:gd name="connsiteY182" fmla="*/ 210121 h 219075"/>
                  <a:gd name="connsiteX183" fmla="*/ 13621 w 209550"/>
                  <a:gd name="connsiteY183" fmla="*/ 210979 h 219075"/>
                  <a:gd name="connsiteX184" fmla="*/ 14478 w 209550"/>
                  <a:gd name="connsiteY184" fmla="*/ 211741 h 219075"/>
                  <a:gd name="connsiteX185" fmla="*/ 15335 w 209550"/>
                  <a:gd name="connsiteY185" fmla="*/ 212598 h 219075"/>
                  <a:gd name="connsiteX186" fmla="*/ 16193 w 209550"/>
                  <a:gd name="connsiteY186" fmla="*/ 212598 h 219075"/>
                  <a:gd name="connsiteX187" fmla="*/ 17050 w 209550"/>
                  <a:gd name="connsiteY187" fmla="*/ 213455 h 219075"/>
                  <a:gd name="connsiteX188" fmla="*/ 17907 w 209550"/>
                  <a:gd name="connsiteY188" fmla="*/ 213455 h 219075"/>
                  <a:gd name="connsiteX189" fmla="*/ 17907 w 209550"/>
                  <a:gd name="connsiteY189" fmla="*/ 213455 h 219075"/>
                  <a:gd name="connsiteX190" fmla="*/ 18764 w 209550"/>
                  <a:gd name="connsiteY190" fmla="*/ 213455 h 219075"/>
                  <a:gd name="connsiteX191" fmla="*/ 19621 w 209550"/>
                  <a:gd name="connsiteY191" fmla="*/ 214313 h 219075"/>
                  <a:gd name="connsiteX192" fmla="*/ 19621 w 209550"/>
                  <a:gd name="connsiteY192" fmla="*/ 215170 h 219075"/>
                  <a:gd name="connsiteX193" fmla="*/ 21336 w 209550"/>
                  <a:gd name="connsiteY193" fmla="*/ 215932 h 219075"/>
                  <a:gd name="connsiteX194" fmla="*/ 23051 w 209550"/>
                  <a:gd name="connsiteY194" fmla="*/ 215932 h 219075"/>
                  <a:gd name="connsiteX195" fmla="*/ 24765 w 209550"/>
                  <a:gd name="connsiteY195" fmla="*/ 216789 h 219075"/>
                  <a:gd name="connsiteX196" fmla="*/ 25622 w 209550"/>
                  <a:gd name="connsiteY196" fmla="*/ 217646 h 219075"/>
                  <a:gd name="connsiteX197" fmla="*/ 26479 w 209550"/>
                  <a:gd name="connsiteY197" fmla="*/ 218504 h 219075"/>
                  <a:gd name="connsiteX198" fmla="*/ 28194 w 209550"/>
                  <a:gd name="connsiteY198" fmla="*/ 220980 h 219075"/>
                  <a:gd name="connsiteX199" fmla="*/ 29051 w 209550"/>
                  <a:gd name="connsiteY199" fmla="*/ 221837 h 219075"/>
                  <a:gd name="connsiteX200" fmla="*/ 29908 w 209550"/>
                  <a:gd name="connsiteY200" fmla="*/ 221837 h 219075"/>
                  <a:gd name="connsiteX201" fmla="*/ 30766 w 209550"/>
                  <a:gd name="connsiteY201" fmla="*/ 220980 h 219075"/>
                  <a:gd name="connsiteX202" fmla="*/ 30766 w 209550"/>
                  <a:gd name="connsiteY202" fmla="*/ 220218 h 219075"/>
                  <a:gd name="connsiteX203" fmla="*/ 35052 w 209550"/>
                  <a:gd name="connsiteY203" fmla="*/ 215170 h 219075"/>
                  <a:gd name="connsiteX204" fmla="*/ 38481 w 209550"/>
                  <a:gd name="connsiteY204" fmla="*/ 208407 h 219075"/>
                  <a:gd name="connsiteX205" fmla="*/ 38481 w 209550"/>
                  <a:gd name="connsiteY205" fmla="*/ 207550 h 219075"/>
                  <a:gd name="connsiteX206" fmla="*/ 38481 w 209550"/>
                  <a:gd name="connsiteY206" fmla="*/ 206692 h 219075"/>
                  <a:gd name="connsiteX207" fmla="*/ 40196 w 209550"/>
                  <a:gd name="connsiteY207" fmla="*/ 204216 h 219075"/>
                  <a:gd name="connsiteX208" fmla="*/ 43624 w 209550"/>
                  <a:gd name="connsiteY208" fmla="*/ 202501 h 219075"/>
                  <a:gd name="connsiteX209" fmla="*/ 52959 w 209550"/>
                  <a:gd name="connsiteY209" fmla="*/ 192405 h 219075"/>
                  <a:gd name="connsiteX210" fmla="*/ 52959 w 209550"/>
                  <a:gd name="connsiteY210" fmla="*/ 191643 h 219075"/>
                  <a:gd name="connsiteX211" fmla="*/ 52959 w 209550"/>
                  <a:gd name="connsiteY211" fmla="*/ 190786 h 219075"/>
                  <a:gd name="connsiteX212" fmla="*/ 52959 w 209550"/>
                  <a:gd name="connsiteY212" fmla="*/ 189929 h 219075"/>
                  <a:gd name="connsiteX213" fmla="*/ 52102 w 209550"/>
                  <a:gd name="connsiteY213" fmla="*/ 189071 h 219075"/>
                  <a:gd name="connsiteX214" fmla="*/ 52102 w 209550"/>
                  <a:gd name="connsiteY214" fmla="*/ 188214 h 219075"/>
                  <a:gd name="connsiteX215" fmla="*/ 51245 w 209550"/>
                  <a:gd name="connsiteY215" fmla="*/ 187452 h 219075"/>
                  <a:gd name="connsiteX216" fmla="*/ 47054 w 209550"/>
                  <a:gd name="connsiteY216" fmla="*/ 186595 h 219075"/>
                  <a:gd name="connsiteX217" fmla="*/ 47054 w 209550"/>
                  <a:gd name="connsiteY217" fmla="*/ 186595 h 219075"/>
                  <a:gd name="connsiteX218" fmla="*/ 47054 w 209550"/>
                  <a:gd name="connsiteY218" fmla="*/ 186595 h 219075"/>
                  <a:gd name="connsiteX219" fmla="*/ 47054 w 209550"/>
                  <a:gd name="connsiteY219" fmla="*/ 186595 h 219075"/>
                  <a:gd name="connsiteX220" fmla="*/ 47054 w 209550"/>
                  <a:gd name="connsiteY220" fmla="*/ 186595 h 219075"/>
                  <a:gd name="connsiteX221" fmla="*/ 47054 w 209550"/>
                  <a:gd name="connsiteY221" fmla="*/ 185738 h 219075"/>
                  <a:gd name="connsiteX222" fmla="*/ 47911 w 209550"/>
                  <a:gd name="connsiteY222" fmla="*/ 184023 h 219075"/>
                  <a:gd name="connsiteX223" fmla="*/ 47911 w 209550"/>
                  <a:gd name="connsiteY223" fmla="*/ 183166 h 219075"/>
                  <a:gd name="connsiteX224" fmla="*/ 48768 w 209550"/>
                  <a:gd name="connsiteY224" fmla="*/ 182404 h 219075"/>
                  <a:gd name="connsiteX225" fmla="*/ 49625 w 209550"/>
                  <a:gd name="connsiteY225" fmla="*/ 181546 h 219075"/>
                  <a:gd name="connsiteX226" fmla="*/ 52102 w 209550"/>
                  <a:gd name="connsiteY226" fmla="*/ 180689 h 219075"/>
                  <a:gd name="connsiteX227" fmla="*/ 65818 w 209550"/>
                  <a:gd name="connsiteY227" fmla="*/ 179832 h 219075"/>
                  <a:gd name="connsiteX228" fmla="*/ 70961 w 209550"/>
                  <a:gd name="connsiteY228" fmla="*/ 180689 h 219075"/>
                  <a:gd name="connsiteX229" fmla="*/ 73533 w 209550"/>
                  <a:gd name="connsiteY229" fmla="*/ 179832 h 219075"/>
                  <a:gd name="connsiteX230" fmla="*/ 76962 w 209550"/>
                  <a:gd name="connsiteY230" fmla="*/ 179832 h 219075"/>
                  <a:gd name="connsiteX231" fmla="*/ 78677 w 209550"/>
                  <a:gd name="connsiteY231" fmla="*/ 180689 h 219075"/>
                  <a:gd name="connsiteX232" fmla="*/ 79534 w 209550"/>
                  <a:gd name="connsiteY232" fmla="*/ 180689 h 219075"/>
                  <a:gd name="connsiteX233" fmla="*/ 82105 w 209550"/>
                  <a:gd name="connsiteY233" fmla="*/ 183166 h 219075"/>
                  <a:gd name="connsiteX234" fmla="*/ 82963 w 209550"/>
                  <a:gd name="connsiteY234" fmla="*/ 184023 h 219075"/>
                  <a:gd name="connsiteX235" fmla="*/ 84677 w 209550"/>
                  <a:gd name="connsiteY235" fmla="*/ 184023 h 219075"/>
                  <a:gd name="connsiteX236" fmla="*/ 86392 w 209550"/>
                  <a:gd name="connsiteY236" fmla="*/ 184023 h 219075"/>
                  <a:gd name="connsiteX237" fmla="*/ 88106 w 209550"/>
                  <a:gd name="connsiteY237" fmla="*/ 184023 h 219075"/>
                  <a:gd name="connsiteX238" fmla="*/ 90583 w 209550"/>
                  <a:gd name="connsiteY238" fmla="*/ 184023 h 219075"/>
                  <a:gd name="connsiteX239" fmla="*/ 92297 w 209550"/>
                  <a:gd name="connsiteY239" fmla="*/ 184023 h 219075"/>
                  <a:gd name="connsiteX240" fmla="*/ 93154 w 209550"/>
                  <a:gd name="connsiteY240" fmla="*/ 184880 h 219075"/>
                  <a:gd name="connsiteX241" fmla="*/ 94012 w 209550"/>
                  <a:gd name="connsiteY241" fmla="*/ 185738 h 219075"/>
                  <a:gd name="connsiteX242" fmla="*/ 94012 w 209550"/>
                  <a:gd name="connsiteY242" fmla="*/ 186595 h 219075"/>
                  <a:gd name="connsiteX243" fmla="*/ 94869 w 209550"/>
                  <a:gd name="connsiteY243" fmla="*/ 186595 h 219075"/>
                  <a:gd name="connsiteX244" fmla="*/ 94869 w 209550"/>
                  <a:gd name="connsiteY244" fmla="*/ 186595 h 219075"/>
                  <a:gd name="connsiteX245" fmla="*/ 95726 w 209550"/>
                  <a:gd name="connsiteY245" fmla="*/ 186595 h 219075"/>
                  <a:gd name="connsiteX246" fmla="*/ 97441 w 209550"/>
                  <a:gd name="connsiteY246" fmla="*/ 186595 h 219075"/>
                  <a:gd name="connsiteX247" fmla="*/ 101727 w 209550"/>
                  <a:gd name="connsiteY247" fmla="*/ 186595 h 219075"/>
                  <a:gd name="connsiteX248" fmla="*/ 110299 w 209550"/>
                  <a:gd name="connsiteY248" fmla="*/ 184880 h 219075"/>
                  <a:gd name="connsiteX249" fmla="*/ 114586 w 209550"/>
                  <a:gd name="connsiteY249" fmla="*/ 182404 h 219075"/>
                  <a:gd name="connsiteX250" fmla="*/ 117157 w 209550"/>
                  <a:gd name="connsiteY250" fmla="*/ 181546 h 219075"/>
                  <a:gd name="connsiteX251" fmla="*/ 118872 w 209550"/>
                  <a:gd name="connsiteY251" fmla="*/ 179832 h 219075"/>
                  <a:gd name="connsiteX252" fmla="*/ 121444 w 209550"/>
                  <a:gd name="connsiteY252" fmla="*/ 176498 h 219075"/>
                  <a:gd name="connsiteX253" fmla="*/ 122301 w 209550"/>
                  <a:gd name="connsiteY253" fmla="*/ 174784 h 219075"/>
                  <a:gd name="connsiteX254" fmla="*/ 127349 w 209550"/>
                  <a:gd name="connsiteY254" fmla="*/ 172307 h 219075"/>
                  <a:gd name="connsiteX255" fmla="*/ 128206 w 209550"/>
                  <a:gd name="connsiteY255" fmla="*/ 171450 h 219075"/>
                  <a:gd name="connsiteX256" fmla="*/ 136779 w 209550"/>
                  <a:gd name="connsiteY256" fmla="*/ 163925 h 219075"/>
                  <a:gd name="connsiteX257" fmla="*/ 137636 w 209550"/>
                  <a:gd name="connsiteY257" fmla="*/ 163925 h 219075"/>
                  <a:gd name="connsiteX258" fmla="*/ 137636 w 209550"/>
                  <a:gd name="connsiteY258" fmla="*/ 163925 h 219075"/>
                  <a:gd name="connsiteX259" fmla="*/ 137636 w 209550"/>
                  <a:gd name="connsiteY259" fmla="*/ 164687 h 219075"/>
                  <a:gd name="connsiteX260" fmla="*/ 137636 w 209550"/>
                  <a:gd name="connsiteY260" fmla="*/ 165544 h 219075"/>
                  <a:gd name="connsiteX261" fmla="*/ 137636 w 209550"/>
                  <a:gd name="connsiteY261" fmla="*/ 167259 h 219075"/>
                  <a:gd name="connsiteX262" fmla="*/ 137636 w 209550"/>
                  <a:gd name="connsiteY262" fmla="*/ 171450 h 219075"/>
                  <a:gd name="connsiteX263" fmla="*/ 136779 w 209550"/>
                  <a:gd name="connsiteY263" fmla="*/ 174784 h 219075"/>
                  <a:gd name="connsiteX264" fmla="*/ 135922 w 209550"/>
                  <a:gd name="connsiteY264" fmla="*/ 176498 h 219075"/>
                  <a:gd name="connsiteX265" fmla="*/ 134207 w 209550"/>
                  <a:gd name="connsiteY265" fmla="*/ 183166 h 219075"/>
                  <a:gd name="connsiteX266" fmla="*/ 133350 w 209550"/>
                  <a:gd name="connsiteY266" fmla="*/ 184880 h 219075"/>
                  <a:gd name="connsiteX267" fmla="*/ 134207 w 209550"/>
                  <a:gd name="connsiteY267" fmla="*/ 185738 h 219075"/>
                  <a:gd name="connsiteX268" fmla="*/ 135922 w 209550"/>
                  <a:gd name="connsiteY268" fmla="*/ 187452 h 219075"/>
                  <a:gd name="connsiteX269" fmla="*/ 141065 w 209550"/>
                  <a:gd name="connsiteY269" fmla="*/ 190786 h 219075"/>
                  <a:gd name="connsiteX270" fmla="*/ 142780 w 209550"/>
                  <a:gd name="connsiteY270" fmla="*/ 191643 h 219075"/>
                  <a:gd name="connsiteX271" fmla="*/ 146209 w 209550"/>
                  <a:gd name="connsiteY271" fmla="*/ 192405 h 219075"/>
                  <a:gd name="connsiteX272" fmla="*/ 146209 w 209550"/>
                  <a:gd name="connsiteY272" fmla="*/ 192405 h 219075"/>
                  <a:gd name="connsiteX273" fmla="*/ 147066 w 209550"/>
                  <a:gd name="connsiteY273" fmla="*/ 191643 h 219075"/>
                  <a:gd name="connsiteX274" fmla="*/ 151352 w 209550"/>
                  <a:gd name="connsiteY274" fmla="*/ 189071 h 219075"/>
                  <a:gd name="connsiteX275" fmla="*/ 153067 w 209550"/>
                  <a:gd name="connsiteY275" fmla="*/ 188214 h 219075"/>
                  <a:gd name="connsiteX276" fmla="*/ 157353 w 209550"/>
                  <a:gd name="connsiteY276" fmla="*/ 188214 h 219075"/>
                  <a:gd name="connsiteX277" fmla="*/ 159068 w 209550"/>
                  <a:gd name="connsiteY277" fmla="*/ 187452 h 219075"/>
                  <a:gd name="connsiteX278" fmla="*/ 160782 w 209550"/>
                  <a:gd name="connsiteY278" fmla="*/ 185738 h 219075"/>
                  <a:gd name="connsiteX279" fmla="*/ 164211 w 209550"/>
                  <a:gd name="connsiteY279" fmla="*/ 180689 h 219075"/>
                  <a:gd name="connsiteX280" fmla="*/ 165830 w 209550"/>
                  <a:gd name="connsiteY280" fmla="*/ 178975 h 219075"/>
                  <a:gd name="connsiteX281" fmla="*/ 166688 w 209550"/>
                  <a:gd name="connsiteY281" fmla="*/ 178975 h 219075"/>
                  <a:gd name="connsiteX282" fmla="*/ 168402 w 209550"/>
                  <a:gd name="connsiteY282" fmla="*/ 178117 h 219075"/>
                  <a:gd name="connsiteX283" fmla="*/ 170116 w 209550"/>
                  <a:gd name="connsiteY283" fmla="*/ 178117 h 219075"/>
                  <a:gd name="connsiteX284" fmla="*/ 170116 w 209550"/>
                  <a:gd name="connsiteY284" fmla="*/ 177355 h 219075"/>
                  <a:gd name="connsiteX285" fmla="*/ 169259 w 209550"/>
                  <a:gd name="connsiteY285" fmla="*/ 176498 h 219075"/>
                  <a:gd name="connsiteX286" fmla="*/ 169259 w 209550"/>
                  <a:gd name="connsiteY286" fmla="*/ 175641 h 219075"/>
                  <a:gd name="connsiteX287" fmla="*/ 169259 w 209550"/>
                  <a:gd name="connsiteY287" fmla="*/ 175641 h 219075"/>
                  <a:gd name="connsiteX288" fmla="*/ 170974 w 209550"/>
                  <a:gd name="connsiteY288" fmla="*/ 174784 h 219075"/>
                  <a:gd name="connsiteX289" fmla="*/ 170974 w 209550"/>
                  <a:gd name="connsiteY289" fmla="*/ 174784 h 219075"/>
                  <a:gd name="connsiteX290" fmla="*/ 181261 w 209550"/>
                  <a:gd name="connsiteY290" fmla="*/ 159639 h 219075"/>
                  <a:gd name="connsiteX291" fmla="*/ 182118 w 209550"/>
                  <a:gd name="connsiteY291" fmla="*/ 158877 h 219075"/>
                  <a:gd name="connsiteX292" fmla="*/ 182975 w 209550"/>
                  <a:gd name="connsiteY292" fmla="*/ 158877 h 219075"/>
                  <a:gd name="connsiteX293" fmla="*/ 185547 w 209550"/>
                  <a:gd name="connsiteY293" fmla="*/ 158020 h 219075"/>
                  <a:gd name="connsiteX294" fmla="*/ 186404 w 209550"/>
                  <a:gd name="connsiteY294" fmla="*/ 158020 h 219075"/>
                  <a:gd name="connsiteX295" fmla="*/ 187262 w 209550"/>
                  <a:gd name="connsiteY295" fmla="*/ 155448 h 219075"/>
                  <a:gd name="connsiteX296" fmla="*/ 187262 w 209550"/>
                  <a:gd name="connsiteY296" fmla="*/ 152971 h 219075"/>
                  <a:gd name="connsiteX297" fmla="*/ 184690 w 209550"/>
                  <a:gd name="connsiteY297" fmla="*/ 140303 h 219075"/>
                  <a:gd name="connsiteX298" fmla="*/ 184690 w 209550"/>
                  <a:gd name="connsiteY298" fmla="*/ 137827 h 219075"/>
                  <a:gd name="connsiteX299" fmla="*/ 185547 w 209550"/>
                  <a:gd name="connsiteY299" fmla="*/ 135350 h 219075"/>
                  <a:gd name="connsiteX300" fmla="*/ 186404 w 209550"/>
                  <a:gd name="connsiteY300" fmla="*/ 134493 h 219075"/>
                  <a:gd name="connsiteX301" fmla="*/ 190690 w 209550"/>
                  <a:gd name="connsiteY301" fmla="*/ 132779 h 219075"/>
                  <a:gd name="connsiteX302" fmla="*/ 193262 w 209550"/>
                  <a:gd name="connsiteY302" fmla="*/ 131064 h 219075"/>
                  <a:gd name="connsiteX303" fmla="*/ 197548 w 209550"/>
                  <a:gd name="connsiteY303" fmla="*/ 126016 h 219075"/>
                  <a:gd name="connsiteX304" fmla="*/ 200978 w 209550"/>
                  <a:gd name="connsiteY304" fmla="*/ 121825 h 219075"/>
                  <a:gd name="connsiteX305" fmla="*/ 201835 w 209550"/>
                  <a:gd name="connsiteY305" fmla="*/ 119348 h 219075"/>
                  <a:gd name="connsiteX306" fmla="*/ 201835 w 209550"/>
                  <a:gd name="connsiteY306" fmla="*/ 116776 h 219075"/>
                  <a:gd name="connsiteX307" fmla="*/ 200978 w 209550"/>
                  <a:gd name="connsiteY307" fmla="*/ 116014 h 219075"/>
                  <a:gd name="connsiteX308" fmla="*/ 196691 w 209550"/>
                  <a:gd name="connsiteY308" fmla="*/ 114300 h 219075"/>
                  <a:gd name="connsiteX309" fmla="*/ 194977 w 209550"/>
                  <a:gd name="connsiteY309" fmla="*/ 113443 h 219075"/>
                  <a:gd name="connsiteX310" fmla="*/ 194120 w 209550"/>
                  <a:gd name="connsiteY310" fmla="*/ 105061 h 219075"/>
                  <a:gd name="connsiteX311" fmla="*/ 194977 w 209550"/>
                  <a:gd name="connsiteY311" fmla="*/ 103346 h 219075"/>
                  <a:gd name="connsiteX312" fmla="*/ 195834 w 209550"/>
                  <a:gd name="connsiteY312" fmla="*/ 102489 h 219075"/>
                  <a:gd name="connsiteX313" fmla="*/ 195834 w 209550"/>
                  <a:gd name="connsiteY313" fmla="*/ 101727 h 219075"/>
                  <a:gd name="connsiteX314" fmla="*/ 195834 w 209550"/>
                  <a:gd name="connsiteY314" fmla="*/ 100870 h 219075"/>
                  <a:gd name="connsiteX315" fmla="*/ 194977 w 209550"/>
                  <a:gd name="connsiteY315" fmla="*/ 100870 h 219075"/>
                  <a:gd name="connsiteX316" fmla="*/ 194120 w 209550"/>
                  <a:gd name="connsiteY316" fmla="*/ 100013 h 219075"/>
                  <a:gd name="connsiteX317" fmla="*/ 193262 w 209550"/>
                  <a:gd name="connsiteY317" fmla="*/ 100013 h 219075"/>
                  <a:gd name="connsiteX318" fmla="*/ 191548 w 209550"/>
                  <a:gd name="connsiteY318" fmla="*/ 99155 h 219075"/>
                  <a:gd name="connsiteX319" fmla="*/ 190690 w 209550"/>
                  <a:gd name="connsiteY319" fmla="*/ 95821 h 219075"/>
                  <a:gd name="connsiteX320" fmla="*/ 189833 w 209550"/>
                  <a:gd name="connsiteY320" fmla="*/ 90773 h 219075"/>
                  <a:gd name="connsiteX321" fmla="*/ 189833 w 209550"/>
                  <a:gd name="connsiteY321" fmla="*/ 85725 h 219075"/>
                  <a:gd name="connsiteX322" fmla="*/ 190690 w 209550"/>
                  <a:gd name="connsiteY322" fmla="*/ 82391 h 219075"/>
                  <a:gd name="connsiteX323" fmla="*/ 192405 w 209550"/>
                  <a:gd name="connsiteY323" fmla="*/ 78200 h 219075"/>
                  <a:gd name="connsiteX324" fmla="*/ 193262 w 209550"/>
                  <a:gd name="connsiteY324" fmla="*/ 76486 h 219075"/>
                  <a:gd name="connsiteX325" fmla="*/ 192405 w 209550"/>
                  <a:gd name="connsiteY325" fmla="*/ 74009 h 219075"/>
                  <a:gd name="connsiteX326" fmla="*/ 189833 w 209550"/>
                  <a:gd name="connsiteY326" fmla="*/ 69723 h 219075"/>
                  <a:gd name="connsiteX327" fmla="*/ 189833 w 209550"/>
                  <a:gd name="connsiteY327" fmla="*/ 68104 h 219075"/>
                  <a:gd name="connsiteX328" fmla="*/ 191548 w 209550"/>
                  <a:gd name="connsiteY328" fmla="*/ 65532 h 219075"/>
                  <a:gd name="connsiteX329" fmla="*/ 191548 w 209550"/>
                  <a:gd name="connsiteY329" fmla="*/ 65532 h 219075"/>
                  <a:gd name="connsiteX330" fmla="*/ 193262 w 209550"/>
                  <a:gd name="connsiteY330" fmla="*/ 63913 h 219075"/>
                  <a:gd name="connsiteX331" fmla="*/ 196691 w 209550"/>
                  <a:gd name="connsiteY331" fmla="*/ 60484 h 219075"/>
                  <a:gd name="connsiteX332" fmla="*/ 197548 w 209550"/>
                  <a:gd name="connsiteY332" fmla="*/ 58864 h 219075"/>
                  <a:gd name="connsiteX333" fmla="*/ 198406 w 209550"/>
                  <a:gd name="connsiteY333" fmla="*/ 57150 h 219075"/>
                  <a:gd name="connsiteX334" fmla="*/ 198406 w 209550"/>
                  <a:gd name="connsiteY334" fmla="*/ 56293 h 219075"/>
                  <a:gd name="connsiteX335" fmla="*/ 198406 w 209550"/>
                  <a:gd name="connsiteY335" fmla="*/ 55435 h 219075"/>
                  <a:gd name="connsiteX336" fmla="*/ 198406 w 209550"/>
                  <a:gd name="connsiteY336" fmla="*/ 52102 h 219075"/>
                  <a:gd name="connsiteX337" fmla="*/ 199263 w 209550"/>
                  <a:gd name="connsiteY337" fmla="*/ 51244 h 219075"/>
                  <a:gd name="connsiteX338" fmla="*/ 200120 w 209550"/>
                  <a:gd name="connsiteY338" fmla="*/ 50387 h 219075"/>
                  <a:gd name="connsiteX339" fmla="*/ 200978 w 209550"/>
                  <a:gd name="connsiteY339" fmla="*/ 49625 h 219075"/>
                  <a:gd name="connsiteX340" fmla="*/ 203454 w 209550"/>
                  <a:gd name="connsiteY340" fmla="*/ 48768 h 219075"/>
                  <a:gd name="connsiteX341" fmla="*/ 204311 w 209550"/>
                  <a:gd name="connsiteY341" fmla="*/ 48768 h 219075"/>
                  <a:gd name="connsiteX342" fmla="*/ 206026 w 209550"/>
                  <a:gd name="connsiteY342" fmla="*/ 47911 h 219075"/>
                  <a:gd name="connsiteX343" fmla="*/ 206883 w 209550"/>
                  <a:gd name="connsiteY343" fmla="*/ 45434 h 219075"/>
                  <a:gd name="connsiteX344" fmla="*/ 208597 w 209550"/>
                  <a:gd name="connsiteY344" fmla="*/ 44577 h 219075"/>
                  <a:gd name="connsiteX345" fmla="*/ 210312 w 209550"/>
                  <a:gd name="connsiteY345" fmla="*/ 44577 h 219075"/>
                  <a:gd name="connsiteX346" fmla="*/ 212027 w 209550"/>
                  <a:gd name="connsiteY346" fmla="*/ 47054 h 219075"/>
                  <a:gd name="connsiteX347" fmla="*/ 212884 w 209550"/>
                  <a:gd name="connsiteY347" fmla="*/ 47054 h 219075"/>
                  <a:gd name="connsiteX348" fmla="*/ 212884 w 209550"/>
                  <a:gd name="connsiteY348" fmla="*/ 47054 h 219075"/>
                  <a:gd name="connsiteX349" fmla="*/ 212884 w 209550"/>
                  <a:gd name="connsiteY349" fmla="*/ 42863 h 219075"/>
                  <a:gd name="connsiteX350" fmla="*/ 212884 w 209550"/>
                  <a:gd name="connsiteY350" fmla="*/ 42863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</a:cxnLst>
                <a:rect l="l" t="t" r="r" b="b"/>
                <a:pathLst>
                  <a:path w="209550" h="219075">
                    <a:moveTo>
                      <a:pt x="212884" y="42863"/>
                    </a:moveTo>
                    <a:lnTo>
                      <a:pt x="210312" y="37814"/>
                    </a:lnTo>
                    <a:lnTo>
                      <a:pt x="210312" y="36957"/>
                    </a:lnTo>
                    <a:lnTo>
                      <a:pt x="210312" y="35338"/>
                    </a:lnTo>
                    <a:lnTo>
                      <a:pt x="210312" y="33623"/>
                    </a:lnTo>
                    <a:lnTo>
                      <a:pt x="211169" y="29432"/>
                    </a:lnTo>
                    <a:lnTo>
                      <a:pt x="211169" y="28575"/>
                    </a:lnTo>
                    <a:lnTo>
                      <a:pt x="210312" y="27718"/>
                    </a:lnTo>
                    <a:lnTo>
                      <a:pt x="208597" y="26098"/>
                    </a:lnTo>
                    <a:lnTo>
                      <a:pt x="207740" y="24384"/>
                    </a:lnTo>
                    <a:lnTo>
                      <a:pt x="207740" y="23527"/>
                    </a:lnTo>
                    <a:lnTo>
                      <a:pt x="207740" y="21050"/>
                    </a:lnTo>
                    <a:lnTo>
                      <a:pt x="207740" y="20193"/>
                    </a:lnTo>
                    <a:lnTo>
                      <a:pt x="208597" y="19336"/>
                    </a:lnTo>
                    <a:lnTo>
                      <a:pt x="209455" y="19336"/>
                    </a:lnTo>
                    <a:lnTo>
                      <a:pt x="209455" y="18479"/>
                    </a:lnTo>
                    <a:lnTo>
                      <a:pt x="210312" y="17621"/>
                    </a:lnTo>
                    <a:lnTo>
                      <a:pt x="211169" y="16859"/>
                    </a:lnTo>
                    <a:lnTo>
                      <a:pt x="211169" y="15145"/>
                    </a:lnTo>
                    <a:lnTo>
                      <a:pt x="211169" y="10096"/>
                    </a:lnTo>
                    <a:lnTo>
                      <a:pt x="211169" y="8382"/>
                    </a:lnTo>
                    <a:lnTo>
                      <a:pt x="210312" y="6763"/>
                    </a:lnTo>
                    <a:lnTo>
                      <a:pt x="208597" y="5048"/>
                    </a:lnTo>
                    <a:lnTo>
                      <a:pt x="207740" y="5048"/>
                    </a:lnTo>
                    <a:lnTo>
                      <a:pt x="206883" y="4191"/>
                    </a:lnTo>
                    <a:lnTo>
                      <a:pt x="205169" y="3334"/>
                    </a:lnTo>
                    <a:lnTo>
                      <a:pt x="205169" y="0"/>
                    </a:lnTo>
                    <a:lnTo>
                      <a:pt x="204311" y="857"/>
                    </a:lnTo>
                    <a:lnTo>
                      <a:pt x="203454" y="2572"/>
                    </a:lnTo>
                    <a:lnTo>
                      <a:pt x="202692" y="3334"/>
                    </a:lnTo>
                    <a:lnTo>
                      <a:pt x="201835" y="4191"/>
                    </a:lnTo>
                    <a:lnTo>
                      <a:pt x="201835" y="4191"/>
                    </a:lnTo>
                    <a:lnTo>
                      <a:pt x="201835" y="4191"/>
                    </a:lnTo>
                    <a:lnTo>
                      <a:pt x="188976" y="11811"/>
                    </a:lnTo>
                    <a:lnTo>
                      <a:pt x="187262" y="12573"/>
                    </a:lnTo>
                    <a:lnTo>
                      <a:pt x="185547" y="13430"/>
                    </a:lnTo>
                    <a:lnTo>
                      <a:pt x="182975" y="13430"/>
                    </a:lnTo>
                    <a:lnTo>
                      <a:pt x="181261" y="12573"/>
                    </a:lnTo>
                    <a:lnTo>
                      <a:pt x="180404" y="12573"/>
                    </a:lnTo>
                    <a:lnTo>
                      <a:pt x="177832" y="10096"/>
                    </a:lnTo>
                    <a:lnTo>
                      <a:pt x="176974" y="10096"/>
                    </a:lnTo>
                    <a:lnTo>
                      <a:pt x="176117" y="10096"/>
                    </a:lnTo>
                    <a:lnTo>
                      <a:pt x="175260" y="10096"/>
                    </a:lnTo>
                    <a:lnTo>
                      <a:pt x="174403" y="11811"/>
                    </a:lnTo>
                    <a:lnTo>
                      <a:pt x="170974" y="14288"/>
                    </a:lnTo>
                    <a:lnTo>
                      <a:pt x="170116" y="16002"/>
                    </a:lnTo>
                    <a:lnTo>
                      <a:pt x="166688" y="21050"/>
                    </a:lnTo>
                    <a:lnTo>
                      <a:pt x="163354" y="26860"/>
                    </a:lnTo>
                    <a:lnTo>
                      <a:pt x="159068" y="30289"/>
                    </a:lnTo>
                    <a:lnTo>
                      <a:pt x="150495" y="35338"/>
                    </a:lnTo>
                    <a:lnTo>
                      <a:pt x="148780" y="36957"/>
                    </a:lnTo>
                    <a:lnTo>
                      <a:pt x="139351" y="40386"/>
                    </a:lnTo>
                    <a:lnTo>
                      <a:pt x="135922" y="40386"/>
                    </a:lnTo>
                    <a:lnTo>
                      <a:pt x="135064" y="40386"/>
                    </a:lnTo>
                    <a:lnTo>
                      <a:pt x="134207" y="41148"/>
                    </a:lnTo>
                    <a:lnTo>
                      <a:pt x="133350" y="42005"/>
                    </a:lnTo>
                    <a:lnTo>
                      <a:pt x="131636" y="42863"/>
                    </a:lnTo>
                    <a:lnTo>
                      <a:pt x="130778" y="43720"/>
                    </a:lnTo>
                    <a:lnTo>
                      <a:pt x="129064" y="43720"/>
                    </a:lnTo>
                    <a:lnTo>
                      <a:pt x="128206" y="43720"/>
                    </a:lnTo>
                    <a:lnTo>
                      <a:pt x="127349" y="43720"/>
                    </a:lnTo>
                    <a:lnTo>
                      <a:pt x="126587" y="45434"/>
                    </a:lnTo>
                    <a:lnTo>
                      <a:pt x="124873" y="47054"/>
                    </a:lnTo>
                    <a:lnTo>
                      <a:pt x="121444" y="50387"/>
                    </a:lnTo>
                    <a:lnTo>
                      <a:pt x="121444" y="52102"/>
                    </a:lnTo>
                    <a:lnTo>
                      <a:pt x="121444" y="53816"/>
                    </a:lnTo>
                    <a:lnTo>
                      <a:pt x="121444" y="54673"/>
                    </a:lnTo>
                    <a:lnTo>
                      <a:pt x="120587" y="57150"/>
                    </a:lnTo>
                    <a:lnTo>
                      <a:pt x="118015" y="60484"/>
                    </a:lnTo>
                    <a:lnTo>
                      <a:pt x="117157" y="62198"/>
                    </a:lnTo>
                    <a:lnTo>
                      <a:pt x="115443" y="63055"/>
                    </a:lnTo>
                    <a:lnTo>
                      <a:pt x="113729" y="65532"/>
                    </a:lnTo>
                    <a:lnTo>
                      <a:pt x="112871" y="66389"/>
                    </a:lnTo>
                    <a:lnTo>
                      <a:pt x="110299" y="67246"/>
                    </a:lnTo>
                    <a:lnTo>
                      <a:pt x="109442" y="67246"/>
                    </a:lnTo>
                    <a:lnTo>
                      <a:pt x="108585" y="66389"/>
                    </a:lnTo>
                    <a:lnTo>
                      <a:pt x="107728" y="66389"/>
                    </a:lnTo>
                    <a:lnTo>
                      <a:pt x="106871" y="64675"/>
                    </a:lnTo>
                    <a:lnTo>
                      <a:pt x="106871" y="64675"/>
                    </a:lnTo>
                    <a:lnTo>
                      <a:pt x="106871" y="64675"/>
                    </a:lnTo>
                    <a:lnTo>
                      <a:pt x="106871" y="61341"/>
                    </a:lnTo>
                    <a:lnTo>
                      <a:pt x="106013" y="59722"/>
                    </a:lnTo>
                    <a:lnTo>
                      <a:pt x="104299" y="58007"/>
                    </a:lnTo>
                    <a:lnTo>
                      <a:pt x="101727" y="62198"/>
                    </a:lnTo>
                    <a:lnTo>
                      <a:pt x="96583" y="67246"/>
                    </a:lnTo>
                    <a:lnTo>
                      <a:pt x="95726" y="68961"/>
                    </a:lnTo>
                    <a:lnTo>
                      <a:pt x="94869" y="71438"/>
                    </a:lnTo>
                    <a:lnTo>
                      <a:pt x="94012" y="77343"/>
                    </a:lnTo>
                    <a:lnTo>
                      <a:pt x="94012" y="80677"/>
                    </a:lnTo>
                    <a:lnTo>
                      <a:pt x="93154" y="81534"/>
                    </a:lnTo>
                    <a:lnTo>
                      <a:pt x="92297" y="83248"/>
                    </a:lnTo>
                    <a:lnTo>
                      <a:pt x="88963" y="84868"/>
                    </a:lnTo>
                    <a:lnTo>
                      <a:pt x="85535" y="89059"/>
                    </a:lnTo>
                    <a:lnTo>
                      <a:pt x="75247" y="103346"/>
                    </a:lnTo>
                    <a:lnTo>
                      <a:pt x="74390" y="105061"/>
                    </a:lnTo>
                    <a:lnTo>
                      <a:pt x="74390" y="105918"/>
                    </a:lnTo>
                    <a:lnTo>
                      <a:pt x="75247" y="108394"/>
                    </a:lnTo>
                    <a:lnTo>
                      <a:pt x="75247" y="110109"/>
                    </a:lnTo>
                    <a:lnTo>
                      <a:pt x="74390" y="116014"/>
                    </a:lnTo>
                    <a:lnTo>
                      <a:pt x="73533" y="117634"/>
                    </a:lnTo>
                    <a:lnTo>
                      <a:pt x="73533" y="118491"/>
                    </a:lnTo>
                    <a:lnTo>
                      <a:pt x="71819" y="119348"/>
                    </a:lnTo>
                    <a:lnTo>
                      <a:pt x="70961" y="121063"/>
                    </a:lnTo>
                    <a:lnTo>
                      <a:pt x="70961" y="122682"/>
                    </a:lnTo>
                    <a:lnTo>
                      <a:pt x="70961" y="126016"/>
                    </a:lnTo>
                    <a:lnTo>
                      <a:pt x="70961" y="126016"/>
                    </a:lnTo>
                    <a:lnTo>
                      <a:pt x="70961" y="127730"/>
                    </a:lnTo>
                    <a:lnTo>
                      <a:pt x="70961" y="128588"/>
                    </a:lnTo>
                    <a:lnTo>
                      <a:pt x="71819" y="129445"/>
                    </a:lnTo>
                    <a:lnTo>
                      <a:pt x="72676" y="131921"/>
                    </a:lnTo>
                    <a:lnTo>
                      <a:pt x="72676" y="132779"/>
                    </a:lnTo>
                    <a:lnTo>
                      <a:pt x="71819" y="134493"/>
                    </a:lnTo>
                    <a:lnTo>
                      <a:pt x="70961" y="135350"/>
                    </a:lnTo>
                    <a:lnTo>
                      <a:pt x="68389" y="139541"/>
                    </a:lnTo>
                    <a:lnTo>
                      <a:pt x="66675" y="141160"/>
                    </a:lnTo>
                    <a:lnTo>
                      <a:pt x="63246" y="142875"/>
                    </a:lnTo>
                    <a:lnTo>
                      <a:pt x="61531" y="143732"/>
                    </a:lnTo>
                    <a:lnTo>
                      <a:pt x="55531" y="144589"/>
                    </a:lnTo>
                    <a:lnTo>
                      <a:pt x="52102" y="146209"/>
                    </a:lnTo>
                    <a:lnTo>
                      <a:pt x="50482" y="146209"/>
                    </a:lnTo>
                    <a:lnTo>
                      <a:pt x="49625" y="146209"/>
                    </a:lnTo>
                    <a:lnTo>
                      <a:pt x="48768" y="146209"/>
                    </a:lnTo>
                    <a:lnTo>
                      <a:pt x="48768" y="145351"/>
                    </a:lnTo>
                    <a:lnTo>
                      <a:pt x="48768" y="144589"/>
                    </a:lnTo>
                    <a:lnTo>
                      <a:pt x="49625" y="142875"/>
                    </a:lnTo>
                    <a:lnTo>
                      <a:pt x="51245" y="141160"/>
                    </a:lnTo>
                    <a:lnTo>
                      <a:pt x="52102" y="140303"/>
                    </a:lnTo>
                    <a:lnTo>
                      <a:pt x="52102" y="138684"/>
                    </a:lnTo>
                    <a:lnTo>
                      <a:pt x="52959" y="136969"/>
                    </a:lnTo>
                    <a:lnTo>
                      <a:pt x="52959" y="135350"/>
                    </a:lnTo>
                    <a:lnTo>
                      <a:pt x="52959" y="134493"/>
                    </a:lnTo>
                    <a:lnTo>
                      <a:pt x="52102" y="132779"/>
                    </a:lnTo>
                    <a:lnTo>
                      <a:pt x="51245" y="131921"/>
                    </a:lnTo>
                    <a:lnTo>
                      <a:pt x="50482" y="131064"/>
                    </a:lnTo>
                    <a:lnTo>
                      <a:pt x="48768" y="130302"/>
                    </a:lnTo>
                    <a:lnTo>
                      <a:pt x="47054" y="130302"/>
                    </a:lnTo>
                    <a:lnTo>
                      <a:pt x="46196" y="131064"/>
                    </a:lnTo>
                    <a:lnTo>
                      <a:pt x="46196" y="131064"/>
                    </a:lnTo>
                    <a:lnTo>
                      <a:pt x="43624" y="132779"/>
                    </a:lnTo>
                    <a:lnTo>
                      <a:pt x="40196" y="133636"/>
                    </a:lnTo>
                    <a:lnTo>
                      <a:pt x="39338" y="134493"/>
                    </a:lnTo>
                    <a:lnTo>
                      <a:pt x="38481" y="135350"/>
                    </a:lnTo>
                    <a:lnTo>
                      <a:pt x="38481" y="136112"/>
                    </a:lnTo>
                    <a:lnTo>
                      <a:pt x="38481" y="137827"/>
                    </a:lnTo>
                    <a:lnTo>
                      <a:pt x="39338" y="138684"/>
                    </a:lnTo>
                    <a:lnTo>
                      <a:pt x="41053" y="140303"/>
                    </a:lnTo>
                    <a:lnTo>
                      <a:pt x="41053" y="140303"/>
                    </a:lnTo>
                    <a:lnTo>
                      <a:pt x="41910" y="141160"/>
                    </a:lnTo>
                    <a:lnTo>
                      <a:pt x="41053" y="142018"/>
                    </a:lnTo>
                    <a:lnTo>
                      <a:pt x="40196" y="142875"/>
                    </a:lnTo>
                    <a:lnTo>
                      <a:pt x="29051" y="152114"/>
                    </a:lnTo>
                    <a:lnTo>
                      <a:pt x="27337" y="154591"/>
                    </a:lnTo>
                    <a:lnTo>
                      <a:pt x="21336" y="163068"/>
                    </a:lnTo>
                    <a:lnTo>
                      <a:pt x="15335" y="167259"/>
                    </a:lnTo>
                    <a:lnTo>
                      <a:pt x="9430" y="172307"/>
                    </a:lnTo>
                    <a:lnTo>
                      <a:pt x="5144" y="176498"/>
                    </a:lnTo>
                    <a:lnTo>
                      <a:pt x="857" y="178975"/>
                    </a:lnTo>
                    <a:lnTo>
                      <a:pt x="0" y="180689"/>
                    </a:lnTo>
                    <a:lnTo>
                      <a:pt x="0" y="181546"/>
                    </a:lnTo>
                    <a:lnTo>
                      <a:pt x="857" y="182404"/>
                    </a:lnTo>
                    <a:lnTo>
                      <a:pt x="2572" y="184880"/>
                    </a:lnTo>
                    <a:lnTo>
                      <a:pt x="2572" y="185738"/>
                    </a:lnTo>
                    <a:lnTo>
                      <a:pt x="3429" y="186595"/>
                    </a:lnTo>
                    <a:lnTo>
                      <a:pt x="3429" y="186595"/>
                    </a:lnTo>
                    <a:lnTo>
                      <a:pt x="3429" y="186595"/>
                    </a:lnTo>
                    <a:lnTo>
                      <a:pt x="4286" y="187452"/>
                    </a:lnTo>
                    <a:lnTo>
                      <a:pt x="4286" y="187452"/>
                    </a:lnTo>
                    <a:lnTo>
                      <a:pt x="5144" y="188214"/>
                    </a:lnTo>
                    <a:lnTo>
                      <a:pt x="6001" y="189929"/>
                    </a:lnTo>
                    <a:lnTo>
                      <a:pt x="6858" y="190786"/>
                    </a:lnTo>
                    <a:lnTo>
                      <a:pt x="7715" y="191643"/>
                    </a:lnTo>
                    <a:lnTo>
                      <a:pt x="9430" y="192405"/>
                    </a:lnTo>
                    <a:lnTo>
                      <a:pt x="10287" y="193262"/>
                    </a:lnTo>
                    <a:lnTo>
                      <a:pt x="11144" y="194119"/>
                    </a:lnTo>
                    <a:lnTo>
                      <a:pt x="12002" y="195834"/>
                    </a:lnTo>
                    <a:lnTo>
                      <a:pt x="12859" y="197453"/>
                    </a:lnTo>
                    <a:lnTo>
                      <a:pt x="12859" y="199168"/>
                    </a:lnTo>
                    <a:lnTo>
                      <a:pt x="13621" y="200882"/>
                    </a:lnTo>
                    <a:lnTo>
                      <a:pt x="13621" y="202501"/>
                    </a:lnTo>
                    <a:lnTo>
                      <a:pt x="12859" y="205930"/>
                    </a:lnTo>
                    <a:lnTo>
                      <a:pt x="13621" y="207550"/>
                    </a:lnTo>
                    <a:lnTo>
                      <a:pt x="12859" y="210121"/>
                    </a:lnTo>
                    <a:lnTo>
                      <a:pt x="12859" y="210121"/>
                    </a:lnTo>
                    <a:lnTo>
                      <a:pt x="13621" y="210979"/>
                    </a:lnTo>
                    <a:lnTo>
                      <a:pt x="14478" y="211741"/>
                    </a:lnTo>
                    <a:lnTo>
                      <a:pt x="15335" y="212598"/>
                    </a:lnTo>
                    <a:lnTo>
                      <a:pt x="16193" y="212598"/>
                    </a:lnTo>
                    <a:lnTo>
                      <a:pt x="17050" y="213455"/>
                    </a:lnTo>
                    <a:lnTo>
                      <a:pt x="17907" y="213455"/>
                    </a:lnTo>
                    <a:lnTo>
                      <a:pt x="17907" y="213455"/>
                    </a:lnTo>
                    <a:lnTo>
                      <a:pt x="18764" y="213455"/>
                    </a:lnTo>
                    <a:lnTo>
                      <a:pt x="19621" y="214313"/>
                    </a:lnTo>
                    <a:lnTo>
                      <a:pt x="19621" y="215170"/>
                    </a:lnTo>
                    <a:lnTo>
                      <a:pt x="21336" y="215932"/>
                    </a:lnTo>
                    <a:lnTo>
                      <a:pt x="23051" y="215932"/>
                    </a:lnTo>
                    <a:lnTo>
                      <a:pt x="24765" y="216789"/>
                    </a:lnTo>
                    <a:lnTo>
                      <a:pt x="25622" y="217646"/>
                    </a:lnTo>
                    <a:lnTo>
                      <a:pt x="26479" y="218504"/>
                    </a:lnTo>
                    <a:lnTo>
                      <a:pt x="28194" y="220980"/>
                    </a:lnTo>
                    <a:lnTo>
                      <a:pt x="29051" y="221837"/>
                    </a:lnTo>
                    <a:lnTo>
                      <a:pt x="29908" y="221837"/>
                    </a:lnTo>
                    <a:lnTo>
                      <a:pt x="30766" y="220980"/>
                    </a:lnTo>
                    <a:lnTo>
                      <a:pt x="30766" y="220218"/>
                    </a:lnTo>
                    <a:lnTo>
                      <a:pt x="35052" y="215170"/>
                    </a:lnTo>
                    <a:lnTo>
                      <a:pt x="38481" y="208407"/>
                    </a:lnTo>
                    <a:lnTo>
                      <a:pt x="38481" y="207550"/>
                    </a:lnTo>
                    <a:lnTo>
                      <a:pt x="38481" y="206692"/>
                    </a:lnTo>
                    <a:lnTo>
                      <a:pt x="40196" y="204216"/>
                    </a:lnTo>
                    <a:lnTo>
                      <a:pt x="43624" y="202501"/>
                    </a:lnTo>
                    <a:lnTo>
                      <a:pt x="52959" y="192405"/>
                    </a:lnTo>
                    <a:lnTo>
                      <a:pt x="52959" y="191643"/>
                    </a:lnTo>
                    <a:lnTo>
                      <a:pt x="52959" y="190786"/>
                    </a:lnTo>
                    <a:lnTo>
                      <a:pt x="52959" y="189929"/>
                    </a:lnTo>
                    <a:lnTo>
                      <a:pt x="52102" y="189071"/>
                    </a:lnTo>
                    <a:lnTo>
                      <a:pt x="52102" y="188214"/>
                    </a:lnTo>
                    <a:lnTo>
                      <a:pt x="51245" y="187452"/>
                    </a:lnTo>
                    <a:lnTo>
                      <a:pt x="47054" y="186595"/>
                    </a:lnTo>
                    <a:lnTo>
                      <a:pt x="47054" y="186595"/>
                    </a:lnTo>
                    <a:lnTo>
                      <a:pt x="47054" y="186595"/>
                    </a:lnTo>
                    <a:lnTo>
                      <a:pt x="47054" y="186595"/>
                    </a:lnTo>
                    <a:lnTo>
                      <a:pt x="47054" y="186595"/>
                    </a:lnTo>
                    <a:lnTo>
                      <a:pt x="47054" y="185738"/>
                    </a:lnTo>
                    <a:lnTo>
                      <a:pt x="47911" y="184023"/>
                    </a:lnTo>
                    <a:lnTo>
                      <a:pt x="47911" y="183166"/>
                    </a:lnTo>
                    <a:lnTo>
                      <a:pt x="48768" y="182404"/>
                    </a:lnTo>
                    <a:lnTo>
                      <a:pt x="49625" y="181546"/>
                    </a:lnTo>
                    <a:lnTo>
                      <a:pt x="52102" y="180689"/>
                    </a:lnTo>
                    <a:lnTo>
                      <a:pt x="65818" y="179832"/>
                    </a:lnTo>
                    <a:lnTo>
                      <a:pt x="70961" y="180689"/>
                    </a:lnTo>
                    <a:lnTo>
                      <a:pt x="73533" y="179832"/>
                    </a:lnTo>
                    <a:lnTo>
                      <a:pt x="76962" y="179832"/>
                    </a:lnTo>
                    <a:lnTo>
                      <a:pt x="78677" y="180689"/>
                    </a:lnTo>
                    <a:lnTo>
                      <a:pt x="79534" y="180689"/>
                    </a:lnTo>
                    <a:lnTo>
                      <a:pt x="82105" y="183166"/>
                    </a:lnTo>
                    <a:lnTo>
                      <a:pt x="82963" y="184023"/>
                    </a:lnTo>
                    <a:lnTo>
                      <a:pt x="84677" y="184023"/>
                    </a:lnTo>
                    <a:lnTo>
                      <a:pt x="86392" y="184023"/>
                    </a:lnTo>
                    <a:lnTo>
                      <a:pt x="88106" y="184023"/>
                    </a:lnTo>
                    <a:lnTo>
                      <a:pt x="90583" y="184023"/>
                    </a:lnTo>
                    <a:lnTo>
                      <a:pt x="92297" y="184023"/>
                    </a:lnTo>
                    <a:lnTo>
                      <a:pt x="93154" y="184880"/>
                    </a:lnTo>
                    <a:lnTo>
                      <a:pt x="94012" y="185738"/>
                    </a:lnTo>
                    <a:lnTo>
                      <a:pt x="94012" y="186595"/>
                    </a:lnTo>
                    <a:lnTo>
                      <a:pt x="94869" y="186595"/>
                    </a:lnTo>
                    <a:lnTo>
                      <a:pt x="94869" y="186595"/>
                    </a:lnTo>
                    <a:lnTo>
                      <a:pt x="95726" y="186595"/>
                    </a:lnTo>
                    <a:lnTo>
                      <a:pt x="97441" y="186595"/>
                    </a:lnTo>
                    <a:lnTo>
                      <a:pt x="101727" y="186595"/>
                    </a:lnTo>
                    <a:lnTo>
                      <a:pt x="110299" y="184880"/>
                    </a:lnTo>
                    <a:lnTo>
                      <a:pt x="114586" y="182404"/>
                    </a:lnTo>
                    <a:lnTo>
                      <a:pt x="117157" y="181546"/>
                    </a:lnTo>
                    <a:lnTo>
                      <a:pt x="118872" y="179832"/>
                    </a:lnTo>
                    <a:lnTo>
                      <a:pt x="121444" y="176498"/>
                    </a:lnTo>
                    <a:lnTo>
                      <a:pt x="122301" y="174784"/>
                    </a:lnTo>
                    <a:lnTo>
                      <a:pt x="127349" y="172307"/>
                    </a:lnTo>
                    <a:lnTo>
                      <a:pt x="128206" y="171450"/>
                    </a:lnTo>
                    <a:lnTo>
                      <a:pt x="136779" y="163925"/>
                    </a:lnTo>
                    <a:lnTo>
                      <a:pt x="137636" y="163925"/>
                    </a:lnTo>
                    <a:lnTo>
                      <a:pt x="137636" y="163925"/>
                    </a:lnTo>
                    <a:lnTo>
                      <a:pt x="137636" y="164687"/>
                    </a:lnTo>
                    <a:lnTo>
                      <a:pt x="137636" y="165544"/>
                    </a:lnTo>
                    <a:lnTo>
                      <a:pt x="137636" y="167259"/>
                    </a:lnTo>
                    <a:lnTo>
                      <a:pt x="137636" y="171450"/>
                    </a:lnTo>
                    <a:lnTo>
                      <a:pt x="136779" y="174784"/>
                    </a:lnTo>
                    <a:lnTo>
                      <a:pt x="135922" y="176498"/>
                    </a:lnTo>
                    <a:lnTo>
                      <a:pt x="134207" y="183166"/>
                    </a:lnTo>
                    <a:lnTo>
                      <a:pt x="133350" y="184880"/>
                    </a:lnTo>
                    <a:lnTo>
                      <a:pt x="134207" y="185738"/>
                    </a:lnTo>
                    <a:lnTo>
                      <a:pt x="135922" y="187452"/>
                    </a:lnTo>
                    <a:lnTo>
                      <a:pt x="141065" y="190786"/>
                    </a:lnTo>
                    <a:lnTo>
                      <a:pt x="142780" y="191643"/>
                    </a:lnTo>
                    <a:lnTo>
                      <a:pt x="146209" y="192405"/>
                    </a:lnTo>
                    <a:lnTo>
                      <a:pt x="146209" y="192405"/>
                    </a:lnTo>
                    <a:lnTo>
                      <a:pt x="147066" y="191643"/>
                    </a:lnTo>
                    <a:lnTo>
                      <a:pt x="151352" y="189071"/>
                    </a:lnTo>
                    <a:lnTo>
                      <a:pt x="153067" y="188214"/>
                    </a:lnTo>
                    <a:lnTo>
                      <a:pt x="157353" y="188214"/>
                    </a:lnTo>
                    <a:lnTo>
                      <a:pt x="159068" y="187452"/>
                    </a:lnTo>
                    <a:lnTo>
                      <a:pt x="160782" y="185738"/>
                    </a:lnTo>
                    <a:lnTo>
                      <a:pt x="164211" y="180689"/>
                    </a:lnTo>
                    <a:lnTo>
                      <a:pt x="165830" y="178975"/>
                    </a:lnTo>
                    <a:lnTo>
                      <a:pt x="166688" y="178975"/>
                    </a:lnTo>
                    <a:lnTo>
                      <a:pt x="168402" y="178117"/>
                    </a:lnTo>
                    <a:lnTo>
                      <a:pt x="170116" y="178117"/>
                    </a:lnTo>
                    <a:lnTo>
                      <a:pt x="170116" y="177355"/>
                    </a:lnTo>
                    <a:lnTo>
                      <a:pt x="169259" y="176498"/>
                    </a:lnTo>
                    <a:lnTo>
                      <a:pt x="169259" y="175641"/>
                    </a:lnTo>
                    <a:lnTo>
                      <a:pt x="169259" y="175641"/>
                    </a:lnTo>
                    <a:lnTo>
                      <a:pt x="170974" y="174784"/>
                    </a:lnTo>
                    <a:lnTo>
                      <a:pt x="170974" y="174784"/>
                    </a:lnTo>
                    <a:lnTo>
                      <a:pt x="181261" y="159639"/>
                    </a:lnTo>
                    <a:lnTo>
                      <a:pt x="182118" y="158877"/>
                    </a:lnTo>
                    <a:lnTo>
                      <a:pt x="182975" y="158877"/>
                    </a:lnTo>
                    <a:lnTo>
                      <a:pt x="185547" y="158020"/>
                    </a:lnTo>
                    <a:lnTo>
                      <a:pt x="186404" y="158020"/>
                    </a:lnTo>
                    <a:lnTo>
                      <a:pt x="187262" y="155448"/>
                    </a:lnTo>
                    <a:lnTo>
                      <a:pt x="187262" y="152971"/>
                    </a:lnTo>
                    <a:lnTo>
                      <a:pt x="184690" y="140303"/>
                    </a:lnTo>
                    <a:lnTo>
                      <a:pt x="184690" y="137827"/>
                    </a:lnTo>
                    <a:lnTo>
                      <a:pt x="185547" y="135350"/>
                    </a:lnTo>
                    <a:lnTo>
                      <a:pt x="186404" y="134493"/>
                    </a:lnTo>
                    <a:lnTo>
                      <a:pt x="190690" y="132779"/>
                    </a:lnTo>
                    <a:lnTo>
                      <a:pt x="193262" y="131064"/>
                    </a:lnTo>
                    <a:lnTo>
                      <a:pt x="197548" y="126016"/>
                    </a:lnTo>
                    <a:lnTo>
                      <a:pt x="200978" y="121825"/>
                    </a:lnTo>
                    <a:lnTo>
                      <a:pt x="201835" y="119348"/>
                    </a:lnTo>
                    <a:lnTo>
                      <a:pt x="201835" y="116776"/>
                    </a:lnTo>
                    <a:lnTo>
                      <a:pt x="200978" y="116014"/>
                    </a:lnTo>
                    <a:lnTo>
                      <a:pt x="196691" y="114300"/>
                    </a:lnTo>
                    <a:lnTo>
                      <a:pt x="194977" y="113443"/>
                    </a:lnTo>
                    <a:lnTo>
                      <a:pt x="194120" y="105061"/>
                    </a:lnTo>
                    <a:lnTo>
                      <a:pt x="194977" y="103346"/>
                    </a:lnTo>
                    <a:lnTo>
                      <a:pt x="195834" y="102489"/>
                    </a:lnTo>
                    <a:lnTo>
                      <a:pt x="195834" y="101727"/>
                    </a:lnTo>
                    <a:lnTo>
                      <a:pt x="195834" y="100870"/>
                    </a:lnTo>
                    <a:lnTo>
                      <a:pt x="194977" y="100870"/>
                    </a:lnTo>
                    <a:lnTo>
                      <a:pt x="194120" y="100013"/>
                    </a:lnTo>
                    <a:lnTo>
                      <a:pt x="193262" y="100013"/>
                    </a:lnTo>
                    <a:lnTo>
                      <a:pt x="191548" y="99155"/>
                    </a:lnTo>
                    <a:lnTo>
                      <a:pt x="190690" y="95821"/>
                    </a:lnTo>
                    <a:lnTo>
                      <a:pt x="189833" y="90773"/>
                    </a:lnTo>
                    <a:lnTo>
                      <a:pt x="189833" y="85725"/>
                    </a:lnTo>
                    <a:lnTo>
                      <a:pt x="190690" y="82391"/>
                    </a:lnTo>
                    <a:lnTo>
                      <a:pt x="192405" y="78200"/>
                    </a:lnTo>
                    <a:lnTo>
                      <a:pt x="193262" y="76486"/>
                    </a:lnTo>
                    <a:lnTo>
                      <a:pt x="192405" y="74009"/>
                    </a:lnTo>
                    <a:lnTo>
                      <a:pt x="189833" y="69723"/>
                    </a:lnTo>
                    <a:lnTo>
                      <a:pt x="189833" y="68104"/>
                    </a:lnTo>
                    <a:lnTo>
                      <a:pt x="191548" y="65532"/>
                    </a:lnTo>
                    <a:lnTo>
                      <a:pt x="191548" y="65532"/>
                    </a:lnTo>
                    <a:lnTo>
                      <a:pt x="193262" y="63913"/>
                    </a:lnTo>
                    <a:lnTo>
                      <a:pt x="196691" y="60484"/>
                    </a:lnTo>
                    <a:lnTo>
                      <a:pt x="197548" y="58864"/>
                    </a:lnTo>
                    <a:lnTo>
                      <a:pt x="198406" y="57150"/>
                    </a:lnTo>
                    <a:lnTo>
                      <a:pt x="198406" y="56293"/>
                    </a:lnTo>
                    <a:lnTo>
                      <a:pt x="198406" y="55435"/>
                    </a:lnTo>
                    <a:lnTo>
                      <a:pt x="198406" y="52102"/>
                    </a:lnTo>
                    <a:lnTo>
                      <a:pt x="199263" y="51244"/>
                    </a:lnTo>
                    <a:lnTo>
                      <a:pt x="200120" y="50387"/>
                    </a:lnTo>
                    <a:lnTo>
                      <a:pt x="200978" y="49625"/>
                    </a:lnTo>
                    <a:lnTo>
                      <a:pt x="203454" y="48768"/>
                    </a:lnTo>
                    <a:lnTo>
                      <a:pt x="204311" y="48768"/>
                    </a:lnTo>
                    <a:lnTo>
                      <a:pt x="206026" y="47911"/>
                    </a:lnTo>
                    <a:lnTo>
                      <a:pt x="206883" y="45434"/>
                    </a:lnTo>
                    <a:lnTo>
                      <a:pt x="208597" y="44577"/>
                    </a:lnTo>
                    <a:lnTo>
                      <a:pt x="210312" y="44577"/>
                    </a:lnTo>
                    <a:lnTo>
                      <a:pt x="212027" y="47054"/>
                    </a:lnTo>
                    <a:lnTo>
                      <a:pt x="212884" y="47054"/>
                    </a:lnTo>
                    <a:lnTo>
                      <a:pt x="212884" y="47054"/>
                    </a:lnTo>
                    <a:lnTo>
                      <a:pt x="212884" y="42863"/>
                    </a:lnTo>
                    <a:lnTo>
                      <a:pt x="212884" y="42863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35" name="Freeform: Shape 139">
                <a:extLst>
                  <a:ext uri="{FF2B5EF4-FFF2-40B4-BE49-F238E27FC236}">
                    <a16:creationId xmlns:a16="http://schemas.microsoft.com/office/drawing/2014/main" id="{1C9FA839-BB10-40DE-8D50-E9A1988FB6C7}"/>
                  </a:ext>
                </a:extLst>
              </p:cNvPr>
              <p:cNvSpPr/>
              <p:nvPr/>
            </p:nvSpPr>
            <p:spPr>
              <a:xfrm>
                <a:off x="7145178" y="3209734"/>
                <a:ext cx="123825" cy="295275"/>
              </a:xfrm>
              <a:custGeom>
                <a:avLst/>
                <a:gdLst>
                  <a:gd name="connsiteX0" fmla="*/ 126206 w 123825"/>
                  <a:gd name="connsiteY0" fmla="*/ 127921 h 295275"/>
                  <a:gd name="connsiteX1" fmla="*/ 126206 w 123825"/>
                  <a:gd name="connsiteY1" fmla="*/ 124492 h 295275"/>
                  <a:gd name="connsiteX2" fmla="*/ 130397 w 123825"/>
                  <a:gd name="connsiteY2" fmla="*/ 101441 h 295275"/>
                  <a:gd name="connsiteX3" fmla="*/ 129540 w 123825"/>
                  <a:gd name="connsiteY3" fmla="*/ 97155 h 295275"/>
                  <a:gd name="connsiteX4" fmla="*/ 129540 w 123825"/>
                  <a:gd name="connsiteY4" fmla="*/ 96393 h 295275"/>
                  <a:gd name="connsiteX5" fmla="*/ 127826 w 123825"/>
                  <a:gd name="connsiteY5" fmla="*/ 93821 h 295275"/>
                  <a:gd name="connsiteX6" fmla="*/ 126968 w 123825"/>
                  <a:gd name="connsiteY6" fmla="*/ 92964 h 295275"/>
                  <a:gd name="connsiteX7" fmla="*/ 123635 w 123825"/>
                  <a:gd name="connsiteY7" fmla="*/ 90392 h 295275"/>
                  <a:gd name="connsiteX8" fmla="*/ 121920 w 123825"/>
                  <a:gd name="connsiteY8" fmla="*/ 75914 h 295275"/>
                  <a:gd name="connsiteX9" fmla="*/ 121920 w 123825"/>
                  <a:gd name="connsiteY9" fmla="*/ 71628 h 295275"/>
                  <a:gd name="connsiteX10" fmla="*/ 121920 w 123825"/>
                  <a:gd name="connsiteY10" fmla="*/ 69914 h 295275"/>
                  <a:gd name="connsiteX11" fmla="*/ 121158 w 123825"/>
                  <a:gd name="connsiteY11" fmla="*/ 69056 h 295275"/>
                  <a:gd name="connsiteX12" fmla="*/ 120301 w 123825"/>
                  <a:gd name="connsiteY12" fmla="*/ 68199 h 295275"/>
                  <a:gd name="connsiteX13" fmla="*/ 119444 w 123825"/>
                  <a:gd name="connsiteY13" fmla="*/ 67342 h 295275"/>
                  <a:gd name="connsiteX14" fmla="*/ 117729 w 123825"/>
                  <a:gd name="connsiteY14" fmla="*/ 63056 h 295275"/>
                  <a:gd name="connsiteX15" fmla="*/ 116110 w 123825"/>
                  <a:gd name="connsiteY15" fmla="*/ 61341 h 295275"/>
                  <a:gd name="connsiteX16" fmla="*/ 116110 w 123825"/>
                  <a:gd name="connsiteY16" fmla="*/ 58865 h 295275"/>
                  <a:gd name="connsiteX17" fmla="*/ 115253 w 123825"/>
                  <a:gd name="connsiteY17" fmla="*/ 56293 h 295275"/>
                  <a:gd name="connsiteX18" fmla="*/ 116110 w 123825"/>
                  <a:gd name="connsiteY18" fmla="*/ 54578 h 295275"/>
                  <a:gd name="connsiteX19" fmla="*/ 115253 w 123825"/>
                  <a:gd name="connsiteY19" fmla="*/ 54578 h 295275"/>
                  <a:gd name="connsiteX20" fmla="*/ 114395 w 123825"/>
                  <a:gd name="connsiteY20" fmla="*/ 54578 h 295275"/>
                  <a:gd name="connsiteX21" fmla="*/ 111062 w 123825"/>
                  <a:gd name="connsiteY21" fmla="*/ 56293 h 295275"/>
                  <a:gd name="connsiteX22" fmla="*/ 110204 w 123825"/>
                  <a:gd name="connsiteY22" fmla="*/ 56293 h 295275"/>
                  <a:gd name="connsiteX23" fmla="*/ 109347 w 123825"/>
                  <a:gd name="connsiteY23" fmla="*/ 55436 h 295275"/>
                  <a:gd name="connsiteX24" fmla="*/ 110204 w 123825"/>
                  <a:gd name="connsiteY24" fmla="*/ 55436 h 295275"/>
                  <a:gd name="connsiteX25" fmla="*/ 110204 w 123825"/>
                  <a:gd name="connsiteY25" fmla="*/ 54578 h 295275"/>
                  <a:gd name="connsiteX26" fmla="*/ 110204 w 123825"/>
                  <a:gd name="connsiteY26" fmla="*/ 53721 h 295275"/>
                  <a:gd name="connsiteX27" fmla="*/ 110204 w 123825"/>
                  <a:gd name="connsiteY27" fmla="*/ 52864 h 295275"/>
                  <a:gd name="connsiteX28" fmla="*/ 110204 w 123825"/>
                  <a:gd name="connsiteY28" fmla="*/ 52007 h 295275"/>
                  <a:gd name="connsiteX29" fmla="*/ 108490 w 123825"/>
                  <a:gd name="connsiteY29" fmla="*/ 50292 h 295275"/>
                  <a:gd name="connsiteX30" fmla="*/ 108490 w 123825"/>
                  <a:gd name="connsiteY30" fmla="*/ 50292 h 295275"/>
                  <a:gd name="connsiteX31" fmla="*/ 107633 w 123825"/>
                  <a:gd name="connsiteY31" fmla="*/ 50292 h 295275"/>
                  <a:gd name="connsiteX32" fmla="*/ 106775 w 123825"/>
                  <a:gd name="connsiteY32" fmla="*/ 51149 h 295275"/>
                  <a:gd name="connsiteX33" fmla="*/ 106775 w 123825"/>
                  <a:gd name="connsiteY33" fmla="*/ 52007 h 295275"/>
                  <a:gd name="connsiteX34" fmla="*/ 106013 w 123825"/>
                  <a:gd name="connsiteY34" fmla="*/ 52864 h 295275"/>
                  <a:gd name="connsiteX35" fmla="*/ 105156 w 123825"/>
                  <a:gd name="connsiteY35" fmla="*/ 52864 h 295275"/>
                  <a:gd name="connsiteX36" fmla="*/ 103442 w 123825"/>
                  <a:gd name="connsiteY36" fmla="*/ 53721 h 295275"/>
                  <a:gd name="connsiteX37" fmla="*/ 101727 w 123825"/>
                  <a:gd name="connsiteY37" fmla="*/ 53721 h 295275"/>
                  <a:gd name="connsiteX38" fmla="*/ 101727 w 123825"/>
                  <a:gd name="connsiteY38" fmla="*/ 53721 h 295275"/>
                  <a:gd name="connsiteX39" fmla="*/ 100965 w 123825"/>
                  <a:gd name="connsiteY39" fmla="*/ 53721 h 295275"/>
                  <a:gd name="connsiteX40" fmla="*/ 100965 w 123825"/>
                  <a:gd name="connsiteY40" fmla="*/ 52864 h 295275"/>
                  <a:gd name="connsiteX41" fmla="*/ 100965 w 123825"/>
                  <a:gd name="connsiteY41" fmla="*/ 52007 h 295275"/>
                  <a:gd name="connsiteX42" fmla="*/ 100965 w 123825"/>
                  <a:gd name="connsiteY42" fmla="*/ 52007 h 295275"/>
                  <a:gd name="connsiteX43" fmla="*/ 100108 w 123825"/>
                  <a:gd name="connsiteY43" fmla="*/ 51149 h 295275"/>
                  <a:gd name="connsiteX44" fmla="*/ 99251 w 123825"/>
                  <a:gd name="connsiteY44" fmla="*/ 51149 h 295275"/>
                  <a:gd name="connsiteX45" fmla="*/ 98393 w 123825"/>
                  <a:gd name="connsiteY45" fmla="*/ 51149 h 295275"/>
                  <a:gd name="connsiteX46" fmla="*/ 97536 w 123825"/>
                  <a:gd name="connsiteY46" fmla="*/ 51149 h 295275"/>
                  <a:gd name="connsiteX47" fmla="*/ 95917 w 123825"/>
                  <a:gd name="connsiteY47" fmla="*/ 52864 h 295275"/>
                  <a:gd name="connsiteX48" fmla="*/ 95060 w 123825"/>
                  <a:gd name="connsiteY48" fmla="*/ 52864 h 295275"/>
                  <a:gd name="connsiteX49" fmla="*/ 94202 w 123825"/>
                  <a:gd name="connsiteY49" fmla="*/ 52864 h 295275"/>
                  <a:gd name="connsiteX50" fmla="*/ 93345 w 123825"/>
                  <a:gd name="connsiteY50" fmla="*/ 52864 h 295275"/>
                  <a:gd name="connsiteX51" fmla="*/ 92488 w 123825"/>
                  <a:gd name="connsiteY51" fmla="*/ 52007 h 295275"/>
                  <a:gd name="connsiteX52" fmla="*/ 91726 w 123825"/>
                  <a:gd name="connsiteY52" fmla="*/ 51149 h 295275"/>
                  <a:gd name="connsiteX53" fmla="*/ 90011 w 123825"/>
                  <a:gd name="connsiteY53" fmla="*/ 50292 h 295275"/>
                  <a:gd name="connsiteX54" fmla="*/ 82391 w 123825"/>
                  <a:gd name="connsiteY54" fmla="*/ 46863 h 295275"/>
                  <a:gd name="connsiteX55" fmla="*/ 80772 w 123825"/>
                  <a:gd name="connsiteY55" fmla="*/ 46863 h 295275"/>
                  <a:gd name="connsiteX56" fmla="*/ 80772 w 123825"/>
                  <a:gd name="connsiteY56" fmla="*/ 46006 h 295275"/>
                  <a:gd name="connsiteX57" fmla="*/ 79915 w 123825"/>
                  <a:gd name="connsiteY57" fmla="*/ 45149 h 295275"/>
                  <a:gd name="connsiteX58" fmla="*/ 80772 w 123825"/>
                  <a:gd name="connsiteY58" fmla="*/ 45149 h 295275"/>
                  <a:gd name="connsiteX59" fmla="*/ 80772 w 123825"/>
                  <a:gd name="connsiteY59" fmla="*/ 44291 h 295275"/>
                  <a:gd name="connsiteX60" fmla="*/ 81629 w 123825"/>
                  <a:gd name="connsiteY60" fmla="*/ 43434 h 295275"/>
                  <a:gd name="connsiteX61" fmla="*/ 82391 w 123825"/>
                  <a:gd name="connsiteY61" fmla="*/ 43434 h 295275"/>
                  <a:gd name="connsiteX62" fmla="*/ 82391 w 123825"/>
                  <a:gd name="connsiteY62" fmla="*/ 42577 h 295275"/>
                  <a:gd name="connsiteX63" fmla="*/ 82391 w 123825"/>
                  <a:gd name="connsiteY63" fmla="*/ 41720 h 295275"/>
                  <a:gd name="connsiteX64" fmla="*/ 82391 w 123825"/>
                  <a:gd name="connsiteY64" fmla="*/ 39243 h 295275"/>
                  <a:gd name="connsiteX65" fmla="*/ 82391 w 123825"/>
                  <a:gd name="connsiteY65" fmla="*/ 36671 h 295275"/>
                  <a:gd name="connsiteX66" fmla="*/ 83249 w 123825"/>
                  <a:gd name="connsiteY66" fmla="*/ 34957 h 295275"/>
                  <a:gd name="connsiteX67" fmla="*/ 83249 w 123825"/>
                  <a:gd name="connsiteY67" fmla="*/ 34100 h 295275"/>
                  <a:gd name="connsiteX68" fmla="*/ 83249 w 123825"/>
                  <a:gd name="connsiteY68" fmla="*/ 32385 h 295275"/>
                  <a:gd name="connsiteX69" fmla="*/ 84106 w 123825"/>
                  <a:gd name="connsiteY69" fmla="*/ 30671 h 295275"/>
                  <a:gd name="connsiteX70" fmla="*/ 84106 w 123825"/>
                  <a:gd name="connsiteY70" fmla="*/ 29813 h 295275"/>
                  <a:gd name="connsiteX71" fmla="*/ 84106 w 123825"/>
                  <a:gd name="connsiteY71" fmla="*/ 27242 h 295275"/>
                  <a:gd name="connsiteX72" fmla="*/ 84106 w 123825"/>
                  <a:gd name="connsiteY72" fmla="*/ 25527 h 295275"/>
                  <a:gd name="connsiteX73" fmla="*/ 84963 w 123825"/>
                  <a:gd name="connsiteY73" fmla="*/ 23813 h 295275"/>
                  <a:gd name="connsiteX74" fmla="*/ 85820 w 123825"/>
                  <a:gd name="connsiteY74" fmla="*/ 22098 h 295275"/>
                  <a:gd name="connsiteX75" fmla="*/ 87439 w 123825"/>
                  <a:gd name="connsiteY75" fmla="*/ 20479 h 295275"/>
                  <a:gd name="connsiteX76" fmla="*/ 87439 w 123825"/>
                  <a:gd name="connsiteY76" fmla="*/ 18764 h 295275"/>
                  <a:gd name="connsiteX77" fmla="*/ 87439 w 123825"/>
                  <a:gd name="connsiteY77" fmla="*/ 17050 h 295275"/>
                  <a:gd name="connsiteX78" fmla="*/ 84963 w 123825"/>
                  <a:gd name="connsiteY78" fmla="*/ 15335 h 295275"/>
                  <a:gd name="connsiteX79" fmla="*/ 84963 w 123825"/>
                  <a:gd name="connsiteY79" fmla="*/ 13621 h 295275"/>
                  <a:gd name="connsiteX80" fmla="*/ 84963 w 123825"/>
                  <a:gd name="connsiteY80" fmla="*/ 11049 h 295275"/>
                  <a:gd name="connsiteX81" fmla="*/ 84963 w 123825"/>
                  <a:gd name="connsiteY81" fmla="*/ 10192 h 295275"/>
                  <a:gd name="connsiteX82" fmla="*/ 81629 w 123825"/>
                  <a:gd name="connsiteY82" fmla="*/ 12764 h 295275"/>
                  <a:gd name="connsiteX83" fmla="*/ 79915 w 123825"/>
                  <a:gd name="connsiteY83" fmla="*/ 12764 h 295275"/>
                  <a:gd name="connsiteX84" fmla="*/ 76581 w 123825"/>
                  <a:gd name="connsiteY84" fmla="*/ 11906 h 295275"/>
                  <a:gd name="connsiteX85" fmla="*/ 74867 w 123825"/>
                  <a:gd name="connsiteY85" fmla="*/ 11049 h 295275"/>
                  <a:gd name="connsiteX86" fmla="*/ 68104 w 123825"/>
                  <a:gd name="connsiteY86" fmla="*/ 14478 h 295275"/>
                  <a:gd name="connsiteX87" fmla="*/ 66485 w 123825"/>
                  <a:gd name="connsiteY87" fmla="*/ 14478 h 295275"/>
                  <a:gd name="connsiteX88" fmla="*/ 64770 w 123825"/>
                  <a:gd name="connsiteY88" fmla="*/ 13621 h 295275"/>
                  <a:gd name="connsiteX89" fmla="*/ 63913 w 123825"/>
                  <a:gd name="connsiteY89" fmla="*/ 12764 h 295275"/>
                  <a:gd name="connsiteX90" fmla="*/ 58864 w 123825"/>
                  <a:gd name="connsiteY90" fmla="*/ 2477 h 295275"/>
                  <a:gd name="connsiteX91" fmla="*/ 58007 w 123825"/>
                  <a:gd name="connsiteY91" fmla="*/ 1715 h 295275"/>
                  <a:gd name="connsiteX92" fmla="*/ 57245 w 123825"/>
                  <a:gd name="connsiteY92" fmla="*/ 0 h 295275"/>
                  <a:gd name="connsiteX93" fmla="*/ 56388 w 123825"/>
                  <a:gd name="connsiteY93" fmla="*/ 0 h 295275"/>
                  <a:gd name="connsiteX94" fmla="*/ 55531 w 123825"/>
                  <a:gd name="connsiteY94" fmla="*/ 857 h 295275"/>
                  <a:gd name="connsiteX95" fmla="*/ 54674 w 123825"/>
                  <a:gd name="connsiteY95" fmla="*/ 1715 h 295275"/>
                  <a:gd name="connsiteX96" fmla="*/ 51340 w 123825"/>
                  <a:gd name="connsiteY96" fmla="*/ 11049 h 295275"/>
                  <a:gd name="connsiteX97" fmla="*/ 50483 w 123825"/>
                  <a:gd name="connsiteY97" fmla="*/ 12764 h 295275"/>
                  <a:gd name="connsiteX98" fmla="*/ 50483 w 123825"/>
                  <a:gd name="connsiteY98" fmla="*/ 13621 h 295275"/>
                  <a:gd name="connsiteX99" fmla="*/ 49625 w 123825"/>
                  <a:gd name="connsiteY99" fmla="*/ 14478 h 295275"/>
                  <a:gd name="connsiteX100" fmla="*/ 47911 w 123825"/>
                  <a:gd name="connsiteY100" fmla="*/ 17050 h 295275"/>
                  <a:gd name="connsiteX101" fmla="*/ 42101 w 123825"/>
                  <a:gd name="connsiteY101" fmla="*/ 22955 h 295275"/>
                  <a:gd name="connsiteX102" fmla="*/ 41243 w 123825"/>
                  <a:gd name="connsiteY102" fmla="*/ 24670 h 295275"/>
                  <a:gd name="connsiteX103" fmla="*/ 41243 w 123825"/>
                  <a:gd name="connsiteY103" fmla="*/ 26384 h 295275"/>
                  <a:gd name="connsiteX104" fmla="*/ 41243 w 123825"/>
                  <a:gd name="connsiteY104" fmla="*/ 27242 h 295275"/>
                  <a:gd name="connsiteX105" fmla="*/ 41243 w 123825"/>
                  <a:gd name="connsiteY105" fmla="*/ 28956 h 295275"/>
                  <a:gd name="connsiteX106" fmla="*/ 41243 w 123825"/>
                  <a:gd name="connsiteY106" fmla="*/ 29813 h 295275"/>
                  <a:gd name="connsiteX107" fmla="*/ 40386 w 123825"/>
                  <a:gd name="connsiteY107" fmla="*/ 29813 h 295275"/>
                  <a:gd name="connsiteX108" fmla="*/ 39529 w 123825"/>
                  <a:gd name="connsiteY108" fmla="*/ 30671 h 295275"/>
                  <a:gd name="connsiteX109" fmla="*/ 38671 w 123825"/>
                  <a:gd name="connsiteY109" fmla="*/ 30671 h 295275"/>
                  <a:gd name="connsiteX110" fmla="*/ 37814 w 123825"/>
                  <a:gd name="connsiteY110" fmla="*/ 31528 h 295275"/>
                  <a:gd name="connsiteX111" fmla="*/ 33623 w 123825"/>
                  <a:gd name="connsiteY111" fmla="*/ 35814 h 295275"/>
                  <a:gd name="connsiteX112" fmla="*/ 30289 w 123825"/>
                  <a:gd name="connsiteY112" fmla="*/ 38386 h 295275"/>
                  <a:gd name="connsiteX113" fmla="*/ 29432 w 123825"/>
                  <a:gd name="connsiteY113" fmla="*/ 40100 h 295275"/>
                  <a:gd name="connsiteX114" fmla="*/ 27718 w 123825"/>
                  <a:gd name="connsiteY114" fmla="*/ 41720 h 295275"/>
                  <a:gd name="connsiteX115" fmla="*/ 26956 w 123825"/>
                  <a:gd name="connsiteY115" fmla="*/ 42577 h 295275"/>
                  <a:gd name="connsiteX116" fmla="*/ 26099 w 123825"/>
                  <a:gd name="connsiteY116" fmla="*/ 42577 h 295275"/>
                  <a:gd name="connsiteX117" fmla="*/ 24384 w 123825"/>
                  <a:gd name="connsiteY117" fmla="*/ 43434 h 295275"/>
                  <a:gd name="connsiteX118" fmla="*/ 23527 w 123825"/>
                  <a:gd name="connsiteY118" fmla="*/ 42577 h 295275"/>
                  <a:gd name="connsiteX119" fmla="*/ 22765 w 123825"/>
                  <a:gd name="connsiteY119" fmla="*/ 42577 h 295275"/>
                  <a:gd name="connsiteX120" fmla="*/ 21908 w 123825"/>
                  <a:gd name="connsiteY120" fmla="*/ 41720 h 295275"/>
                  <a:gd name="connsiteX121" fmla="*/ 21050 w 123825"/>
                  <a:gd name="connsiteY121" fmla="*/ 40862 h 295275"/>
                  <a:gd name="connsiteX122" fmla="*/ 20193 w 123825"/>
                  <a:gd name="connsiteY122" fmla="*/ 40100 h 295275"/>
                  <a:gd name="connsiteX123" fmla="*/ 19336 w 123825"/>
                  <a:gd name="connsiteY123" fmla="*/ 38386 h 295275"/>
                  <a:gd name="connsiteX124" fmla="*/ 18479 w 123825"/>
                  <a:gd name="connsiteY124" fmla="*/ 34957 h 295275"/>
                  <a:gd name="connsiteX125" fmla="*/ 18479 w 123825"/>
                  <a:gd name="connsiteY125" fmla="*/ 34100 h 295275"/>
                  <a:gd name="connsiteX126" fmla="*/ 18479 w 123825"/>
                  <a:gd name="connsiteY126" fmla="*/ 33242 h 295275"/>
                  <a:gd name="connsiteX127" fmla="*/ 19336 w 123825"/>
                  <a:gd name="connsiteY127" fmla="*/ 31528 h 295275"/>
                  <a:gd name="connsiteX128" fmla="*/ 20193 w 123825"/>
                  <a:gd name="connsiteY128" fmla="*/ 31528 h 295275"/>
                  <a:gd name="connsiteX129" fmla="*/ 20193 w 123825"/>
                  <a:gd name="connsiteY129" fmla="*/ 30671 h 295275"/>
                  <a:gd name="connsiteX130" fmla="*/ 20193 w 123825"/>
                  <a:gd name="connsiteY130" fmla="*/ 30671 h 295275"/>
                  <a:gd name="connsiteX131" fmla="*/ 20193 w 123825"/>
                  <a:gd name="connsiteY131" fmla="*/ 29813 h 295275"/>
                  <a:gd name="connsiteX132" fmla="*/ 19336 w 123825"/>
                  <a:gd name="connsiteY132" fmla="*/ 29813 h 295275"/>
                  <a:gd name="connsiteX133" fmla="*/ 18479 w 123825"/>
                  <a:gd name="connsiteY133" fmla="*/ 29813 h 295275"/>
                  <a:gd name="connsiteX134" fmla="*/ 13430 w 123825"/>
                  <a:gd name="connsiteY134" fmla="*/ 28956 h 295275"/>
                  <a:gd name="connsiteX135" fmla="*/ 5905 w 123825"/>
                  <a:gd name="connsiteY135" fmla="*/ 29813 h 295275"/>
                  <a:gd name="connsiteX136" fmla="*/ 6763 w 123825"/>
                  <a:gd name="connsiteY136" fmla="*/ 31528 h 295275"/>
                  <a:gd name="connsiteX137" fmla="*/ 6763 w 123825"/>
                  <a:gd name="connsiteY137" fmla="*/ 32385 h 295275"/>
                  <a:gd name="connsiteX138" fmla="*/ 7620 w 123825"/>
                  <a:gd name="connsiteY138" fmla="*/ 32385 h 295275"/>
                  <a:gd name="connsiteX139" fmla="*/ 7620 w 123825"/>
                  <a:gd name="connsiteY139" fmla="*/ 33242 h 295275"/>
                  <a:gd name="connsiteX140" fmla="*/ 8382 w 123825"/>
                  <a:gd name="connsiteY140" fmla="*/ 34100 h 295275"/>
                  <a:gd name="connsiteX141" fmla="*/ 8382 w 123825"/>
                  <a:gd name="connsiteY141" fmla="*/ 34957 h 295275"/>
                  <a:gd name="connsiteX142" fmla="*/ 8382 w 123825"/>
                  <a:gd name="connsiteY142" fmla="*/ 35814 h 295275"/>
                  <a:gd name="connsiteX143" fmla="*/ 9239 w 123825"/>
                  <a:gd name="connsiteY143" fmla="*/ 46006 h 295275"/>
                  <a:gd name="connsiteX144" fmla="*/ 9239 w 123825"/>
                  <a:gd name="connsiteY144" fmla="*/ 46863 h 295275"/>
                  <a:gd name="connsiteX145" fmla="*/ 8382 w 123825"/>
                  <a:gd name="connsiteY145" fmla="*/ 52007 h 295275"/>
                  <a:gd name="connsiteX146" fmla="*/ 7620 w 123825"/>
                  <a:gd name="connsiteY146" fmla="*/ 54578 h 295275"/>
                  <a:gd name="connsiteX147" fmla="*/ 8382 w 123825"/>
                  <a:gd name="connsiteY147" fmla="*/ 55436 h 295275"/>
                  <a:gd name="connsiteX148" fmla="*/ 8382 w 123825"/>
                  <a:gd name="connsiteY148" fmla="*/ 56293 h 295275"/>
                  <a:gd name="connsiteX149" fmla="*/ 8382 w 123825"/>
                  <a:gd name="connsiteY149" fmla="*/ 56293 h 295275"/>
                  <a:gd name="connsiteX150" fmla="*/ 9239 w 123825"/>
                  <a:gd name="connsiteY150" fmla="*/ 58007 h 295275"/>
                  <a:gd name="connsiteX151" fmla="*/ 9239 w 123825"/>
                  <a:gd name="connsiteY151" fmla="*/ 58865 h 295275"/>
                  <a:gd name="connsiteX152" fmla="*/ 9239 w 123825"/>
                  <a:gd name="connsiteY152" fmla="*/ 58865 h 295275"/>
                  <a:gd name="connsiteX153" fmla="*/ 9239 w 123825"/>
                  <a:gd name="connsiteY153" fmla="*/ 61341 h 295275"/>
                  <a:gd name="connsiteX154" fmla="*/ 7620 w 123825"/>
                  <a:gd name="connsiteY154" fmla="*/ 64770 h 295275"/>
                  <a:gd name="connsiteX155" fmla="*/ 7620 w 123825"/>
                  <a:gd name="connsiteY155" fmla="*/ 65627 h 295275"/>
                  <a:gd name="connsiteX156" fmla="*/ 7620 w 123825"/>
                  <a:gd name="connsiteY156" fmla="*/ 66485 h 295275"/>
                  <a:gd name="connsiteX157" fmla="*/ 7620 w 123825"/>
                  <a:gd name="connsiteY157" fmla="*/ 69056 h 295275"/>
                  <a:gd name="connsiteX158" fmla="*/ 7620 w 123825"/>
                  <a:gd name="connsiteY158" fmla="*/ 69914 h 295275"/>
                  <a:gd name="connsiteX159" fmla="*/ 7620 w 123825"/>
                  <a:gd name="connsiteY159" fmla="*/ 69914 h 295275"/>
                  <a:gd name="connsiteX160" fmla="*/ 8382 w 123825"/>
                  <a:gd name="connsiteY160" fmla="*/ 71628 h 295275"/>
                  <a:gd name="connsiteX161" fmla="*/ 8382 w 123825"/>
                  <a:gd name="connsiteY161" fmla="*/ 71628 h 295275"/>
                  <a:gd name="connsiteX162" fmla="*/ 8382 w 123825"/>
                  <a:gd name="connsiteY162" fmla="*/ 72485 h 295275"/>
                  <a:gd name="connsiteX163" fmla="*/ 8382 w 123825"/>
                  <a:gd name="connsiteY163" fmla="*/ 73342 h 295275"/>
                  <a:gd name="connsiteX164" fmla="*/ 8382 w 123825"/>
                  <a:gd name="connsiteY164" fmla="*/ 75057 h 295275"/>
                  <a:gd name="connsiteX165" fmla="*/ 8382 w 123825"/>
                  <a:gd name="connsiteY165" fmla="*/ 75914 h 295275"/>
                  <a:gd name="connsiteX166" fmla="*/ 7620 w 123825"/>
                  <a:gd name="connsiteY166" fmla="*/ 76771 h 295275"/>
                  <a:gd name="connsiteX167" fmla="*/ 7620 w 123825"/>
                  <a:gd name="connsiteY167" fmla="*/ 76771 h 295275"/>
                  <a:gd name="connsiteX168" fmla="*/ 7620 w 123825"/>
                  <a:gd name="connsiteY168" fmla="*/ 77629 h 295275"/>
                  <a:gd name="connsiteX169" fmla="*/ 6763 w 123825"/>
                  <a:gd name="connsiteY169" fmla="*/ 77629 h 295275"/>
                  <a:gd name="connsiteX170" fmla="*/ 6763 w 123825"/>
                  <a:gd name="connsiteY170" fmla="*/ 76771 h 295275"/>
                  <a:gd name="connsiteX171" fmla="*/ 6763 w 123825"/>
                  <a:gd name="connsiteY171" fmla="*/ 76771 h 295275"/>
                  <a:gd name="connsiteX172" fmla="*/ 5905 w 123825"/>
                  <a:gd name="connsiteY172" fmla="*/ 76771 h 295275"/>
                  <a:gd name="connsiteX173" fmla="*/ 5905 w 123825"/>
                  <a:gd name="connsiteY173" fmla="*/ 75914 h 295275"/>
                  <a:gd name="connsiteX174" fmla="*/ 5905 w 123825"/>
                  <a:gd name="connsiteY174" fmla="*/ 75914 h 295275"/>
                  <a:gd name="connsiteX175" fmla="*/ 5048 w 123825"/>
                  <a:gd name="connsiteY175" fmla="*/ 76771 h 295275"/>
                  <a:gd name="connsiteX176" fmla="*/ 5048 w 123825"/>
                  <a:gd name="connsiteY176" fmla="*/ 76771 h 295275"/>
                  <a:gd name="connsiteX177" fmla="*/ 4191 w 123825"/>
                  <a:gd name="connsiteY177" fmla="*/ 76771 h 295275"/>
                  <a:gd name="connsiteX178" fmla="*/ 3334 w 123825"/>
                  <a:gd name="connsiteY178" fmla="*/ 77629 h 295275"/>
                  <a:gd name="connsiteX179" fmla="*/ 3334 w 123825"/>
                  <a:gd name="connsiteY179" fmla="*/ 78391 h 295275"/>
                  <a:gd name="connsiteX180" fmla="*/ 2572 w 123825"/>
                  <a:gd name="connsiteY180" fmla="*/ 79248 h 295275"/>
                  <a:gd name="connsiteX181" fmla="*/ 2572 w 123825"/>
                  <a:gd name="connsiteY181" fmla="*/ 80105 h 295275"/>
                  <a:gd name="connsiteX182" fmla="*/ 2572 w 123825"/>
                  <a:gd name="connsiteY182" fmla="*/ 80963 h 295275"/>
                  <a:gd name="connsiteX183" fmla="*/ 2572 w 123825"/>
                  <a:gd name="connsiteY183" fmla="*/ 81820 h 295275"/>
                  <a:gd name="connsiteX184" fmla="*/ 2572 w 123825"/>
                  <a:gd name="connsiteY184" fmla="*/ 81820 h 295275"/>
                  <a:gd name="connsiteX185" fmla="*/ 2572 w 123825"/>
                  <a:gd name="connsiteY185" fmla="*/ 83534 h 295275"/>
                  <a:gd name="connsiteX186" fmla="*/ 1714 w 123825"/>
                  <a:gd name="connsiteY186" fmla="*/ 85249 h 295275"/>
                  <a:gd name="connsiteX187" fmla="*/ 2572 w 123825"/>
                  <a:gd name="connsiteY187" fmla="*/ 92964 h 295275"/>
                  <a:gd name="connsiteX188" fmla="*/ 1714 w 123825"/>
                  <a:gd name="connsiteY188" fmla="*/ 94679 h 295275"/>
                  <a:gd name="connsiteX189" fmla="*/ 1714 w 123825"/>
                  <a:gd name="connsiteY189" fmla="*/ 96393 h 295275"/>
                  <a:gd name="connsiteX190" fmla="*/ 0 w 123825"/>
                  <a:gd name="connsiteY190" fmla="*/ 101441 h 295275"/>
                  <a:gd name="connsiteX191" fmla="*/ 857 w 123825"/>
                  <a:gd name="connsiteY191" fmla="*/ 105728 h 295275"/>
                  <a:gd name="connsiteX192" fmla="*/ 5048 w 123825"/>
                  <a:gd name="connsiteY192" fmla="*/ 119348 h 295275"/>
                  <a:gd name="connsiteX193" fmla="*/ 5905 w 123825"/>
                  <a:gd name="connsiteY193" fmla="*/ 125349 h 295275"/>
                  <a:gd name="connsiteX194" fmla="*/ 5905 w 123825"/>
                  <a:gd name="connsiteY194" fmla="*/ 127064 h 295275"/>
                  <a:gd name="connsiteX195" fmla="*/ 6763 w 123825"/>
                  <a:gd name="connsiteY195" fmla="*/ 127921 h 295275"/>
                  <a:gd name="connsiteX196" fmla="*/ 8382 w 123825"/>
                  <a:gd name="connsiteY196" fmla="*/ 129635 h 295275"/>
                  <a:gd name="connsiteX197" fmla="*/ 8382 w 123825"/>
                  <a:gd name="connsiteY197" fmla="*/ 130492 h 295275"/>
                  <a:gd name="connsiteX198" fmla="*/ 9239 w 123825"/>
                  <a:gd name="connsiteY198" fmla="*/ 131350 h 295275"/>
                  <a:gd name="connsiteX199" fmla="*/ 8382 w 123825"/>
                  <a:gd name="connsiteY199" fmla="*/ 133064 h 295275"/>
                  <a:gd name="connsiteX200" fmla="*/ 9239 w 123825"/>
                  <a:gd name="connsiteY200" fmla="*/ 133921 h 295275"/>
                  <a:gd name="connsiteX201" fmla="*/ 9239 w 123825"/>
                  <a:gd name="connsiteY201" fmla="*/ 134684 h 295275"/>
                  <a:gd name="connsiteX202" fmla="*/ 10954 w 123825"/>
                  <a:gd name="connsiteY202" fmla="*/ 135541 h 295275"/>
                  <a:gd name="connsiteX203" fmla="*/ 10954 w 123825"/>
                  <a:gd name="connsiteY203" fmla="*/ 136398 h 295275"/>
                  <a:gd name="connsiteX204" fmla="*/ 10954 w 123825"/>
                  <a:gd name="connsiteY204" fmla="*/ 137255 h 295275"/>
                  <a:gd name="connsiteX205" fmla="*/ 10954 w 123825"/>
                  <a:gd name="connsiteY205" fmla="*/ 139827 h 295275"/>
                  <a:gd name="connsiteX206" fmla="*/ 10954 w 123825"/>
                  <a:gd name="connsiteY206" fmla="*/ 141542 h 295275"/>
                  <a:gd name="connsiteX207" fmla="*/ 11811 w 123825"/>
                  <a:gd name="connsiteY207" fmla="*/ 143256 h 295275"/>
                  <a:gd name="connsiteX208" fmla="*/ 11811 w 123825"/>
                  <a:gd name="connsiteY208" fmla="*/ 144113 h 295275"/>
                  <a:gd name="connsiteX209" fmla="*/ 11811 w 123825"/>
                  <a:gd name="connsiteY209" fmla="*/ 145828 h 295275"/>
                  <a:gd name="connsiteX210" fmla="*/ 11811 w 123825"/>
                  <a:gd name="connsiteY210" fmla="*/ 147542 h 295275"/>
                  <a:gd name="connsiteX211" fmla="*/ 9239 w 123825"/>
                  <a:gd name="connsiteY211" fmla="*/ 151829 h 295275"/>
                  <a:gd name="connsiteX212" fmla="*/ 9239 w 123825"/>
                  <a:gd name="connsiteY212" fmla="*/ 153448 h 295275"/>
                  <a:gd name="connsiteX213" fmla="*/ 9239 w 123825"/>
                  <a:gd name="connsiteY213" fmla="*/ 158591 h 295275"/>
                  <a:gd name="connsiteX214" fmla="*/ 11811 w 123825"/>
                  <a:gd name="connsiteY214" fmla="*/ 175641 h 295275"/>
                  <a:gd name="connsiteX215" fmla="*/ 11811 w 123825"/>
                  <a:gd name="connsiteY215" fmla="*/ 184214 h 295275"/>
                  <a:gd name="connsiteX216" fmla="*/ 12668 w 123825"/>
                  <a:gd name="connsiteY216" fmla="*/ 187642 h 295275"/>
                  <a:gd name="connsiteX217" fmla="*/ 14288 w 123825"/>
                  <a:gd name="connsiteY217" fmla="*/ 191071 h 295275"/>
                  <a:gd name="connsiteX218" fmla="*/ 18479 w 123825"/>
                  <a:gd name="connsiteY218" fmla="*/ 192691 h 295275"/>
                  <a:gd name="connsiteX219" fmla="*/ 19336 w 123825"/>
                  <a:gd name="connsiteY219" fmla="*/ 194405 h 295275"/>
                  <a:gd name="connsiteX220" fmla="*/ 21050 w 123825"/>
                  <a:gd name="connsiteY220" fmla="*/ 203835 h 295275"/>
                  <a:gd name="connsiteX221" fmla="*/ 21050 w 123825"/>
                  <a:gd name="connsiteY221" fmla="*/ 208121 h 295275"/>
                  <a:gd name="connsiteX222" fmla="*/ 22765 w 123825"/>
                  <a:gd name="connsiteY222" fmla="*/ 209836 h 295275"/>
                  <a:gd name="connsiteX223" fmla="*/ 26099 w 123825"/>
                  <a:gd name="connsiteY223" fmla="*/ 212312 h 295275"/>
                  <a:gd name="connsiteX224" fmla="*/ 26956 w 123825"/>
                  <a:gd name="connsiteY224" fmla="*/ 214027 h 295275"/>
                  <a:gd name="connsiteX225" fmla="*/ 27718 w 123825"/>
                  <a:gd name="connsiteY225" fmla="*/ 215741 h 295275"/>
                  <a:gd name="connsiteX226" fmla="*/ 28575 w 123825"/>
                  <a:gd name="connsiteY226" fmla="*/ 225171 h 295275"/>
                  <a:gd name="connsiteX227" fmla="*/ 27718 w 123825"/>
                  <a:gd name="connsiteY227" fmla="*/ 231934 h 295275"/>
                  <a:gd name="connsiteX228" fmla="*/ 28575 w 123825"/>
                  <a:gd name="connsiteY228" fmla="*/ 233648 h 295275"/>
                  <a:gd name="connsiteX229" fmla="*/ 29432 w 123825"/>
                  <a:gd name="connsiteY229" fmla="*/ 237935 h 295275"/>
                  <a:gd name="connsiteX230" fmla="*/ 30289 w 123825"/>
                  <a:gd name="connsiteY230" fmla="*/ 239649 h 295275"/>
                  <a:gd name="connsiteX231" fmla="*/ 36195 w 123825"/>
                  <a:gd name="connsiteY231" fmla="*/ 278892 h 295275"/>
                  <a:gd name="connsiteX232" fmla="*/ 36195 w 123825"/>
                  <a:gd name="connsiteY232" fmla="*/ 281464 h 295275"/>
                  <a:gd name="connsiteX233" fmla="*/ 34480 w 123825"/>
                  <a:gd name="connsiteY233" fmla="*/ 282321 h 295275"/>
                  <a:gd name="connsiteX234" fmla="*/ 32766 w 123825"/>
                  <a:gd name="connsiteY234" fmla="*/ 282321 h 295275"/>
                  <a:gd name="connsiteX235" fmla="*/ 32004 w 123825"/>
                  <a:gd name="connsiteY235" fmla="*/ 283178 h 295275"/>
                  <a:gd name="connsiteX236" fmla="*/ 34480 w 123825"/>
                  <a:gd name="connsiteY236" fmla="*/ 291656 h 295275"/>
                  <a:gd name="connsiteX237" fmla="*/ 36195 w 123825"/>
                  <a:gd name="connsiteY237" fmla="*/ 299371 h 295275"/>
                  <a:gd name="connsiteX238" fmla="*/ 36195 w 123825"/>
                  <a:gd name="connsiteY238" fmla="*/ 300228 h 295275"/>
                  <a:gd name="connsiteX239" fmla="*/ 36195 w 123825"/>
                  <a:gd name="connsiteY239" fmla="*/ 301942 h 295275"/>
                  <a:gd name="connsiteX240" fmla="*/ 37052 w 123825"/>
                  <a:gd name="connsiteY240" fmla="*/ 301085 h 295275"/>
                  <a:gd name="connsiteX241" fmla="*/ 37814 w 123825"/>
                  <a:gd name="connsiteY241" fmla="*/ 301085 h 295275"/>
                  <a:gd name="connsiteX242" fmla="*/ 38671 w 123825"/>
                  <a:gd name="connsiteY242" fmla="*/ 300228 h 295275"/>
                  <a:gd name="connsiteX243" fmla="*/ 39529 w 123825"/>
                  <a:gd name="connsiteY243" fmla="*/ 299371 h 295275"/>
                  <a:gd name="connsiteX244" fmla="*/ 40386 w 123825"/>
                  <a:gd name="connsiteY244" fmla="*/ 297656 h 295275"/>
                  <a:gd name="connsiteX245" fmla="*/ 42101 w 123825"/>
                  <a:gd name="connsiteY245" fmla="*/ 297656 h 295275"/>
                  <a:gd name="connsiteX246" fmla="*/ 42863 w 123825"/>
                  <a:gd name="connsiteY246" fmla="*/ 297656 h 295275"/>
                  <a:gd name="connsiteX247" fmla="*/ 44577 w 123825"/>
                  <a:gd name="connsiteY247" fmla="*/ 296799 h 295275"/>
                  <a:gd name="connsiteX248" fmla="*/ 45434 w 123825"/>
                  <a:gd name="connsiteY248" fmla="*/ 295085 h 295275"/>
                  <a:gd name="connsiteX249" fmla="*/ 45434 w 123825"/>
                  <a:gd name="connsiteY249" fmla="*/ 293370 h 295275"/>
                  <a:gd name="connsiteX250" fmla="*/ 44577 w 123825"/>
                  <a:gd name="connsiteY250" fmla="*/ 291656 h 295275"/>
                  <a:gd name="connsiteX251" fmla="*/ 44577 w 123825"/>
                  <a:gd name="connsiteY251" fmla="*/ 289941 h 295275"/>
                  <a:gd name="connsiteX252" fmla="*/ 45434 w 123825"/>
                  <a:gd name="connsiteY252" fmla="*/ 287369 h 295275"/>
                  <a:gd name="connsiteX253" fmla="*/ 46292 w 123825"/>
                  <a:gd name="connsiteY253" fmla="*/ 287369 h 295275"/>
                  <a:gd name="connsiteX254" fmla="*/ 46292 w 123825"/>
                  <a:gd name="connsiteY254" fmla="*/ 288227 h 295275"/>
                  <a:gd name="connsiteX255" fmla="*/ 47149 w 123825"/>
                  <a:gd name="connsiteY255" fmla="*/ 287369 h 295275"/>
                  <a:gd name="connsiteX256" fmla="*/ 47149 w 123825"/>
                  <a:gd name="connsiteY256" fmla="*/ 286512 h 295275"/>
                  <a:gd name="connsiteX257" fmla="*/ 46292 w 123825"/>
                  <a:gd name="connsiteY257" fmla="*/ 283178 h 295275"/>
                  <a:gd name="connsiteX258" fmla="*/ 47149 w 123825"/>
                  <a:gd name="connsiteY258" fmla="*/ 281464 h 295275"/>
                  <a:gd name="connsiteX259" fmla="*/ 47911 w 123825"/>
                  <a:gd name="connsiteY259" fmla="*/ 280607 h 295275"/>
                  <a:gd name="connsiteX260" fmla="*/ 50483 w 123825"/>
                  <a:gd name="connsiteY260" fmla="*/ 281464 h 295275"/>
                  <a:gd name="connsiteX261" fmla="*/ 58007 w 123825"/>
                  <a:gd name="connsiteY261" fmla="*/ 286512 h 295275"/>
                  <a:gd name="connsiteX262" fmla="*/ 64770 w 123825"/>
                  <a:gd name="connsiteY262" fmla="*/ 293370 h 295275"/>
                  <a:gd name="connsiteX263" fmla="*/ 66485 w 123825"/>
                  <a:gd name="connsiteY263" fmla="*/ 295942 h 295275"/>
                  <a:gd name="connsiteX264" fmla="*/ 67246 w 123825"/>
                  <a:gd name="connsiteY264" fmla="*/ 299371 h 295275"/>
                  <a:gd name="connsiteX265" fmla="*/ 68104 w 123825"/>
                  <a:gd name="connsiteY265" fmla="*/ 302800 h 295275"/>
                  <a:gd name="connsiteX266" fmla="*/ 68961 w 123825"/>
                  <a:gd name="connsiteY266" fmla="*/ 304419 h 295275"/>
                  <a:gd name="connsiteX267" fmla="*/ 70676 w 123825"/>
                  <a:gd name="connsiteY267" fmla="*/ 302800 h 295275"/>
                  <a:gd name="connsiteX268" fmla="*/ 71533 w 123825"/>
                  <a:gd name="connsiteY268" fmla="*/ 299371 h 295275"/>
                  <a:gd name="connsiteX269" fmla="*/ 72295 w 123825"/>
                  <a:gd name="connsiteY269" fmla="*/ 296799 h 295275"/>
                  <a:gd name="connsiteX270" fmla="*/ 74009 w 123825"/>
                  <a:gd name="connsiteY270" fmla="*/ 295942 h 295275"/>
                  <a:gd name="connsiteX271" fmla="*/ 75724 w 123825"/>
                  <a:gd name="connsiteY271" fmla="*/ 297656 h 295275"/>
                  <a:gd name="connsiteX272" fmla="*/ 77343 w 123825"/>
                  <a:gd name="connsiteY272" fmla="*/ 299371 h 295275"/>
                  <a:gd name="connsiteX273" fmla="*/ 78200 w 123825"/>
                  <a:gd name="connsiteY273" fmla="*/ 300228 h 295275"/>
                  <a:gd name="connsiteX274" fmla="*/ 78200 w 123825"/>
                  <a:gd name="connsiteY274" fmla="*/ 300228 h 295275"/>
                  <a:gd name="connsiteX275" fmla="*/ 79058 w 123825"/>
                  <a:gd name="connsiteY275" fmla="*/ 300228 h 295275"/>
                  <a:gd name="connsiteX276" fmla="*/ 79915 w 123825"/>
                  <a:gd name="connsiteY276" fmla="*/ 300228 h 295275"/>
                  <a:gd name="connsiteX277" fmla="*/ 79915 w 123825"/>
                  <a:gd name="connsiteY277" fmla="*/ 299371 h 295275"/>
                  <a:gd name="connsiteX278" fmla="*/ 79915 w 123825"/>
                  <a:gd name="connsiteY278" fmla="*/ 299371 h 295275"/>
                  <a:gd name="connsiteX279" fmla="*/ 80772 w 123825"/>
                  <a:gd name="connsiteY279" fmla="*/ 298514 h 295275"/>
                  <a:gd name="connsiteX280" fmla="*/ 80772 w 123825"/>
                  <a:gd name="connsiteY280" fmla="*/ 297656 h 295275"/>
                  <a:gd name="connsiteX281" fmla="*/ 79915 w 123825"/>
                  <a:gd name="connsiteY281" fmla="*/ 296799 h 295275"/>
                  <a:gd name="connsiteX282" fmla="*/ 79915 w 123825"/>
                  <a:gd name="connsiteY282" fmla="*/ 295942 h 295275"/>
                  <a:gd name="connsiteX283" fmla="*/ 79058 w 123825"/>
                  <a:gd name="connsiteY283" fmla="*/ 294227 h 295275"/>
                  <a:gd name="connsiteX284" fmla="*/ 79058 w 123825"/>
                  <a:gd name="connsiteY284" fmla="*/ 293370 h 295275"/>
                  <a:gd name="connsiteX285" fmla="*/ 79058 w 123825"/>
                  <a:gd name="connsiteY285" fmla="*/ 291656 h 295275"/>
                  <a:gd name="connsiteX286" fmla="*/ 80772 w 123825"/>
                  <a:gd name="connsiteY286" fmla="*/ 287369 h 295275"/>
                  <a:gd name="connsiteX287" fmla="*/ 82391 w 123825"/>
                  <a:gd name="connsiteY287" fmla="*/ 286512 h 295275"/>
                  <a:gd name="connsiteX288" fmla="*/ 83249 w 123825"/>
                  <a:gd name="connsiteY288" fmla="*/ 286512 h 295275"/>
                  <a:gd name="connsiteX289" fmla="*/ 84963 w 123825"/>
                  <a:gd name="connsiteY289" fmla="*/ 285655 h 295275"/>
                  <a:gd name="connsiteX290" fmla="*/ 84963 w 123825"/>
                  <a:gd name="connsiteY290" fmla="*/ 284036 h 295275"/>
                  <a:gd name="connsiteX291" fmla="*/ 84963 w 123825"/>
                  <a:gd name="connsiteY291" fmla="*/ 276320 h 295275"/>
                  <a:gd name="connsiteX292" fmla="*/ 84963 w 123825"/>
                  <a:gd name="connsiteY292" fmla="*/ 275463 h 295275"/>
                  <a:gd name="connsiteX293" fmla="*/ 84963 w 123825"/>
                  <a:gd name="connsiteY293" fmla="*/ 274606 h 295275"/>
                  <a:gd name="connsiteX294" fmla="*/ 86678 w 123825"/>
                  <a:gd name="connsiteY294" fmla="*/ 274606 h 295275"/>
                  <a:gd name="connsiteX295" fmla="*/ 87439 w 123825"/>
                  <a:gd name="connsiteY295" fmla="*/ 274606 h 295275"/>
                  <a:gd name="connsiteX296" fmla="*/ 90869 w 123825"/>
                  <a:gd name="connsiteY296" fmla="*/ 274606 h 295275"/>
                  <a:gd name="connsiteX297" fmla="*/ 92488 w 123825"/>
                  <a:gd name="connsiteY297" fmla="*/ 275463 h 295275"/>
                  <a:gd name="connsiteX298" fmla="*/ 94202 w 123825"/>
                  <a:gd name="connsiteY298" fmla="*/ 276320 h 295275"/>
                  <a:gd name="connsiteX299" fmla="*/ 95917 w 123825"/>
                  <a:gd name="connsiteY299" fmla="*/ 277178 h 295275"/>
                  <a:gd name="connsiteX300" fmla="*/ 98393 w 123825"/>
                  <a:gd name="connsiteY300" fmla="*/ 276320 h 295275"/>
                  <a:gd name="connsiteX301" fmla="*/ 95917 w 123825"/>
                  <a:gd name="connsiteY301" fmla="*/ 272891 h 295275"/>
                  <a:gd name="connsiteX302" fmla="*/ 95917 w 123825"/>
                  <a:gd name="connsiteY302" fmla="*/ 271177 h 295275"/>
                  <a:gd name="connsiteX303" fmla="*/ 96774 w 123825"/>
                  <a:gd name="connsiteY303" fmla="*/ 271177 h 295275"/>
                  <a:gd name="connsiteX304" fmla="*/ 96774 w 123825"/>
                  <a:gd name="connsiteY304" fmla="*/ 271177 h 295275"/>
                  <a:gd name="connsiteX305" fmla="*/ 99251 w 123825"/>
                  <a:gd name="connsiteY305" fmla="*/ 270320 h 295275"/>
                  <a:gd name="connsiteX306" fmla="*/ 100108 w 123825"/>
                  <a:gd name="connsiteY306" fmla="*/ 269462 h 295275"/>
                  <a:gd name="connsiteX307" fmla="*/ 100965 w 123825"/>
                  <a:gd name="connsiteY307" fmla="*/ 269462 h 295275"/>
                  <a:gd name="connsiteX308" fmla="*/ 101727 w 123825"/>
                  <a:gd name="connsiteY308" fmla="*/ 267748 h 295275"/>
                  <a:gd name="connsiteX309" fmla="*/ 101727 w 123825"/>
                  <a:gd name="connsiteY309" fmla="*/ 266891 h 295275"/>
                  <a:gd name="connsiteX310" fmla="*/ 100965 w 123825"/>
                  <a:gd name="connsiteY310" fmla="*/ 252413 h 295275"/>
                  <a:gd name="connsiteX311" fmla="*/ 99251 w 123825"/>
                  <a:gd name="connsiteY311" fmla="*/ 248126 h 295275"/>
                  <a:gd name="connsiteX312" fmla="*/ 95060 w 123825"/>
                  <a:gd name="connsiteY312" fmla="*/ 243935 h 295275"/>
                  <a:gd name="connsiteX313" fmla="*/ 94202 w 123825"/>
                  <a:gd name="connsiteY313" fmla="*/ 241364 h 295275"/>
                  <a:gd name="connsiteX314" fmla="*/ 93345 w 123825"/>
                  <a:gd name="connsiteY314" fmla="*/ 237935 h 295275"/>
                  <a:gd name="connsiteX315" fmla="*/ 93345 w 123825"/>
                  <a:gd name="connsiteY315" fmla="*/ 235363 h 295275"/>
                  <a:gd name="connsiteX316" fmla="*/ 94202 w 123825"/>
                  <a:gd name="connsiteY316" fmla="*/ 230219 h 295275"/>
                  <a:gd name="connsiteX317" fmla="*/ 95060 w 123825"/>
                  <a:gd name="connsiteY317" fmla="*/ 227743 h 295275"/>
                  <a:gd name="connsiteX318" fmla="*/ 94202 w 123825"/>
                  <a:gd name="connsiteY318" fmla="*/ 225171 h 295275"/>
                  <a:gd name="connsiteX319" fmla="*/ 91726 w 123825"/>
                  <a:gd name="connsiteY319" fmla="*/ 220885 h 295275"/>
                  <a:gd name="connsiteX320" fmla="*/ 90869 w 123825"/>
                  <a:gd name="connsiteY320" fmla="*/ 218313 h 295275"/>
                  <a:gd name="connsiteX321" fmla="*/ 90011 w 123825"/>
                  <a:gd name="connsiteY321" fmla="*/ 215741 h 295275"/>
                  <a:gd name="connsiteX322" fmla="*/ 91726 w 123825"/>
                  <a:gd name="connsiteY322" fmla="*/ 206407 h 295275"/>
                  <a:gd name="connsiteX323" fmla="*/ 95060 w 123825"/>
                  <a:gd name="connsiteY323" fmla="*/ 202978 h 295275"/>
                  <a:gd name="connsiteX324" fmla="*/ 95060 w 123825"/>
                  <a:gd name="connsiteY324" fmla="*/ 202978 h 295275"/>
                  <a:gd name="connsiteX325" fmla="*/ 96774 w 123825"/>
                  <a:gd name="connsiteY325" fmla="*/ 200406 h 295275"/>
                  <a:gd name="connsiteX326" fmla="*/ 100108 w 123825"/>
                  <a:gd name="connsiteY326" fmla="*/ 196120 h 295275"/>
                  <a:gd name="connsiteX327" fmla="*/ 101727 w 123825"/>
                  <a:gd name="connsiteY327" fmla="*/ 193548 h 295275"/>
                  <a:gd name="connsiteX328" fmla="*/ 101727 w 123825"/>
                  <a:gd name="connsiteY328" fmla="*/ 191071 h 295275"/>
                  <a:gd name="connsiteX329" fmla="*/ 101727 w 123825"/>
                  <a:gd name="connsiteY329" fmla="*/ 188500 h 295275"/>
                  <a:gd name="connsiteX330" fmla="*/ 99251 w 123825"/>
                  <a:gd name="connsiteY330" fmla="*/ 184214 h 295275"/>
                  <a:gd name="connsiteX331" fmla="*/ 98393 w 123825"/>
                  <a:gd name="connsiteY331" fmla="*/ 181642 h 295275"/>
                  <a:gd name="connsiteX332" fmla="*/ 97536 w 123825"/>
                  <a:gd name="connsiteY332" fmla="*/ 178213 h 295275"/>
                  <a:gd name="connsiteX333" fmla="*/ 98393 w 123825"/>
                  <a:gd name="connsiteY333" fmla="*/ 175641 h 295275"/>
                  <a:gd name="connsiteX334" fmla="*/ 99251 w 123825"/>
                  <a:gd name="connsiteY334" fmla="*/ 173069 h 295275"/>
                  <a:gd name="connsiteX335" fmla="*/ 101727 w 123825"/>
                  <a:gd name="connsiteY335" fmla="*/ 172307 h 295275"/>
                  <a:gd name="connsiteX336" fmla="*/ 104299 w 123825"/>
                  <a:gd name="connsiteY336" fmla="*/ 173069 h 295275"/>
                  <a:gd name="connsiteX337" fmla="*/ 106013 w 123825"/>
                  <a:gd name="connsiteY337" fmla="*/ 173927 h 295275"/>
                  <a:gd name="connsiteX338" fmla="*/ 107633 w 123825"/>
                  <a:gd name="connsiteY338" fmla="*/ 176498 h 295275"/>
                  <a:gd name="connsiteX339" fmla="*/ 109347 w 123825"/>
                  <a:gd name="connsiteY339" fmla="*/ 178213 h 295275"/>
                  <a:gd name="connsiteX340" fmla="*/ 112681 w 123825"/>
                  <a:gd name="connsiteY340" fmla="*/ 178213 h 295275"/>
                  <a:gd name="connsiteX341" fmla="*/ 115253 w 123825"/>
                  <a:gd name="connsiteY341" fmla="*/ 177356 h 295275"/>
                  <a:gd name="connsiteX342" fmla="*/ 117729 w 123825"/>
                  <a:gd name="connsiteY342" fmla="*/ 174784 h 295275"/>
                  <a:gd name="connsiteX343" fmla="*/ 119444 w 123825"/>
                  <a:gd name="connsiteY343" fmla="*/ 173069 h 295275"/>
                  <a:gd name="connsiteX344" fmla="*/ 123635 w 123825"/>
                  <a:gd name="connsiteY344" fmla="*/ 163735 h 295275"/>
                  <a:gd name="connsiteX345" fmla="*/ 123635 w 123825"/>
                  <a:gd name="connsiteY345" fmla="*/ 162020 h 295275"/>
                  <a:gd name="connsiteX346" fmla="*/ 123635 w 123825"/>
                  <a:gd name="connsiteY346" fmla="*/ 160306 h 295275"/>
                  <a:gd name="connsiteX347" fmla="*/ 123635 w 123825"/>
                  <a:gd name="connsiteY347" fmla="*/ 158591 h 295275"/>
                  <a:gd name="connsiteX348" fmla="*/ 124492 w 123825"/>
                  <a:gd name="connsiteY348" fmla="*/ 150971 h 295275"/>
                  <a:gd name="connsiteX349" fmla="*/ 123635 w 123825"/>
                  <a:gd name="connsiteY349" fmla="*/ 145828 h 295275"/>
                  <a:gd name="connsiteX350" fmla="*/ 123635 w 123825"/>
                  <a:gd name="connsiteY350" fmla="*/ 143256 h 295275"/>
                  <a:gd name="connsiteX351" fmla="*/ 124492 w 123825"/>
                  <a:gd name="connsiteY351" fmla="*/ 141542 h 295275"/>
                  <a:gd name="connsiteX352" fmla="*/ 126968 w 123825"/>
                  <a:gd name="connsiteY352" fmla="*/ 138113 h 295275"/>
                  <a:gd name="connsiteX353" fmla="*/ 126968 w 123825"/>
                  <a:gd name="connsiteY353" fmla="*/ 137255 h 295275"/>
                  <a:gd name="connsiteX354" fmla="*/ 126968 w 123825"/>
                  <a:gd name="connsiteY354" fmla="*/ 136398 h 295275"/>
                  <a:gd name="connsiteX355" fmla="*/ 126968 w 123825"/>
                  <a:gd name="connsiteY355" fmla="*/ 134684 h 295275"/>
                  <a:gd name="connsiteX356" fmla="*/ 126206 w 123825"/>
                  <a:gd name="connsiteY356" fmla="*/ 127921 h 295275"/>
                  <a:gd name="connsiteX357" fmla="*/ 126206 w 123825"/>
                  <a:gd name="connsiteY357" fmla="*/ 127921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</a:cxnLst>
                <a:rect l="l" t="t" r="r" b="b"/>
                <a:pathLst>
                  <a:path w="123825" h="295275">
                    <a:moveTo>
                      <a:pt x="126206" y="127921"/>
                    </a:moveTo>
                    <a:lnTo>
                      <a:pt x="126206" y="124492"/>
                    </a:lnTo>
                    <a:lnTo>
                      <a:pt x="130397" y="101441"/>
                    </a:lnTo>
                    <a:lnTo>
                      <a:pt x="129540" y="97155"/>
                    </a:lnTo>
                    <a:lnTo>
                      <a:pt x="129540" y="96393"/>
                    </a:lnTo>
                    <a:lnTo>
                      <a:pt x="127826" y="93821"/>
                    </a:lnTo>
                    <a:lnTo>
                      <a:pt x="126968" y="92964"/>
                    </a:lnTo>
                    <a:lnTo>
                      <a:pt x="123635" y="90392"/>
                    </a:lnTo>
                    <a:lnTo>
                      <a:pt x="121920" y="75914"/>
                    </a:lnTo>
                    <a:lnTo>
                      <a:pt x="121920" y="71628"/>
                    </a:lnTo>
                    <a:lnTo>
                      <a:pt x="121920" y="69914"/>
                    </a:lnTo>
                    <a:lnTo>
                      <a:pt x="121158" y="69056"/>
                    </a:lnTo>
                    <a:lnTo>
                      <a:pt x="120301" y="68199"/>
                    </a:lnTo>
                    <a:lnTo>
                      <a:pt x="119444" y="67342"/>
                    </a:lnTo>
                    <a:lnTo>
                      <a:pt x="117729" y="63056"/>
                    </a:lnTo>
                    <a:lnTo>
                      <a:pt x="116110" y="61341"/>
                    </a:lnTo>
                    <a:lnTo>
                      <a:pt x="116110" y="58865"/>
                    </a:lnTo>
                    <a:lnTo>
                      <a:pt x="115253" y="56293"/>
                    </a:lnTo>
                    <a:lnTo>
                      <a:pt x="116110" y="54578"/>
                    </a:lnTo>
                    <a:lnTo>
                      <a:pt x="115253" y="54578"/>
                    </a:lnTo>
                    <a:lnTo>
                      <a:pt x="114395" y="54578"/>
                    </a:lnTo>
                    <a:lnTo>
                      <a:pt x="111062" y="56293"/>
                    </a:lnTo>
                    <a:lnTo>
                      <a:pt x="110204" y="56293"/>
                    </a:lnTo>
                    <a:lnTo>
                      <a:pt x="109347" y="55436"/>
                    </a:lnTo>
                    <a:lnTo>
                      <a:pt x="110204" y="55436"/>
                    </a:lnTo>
                    <a:lnTo>
                      <a:pt x="110204" y="54578"/>
                    </a:lnTo>
                    <a:lnTo>
                      <a:pt x="110204" y="53721"/>
                    </a:lnTo>
                    <a:lnTo>
                      <a:pt x="110204" y="52864"/>
                    </a:lnTo>
                    <a:lnTo>
                      <a:pt x="110204" y="52007"/>
                    </a:lnTo>
                    <a:lnTo>
                      <a:pt x="108490" y="50292"/>
                    </a:lnTo>
                    <a:lnTo>
                      <a:pt x="108490" y="50292"/>
                    </a:lnTo>
                    <a:lnTo>
                      <a:pt x="107633" y="50292"/>
                    </a:lnTo>
                    <a:lnTo>
                      <a:pt x="106775" y="51149"/>
                    </a:lnTo>
                    <a:lnTo>
                      <a:pt x="106775" y="52007"/>
                    </a:lnTo>
                    <a:lnTo>
                      <a:pt x="106013" y="52864"/>
                    </a:lnTo>
                    <a:lnTo>
                      <a:pt x="105156" y="52864"/>
                    </a:lnTo>
                    <a:lnTo>
                      <a:pt x="103442" y="53721"/>
                    </a:lnTo>
                    <a:lnTo>
                      <a:pt x="101727" y="53721"/>
                    </a:lnTo>
                    <a:lnTo>
                      <a:pt x="101727" y="53721"/>
                    </a:lnTo>
                    <a:lnTo>
                      <a:pt x="100965" y="53721"/>
                    </a:lnTo>
                    <a:lnTo>
                      <a:pt x="100965" y="52864"/>
                    </a:lnTo>
                    <a:lnTo>
                      <a:pt x="100965" y="52007"/>
                    </a:lnTo>
                    <a:lnTo>
                      <a:pt x="100965" y="52007"/>
                    </a:lnTo>
                    <a:lnTo>
                      <a:pt x="100108" y="51149"/>
                    </a:lnTo>
                    <a:lnTo>
                      <a:pt x="99251" y="51149"/>
                    </a:lnTo>
                    <a:lnTo>
                      <a:pt x="98393" y="51149"/>
                    </a:lnTo>
                    <a:lnTo>
                      <a:pt x="97536" y="51149"/>
                    </a:lnTo>
                    <a:lnTo>
                      <a:pt x="95917" y="52864"/>
                    </a:lnTo>
                    <a:lnTo>
                      <a:pt x="95060" y="52864"/>
                    </a:lnTo>
                    <a:lnTo>
                      <a:pt x="94202" y="52864"/>
                    </a:lnTo>
                    <a:lnTo>
                      <a:pt x="93345" y="52864"/>
                    </a:lnTo>
                    <a:lnTo>
                      <a:pt x="92488" y="52007"/>
                    </a:lnTo>
                    <a:lnTo>
                      <a:pt x="91726" y="51149"/>
                    </a:lnTo>
                    <a:lnTo>
                      <a:pt x="90011" y="50292"/>
                    </a:lnTo>
                    <a:lnTo>
                      <a:pt x="82391" y="46863"/>
                    </a:lnTo>
                    <a:lnTo>
                      <a:pt x="80772" y="46863"/>
                    </a:lnTo>
                    <a:lnTo>
                      <a:pt x="80772" y="46006"/>
                    </a:lnTo>
                    <a:lnTo>
                      <a:pt x="79915" y="45149"/>
                    </a:lnTo>
                    <a:lnTo>
                      <a:pt x="80772" y="45149"/>
                    </a:lnTo>
                    <a:lnTo>
                      <a:pt x="80772" y="44291"/>
                    </a:lnTo>
                    <a:lnTo>
                      <a:pt x="81629" y="43434"/>
                    </a:lnTo>
                    <a:lnTo>
                      <a:pt x="82391" y="43434"/>
                    </a:lnTo>
                    <a:lnTo>
                      <a:pt x="82391" y="42577"/>
                    </a:lnTo>
                    <a:lnTo>
                      <a:pt x="82391" y="41720"/>
                    </a:lnTo>
                    <a:lnTo>
                      <a:pt x="82391" y="39243"/>
                    </a:lnTo>
                    <a:lnTo>
                      <a:pt x="82391" y="36671"/>
                    </a:lnTo>
                    <a:lnTo>
                      <a:pt x="83249" y="34957"/>
                    </a:lnTo>
                    <a:lnTo>
                      <a:pt x="83249" y="34100"/>
                    </a:lnTo>
                    <a:lnTo>
                      <a:pt x="83249" y="32385"/>
                    </a:lnTo>
                    <a:lnTo>
                      <a:pt x="84106" y="30671"/>
                    </a:lnTo>
                    <a:lnTo>
                      <a:pt x="84106" y="29813"/>
                    </a:lnTo>
                    <a:lnTo>
                      <a:pt x="84106" y="27242"/>
                    </a:lnTo>
                    <a:lnTo>
                      <a:pt x="84106" y="25527"/>
                    </a:lnTo>
                    <a:lnTo>
                      <a:pt x="84963" y="23813"/>
                    </a:lnTo>
                    <a:lnTo>
                      <a:pt x="85820" y="22098"/>
                    </a:lnTo>
                    <a:lnTo>
                      <a:pt x="87439" y="20479"/>
                    </a:lnTo>
                    <a:lnTo>
                      <a:pt x="87439" y="18764"/>
                    </a:lnTo>
                    <a:lnTo>
                      <a:pt x="87439" y="17050"/>
                    </a:lnTo>
                    <a:lnTo>
                      <a:pt x="84963" y="15335"/>
                    </a:lnTo>
                    <a:lnTo>
                      <a:pt x="84963" y="13621"/>
                    </a:lnTo>
                    <a:lnTo>
                      <a:pt x="84963" y="11049"/>
                    </a:lnTo>
                    <a:lnTo>
                      <a:pt x="84963" y="10192"/>
                    </a:lnTo>
                    <a:lnTo>
                      <a:pt x="81629" y="12764"/>
                    </a:lnTo>
                    <a:lnTo>
                      <a:pt x="79915" y="12764"/>
                    </a:lnTo>
                    <a:lnTo>
                      <a:pt x="76581" y="11906"/>
                    </a:lnTo>
                    <a:lnTo>
                      <a:pt x="74867" y="11049"/>
                    </a:lnTo>
                    <a:lnTo>
                      <a:pt x="68104" y="14478"/>
                    </a:lnTo>
                    <a:lnTo>
                      <a:pt x="66485" y="14478"/>
                    </a:lnTo>
                    <a:lnTo>
                      <a:pt x="64770" y="13621"/>
                    </a:lnTo>
                    <a:lnTo>
                      <a:pt x="63913" y="12764"/>
                    </a:lnTo>
                    <a:lnTo>
                      <a:pt x="58864" y="2477"/>
                    </a:lnTo>
                    <a:lnTo>
                      <a:pt x="58007" y="1715"/>
                    </a:lnTo>
                    <a:lnTo>
                      <a:pt x="57245" y="0"/>
                    </a:lnTo>
                    <a:lnTo>
                      <a:pt x="56388" y="0"/>
                    </a:lnTo>
                    <a:lnTo>
                      <a:pt x="55531" y="857"/>
                    </a:lnTo>
                    <a:lnTo>
                      <a:pt x="54674" y="1715"/>
                    </a:lnTo>
                    <a:lnTo>
                      <a:pt x="51340" y="11049"/>
                    </a:lnTo>
                    <a:lnTo>
                      <a:pt x="50483" y="12764"/>
                    </a:lnTo>
                    <a:lnTo>
                      <a:pt x="50483" y="13621"/>
                    </a:lnTo>
                    <a:lnTo>
                      <a:pt x="49625" y="14478"/>
                    </a:lnTo>
                    <a:lnTo>
                      <a:pt x="47911" y="17050"/>
                    </a:lnTo>
                    <a:lnTo>
                      <a:pt x="42101" y="22955"/>
                    </a:lnTo>
                    <a:lnTo>
                      <a:pt x="41243" y="24670"/>
                    </a:lnTo>
                    <a:lnTo>
                      <a:pt x="41243" y="26384"/>
                    </a:lnTo>
                    <a:lnTo>
                      <a:pt x="41243" y="27242"/>
                    </a:lnTo>
                    <a:lnTo>
                      <a:pt x="41243" y="28956"/>
                    </a:lnTo>
                    <a:lnTo>
                      <a:pt x="41243" y="29813"/>
                    </a:lnTo>
                    <a:lnTo>
                      <a:pt x="40386" y="29813"/>
                    </a:lnTo>
                    <a:lnTo>
                      <a:pt x="39529" y="30671"/>
                    </a:lnTo>
                    <a:lnTo>
                      <a:pt x="38671" y="30671"/>
                    </a:lnTo>
                    <a:lnTo>
                      <a:pt x="37814" y="31528"/>
                    </a:lnTo>
                    <a:lnTo>
                      <a:pt x="33623" y="35814"/>
                    </a:lnTo>
                    <a:lnTo>
                      <a:pt x="30289" y="38386"/>
                    </a:lnTo>
                    <a:lnTo>
                      <a:pt x="29432" y="40100"/>
                    </a:lnTo>
                    <a:lnTo>
                      <a:pt x="27718" y="41720"/>
                    </a:lnTo>
                    <a:lnTo>
                      <a:pt x="26956" y="42577"/>
                    </a:lnTo>
                    <a:lnTo>
                      <a:pt x="26099" y="42577"/>
                    </a:lnTo>
                    <a:lnTo>
                      <a:pt x="24384" y="43434"/>
                    </a:lnTo>
                    <a:lnTo>
                      <a:pt x="23527" y="42577"/>
                    </a:lnTo>
                    <a:lnTo>
                      <a:pt x="22765" y="42577"/>
                    </a:lnTo>
                    <a:lnTo>
                      <a:pt x="21908" y="41720"/>
                    </a:lnTo>
                    <a:lnTo>
                      <a:pt x="21050" y="40862"/>
                    </a:lnTo>
                    <a:lnTo>
                      <a:pt x="20193" y="40100"/>
                    </a:lnTo>
                    <a:lnTo>
                      <a:pt x="19336" y="38386"/>
                    </a:lnTo>
                    <a:lnTo>
                      <a:pt x="18479" y="34957"/>
                    </a:lnTo>
                    <a:lnTo>
                      <a:pt x="18479" y="34100"/>
                    </a:lnTo>
                    <a:lnTo>
                      <a:pt x="18479" y="33242"/>
                    </a:lnTo>
                    <a:lnTo>
                      <a:pt x="19336" y="31528"/>
                    </a:lnTo>
                    <a:lnTo>
                      <a:pt x="20193" y="31528"/>
                    </a:lnTo>
                    <a:lnTo>
                      <a:pt x="20193" y="30671"/>
                    </a:lnTo>
                    <a:lnTo>
                      <a:pt x="20193" y="30671"/>
                    </a:lnTo>
                    <a:lnTo>
                      <a:pt x="20193" y="29813"/>
                    </a:lnTo>
                    <a:lnTo>
                      <a:pt x="19336" y="29813"/>
                    </a:lnTo>
                    <a:lnTo>
                      <a:pt x="18479" y="29813"/>
                    </a:lnTo>
                    <a:lnTo>
                      <a:pt x="13430" y="28956"/>
                    </a:lnTo>
                    <a:lnTo>
                      <a:pt x="5905" y="29813"/>
                    </a:lnTo>
                    <a:lnTo>
                      <a:pt x="6763" y="31528"/>
                    </a:lnTo>
                    <a:lnTo>
                      <a:pt x="6763" y="32385"/>
                    </a:lnTo>
                    <a:lnTo>
                      <a:pt x="7620" y="32385"/>
                    </a:lnTo>
                    <a:lnTo>
                      <a:pt x="7620" y="33242"/>
                    </a:lnTo>
                    <a:lnTo>
                      <a:pt x="8382" y="34100"/>
                    </a:lnTo>
                    <a:lnTo>
                      <a:pt x="8382" y="34957"/>
                    </a:lnTo>
                    <a:lnTo>
                      <a:pt x="8382" y="35814"/>
                    </a:lnTo>
                    <a:lnTo>
                      <a:pt x="9239" y="46006"/>
                    </a:lnTo>
                    <a:lnTo>
                      <a:pt x="9239" y="46863"/>
                    </a:lnTo>
                    <a:lnTo>
                      <a:pt x="8382" y="52007"/>
                    </a:lnTo>
                    <a:lnTo>
                      <a:pt x="7620" y="54578"/>
                    </a:lnTo>
                    <a:lnTo>
                      <a:pt x="8382" y="55436"/>
                    </a:lnTo>
                    <a:lnTo>
                      <a:pt x="8382" y="56293"/>
                    </a:lnTo>
                    <a:lnTo>
                      <a:pt x="8382" y="56293"/>
                    </a:lnTo>
                    <a:lnTo>
                      <a:pt x="9239" y="58007"/>
                    </a:lnTo>
                    <a:lnTo>
                      <a:pt x="9239" y="58865"/>
                    </a:lnTo>
                    <a:lnTo>
                      <a:pt x="9239" y="58865"/>
                    </a:lnTo>
                    <a:lnTo>
                      <a:pt x="9239" y="61341"/>
                    </a:lnTo>
                    <a:lnTo>
                      <a:pt x="7620" y="64770"/>
                    </a:lnTo>
                    <a:lnTo>
                      <a:pt x="7620" y="65627"/>
                    </a:lnTo>
                    <a:lnTo>
                      <a:pt x="7620" y="66485"/>
                    </a:lnTo>
                    <a:lnTo>
                      <a:pt x="7620" y="69056"/>
                    </a:lnTo>
                    <a:lnTo>
                      <a:pt x="7620" y="69914"/>
                    </a:lnTo>
                    <a:lnTo>
                      <a:pt x="7620" y="69914"/>
                    </a:lnTo>
                    <a:lnTo>
                      <a:pt x="8382" y="71628"/>
                    </a:lnTo>
                    <a:lnTo>
                      <a:pt x="8382" y="71628"/>
                    </a:lnTo>
                    <a:lnTo>
                      <a:pt x="8382" y="72485"/>
                    </a:lnTo>
                    <a:lnTo>
                      <a:pt x="8382" y="73342"/>
                    </a:lnTo>
                    <a:lnTo>
                      <a:pt x="8382" y="75057"/>
                    </a:lnTo>
                    <a:lnTo>
                      <a:pt x="8382" y="75914"/>
                    </a:lnTo>
                    <a:lnTo>
                      <a:pt x="7620" y="76771"/>
                    </a:lnTo>
                    <a:lnTo>
                      <a:pt x="7620" y="76771"/>
                    </a:lnTo>
                    <a:lnTo>
                      <a:pt x="7620" y="77629"/>
                    </a:lnTo>
                    <a:lnTo>
                      <a:pt x="6763" y="77629"/>
                    </a:lnTo>
                    <a:lnTo>
                      <a:pt x="6763" y="76771"/>
                    </a:lnTo>
                    <a:lnTo>
                      <a:pt x="6763" y="76771"/>
                    </a:lnTo>
                    <a:lnTo>
                      <a:pt x="5905" y="76771"/>
                    </a:lnTo>
                    <a:lnTo>
                      <a:pt x="5905" y="75914"/>
                    </a:lnTo>
                    <a:lnTo>
                      <a:pt x="5905" y="75914"/>
                    </a:lnTo>
                    <a:lnTo>
                      <a:pt x="5048" y="76771"/>
                    </a:lnTo>
                    <a:lnTo>
                      <a:pt x="5048" y="76771"/>
                    </a:lnTo>
                    <a:lnTo>
                      <a:pt x="4191" y="76771"/>
                    </a:lnTo>
                    <a:lnTo>
                      <a:pt x="3334" y="77629"/>
                    </a:lnTo>
                    <a:lnTo>
                      <a:pt x="3334" y="78391"/>
                    </a:lnTo>
                    <a:lnTo>
                      <a:pt x="2572" y="79248"/>
                    </a:lnTo>
                    <a:lnTo>
                      <a:pt x="2572" y="80105"/>
                    </a:lnTo>
                    <a:lnTo>
                      <a:pt x="2572" y="80963"/>
                    </a:lnTo>
                    <a:lnTo>
                      <a:pt x="2572" y="81820"/>
                    </a:lnTo>
                    <a:lnTo>
                      <a:pt x="2572" y="81820"/>
                    </a:lnTo>
                    <a:lnTo>
                      <a:pt x="2572" y="83534"/>
                    </a:lnTo>
                    <a:lnTo>
                      <a:pt x="1714" y="85249"/>
                    </a:lnTo>
                    <a:lnTo>
                      <a:pt x="2572" y="92964"/>
                    </a:lnTo>
                    <a:lnTo>
                      <a:pt x="1714" y="94679"/>
                    </a:lnTo>
                    <a:lnTo>
                      <a:pt x="1714" y="96393"/>
                    </a:lnTo>
                    <a:lnTo>
                      <a:pt x="0" y="101441"/>
                    </a:lnTo>
                    <a:lnTo>
                      <a:pt x="857" y="105728"/>
                    </a:lnTo>
                    <a:lnTo>
                      <a:pt x="5048" y="119348"/>
                    </a:lnTo>
                    <a:lnTo>
                      <a:pt x="5905" y="125349"/>
                    </a:lnTo>
                    <a:lnTo>
                      <a:pt x="5905" y="127064"/>
                    </a:lnTo>
                    <a:lnTo>
                      <a:pt x="6763" y="127921"/>
                    </a:lnTo>
                    <a:lnTo>
                      <a:pt x="8382" y="129635"/>
                    </a:lnTo>
                    <a:lnTo>
                      <a:pt x="8382" y="130492"/>
                    </a:lnTo>
                    <a:lnTo>
                      <a:pt x="9239" y="131350"/>
                    </a:lnTo>
                    <a:lnTo>
                      <a:pt x="8382" y="133064"/>
                    </a:lnTo>
                    <a:lnTo>
                      <a:pt x="9239" y="133921"/>
                    </a:lnTo>
                    <a:lnTo>
                      <a:pt x="9239" y="134684"/>
                    </a:lnTo>
                    <a:lnTo>
                      <a:pt x="10954" y="135541"/>
                    </a:lnTo>
                    <a:lnTo>
                      <a:pt x="10954" y="136398"/>
                    </a:lnTo>
                    <a:lnTo>
                      <a:pt x="10954" y="137255"/>
                    </a:lnTo>
                    <a:lnTo>
                      <a:pt x="10954" y="139827"/>
                    </a:lnTo>
                    <a:lnTo>
                      <a:pt x="10954" y="141542"/>
                    </a:lnTo>
                    <a:lnTo>
                      <a:pt x="11811" y="143256"/>
                    </a:lnTo>
                    <a:lnTo>
                      <a:pt x="11811" y="144113"/>
                    </a:lnTo>
                    <a:lnTo>
                      <a:pt x="11811" y="145828"/>
                    </a:lnTo>
                    <a:lnTo>
                      <a:pt x="11811" y="147542"/>
                    </a:lnTo>
                    <a:lnTo>
                      <a:pt x="9239" y="151829"/>
                    </a:lnTo>
                    <a:lnTo>
                      <a:pt x="9239" y="153448"/>
                    </a:lnTo>
                    <a:lnTo>
                      <a:pt x="9239" y="158591"/>
                    </a:lnTo>
                    <a:lnTo>
                      <a:pt x="11811" y="175641"/>
                    </a:lnTo>
                    <a:lnTo>
                      <a:pt x="11811" y="184214"/>
                    </a:lnTo>
                    <a:lnTo>
                      <a:pt x="12668" y="187642"/>
                    </a:lnTo>
                    <a:lnTo>
                      <a:pt x="14288" y="191071"/>
                    </a:lnTo>
                    <a:lnTo>
                      <a:pt x="18479" y="192691"/>
                    </a:lnTo>
                    <a:lnTo>
                      <a:pt x="19336" y="194405"/>
                    </a:lnTo>
                    <a:lnTo>
                      <a:pt x="21050" y="203835"/>
                    </a:lnTo>
                    <a:lnTo>
                      <a:pt x="21050" y="208121"/>
                    </a:lnTo>
                    <a:lnTo>
                      <a:pt x="22765" y="209836"/>
                    </a:lnTo>
                    <a:lnTo>
                      <a:pt x="26099" y="212312"/>
                    </a:lnTo>
                    <a:lnTo>
                      <a:pt x="26956" y="214027"/>
                    </a:lnTo>
                    <a:lnTo>
                      <a:pt x="27718" y="215741"/>
                    </a:lnTo>
                    <a:lnTo>
                      <a:pt x="28575" y="225171"/>
                    </a:lnTo>
                    <a:lnTo>
                      <a:pt x="27718" y="231934"/>
                    </a:lnTo>
                    <a:lnTo>
                      <a:pt x="28575" y="233648"/>
                    </a:lnTo>
                    <a:lnTo>
                      <a:pt x="29432" y="237935"/>
                    </a:lnTo>
                    <a:lnTo>
                      <a:pt x="30289" y="239649"/>
                    </a:lnTo>
                    <a:lnTo>
                      <a:pt x="36195" y="278892"/>
                    </a:lnTo>
                    <a:lnTo>
                      <a:pt x="36195" y="281464"/>
                    </a:lnTo>
                    <a:lnTo>
                      <a:pt x="34480" y="282321"/>
                    </a:lnTo>
                    <a:lnTo>
                      <a:pt x="32766" y="282321"/>
                    </a:lnTo>
                    <a:lnTo>
                      <a:pt x="32004" y="283178"/>
                    </a:lnTo>
                    <a:lnTo>
                      <a:pt x="34480" y="291656"/>
                    </a:lnTo>
                    <a:lnTo>
                      <a:pt x="36195" y="299371"/>
                    </a:lnTo>
                    <a:lnTo>
                      <a:pt x="36195" y="300228"/>
                    </a:lnTo>
                    <a:lnTo>
                      <a:pt x="36195" y="301942"/>
                    </a:lnTo>
                    <a:lnTo>
                      <a:pt x="37052" y="301085"/>
                    </a:lnTo>
                    <a:lnTo>
                      <a:pt x="37814" y="301085"/>
                    </a:lnTo>
                    <a:lnTo>
                      <a:pt x="38671" y="300228"/>
                    </a:lnTo>
                    <a:lnTo>
                      <a:pt x="39529" y="299371"/>
                    </a:lnTo>
                    <a:lnTo>
                      <a:pt x="40386" y="297656"/>
                    </a:lnTo>
                    <a:lnTo>
                      <a:pt x="42101" y="297656"/>
                    </a:lnTo>
                    <a:lnTo>
                      <a:pt x="42863" y="297656"/>
                    </a:lnTo>
                    <a:lnTo>
                      <a:pt x="44577" y="296799"/>
                    </a:lnTo>
                    <a:lnTo>
                      <a:pt x="45434" y="295085"/>
                    </a:lnTo>
                    <a:lnTo>
                      <a:pt x="45434" y="293370"/>
                    </a:lnTo>
                    <a:lnTo>
                      <a:pt x="44577" y="291656"/>
                    </a:lnTo>
                    <a:lnTo>
                      <a:pt x="44577" y="289941"/>
                    </a:lnTo>
                    <a:lnTo>
                      <a:pt x="45434" y="287369"/>
                    </a:lnTo>
                    <a:lnTo>
                      <a:pt x="46292" y="287369"/>
                    </a:lnTo>
                    <a:lnTo>
                      <a:pt x="46292" y="288227"/>
                    </a:lnTo>
                    <a:lnTo>
                      <a:pt x="47149" y="287369"/>
                    </a:lnTo>
                    <a:lnTo>
                      <a:pt x="47149" y="286512"/>
                    </a:lnTo>
                    <a:lnTo>
                      <a:pt x="46292" y="283178"/>
                    </a:lnTo>
                    <a:lnTo>
                      <a:pt x="47149" y="281464"/>
                    </a:lnTo>
                    <a:lnTo>
                      <a:pt x="47911" y="280607"/>
                    </a:lnTo>
                    <a:lnTo>
                      <a:pt x="50483" y="281464"/>
                    </a:lnTo>
                    <a:lnTo>
                      <a:pt x="58007" y="286512"/>
                    </a:lnTo>
                    <a:lnTo>
                      <a:pt x="64770" y="293370"/>
                    </a:lnTo>
                    <a:lnTo>
                      <a:pt x="66485" y="295942"/>
                    </a:lnTo>
                    <a:lnTo>
                      <a:pt x="67246" y="299371"/>
                    </a:lnTo>
                    <a:lnTo>
                      <a:pt x="68104" y="302800"/>
                    </a:lnTo>
                    <a:lnTo>
                      <a:pt x="68961" y="304419"/>
                    </a:lnTo>
                    <a:lnTo>
                      <a:pt x="70676" y="302800"/>
                    </a:lnTo>
                    <a:lnTo>
                      <a:pt x="71533" y="299371"/>
                    </a:lnTo>
                    <a:lnTo>
                      <a:pt x="72295" y="296799"/>
                    </a:lnTo>
                    <a:lnTo>
                      <a:pt x="74009" y="295942"/>
                    </a:lnTo>
                    <a:lnTo>
                      <a:pt x="75724" y="297656"/>
                    </a:lnTo>
                    <a:lnTo>
                      <a:pt x="77343" y="299371"/>
                    </a:lnTo>
                    <a:lnTo>
                      <a:pt x="78200" y="300228"/>
                    </a:lnTo>
                    <a:lnTo>
                      <a:pt x="78200" y="300228"/>
                    </a:lnTo>
                    <a:lnTo>
                      <a:pt x="79058" y="300228"/>
                    </a:lnTo>
                    <a:lnTo>
                      <a:pt x="79915" y="300228"/>
                    </a:lnTo>
                    <a:lnTo>
                      <a:pt x="79915" y="299371"/>
                    </a:lnTo>
                    <a:lnTo>
                      <a:pt x="79915" y="299371"/>
                    </a:lnTo>
                    <a:lnTo>
                      <a:pt x="80772" y="298514"/>
                    </a:lnTo>
                    <a:lnTo>
                      <a:pt x="80772" y="297656"/>
                    </a:lnTo>
                    <a:lnTo>
                      <a:pt x="79915" y="296799"/>
                    </a:lnTo>
                    <a:lnTo>
                      <a:pt x="79915" y="295942"/>
                    </a:lnTo>
                    <a:lnTo>
                      <a:pt x="79058" y="294227"/>
                    </a:lnTo>
                    <a:lnTo>
                      <a:pt x="79058" y="293370"/>
                    </a:lnTo>
                    <a:lnTo>
                      <a:pt x="79058" y="291656"/>
                    </a:lnTo>
                    <a:lnTo>
                      <a:pt x="80772" y="287369"/>
                    </a:lnTo>
                    <a:lnTo>
                      <a:pt x="82391" y="286512"/>
                    </a:lnTo>
                    <a:lnTo>
                      <a:pt x="83249" y="286512"/>
                    </a:lnTo>
                    <a:lnTo>
                      <a:pt x="84963" y="285655"/>
                    </a:lnTo>
                    <a:lnTo>
                      <a:pt x="84963" y="284036"/>
                    </a:lnTo>
                    <a:lnTo>
                      <a:pt x="84963" y="276320"/>
                    </a:lnTo>
                    <a:lnTo>
                      <a:pt x="84963" y="275463"/>
                    </a:lnTo>
                    <a:lnTo>
                      <a:pt x="84963" y="274606"/>
                    </a:lnTo>
                    <a:lnTo>
                      <a:pt x="86678" y="274606"/>
                    </a:lnTo>
                    <a:lnTo>
                      <a:pt x="87439" y="274606"/>
                    </a:lnTo>
                    <a:lnTo>
                      <a:pt x="90869" y="274606"/>
                    </a:lnTo>
                    <a:lnTo>
                      <a:pt x="92488" y="275463"/>
                    </a:lnTo>
                    <a:lnTo>
                      <a:pt x="94202" y="276320"/>
                    </a:lnTo>
                    <a:lnTo>
                      <a:pt x="95917" y="277178"/>
                    </a:lnTo>
                    <a:lnTo>
                      <a:pt x="98393" y="276320"/>
                    </a:lnTo>
                    <a:lnTo>
                      <a:pt x="95917" y="272891"/>
                    </a:lnTo>
                    <a:lnTo>
                      <a:pt x="95917" y="271177"/>
                    </a:lnTo>
                    <a:lnTo>
                      <a:pt x="96774" y="271177"/>
                    </a:lnTo>
                    <a:lnTo>
                      <a:pt x="96774" y="271177"/>
                    </a:lnTo>
                    <a:lnTo>
                      <a:pt x="99251" y="270320"/>
                    </a:lnTo>
                    <a:lnTo>
                      <a:pt x="100108" y="269462"/>
                    </a:lnTo>
                    <a:lnTo>
                      <a:pt x="100965" y="269462"/>
                    </a:lnTo>
                    <a:lnTo>
                      <a:pt x="101727" y="267748"/>
                    </a:lnTo>
                    <a:lnTo>
                      <a:pt x="101727" y="266891"/>
                    </a:lnTo>
                    <a:lnTo>
                      <a:pt x="100965" y="252413"/>
                    </a:lnTo>
                    <a:lnTo>
                      <a:pt x="99251" y="248126"/>
                    </a:lnTo>
                    <a:lnTo>
                      <a:pt x="95060" y="243935"/>
                    </a:lnTo>
                    <a:lnTo>
                      <a:pt x="94202" y="241364"/>
                    </a:lnTo>
                    <a:lnTo>
                      <a:pt x="93345" y="237935"/>
                    </a:lnTo>
                    <a:lnTo>
                      <a:pt x="93345" y="235363"/>
                    </a:lnTo>
                    <a:lnTo>
                      <a:pt x="94202" y="230219"/>
                    </a:lnTo>
                    <a:lnTo>
                      <a:pt x="95060" y="227743"/>
                    </a:lnTo>
                    <a:lnTo>
                      <a:pt x="94202" y="225171"/>
                    </a:lnTo>
                    <a:lnTo>
                      <a:pt x="91726" y="220885"/>
                    </a:lnTo>
                    <a:lnTo>
                      <a:pt x="90869" y="218313"/>
                    </a:lnTo>
                    <a:lnTo>
                      <a:pt x="90011" y="215741"/>
                    </a:lnTo>
                    <a:lnTo>
                      <a:pt x="91726" y="206407"/>
                    </a:lnTo>
                    <a:lnTo>
                      <a:pt x="95060" y="202978"/>
                    </a:lnTo>
                    <a:lnTo>
                      <a:pt x="95060" y="202978"/>
                    </a:lnTo>
                    <a:lnTo>
                      <a:pt x="96774" y="200406"/>
                    </a:lnTo>
                    <a:lnTo>
                      <a:pt x="100108" y="196120"/>
                    </a:lnTo>
                    <a:lnTo>
                      <a:pt x="101727" y="193548"/>
                    </a:lnTo>
                    <a:lnTo>
                      <a:pt x="101727" y="191071"/>
                    </a:lnTo>
                    <a:lnTo>
                      <a:pt x="101727" y="188500"/>
                    </a:lnTo>
                    <a:lnTo>
                      <a:pt x="99251" y="184214"/>
                    </a:lnTo>
                    <a:lnTo>
                      <a:pt x="98393" y="181642"/>
                    </a:lnTo>
                    <a:lnTo>
                      <a:pt x="97536" y="178213"/>
                    </a:lnTo>
                    <a:lnTo>
                      <a:pt x="98393" y="175641"/>
                    </a:lnTo>
                    <a:lnTo>
                      <a:pt x="99251" y="173069"/>
                    </a:lnTo>
                    <a:lnTo>
                      <a:pt x="101727" y="172307"/>
                    </a:lnTo>
                    <a:lnTo>
                      <a:pt x="104299" y="173069"/>
                    </a:lnTo>
                    <a:lnTo>
                      <a:pt x="106013" y="173927"/>
                    </a:lnTo>
                    <a:lnTo>
                      <a:pt x="107633" y="176498"/>
                    </a:lnTo>
                    <a:lnTo>
                      <a:pt x="109347" y="178213"/>
                    </a:lnTo>
                    <a:lnTo>
                      <a:pt x="112681" y="178213"/>
                    </a:lnTo>
                    <a:lnTo>
                      <a:pt x="115253" y="177356"/>
                    </a:lnTo>
                    <a:lnTo>
                      <a:pt x="117729" y="174784"/>
                    </a:lnTo>
                    <a:lnTo>
                      <a:pt x="119444" y="173069"/>
                    </a:lnTo>
                    <a:lnTo>
                      <a:pt x="123635" y="163735"/>
                    </a:lnTo>
                    <a:lnTo>
                      <a:pt x="123635" y="162020"/>
                    </a:lnTo>
                    <a:lnTo>
                      <a:pt x="123635" y="160306"/>
                    </a:lnTo>
                    <a:lnTo>
                      <a:pt x="123635" y="158591"/>
                    </a:lnTo>
                    <a:lnTo>
                      <a:pt x="124492" y="150971"/>
                    </a:lnTo>
                    <a:lnTo>
                      <a:pt x="123635" y="145828"/>
                    </a:lnTo>
                    <a:lnTo>
                      <a:pt x="123635" y="143256"/>
                    </a:lnTo>
                    <a:lnTo>
                      <a:pt x="124492" y="141542"/>
                    </a:lnTo>
                    <a:lnTo>
                      <a:pt x="126968" y="138113"/>
                    </a:lnTo>
                    <a:lnTo>
                      <a:pt x="126968" y="137255"/>
                    </a:lnTo>
                    <a:lnTo>
                      <a:pt x="126968" y="136398"/>
                    </a:lnTo>
                    <a:lnTo>
                      <a:pt x="126968" y="134684"/>
                    </a:lnTo>
                    <a:lnTo>
                      <a:pt x="126206" y="127921"/>
                    </a:lnTo>
                    <a:lnTo>
                      <a:pt x="126206" y="127921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36" name="Freeform: Shape 140">
                <a:extLst>
                  <a:ext uri="{FF2B5EF4-FFF2-40B4-BE49-F238E27FC236}">
                    <a16:creationId xmlns:a16="http://schemas.microsoft.com/office/drawing/2014/main" id="{59F6330A-DCAE-46CD-AD3A-A45D03051704}"/>
                  </a:ext>
                </a:extLst>
              </p:cNvPr>
              <p:cNvSpPr/>
              <p:nvPr/>
            </p:nvSpPr>
            <p:spPr>
              <a:xfrm>
                <a:off x="6871430" y="3013996"/>
                <a:ext cx="333375" cy="123825"/>
              </a:xfrm>
              <a:custGeom>
                <a:avLst/>
                <a:gdLst>
                  <a:gd name="connsiteX0" fmla="*/ 334613 w 333375"/>
                  <a:gd name="connsiteY0" fmla="*/ 102680 h 123825"/>
                  <a:gd name="connsiteX1" fmla="*/ 332899 w 333375"/>
                  <a:gd name="connsiteY1" fmla="*/ 100965 h 123825"/>
                  <a:gd name="connsiteX2" fmla="*/ 332041 w 333375"/>
                  <a:gd name="connsiteY2" fmla="*/ 100108 h 123825"/>
                  <a:gd name="connsiteX3" fmla="*/ 332041 w 333375"/>
                  <a:gd name="connsiteY3" fmla="*/ 99346 h 123825"/>
                  <a:gd name="connsiteX4" fmla="*/ 332041 w 333375"/>
                  <a:gd name="connsiteY4" fmla="*/ 98489 h 123825"/>
                  <a:gd name="connsiteX5" fmla="*/ 332041 w 333375"/>
                  <a:gd name="connsiteY5" fmla="*/ 98489 h 123825"/>
                  <a:gd name="connsiteX6" fmla="*/ 331184 w 333375"/>
                  <a:gd name="connsiteY6" fmla="*/ 97631 h 123825"/>
                  <a:gd name="connsiteX7" fmla="*/ 331184 w 333375"/>
                  <a:gd name="connsiteY7" fmla="*/ 95917 h 123825"/>
                  <a:gd name="connsiteX8" fmla="*/ 332041 w 333375"/>
                  <a:gd name="connsiteY8" fmla="*/ 95060 h 123825"/>
                  <a:gd name="connsiteX9" fmla="*/ 332899 w 333375"/>
                  <a:gd name="connsiteY9" fmla="*/ 93440 h 123825"/>
                  <a:gd name="connsiteX10" fmla="*/ 332899 w 333375"/>
                  <a:gd name="connsiteY10" fmla="*/ 91726 h 123825"/>
                  <a:gd name="connsiteX11" fmla="*/ 332899 w 333375"/>
                  <a:gd name="connsiteY11" fmla="*/ 90869 h 123825"/>
                  <a:gd name="connsiteX12" fmla="*/ 332041 w 333375"/>
                  <a:gd name="connsiteY12" fmla="*/ 89154 h 123825"/>
                  <a:gd name="connsiteX13" fmla="*/ 331184 w 333375"/>
                  <a:gd name="connsiteY13" fmla="*/ 88392 h 123825"/>
                  <a:gd name="connsiteX14" fmla="*/ 329470 w 333375"/>
                  <a:gd name="connsiteY14" fmla="*/ 87535 h 123825"/>
                  <a:gd name="connsiteX15" fmla="*/ 327755 w 333375"/>
                  <a:gd name="connsiteY15" fmla="*/ 85820 h 123825"/>
                  <a:gd name="connsiteX16" fmla="*/ 326898 w 333375"/>
                  <a:gd name="connsiteY16" fmla="*/ 84106 h 123825"/>
                  <a:gd name="connsiteX17" fmla="*/ 321850 w 333375"/>
                  <a:gd name="connsiteY17" fmla="*/ 79915 h 123825"/>
                  <a:gd name="connsiteX18" fmla="*/ 320992 w 333375"/>
                  <a:gd name="connsiteY18" fmla="*/ 79058 h 123825"/>
                  <a:gd name="connsiteX19" fmla="*/ 320135 w 333375"/>
                  <a:gd name="connsiteY19" fmla="*/ 79058 h 123825"/>
                  <a:gd name="connsiteX20" fmla="*/ 318421 w 333375"/>
                  <a:gd name="connsiteY20" fmla="*/ 78296 h 123825"/>
                  <a:gd name="connsiteX21" fmla="*/ 314992 w 333375"/>
                  <a:gd name="connsiteY21" fmla="*/ 77438 h 123825"/>
                  <a:gd name="connsiteX22" fmla="*/ 314135 w 333375"/>
                  <a:gd name="connsiteY22" fmla="*/ 76581 h 123825"/>
                  <a:gd name="connsiteX23" fmla="*/ 313277 w 333375"/>
                  <a:gd name="connsiteY23" fmla="*/ 75724 h 123825"/>
                  <a:gd name="connsiteX24" fmla="*/ 313277 w 333375"/>
                  <a:gd name="connsiteY24" fmla="*/ 74867 h 123825"/>
                  <a:gd name="connsiteX25" fmla="*/ 312420 w 333375"/>
                  <a:gd name="connsiteY25" fmla="*/ 74009 h 123825"/>
                  <a:gd name="connsiteX26" fmla="*/ 309944 w 333375"/>
                  <a:gd name="connsiteY26" fmla="*/ 73247 h 123825"/>
                  <a:gd name="connsiteX27" fmla="*/ 309086 w 333375"/>
                  <a:gd name="connsiteY27" fmla="*/ 72390 h 123825"/>
                  <a:gd name="connsiteX28" fmla="*/ 309086 w 333375"/>
                  <a:gd name="connsiteY28" fmla="*/ 71533 h 123825"/>
                  <a:gd name="connsiteX29" fmla="*/ 309944 w 333375"/>
                  <a:gd name="connsiteY29" fmla="*/ 71533 h 123825"/>
                  <a:gd name="connsiteX30" fmla="*/ 311563 w 333375"/>
                  <a:gd name="connsiteY30" fmla="*/ 69818 h 123825"/>
                  <a:gd name="connsiteX31" fmla="*/ 314135 w 333375"/>
                  <a:gd name="connsiteY31" fmla="*/ 68199 h 123825"/>
                  <a:gd name="connsiteX32" fmla="*/ 314992 w 333375"/>
                  <a:gd name="connsiteY32" fmla="*/ 66485 h 123825"/>
                  <a:gd name="connsiteX33" fmla="*/ 315849 w 333375"/>
                  <a:gd name="connsiteY33" fmla="*/ 65627 h 123825"/>
                  <a:gd name="connsiteX34" fmla="*/ 316706 w 333375"/>
                  <a:gd name="connsiteY34" fmla="*/ 63913 h 123825"/>
                  <a:gd name="connsiteX35" fmla="*/ 317563 w 333375"/>
                  <a:gd name="connsiteY35" fmla="*/ 63056 h 123825"/>
                  <a:gd name="connsiteX36" fmla="*/ 318421 w 333375"/>
                  <a:gd name="connsiteY36" fmla="*/ 62294 h 123825"/>
                  <a:gd name="connsiteX37" fmla="*/ 319278 w 333375"/>
                  <a:gd name="connsiteY37" fmla="*/ 61436 h 123825"/>
                  <a:gd name="connsiteX38" fmla="*/ 319278 w 333375"/>
                  <a:gd name="connsiteY38" fmla="*/ 60579 h 123825"/>
                  <a:gd name="connsiteX39" fmla="*/ 320135 w 333375"/>
                  <a:gd name="connsiteY39" fmla="*/ 59722 h 123825"/>
                  <a:gd name="connsiteX40" fmla="*/ 320135 w 333375"/>
                  <a:gd name="connsiteY40" fmla="*/ 58007 h 123825"/>
                  <a:gd name="connsiteX41" fmla="*/ 319278 w 333375"/>
                  <a:gd name="connsiteY41" fmla="*/ 58007 h 123825"/>
                  <a:gd name="connsiteX42" fmla="*/ 318421 w 333375"/>
                  <a:gd name="connsiteY42" fmla="*/ 57245 h 123825"/>
                  <a:gd name="connsiteX43" fmla="*/ 317563 w 333375"/>
                  <a:gd name="connsiteY43" fmla="*/ 57245 h 123825"/>
                  <a:gd name="connsiteX44" fmla="*/ 316706 w 333375"/>
                  <a:gd name="connsiteY44" fmla="*/ 58007 h 123825"/>
                  <a:gd name="connsiteX45" fmla="*/ 315849 w 333375"/>
                  <a:gd name="connsiteY45" fmla="*/ 58865 h 123825"/>
                  <a:gd name="connsiteX46" fmla="*/ 313277 w 333375"/>
                  <a:gd name="connsiteY46" fmla="*/ 59722 h 123825"/>
                  <a:gd name="connsiteX47" fmla="*/ 312420 w 333375"/>
                  <a:gd name="connsiteY47" fmla="*/ 60579 h 123825"/>
                  <a:gd name="connsiteX48" fmla="*/ 311563 w 333375"/>
                  <a:gd name="connsiteY48" fmla="*/ 60579 h 123825"/>
                  <a:gd name="connsiteX49" fmla="*/ 310801 w 333375"/>
                  <a:gd name="connsiteY49" fmla="*/ 61436 h 123825"/>
                  <a:gd name="connsiteX50" fmla="*/ 310801 w 333375"/>
                  <a:gd name="connsiteY50" fmla="*/ 60579 h 123825"/>
                  <a:gd name="connsiteX51" fmla="*/ 310801 w 333375"/>
                  <a:gd name="connsiteY51" fmla="*/ 60579 h 123825"/>
                  <a:gd name="connsiteX52" fmla="*/ 309944 w 333375"/>
                  <a:gd name="connsiteY52" fmla="*/ 60579 h 123825"/>
                  <a:gd name="connsiteX53" fmla="*/ 302228 w 333375"/>
                  <a:gd name="connsiteY53" fmla="*/ 51340 h 123825"/>
                  <a:gd name="connsiteX54" fmla="*/ 297180 w 333375"/>
                  <a:gd name="connsiteY54" fmla="*/ 47149 h 123825"/>
                  <a:gd name="connsiteX55" fmla="*/ 292037 w 333375"/>
                  <a:gd name="connsiteY55" fmla="*/ 43720 h 123825"/>
                  <a:gd name="connsiteX56" fmla="*/ 290322 w 333375"/>
                  <a:gd name="connsiteY56" fmla="*/ 40386 h 123825"/>
                  <a:gd name="connsiteX57" fmla="*/ 288607 w 333375"/>
                  <a:gd name="connsiteY57" fmla="*/ 39529 h 123825"/>
                  <a:gd name="connsiteX58" fmla="*/ 286893 w 333375"/>
                  <a:gd name="connsiteY58" fmla="*/ 38672 h 123825"/>
                  <a:gd name="connsiteX59" fmla="*/ 285179 w 333375"/>
                  <a:gd name="connsiteY59" fmla="*/ 39529 h 123825"/>
                  <a:gd name="connsiteX60" fmla="*/ 283464 w 333375"/>
                  <a:gd name="connsiteY60" fmla="*/ 40386 h 123825"/>
                  <a:gd name="connsiteX61" fmla="*/ 281845 w 333375"/>
                  <a:gd name="connsiteY61" fmla="*/ 41243 h 123825"/>
                  <a:gd name="connsiteX62" fmla="*/ 280988 w 333375"/>
                  <a:gd name="connsiteY62" fmla="*/ 42863 h 123825"/>
                  <a:gd name="connsiteX63" fmla="*/ 279273 w 333375"/>
                  <a:gd name="connsiteY63" fmla="*/ 43720 h 123825"/>
                  <a:gd name="connsiteX64" fmla="*/ 274130 w 333375"/>
                  <a:gd name="connsiteY64" fmla="*/ 44577 h 123825"/>
                  <a:gd name="connsiteX65" fmla="*/ 269843 w 333375"/>
                  <a:gd name="connsiteY65" fmla="*/ 45434 h 123825"/>
                  <a:gd name="connsiteX66" fmla="*/ 267367 w 333375"/>
                  <a:gd name="connsiteY66" fmla="*/ 46292 h 123825"/>
                  <a:gd name="connsiteX67" fmla="*/ 264795 w 333375"/>
                  <a:gd name="connsiteY67" fmla="*/ 47911 h 123825"/>
                  <a:gd name="connsiteX68" fmla="*/ 263938 w 333375"/>
                  <a:gd name="connsiteY68" fmla="*/ 48768 h 123825"/>
                  <a:gd name="connsiteX69" fmla="*/ 263080 w 333375"/>
                  <a:gd name="connsiteY69" fmla="*/ 48768 h 123825"/>
                  <a:gd name="connsiteX70" fmla="*/ 263080 w 333375"/>
                  <a:gd name="connsiteY70" fmla="*/ 47911 h 123825"/>
                  <a:gd name="connsiteX71" fmla="*/ 263080 w 333375"/>
                  <a:gd name="connsiteY71" fmla="*/ 47149 h 123825"/>
                  <a:gd name="connsiteX72" fmla="*/ 263938 w 333375"/>
                  <a:gd name="connsiteY72" fmla="*/ 40386 h 123825"/>
                  <a:gd name="connsiteX73" fmla="*/ 263080 w 333375"/>
                  <a:gd name="connsiteY73" fmla="*/ 37814 h 123825"/>
                  <a:gd name="connsiteX74" fmla="*/ 263080 w 333375"/>
                  <a:gd name="connsiteY74" fmla="*/ 36195 h 123825"/>
                  <a:gd name="connsiteX75" fmla="*/ 263080 w 333375"/>
                  <a:gd name="connsiteY75" fmla="*/ 35338 h 123825"/>
                  <a:gd name="connsiteX76" fmla="*/ 262223 w 333375"/>
                  <a:gd name="connsiteY76" fmla="*/ 33623 h 123825"/>
                  <a:gd name="connsiteX77" fmla="*/ 263080 w 333375"/>
                  <a:gd name="connsiteY77" fmla="*/ 32766 h 123825"/>
                  <a:gd name="connsiteX78" fmla="*/ 264795 w 333375"/>
                  <a:gd name="connsiteY78" fmla="*/ 29432 h 123825"/>
                  <a:gd name="connsiteX79" fmla="*/ 266510 w 333375"/>
                  <a:gd name="connsiteY79" fmla="*/ 24384 h 123825"/>
                  <a:gd name="connsiteX80" fmla="*/ 268224 w 333375"/>
                  <a:gd name="connsiteY80" fmla="*/ 20193 h 123825"/>
                  <a:gd name="connsiteX81" fmla="*/ 268224 w 333375"/>
                  <a:gd name="connsiteY81" fmla="*/ 18479 h 123825"/>
                  <a:gd name="connsiteX82" fmla="*/ 267367 w 333375"/>
                  <a:gd name="connsiteY82" fmla="*/ 17621 h 123825"/>
                  <a:gd name="connsiteX83" fmla="*/ 264795 w 333375"/>
                  <a:gd name="connsiteY83" fmla="*/ 17621 h 123825"/>
                  <a:gd name="connsiteX84" fmla="*/ 263938 w 333375"/>
                  <a:gd name="connsiteY84" fmla="*/ 16764 h 123825"/>
                  <a:gd name="connsiteX85" fmla="*/ 263938 w 333375"/>
                  <a:gd name="connsiteY85" fmla="*/ 15907 h 123825"/>
                  <a:gd name="connsiteX86" fmla="*/ 263938 w 333375"/>
                  <a:gd name="connsiteY86" fmla="*/ 14288 h 123825"/>
                  <a:gd name="connsiteX87" fmla="*/ 263938 w 333375"/>
                  <a:gd name="connsiteY87" fmla="*/ 12573 h 123825"/>
                  <a:gd name="connsiteX88" fmla="*/ 263938 w 333375"/>
                  <a:gd name="connsiteY88" fmla="*/ 11716 h 123825"/>
                  <a:gd name="connsiteX89" fmla="*/ 264795 w 333375"/>
                  <a:gd name="connsiteY89" fmla="*/ 11716 h 123825"/>
                  <a:gd name="connsiteX90" fmla="*/ 273272 w 333375"/>
                  <a:gd name="connsiteY90" fmla="*/ 4191 h 123825"/>
                  <a:gd name="connsiteX91" fmla="*/ 274130 w 333375"/>
                  <a:gd name="connsiteY91" fmla="*/ 1619 h 123825"/>
                  <a:gd name="connsiteX92" fmla="*/ 274130 w 333375"/>
                  <a:gd name="connsiteY92" fmla="*/ 762 h 123825"/>
                  <a:gd name="connsiteX93" fmla="*/ 273272 w 333375"/>
                  <a:gd name="connsiteY93" fmla="*/ 762 h 123825"/>
                  <a:gd name="connsiteX94" fmla="*/ 272415 w 333375"/>
                  <a:gd name="connsiteY94" fmla="*/ 0 h 123825"/>
                  <a:gd name="connsiteX95" fmla="*/ 262223 w 333375"/>
                  <a:gd name="connsiteY95" fmla="*/ 0 h 123825"/>
                  <a:gd name="connsiteX96" fmla="*/ 260509 w 333375"/>
                  <a:gd name="connsiteY96" fmla="*/ 0 h 123825"/>
                  <a:gd name="connsiteX97" fmla="*/ 257080 w 333375"/>
                  <a:gd name="connsiteY97" fmla="*/ 1619 h 123825"/>
                  <a:gd name="connsiteX98" fmla="*/ 250317 w 333375"/>
                  <a:gd name="connsiteY98" fmla="*/ 3334 h 123825"/>
                  <a:gd name="connsiteX99" fmla="*/ 249460 w 333375"/>
                  <a:gd name="connsiteY99" fmla="*/ 3334 h 123825"/>
                  <a:gd name="connsiteX100" fmla="*/ 247745 w 333375"/>
                  <a:gd name="connsiteY100" fmla="*/ 3334 h 123825"/>
                  <a:gd name="connsiteX101" fmla="*/ 246888 w 333375"/>
                  <a:gd name="connsiteY101" fmla="*/ 3334 h 123825"/>
                  <a:gd name="connsiteX102" fmla="*/ 239268 w 333375"/>
                  <a:gd name="connsiteY102" fmla="*/ 5048 h 123825"/>
                  <a:gd name="connsiteX103" fmla="*/ 235839 w 333375"/>
                  <a:gd name="connsiteY103" fmla="*/ 5810 h 123825"/>
                  <a:gd name="connsiteX104" fmla="*/ 233267 w 333375"/>
                  <a:gd name="connsiteY104" fmla="*/ 5810 h 123825"/>
                  <a:gd name="connsiteX105" fmla="*/ 232410 w 333375"/>
                  <a:gd name="connsiteY105" fmla="*/ 5048 h 123825"/>
                  <a:gd name="connsiteX106" fmla="*/ 230696 w 333375"/>
                  <a:gd name="connsiteY106" fmla="*/ 4191 h 123825"/>
                  <a:gd name="connsiteX107" fmla="*/ 227362 w 333375"/>
                  <a:gd name="connsiteY107" fmla="*/ 762 h 123825"/>
                  <a:gd name="connsiteX108" fmla="*/ 224790 w 333375"/>
                  <a:gd name="connsiteY108" fmla="*/ 0 h 123825"/>
                  <a:gd name="connsiteX109" fmla="*/ 223075 w 333375"/>
                  <a:gd name="connsiteY109" fmla="*/ 0 h 123825"/>
                  <a:gd name="connsiteX110" fmla="*/ 221361 w 333375"/>
                  <a:gd name="connsiteY110" fmla="*/ 762 h 123825"/>
                  <a:gd name="connsiteX111" fmla="*/ 217075 w 333375"/>
                  <a:gd name="connsiteY111" fmla="*/ 5048 h 123825"/>
                  <a:gd name="connsiteX112" fmla="*/ 216217 w 333375"/>
                  <a:gd name="connsiteY112" fmla="*/ 5810 h 123825"/>
                  <a:gd name="connsiteX113" fmla="*/ 215360 w 333375"/>
                  <a:gd name="connsiteY113" fmla="*/ 6668 h 123825"/>
                  <a:gd name="connsiteX114" fmla="*/ 215360 w 333375"/>
                  <a:gd name="connsiteY114" fmla="*/ 10097 h 123825"/>
                  <a:gd name="connsiteX115" fmla="*/ 214503 w 333375"/>
                  <a:gd name="connsiteY115" fmla="*/ 11716 h 123825"/>
                  <a:gd name="connsiteX116" fmla="*/ 212884 w 333375"/>
                  <a:gd name="connsiteY116" fmla="*/ 14288 h 123825"/>
                  <a:gd name="connsiteX117" fmla="*/ 212027 w 333375"/>
                  <a:gd name="connsiteY117" fmla="*/ 15907 h 123825"/>
                  <a:gd name="connsiteX118" fmla="*/ 210312 w 333375"/>
                  <a:gd name="connsiteY118" fmla="*/ 17621 h 123825"/>
                  <a:gd name="connsiteX119" fmla="*/ 207740 w 333375"/>
                  <a:gd name="connsiteY119" fmla="*/ 19336 h 123825"/>
                  <a:gd name="connsiteX120" fmla="*/ 206026 w 333375"/>
                  <a:gd name="connsiteY120" fmla="*/ 19336 h 123825"/>
                  <a:gd name="connsiteX121" fmla="*/ 204311 w 333375"/>
                  <a:gd name="connsiteY121" fmla="*/ 18479 h 123825"/>
                  <a:gd name="connsiteX122" fmla="*/ 203454 w 333375"/>
                  <a:gd name="connsiteY122" fmla="*/ 17621 h 123825"/>
                  <a:gd name="connsiteX123" fmla="*/ 203454 w 333375"/>
                  <a:gd name="connsiteY123" fmla="*/ 16764 h 123825"/>
                  <a:gd name="connsiteX124" fmla="*/ 203454 w 333375"/>
                  <a:gd name="connsiteY124" fmla="*/ 15145 h 123825"/>
                  <a:gd name="connsiteX125" fmla="*/ 204311 w 333375"/>
                  <a:gd name="connsiteY125" fmla="*/ 13430 h 123825"/>
                  <a:gd name="connsiteX126" fmla="*/ 205169 w 333375"/>
                  <a:gd name="connsiteY126" fmla="*/ 11716 h 123825"/>
                  <a:gd name="connsiteX127" fmla="*/ 205169 w 333375"/>
                  <a:gd name="connsiteY127" fmla="*/ 10859 h 123825"/>
                  <a:gd name="connsiteX128" fmla="*/ 205169 w 333375"/>
                  <a:gd name="connsiteY128" fmla="*/ 10097 h 123825"/>
                  <a:gd name="connsiteX129" fmla="*/ 205169 w 333375"/>
                  <a:gd name="connsiteY129" fmla="*/ 8382 h 123825"/>
                  <a:gd name="connsiteX130" fmla="*/ 204311 w 333375"/>
                  <a:gd name="connsiteY130" fmla="*/ 7525 h 123825"/>
                  <a:gd name="connsiteX131" fmla="*/ 202597 w 333375"/>
                  <a:gd name="connsiteY131" fmla="*/ 6668 h 123825"/>
                  <a:gd name="connsiteX132" fmla="*/ 200882 w 333375"/>
                  <a:gd name="connsiteY132" fmla="*/ 5810 h 123825"/>
                  <a:gd name="connsiteX133" fmla="*/ 199263 w 333375"/>
                  <a:gd name="connsiteY133" fmla="*/ 6668 h 123825"/>
                  <a:gd name="connsiteX134" fmla="*/ 198406 w 333375"/>
                  <a:gd name="connsiteY134" fmla="*/ 7525 h 123825"/>
                  <a:gd name="connsiteX135" fmla="*/ 196691 w 333375"/>
                  <a:gd name="connsiteY135" fmla="*/ 10859 h 123825"/>
                  <a:gd name="connsiteX136" fmla="*/ 196691 w 333375"/>
                  <a:gd name="connsiteY136" fmla="*/ 10859 h 123825"/>
                  <a:gd name="connsiteX137" fmla="*/ 194977 w 333375"/>
                  <a:gd name="connsiteY137" fmla="*/ 12573 h 123825"/>
                  <a:gd name="connsiteX138" fmla="*/ 193262 w 333375"/>
                  <a:gd name="connsiteY138" fmla="*/ 14288 h 123825"/>
                  <a:gd name="connsiteX139" fmla="*/ 191548 w 333375"/>
                  <a:gd name="connsiteY139" fmla="*/ 16764 h 123825"/>
                  <a:gd name="connsiteX140" fmla="*/ 188976 w 333375"/>
                  <a:gd name="connsiteY140" fmla="*/ 20193 h 123825"/>
                  <a:gd name="connsiteX141" fmla="*/ 188119 w 333375"/>
                  <a:gd name="connsiteY141" fmla="*/ 21050 h 123825"/>
                  <a:gd name="connsiteX142" fmla="*/ 186499 w 333375"/>
                  <a:gd name="connsiteY142" fmla="*/ 23527 h 123825"/>
                  <a:gd name="connsiteX143" fmla="*/ 185642 w 333375"/>
                  <a:gd name="connsiteY143" fmla="*/ 23527 h 123825"/>
                  <a:gd name="connsiteX144" fmla="*/ 186499 w 333375"/>
                  <a:gd name="connsiteY144" fmla="*/ 24384 h 123825"/>
                  <a:gd name="connsiteX145" fmla="*/ 187262 w 333375"/>
                  <a:gd name="connsiteY145" fmla="*/ 24384 h 123825"/>
                  <a:gd name="connsiteX146" fmla="*/ 188119 w 333375"/>
                  <a:gd name="connsiteY146" fmla="*/ 24384 h 123825"/>
                  <a:gd name="connsiteX147" fmla="*/ 188976 w 333375"/>
                  <a:gd name="connsiteY147" fmla="*/ 24384 h 123825"/>
                  <a:gd name="connsiteX148" fmla="*/ 191548 w 333375"/>
                  <a:gd name="connsiteY148" fmla="*/ 22670 h 123825"/>
                  <a:gd name="connsiteX149" fmla="*/ 192405 w 333375"/>
                  <a:gd name="connsiteY149" fmla="*/ 22670 h 123825"/>
                  <a:gd name="connsiteX150" fmla="*/ 192405 w 333375"/>
                  <a:gd name="connsiteY150" fmla="*/ 23527 h 123825"/>
                  <a:gd name="connsiteX151" fmla="*/ 191548 w 333375"/>
                  <a:gd name="connsiteY151" fmla="*/ 24384 h 123825"/>
                  <a:gd name="connsiteX152" fmla="*/ 185642 w 333375"/>
                  <a:gd name="connsiteY152" fmla="*/ 26861 h 123825"/>
                  <a:gd name="connsiteX153" fmla="*/ 179641 w 333375"/>
                  <a:gd name="connsiteY153" fmla="*/ 27718 h 123825"/>
                  <a:gd name="connsiteX154" fmla="*/ 173641 w 333375"/>
                  <a:gd name="connsiteY154" fmla="*/ 29432 h 123825"/>
                  <a:gd name="connsiteX155" fmla="*/ 171164 w 333375"/>
                  <a:gd name="connsiteY155" fmla="*/ 31147 h 123825"/>
                  <a:gd name="connsiteX156" fmla="*/ 169450 w 333375"/>
                  <a:gd name="connsiteY156" fmla="*/ 31909 h 123825"/>
                  <a:gd name="connsiteX157" fmla="*/ 168592 w 333375"/>
                  <a:gd name="connsiteY157" fmla="*/ 35338 h 123825"/>
                  <a:gd name="connsiteX158" fmla="*/ 163449 w 333375"/>
                  <a:gd name="connsiteY158" fmla="*/ 40386 h 123825"/>
                  <a:gd name="connsiteX159" fmla="*/ 160877 w 333375"/>
                  <a:gd name="connsiteY159" fmla="*/ 42005 h 123825"/>
                  <a:gd name="connsiteX160" fmla="*/ 159258 w 333375"/>
                  <a:gd name="connsiteY160" fmla="*/ 42863 h 123825"/>
                  <a:gd name="connsiteX161" fmla="*/ 158401 w 333375"/>
                  <a:gd name="connsiteY161" fmla="*/ 42863 h 123825"/>
                  <a:gd name="connsiteX162" fmla="*/ 156686 w 333375"/>
                  <a:gd name="connsiteY162" fmla="*/ 42863 h 123825"/>
                  <a:gd name="connsiteX163" fmla="*/ 155829 w 333375"/>
                  <a:gd name="connsiteY163" fmla="*/ 39529 h 123825"/>
                  <a:gd name="connsiteX164" fmla="*/ 154972 w 333375"/>
                  <a:gd name="connsiteY164" fmla="*/ 35338 h 123825"/>
                  <a:gd name="connsiteX165" fmla="*/ 154972 w 333375"/>
                  <a:gd name="connsiteY165" fmla="*/ 32766 h 123825"/>
                  <a:gd name="connsiteX166" fmla="*/ 154972 w 333375"/>
                  <a:gd name="connsiteY166" fmla="*/ 31147 h 123825"/>
                  <a:gd name="connsiteX167" fmla="*/ 155829 w 333375"/>
                  <a:gd name="connsiteY167" fmla="*/ 27718 h 123825"/>
                  <a:gd name="connsiteX168" fmla="*/ 154972 w 333375"/>
                  <a:gd name="connsiteY168" fmla="*/ 26099 h 123825"/>
                  <a:gd name="connsiteX169" fmla="*/ 153257 w 333375"/>
                  <a:gd name="connsiteY169" fmla="*/ 26099 h 123825"/>
                  <a:gd name="connsiteX170" fmla="*/ 143923 w 333375"/>
                  <a:gd name="connsiteY170" fmla="*/ 30290 h 123825"/>
                  <a:gd name="connsiteX171" fmla="*/ 142208 w 333375"/>
                  <a:gd name="connsiteY171" fmla="*/ 30290 h 123825"/>
                  <a:gd name="connsiteX172" fmla="*/ 141351 w 333375"/>
                  <a:gd name="connsiteY172" fmla="*/ 30290 h 123825"/>
                  <a:gd name="connsiteX173" fmla="*/ 141351 w 333375"/>
                  <a:gd name="connsiteY173" fmla="*/ 29432 h 123825"/>
                  <a:gd name="connsiteX174" fmla="*/ 140494 w 333375"/>
                  <a:gd name="connsiteY174" fmla="*/ 28575 h 123825"/>
                  <a:gd name="connsiteX175" fmla="*/ 140494 w 333375"/>
                  <a:gd name="connsiteY175" fmla="*/ 28575 h 123825"/>
                  <a:gd name="connsiteX176" fmla="*/ 138779 w 333375"/>
                  <a:gd name="connsiteY176" fmla="*/ 29432 h 123825"/>
                  <a:gd name="connsiteX177" fmla="*/ 137065 w 333375"/>
                  <a:gd name="connsiteY177" fmla="*/ 30290 h 123825"/>
                  <a:gd name="connsiteX178" fmla="*/ 136207 w 333375"/>
                  <a:gd name="connsiteY178" fmla="*/ 30290 h 123825"/>
                  <a:gd name="connsiteX179" fmla="*/ 136207 w 333375"/>
                  <a:gd name="connsiteY179" fmla="*/ 29432 h 123825"/>
                  <a:gd name="connsiteX180" fmla="*/ 137065 w 333375"/>
                  <a:gd name="connsiteY180" fmla="*/ 26099 h 123825"/>
                  <a:gd name="connsiteX181" fmla="*/ 137065 w 333375"/>
                  <a:gd name="connsiteY181" fmla="*/ 24384 h 123825"/>
                  <a:gd name="connsiteX182" fmla="*/ 136207 w 333375"/>
                  <a:gd name="connsiteY182" fmla="*/ 22670 h 123825"/>
                  <a:gd name="connsiteX183" fmla="*/ 136207 w 333375"/>
                  <a:gd name="connsiteY183" fmla="*/ 21812 h 123825"/>
                  <a:gd name="connsiteX184" fmla="*/ 135350 w 333375"/>
                  <a:gd name="connsiteY184" fmla="*/ 21050 h 123825"/>
                  <a:gd name="connsiteX185" fmla="*/ 133636 w 333375"/>
                  <a:gd name="connsiteY185" fmla="*/ 21050 h 123825"/>
                  <a:gd name="connsiteX186" fmla="*/ 132779 w 333375"/>
                  <a:gd name="connsiteY186" fmla="*/ 20193 h 123825"/>
                  <a:gd name="connsiteX187" fmla="*/ 131921 w 333375"/>
                  <a:gd name="connsiteY187" fmla="*/ 20193 h 123825"/>
                  <a:gd name="connsiteX188" fmla="*/ 131159 w 333375"/>
                  <a:gd name="connsiteY188" fmla="*/ 18479 h 123825"/>
                  <a:gd name="connsiteX189" fmla="*/ 130302 w 333375"/>
                  <a:gd name="connsiteY189" fmla="*/ 17621 h 123825"/>
                  <a:gd name="connsiteX190" fmla="*/ 129445 w 333375"/>
                  <a:gd name="connsiteY190" fmla="*/ 17621 h 123825"/>
                  <a:gd name="connsiteX191" fmla="*/ 125158 w 333375"/>
                  <a:gd name="connsiteY191" fmla="*/ 17621 h 123825"/>
                  <a:gd name="connsiteX192" fmla="*/ 121729 w 333375"/>
                  <a:gd name="connsiteY192" fmla="*/ 16764 h 123825"/>
                  <a:gd name="connsiteX193" fmla="*/ 118300 w 333375"/>
                  <a:gd name="connsiteY193" fmla="*/ 16764 h 123825"/>
                  <a:gd name="connsiteX194" fmla="*/ 114110 w 333375"/>
                  <a:gd name="connsiteY194" fmla="*/ 16764 h 123825"/>
                  <a:gd name="connsiteX195" fmla="*/ 113252 w 333375"/>
                  <a:gd name="connsiteY195" fmla="*/ 17621 h 123825"/>
                  <a:gd name="connsiteX196" fmla="*/ 109823 w 333375"/>
                  <a:gd name="connsiteY196" fmla="*/ 19336 h 123825"/>
                  <a:gd name="connsiteX197" fmla="*/ 108966 w 333375"/>
                  <a:gd name="connsiteY197" fmla="*/ 19336 h 123825"/>
                  <a:gd name="connsiteX198" fmla="*/ 108109 w 333375"/>
                  <a:gd name="connsiteY198" fmla="*/ 19336 h 123825"/>
                  <a:gd name="connsiteX199" fmla="*/ 108109 w 333375"/>
                  <a:gd name="connsiteY199" fmla="*/ 18479 h 123825"/>
                  <a:gd name="connsiteX200" fmla="*/ 108109 w 333375"/>
                  <a:gd name="connsiteY200" fmla="*/ 15907 h 123825"/>
                  <a:gd name="connsiteX201" fmla="*/ 107252 w 333375"/>
                  <a:gd name="connsiteY201" fmla="*/ 15907 h 123825"/>
                  <a:gd name="connsiteX202" fmla="*/ 107252 w 333375"/>
                  <a:gd name="connsiteY202" fmla="*/ 15145 h 123825"/>
                  <a:gd name="connsiteX203" fmla="*/ 105537 w 333375"/>
                  <a:gd name="connsiteY203" fmla="*/ 15145 h 123825"/>
                  <a:gd name="connsiteX204" fmla="*/ 98774 w 333375"/>
                  <a:gd name="connsiteY204" fmla="*/ 16764 h 123825"/>
                  <a:gd name="connsiteX205" fmla="*/ 96203 w 333375"/>
                  <a:gd name="connsiteY205" fmla="*/ 17621 h 123825"/>
                  <a:gd name="connsiteX206" fmla="*/ 93631 w 333375"/>
                  <a:gd name="connsiteY206" fmla="*/ 19336 h 123825"/>
                  <a:gd name="connsiteX207" fmla="*/ 92773 w 333375"/>
                  <a:gd name="connsiteY207" fmla="*/ 18479 h 123825"/>
                  <a:gd name="connsiteX208" fmla="*/ 92773 w 333375"/>
                  <a:gd name="connsiteY208" fmla="*/ 17621 h 123825"/>
                  <a:gd name="connsiteX209" fmla="*/ 92773 w 333375"/>
                  <a:gd name="connsiteY209" fmla="*/ 16764 h 123825"/>
                  <a:gd name="connsiteX210" fmla="*/ 92773 w 333375"/>
                  <a:gd name="connsiteY210" fmla="*/ 15907 h 123825"/>
                  <a:gd name="connsiteX211" fmla="*/ 91916 w 333375"/>
                  <a:gd name="connsiteY211" fmla="*/ 15145 h 123825"/>
                  <a:gd name="connsiteX212" fmla="*/ 91059 w 333375"/>
                  <a:gd name="connsiteY212" fmla="*/ 14288 h 123825"/>
                  <a:gd name="connsiteX213" fmla="*/ 90297 w 333375"/>
                  <a:gd name="connsiteY213" fmla="*/ 14288 h 123825"/>
                  <a:gd name="connsiteX214" fmla="*/ 89440 w 333375"/>
                  <a:gd name="connsiteY214" fmla="*/ 14288 h 123825"/>
                  <a:gd name="connsiteX215" fmla="*/ 88582 w 333375"/>
                  <a:gd name="connsiteY215" fmla="*/ 15907 h 123825"/>
                  <a:gd name="connsiteX216" fmla="*/ 88582 w 333375"/>
                  <a:gd name="connsiteY216" fmla="*/ 16764 h 123825"/>
                  <a:gd name="connsiteX217" fmla="*/ 86868 w 333375"/>
                  <a:gd name="connsiteY217" fmla="*/ 18479 h 123825"/>
                  <a:gd name="connsiteX218" fmla="*/ 82582 w 333375"/>
                  <a:gd name="connsiteY218" fmla="*/ 21050 h 123825"/>
                  <a:gd name="connsiteX219" fmla="*/ 81724 w 333375"/>
                  <a:gd name="connsiteY219" fmla="*/ 21050 h 123825"/>
                  <a:gd name="connsiteX220" fmla="*/ 80867 w 333375"/>
                  <a:gd name="connsiteY220" fmla="*/ 21050 h 123825"/>
                  <a:gd name="connsiteX221" fmla="*/ 80867 w 333375"/>
                  <a:gd name="connsiteY221" fmla="*/ 21050 h 123825"/>
                  <a:gd name="connsiteX222" fmla="*/ 81724 w 333375"/>
                  <a:gd name="connsiteY222" fmla="*/ 20193 h 123825"/>
                  <a:gd name="connsiteX223" fmla="*/ 82582 w 333375"/>
                  <a:gd name="connsiteY223" fmla="*/ 18479 h 123825"/>
                  <a:gd name="connsiteX224" fmla="*/ 83439 w 333375"/>
                  <a:gd name="connsiteY224" fmla="*/ 16764 h 123825"/>
                  <a:gd name="connsiteX225" fmla="*/ 83439 w 333375"/>
                  <a:gd name="connsiteY225" fmla="*/ 15145 h 123825"/>
                  <a:gd name="connsiteX226" fmla="*/ 83439 w 333375"/>
                  <a:gd name="connsiteY226" fmla="*/ 13430 h 123825"/>
                  <a:gd name="connsiteX227" fmla="*/ 82582 w 333375"/>
                  <a:gd name="connsiteY227" fmla="*/ 12573 h 123825"/>
                  <a:gd name="connsiteX228" fmla="*/ 79153 w 333375"/>
                  <a:gd name="connsiteY228" fmla="*/ 10859 h 123825"/>
                  <a:gd name="connsiteX229" fmla="*/ 77438 w 333375"/>
                  <a:gd name="connsiteY229" fmla="*/ 9239 h 123825"/>
                  <a:gd name="connsiteX230" fmla="*/ 75819 w 333375"/>
                  <a:gd name="connsiteY230" fmla="*/ 9239 h 123825"/>
                  <a:gd name="connsiteX231" fmla="*/ 74962 w 333375"/>
                  <a:gd name="connsiteY231" fmla="*/ 9239 h 123825"/>
                  <a:gd name="connsiteX232" fmla="*/ 74104 w 333375"/>
                  <a:gd name="connsiteY232" fmla="*/ 9239 h 123825"/>
                  <a:gd name="connsiteX233" fmla="*/ 72390 w 333375"/>
                  <a:gd name="connsiteY233" fmla="*/ 9239 h 123825"/>
                  <a:gd name="connsiteX234" fmla="*/ 66389 w 333375"/>
                  <a:gd name="connsiteY234" fmla="*/ 8382 h 123825"/>
                  <a:gd name="connsiteX235" fmla="*/ 64675 w 333375"/>
                  <a:gd name="connsiteY235" fmla="*/ 8382 h 123825"/>
                  <a:gd name="connsiteX236" fmla="*/ 63817 w 333375"/>
                  <a:gd name="connsiteY236" fmla="*/ 9239 h 123825"/>
                  <a:gd name="connsiteX237" fmla="*/ 62198 w 333375"/>
                  <a:gd name="connsiteY237" fmla="*/ 10097 h 123825"/>
                  <a:gd name="connsiteX238" fmla="*/ 59627 w 333375"/>
                  <a:gd name="connsiteY238" fmla="*/ 11716 h 123825"/>
                  <a:gd name="connsiteX239" fmla="*/ 58769 w 333375"/>
                  <a:gd name="connsiteY239" fmla="*/ 11716 h 123825"/>
                  <a:gd name="connsiteX240" fmla="*/ 57912 w 333375"/>
                  <a:gd name="connsiteY240" fmla="*/ 12573 h 123825"/>
                  <a:gd name="connsiteX241" fmla="*/ 55340 w 333375"/>
                  <a:gd name="connsiteY241" fmla="*/ 12573 h 123825"/>
                  <a:gd name="connsiteX242" fmla="*/ 53626 w 333375"/>
                  <a:gd name="connsiteY242" fmla="*/ 13430 h 123825"/>
                  <a:gd name="connsiteX243" fmla="*/ 46863 w 333375"/>
                  <a:gd name="connsiteY243" fmla="*/ 13430 h 123825"/>
                  <a:gd name="connsiteX244" fmla="*/ 37433 w 333375"/>
                  <a:gd name="connsiteY244" fmla="*/ 15145 h 123825"/>
                  <a:gd name="connsiteX245" fmla="*/ 35719 w 333375"/>
                  <a:gd name="connsiteY245" fmla="*/ 16764 h 123825"/>
                  <a:gd name="connsiteX246" fmla="*/ 34957 w 333375"/>
                  <a:gd name="connsiteY246" fmla="*/ 17621 h 123825"/>
                  <a:gd name="connsiteX247" fmla="*/ 32385 w 333375"/>
                  <a:gd name="connsiteY247" fmla="*/ 20193 h 123825"/>
                  <a:gd name="connsiteX248" fmla="*/ 28956 w 333375"/>
                  <a:gd name="connsiteY248" fmla="*/ 22670 h 123825"/>
                  <a:gd name="connsiteX249" fmla="*/ 27242 w 333375"/>
                  <a:gd name="connsiteY249" fmla="*/ 24384 h 123825"/>
                  <a:gd name="connsiteX250" fmla="*/ 26384 w 333375"/>
                  <a:gd name="connsiteY250" fmla="*/ 25241 h 123825"/>
                  <a:gd name="connsiteX251" fmla="*/ 25527 w 333375"/>
                  <a:gd name="connsiteY251" fmla="*/ 26861 h 123825"/>
                  <a:gd name="connsiteX252" fmla="*/ 24670 w 333375"/>
                  <a:gd name="connsiteY252" fmla="*/ 28575 h 123825"/>
                  <a:gd name="connsiteX253" fmla="*/ 21336 w 333375"/>
                  <a:gd name="connsiteY253" fmla="*/ 31909 h 123825"/>
                  <a:gd name="connsiteX254" fmla="*/ 20479 w 333375"/>
                  <a:gd name="connsiteY254" fmla="*/ 32766 h 123825"/>
                  <a:gd name="connsiteX255" fmla="*/ 19621 w 333375"/>
                  <a:gd name="connsiteY255" fmla="*/ 34481 h 123825"/>
                  <a:gd name="connsiteX256" fmla="*/ 19621 w 333375"/>
                  <a:gd name="connsiteY256" fmla="*/ 36957 h 123825"/>
                  <a:gd name="connsiteX257" fmla="*/ 18764 w 333375"/>
                  <a:gd name="connsiteY257" fmla="*/ 38672 h 123825"/>
                  <a:gd name="connsiteX258" fmla="*/ 18764 w 333375"/>
                  <a:gd name="connsiteY258" fmla="*/ 39529 h 123825"/>
                  <a:gd name="connsiteX259" fmla="*/ 17907 w 333375"/>
                  <a:gd name="connsiteY259" fmla="*/ 40386 h 123825"/>
                  <a:gd name="connsiteX260" fmla="*/ 17050 w 333375"/>
                  <a:gd name="connsiteY260" fmla="*/ 42863 h 123825"/>
                  <a:gd name="connsiteX261" fmla="*/ 16192 w 333375"/>
                  <a:gd name="connsiteY261" fmla="*/ 43720 h 123825"/>
                  <a:gd name="connsiteX262" fmla="*/ 16192 w 333375"/>
                  <a:gd name="connsiteY262" fmla="*/ 45434 h 123825"/>
                  <a:gd name="connsiteX263" fmla="*/ 16192 w 333375"/>
                  <a:gd name="connsiteY263" fmla="*/ 46292 h 123825"/>
                  <a:gd name="connsiteX264" fmla="*/ 16192 w 333375"/>
                  <a:gd name="connsiteY264" fmla="*/ 47911 h 123825"/>
                  <a:gd name="connsiteX265" fmla="*/ 17050 w 333375"/>
                  <a:gd name="connsiteY265" fmla="*/ 51340 h 123825"/>
                  <a:gd name="connsiteX266" fmla="*/ 17050 w 333375"/>
                  <a:gd name="connsiteY266" fmla="*/ 52197 h 123825"/>
                  <a:gd name="connsiteX267" fmla="*/ 17907 w 333375"/>
                  <a:gd name="connsiteY267" fmla="*/ 52959 h 123825"/>
                  <a:gd name="connsiteX268" fmla="*/ 18764 w 333375"/>
                  <a:gd name="connsiteY268" fmla="*/ 54674 h 123825"/>
                  <a:gd name="connsiteX269" fmla="*/ 22098 w 333375"/>
                  <a:gd name="connsiteY269" fmla="*/ 57245 h 123825"/>
                  <a:gd name="connsiteX270" fmla="*/ 22098 w 333375"/>
                  <a:gd name="connsiteY270" fmla="*/ 58007 h 123825"/>
                  <a:gd name="connsiteX271" fmla="*/ 22955 w 333375"/>
                  <a:gd name="connsiteY271" fmla="*/ 58865 h 123825"/>
                  <a:gd name="connsiteX272" fmla="*/ 22955 w 333375"/>
                  <a:gd name="connsiteY272" fmla="*/ 59722 h 123825"/>
                  <a:gd name="connsiteX273" fmla="*/ 22955 w 333375"/>
                  <a:gd name="connsiteY273" fmla="*/ 60579 h 123825"/>
                  <a:gd name="connsiteX274" fmla="*/ 22098 w 333375"/>
                  <a:gd name="connsiteY274" fmla="*/ 61436 h 123825"/>
                  <a:gd name="connsiteX275" fmla="*/ 21336 w 333375"/>
                  <a:gd name="connsiteY275" fmla="*/ 62294 h 123825"/>
                  <a:gd name="connsiteX276" fmla="*/ 20479 w 333375"/>
                  <a:gd name="connsiteY276" fmla="*/ 63056 h 123825"/>
                  <a:gd name="connsiteX277" fmla="*/ 18764 w 333375"/>
                  <a:gd name="connsiteY277" fmla="*/ 63913 h 123825"/>
                  <a:gd name="connsiteX278" fmla="*/ 17050 w 333375"/>
                  <a:gd name="connsiteY278" fmla="*/ 63913 h 123825"/>
                  <a:gd name="connsiteX279" fmla="*/ 13621 w 333375"/>
                  <a:gd name="connsiteY279" fmla="*/ 63913 h 123825"/>
                  <a:gd name="connsiteX280" fmla="*/ 11906 w 333375"/>
                  <a:gd name="connsiteY280" fmla="*/ 64770 h 123825"/>
                  <a:gd name="connsiteX281" fmla="*/ 11049 w 333375"/>
                  <a:gd name="connsiteY281" fmla="*/ 66485 h 123825"/>
                  <a:gd name="connsiteX282" fmla="*/ 11049 w 333375"/>
                  <a:gd name="connsiteY282" fmla="*/ 67342 h 123825"/>
                  <a:gd name="connsiteX283" fmla="*/ 11049 w 333375"/>
                  <a:gd name="connsiteY283" fmla="*/ 71533 h 123825"/>
                  <a:gd name="connsiteX284" fmla="*/ 11049 w 333375"/>
                  <a:gd name="connsiteY284" fmla="*/ 73247 h 123825"/>
                  <a:gd name="connsiteX285" fmla="*/ 10192 w 333375"/>
                  <a:gd name="connsiteY285" fmla="*/ 74009 h 123825"/>
                  <a:gd name="connsiteX286" fmla="*/ 9334 w 333375"/>
                  <a:gd name="connsiteY286" fmla="*/ 74867 h 123825"/>
                  <a:gd name="connsiteX287" fmla="*/ 8477 w 333375"/>
                  <a:gd name="connsiteY287" fmla="*/ 75724 h 123825"/>
                  <a:gd name="connsiteX288" fmla="*/ 4286 w 333375"/>
                  <a:gd name="connsiteY288" fmla="*/ 77438 h 123825"/>
                  <a:gd name="connsiteX289" fmla="*/ 857 w 333375"/>
                  <a:gd name="connsiteY289" fmla="*/ 78296 h 123825"/>
                  <a:gd name="connsiteX290" fmla="*/ 0 w 333375"/>
                  <a:gd name="connsiteY290" fmla="*/ 81629 h 123825"/>
                  <a:gd name="connsiteX291" fmla="*/ 0 w 333375"/>
                  <a:gd name="connsiteY291" fmla="*/ 83344 h 123825"/>
                  <a:gd name="connsiteX292" fmla="*/ 0 w 333375"/>
                  <a:gd name="connsiteY292" fmla="*/ 86678 h 123825"/>
                  <a:gd name="connsiteX293" fmla="*/ 0 w 333375"/>
                  <a:gd name="connsiteY293" fmla="*/ 90011 h 123825"/>
                  <a:gd name="connsiteX294" fmla="*/ 857 w 333375"/>
                  <a:gd name="connsiteY294" fmla="*/ 95060 h 123825"/>
                  <a:gd name="connsiteX295" fmla="*/ 2572 w 333375"/>
                  <a:gd name="connsiteY295" fmla="*/ 96774 h 123825"/>
                  <a:gd name="connsiteX296" fmla="*/ 4286 w 333375"/>
                  <a:gd name="connsiteY296" fmla="*/ 97631 h 123825"/>
                  <a:gd name="connsiteX297" fmla="*/ 7620 w 333375"/>
                  <a:gd name="connsiteY297" fmla="*/ 95917 h 123825"/>
                  <a:gd name="connsiteX298" fmla="*/ 11906 w 333375"/>
                  <a:gd name="connsiteY298" fmla="*/ 95917 h 123825"/>
                  <a:gd name="connsiteX299" fmla="*/ 36576 w 333375"/>
                  <a:gd name="connsiteY299" fmla="*/ 106013 h 123825"/>
                  <a:gd name="connsiteX300" fmla="*/ 54483 w 333375"/>
                  <a:gd name="connsiteY300" fmla="*/ 110204 h 123825"/>
                  <a:gd name="connsiteX301" fmla="*/ 62960 w 333375"/>
                  <a:gd name="connsiteY301" fmla="*/ 113633 h 123825"/>
                  <a:gd name="connsiteX302" fmla="*/ 66389 w 333375"/>
                  <a:gd name="connsiteY302" fmla="*/ 113633 h 123825"/>
                  <a:gd name="connsiteX303" fmla="*/ 78296 w 333375"/>
                  <a:gd name="connsiteY303" fmla="*/ 111062 h 123825"/>
                  <a:gd name="connsiteX304" fmla="*/ 86868 w 333375"/>
                  <a:gd name="connsiteY304" fmla="*/ 111919 h 123825"/>
                  <a:gd name="connsiteX305" fmla="*/ 91059 w 333375"/>
                  <a:gd name="connsiteY305" fmla="*/ 111062 h 123825"/>
                  <a:gd name="connsiteX306" fmla="*/ 93631 w 333375"/>
                  <a:gd name="connsiteY306" fmla="*/ 111062 h 123825"/>
                  <a:gd name="connsiteX307" fmla="*/ 94488 w 333375"/>
                  <a:gd name="connsiteY307" fmla="*/ 111062 h 123825"/>
                  <a:gd name="connsiteX308" fmla="*/ 97060 w 333375"/>
                  <a:gd name="connsiteY308" fmla="*/ 112776 h 123825"/>
                  <a:gd name="connsiteX309" fmla="*/ 100489 w 333375"/>
                  <a:gd name="connsiteY309" fmla="*/ 112776 h 123825"/>
                  <a:gd name="connsiteX310" fmla="*/ 102203 w 333375"/>
                  <a:gd name="connsiteY310" fmla="*/ 112776 h 123825"/>
                  <a:gd name="connsiteX311" fmla="*/ 103061 w 333375"/>
                  <a:gd name="connsiteY311" fmla="*/ 112776 h 123825"/>
                  <a:gd name="connsiteX312" fmla="*/ 103918 w 333375"/>
                  <a:gd name="connsiteY312" fmla="*/ 111062 h 123825"/>
                  <a:gd name="connsiteX313" fmla="*/ 104680 w 333375"/>
                  <a:gd name="connsiteY313" fmla="*/ 111062 h 123825"/>
                  <a:gd name="connsiteX314" fmla="*/ 106394 w 333375"/>
                  <a:gd name="connsiteY314" fmla="*/ 111062 h 123825"/>
                  <a:gd name="connsiteX315" fmla="*/ 107252 w 333375"/>
                  <a:gd name="connsiteY315" fmla="*/ 111919 h 123825"/>
                  <a:gd name="connsiteX316" fmla="*/ 108966 w 333375"/>
                  <a:gd name="connsiteY316" fmla="*/ 113633 h 123825"/>
                  <a:gd name="connsiteX317" fmla="*/ 110680 w 333375"/>
                  <a:gd name="connsiteY317" fmla="*/ 113633 h 123825"/>
                  <a:gd name="connsiteX318" fmla="*/ 114110 w 333375"/>
                  <a:gd name="connsiteY318" fmla="*/ 114491 h 123825"/>
                  <a:gd name="connsiteX319" fmla="*/ 126016 w 333375"/>
                  <a:gd name="connsiteY319" fmla="*/ 112776 h 123825"/>
                  <a:gd name="connsiteX320" fmla="*/ 126873 w 333375"/>
                  <a:gd name="connsiteY320" fmla="*/ 112776 h 123825"/>
                  <a:gd name="connsiteX321" fmla="*/ 130302 w 333375"/>
                  <a:gd name="connsiteY321" fmla="*/ 111062 h 123825"/>
                  <a:gd name="connsiteX322" fmla="*/ 148114 w 333375"/>
                  <a:gd name="connsiteY322" fmla="*/ 108585 h 123825"/>
                  <a:gd name="connsiteX323" fmla="*/ 154972 w 333375"/>
                  <a:gd name="connsiteY323" fmla="*/ 108585 h 123825"/>
                  <a:gd name="connsiteX324" fmla="*/ 155829 w 333375"/>
                  <a:gd name="connsiteY324" fmla="*/ 108585 h 123825"/>
                  <a:gd name="connsiteX325" fmla="*/ 158401 w 333375"/>
                  <a:gd name="connsiteY325" fmla="*/ 106871 h 123825"/>
                  <a:gd name="connsiteX326" fmla="*/ 159258 w 333375"/>
                  <a:gd name="connsiteY326" fmla="*/ 106871 h 123825"/>
                  <a:gd name="connsiteX327" fmla="*/ 165163 w 333375"/>
                  <a:gd name="connsiteY327" fmla="*/ 110204 h 123825"/>
                  <a:gd name="connsiteX328" fmla="*/ 181356 w 333375"/>
                  <a:gd name="connsiteY328" fmla="*/ 114491 h 123825"/>
                  <a:gd name="connsiteX329" fmla="*/ 185642 w 333375"/>
                  <a:gd name="connsiteY329" fmla="*/ 115253 h 123825"/>
                  <a:gd name="connsiteX330" fmla="*/ 186499 w 333375"/>
                  <a:gd name="connsiteY330" fmla="*/ 115253 h 123825"/>
                  <a:gd name="connsiteX331" fmla="*/ 188976 w 333375"/>
                  <a:gd name="connsiteY331" fmla="*/ 114491 h 123825"/>
                  <a:gd name="connsiteX332" fmla="*/ 189833 w 333375"/>
                  <a:gd name="connsiteY332" fmla="*/ 114491 h 123825"/>
                  <a:gd name="connsiteX333" fmla="*/ 191548 w 333375"/>
                  <a:gd name="connsiteY333" fmla="*/ 113633 h 123825"/>
                  <a:gd name="connsiteX334" fmla="*/ 193262 w 333375"/>
                  <a:gd name="connsiteY334" fmla="*/ 112776 h 123825"/>
                  <a:gd name="connsiteX335" fmla="*/ 194120 w 333375"/>
                  <a:gd name="connsiteY335" fmla="*/ 111919 h 123825"/>
                  <a:gd name="connsiteX336" fmla="*/ 195834 w 333375"/>
                  <a:gd name="connsiteY336" fmla="*/ 111919 h 123825"/>
                  <a:gd name="connsiteX337" fmla="*/ 196691 w 333375"/>
                  <a:gd name="connsiteY337" fmla="*/ 112776 h 123825"/>
                  <a:gd name="connsiteX338" fmla="*/ 197548 w 333375"/>
                  <a:gd name="connsiteY338" fmla="*/ 114491 h 123825"/>
                  <a:gd name="connsiteX339" fmla="*/ 199263 w 333375"/>
                  <a:gd name="connsiteY339" fmla="*/ 116110 h 123825"/>
                  <a:gd name="connsiteX340" fmla="*/ 200882 w 333375"/>
                  <a:gd name="connsiteY340" fmla="*/ 116110 h 123825"/>
                  <a:gd name="connsiteX341" fmla="*/ 204311 w 333375"/>
                  <a:gd name="connsiteY341" fmla="*/ 116110 h 123825"/>
                  <a:gd name="connsiteX342" fmla="*/ 206883 w 333375"/>
                  <a:gd name="connsiteY342" fmla="*/ 116110 h 123825"/>
                  <a:gd name="connsiteX343" fmla="*/ 207740 w 333375"/>
                  <a:gd name="connsiteY343" fmla="*/ 115253 h 123825"/>
                  <a:gd name="connsiteX344" fmla="*/ 208597 w 333375"/>
                  <a:gd name="connsiteY344" fmla="*/ 112776 h 123825"/>
                  <a:gd name="connsiteX345" fmla="*/ 209455 w 333375"/>
                  <a:gd name="connsiteY345" fmla="*/ 112776 h 123825"/>
                  <a:gd name="connsiteX346" fmla="*/ 211169 w 333375"/>
                  <a:gd name="connsiteY346" fmla="*/ 113633 h 123825"/>
                  <a:gd name="connsiteX347" fmla="*/ 212027 w 333375"/>
                  <a:gd name="connsiteY347" fmla="*/ 114491 h 123825"/>
                  <a:gd name="connsiteX348" fmla="*/ 212884 w 333375"/>
                  <a:gd name="connsiteY348" fmla="*/ 113633 h 123825"/>
                  <a:gd name="connsiteX349" fmla="*/ 213741 w 333375"/>
                  <a:gd name="connsiteY349" fmla="*/ 111919 h 123825"/>
                  <a:gd name="connsiteX350" fmla="*/ 214503 w 333375"/>
                  <a:gd name="connsiteY350" fmla="*/ 111062 h 123825"/>
                  <a:gd name="connsiteX351" fmla="*/ 216217 w 333375"/>
                  <a:gd name="connsiteY351" fmla="*/ 111062 h 123825"/>
                  <a:gd name="connsiteX352" fmla="*/ 221361 w 333375"/>
                  <a:gd name="connsiteY352" fmla="*/ 111919 h 123825"/>
                  <a:gd name="connsiteX353" fmla="*/ 233267 w 333375"/>
                  <a:gd name="connsiteY353" fmla="*/ 110204 h 123825"/>
                  <a:gd name="connsiteX354" fmla="*/ 239268 w 333375"/>
                  <a:gd name="connsiteY354" fmla="*/ 111062 h 123825"/>
                  <a:gd name="connsiteX355" fmla="*/ 241840 w 333375"/>
                  <a:gd name="connsiteY355" fmla="*/ 110204 h 123825"/>
                  <a:gd name="connsiteX356" fmla="*/ 244316 w 333375"/>
                  <a:gd name="connsiteY356" fmla="*/ 109442 h 123825"/>
                  <a:gd name="connsiteX357" fmla="*/ 247745 w 333375"/>
                  <a:gd name="connsiteY357" fmla="*/ 109442 h 123825"/>
                  <a:gd name="connsiteX358" fmla="*/ 252031 w 333375"/>
                  <a:gd name="connsiteY358" fmla="*/ 110204 h 123825"/>
                  <a:gd name="connsiteX359" fmla="*/ 254603 w 333375"/>
                  <a:gd name="connsiteY359" fmla="*/ 111919 h 123825"/>
                  <a:gd name="connsiteX360" fmla="*/ 255461 w 333375"/>
                  <a:gd name="connsiteY360" fmla="*/ 111919 h 123825"/>
                  <a:gd name="connsiteX361" fmla="*/ 256222 w 333375"/>
                  <a:gd name="connsiteY361" fmla="*/ 113633 h 123825"/>
                  <a:gd name="connsiteX362" fmla="*/ 257080 w 333375"/>
                  <a:gd name="connsiteY362" fmla="*/ 114491 h 123825"/>
                  <a:gd name="connsiteX363" fmla="*/ 257937 w 333375"/>
                  <a:gd name="connsiteY363" fmla="*/ 115253 h 123825"/>
                  <a:gd name="connsiteX364" fmla="*/ 259652 w 333375"/>
                  <a:gd name="connsiteY364" fmla="*/ 115253 h 123825"/>
                  <a:gd name="connsiteX365" fmla="*/ 260509 w 333375"/>
                  <a:gd name="connsiteY365" fmla="*/ 115253 h 123825"/>
                  <a:gd name="connsiteX366" fmla="*/ 261366 w 333375"/>
                  <a:gd name="connsiteY366" fmla="*/ 116110 h 123825"/>
                  <a:gd name="connsiteX367" fmla="*/ 262223 w 333375"/>
                  <a:gd name="connsiteY367" fmla="*/ 115253 h 123825"/>
                  <a:gd name="connsiteX368" fmla="*/ 263080 w 333375"/>
                  <a:gd name="connsiteY368" fmla="*/ 115253 h 123825"/>
                  <a:gd name="connsiteX369" fmla="*/ 263938 w 333375"/>
                  <a:gd name="connsiteY369" fmla="*/ 116110 h 123825"/>
                  <a:gd name="connsiteX370" fmla="*/ 265652 w 333375"/>
                  <a:gd name="connsiteY370" fmla="*/ 118682 h 123825"/>
                  <a:gd name="connsiteX371" fmla="*/ 267367 w 333375"/>
                  <a:gd name="connsiteY371" fmla="*/ 119539 h 123825"/>
                  <a:gd name="connsiteX372" fmla="*/ 269081 w 333375"/>
                  <a:gd name="connsiteY372" fmla="*/ 120396 h 123825"/>
                  <a:gd name="connsiteX373" fmla="*/ 269843 w 333375"/>
                  <a:gd name="connsiteY373" fmla="*/ 121158 h 123825"/>
                  <a:gd name="connsiteX374" fmla="*/ 272415 w 333375"/>
                  <a:gd name="connsiteY374" fmla="*/ 122015 h 123825"/>
                  <a:gd name="connsiteX375" fmla="*/ 278416 w 333375"/>
                  <a:gd name="connsiteY375" fmla="*/ 122873 h 123825"/>
                  <a:gd name="connsiteX376" fmla="*/ 279273 w 333375"/>
                  <a:gd name="connsiteY376" fmla="*/ 122873 h 123825"/>
                  <a:gd name="connsiteX377" fmla="*/ 280988 w 333375"/>
                  <a:gd name="connsiteY377" fmla="*/ 125444 h 123825"/>
                  <a:gd name="connsiteX378" fmla="*/ 283464 w 333375"/>
                  <a:gd name="connsiteY378" fmla="*/ 127064 h 123825"/>
                  <a:gd name="connsiteX379" fmla="*/ 286036 w 333375"/>
                  <a:gd name="connsiteY379" fmla="*/ 128778 h 123825"/>
                  <a:gd name="connsiteX380" fmla="*/ 286893 w 333375"/>
                  <a:gd name="connsiteY380" fmla="*/ 130493 h 123825"/>
                  <a:gd name="connsiteX381" fmla="*/ 289465 w 333375"/>
                  <a:gd name="connsiteY381" fmla="*/ 128778 h 123825"/>
                  <a:gd name="connsiteX382" fmla="*/ 294608 w 333375"/>
                  <a:gd name="connsiteY382" fmla="*/ 122873 h 123825"/>
                  <a:gd name="connsiteX383" fmla="*/ 298799 w 333375"/>
                  <a:gd name="connsiteY383" fmla="*/ 120396 h 123825"/>
                  <a:gd name="connsiteX384" fmla="*/ 300514 w 333375"/>
                  <a:gd name="connsiteY384" fmla="*/ 117824 h 123825"/>
                  <a:gd name="connsiteX385" fmla="*/ 302228 w 333375"/>
                  <a:gd name="connsiteY385" fmla="*/ 116967 h 123825"/>
                  <a:gd name="connsiteX386" fmla="*/ 303086 w 333375"/>
                  <a:gd name="connsiteY386" fmla="*/ 116110 h 123825"/>
                  <a:gd name="connsiteX387" fmla="*/ 304800 w 333375"/>
                  <a:gd name="connsiteY387" fmla="*/ 116110 h 123825"/>
                  <a:gd name="connsiteX388" fmla="*/ 305657 w 333375"/>
                  <a:gd name="connsiteY388" fmla="*/ 116110 h 123825"/>
                  <a:gd name="connsiteX389" fmla="*/ 306514 w 333375"/>
                  <a:gd name="connsiteY389" fmla="*/ 115253 h 123825"/>
                  <a:gd name="connsiteX390" fmla="*/ 306514 w 333375"/>
                  <a:gd name="connsiteY390" fmla="*/ 114491 h 123825"/>
                  <a:gd name="connsiteX391" fmla="*/ 306514 w 333375"/>
                  <a:gd name="connsiteY391" fmla="*/ 113633 h 123825"/>
                  <a:gd name="connsiteX392" fmla="*/ 306514 w 333375"/>
                  <a:gd name="connsiteY392" fmla="*/ 112776 h 123825"/>
                  <a:gd name="connsiteX393" fmla="*/ 309086 w 333375"/>
                  <a:gd name="connsiteY393" fmla="*/ 113633 h 123825"/>
                  <a:gd name="connsiteX394" fmla="*/ 310801 w 333375"/>
                  <a:gd name="connsiteY394" fmla="*/ 113633 h 123825"/>
                  <a:gd name="connsiteX395" fmla="*/ 314992 w 333375"/>
                  <a:gd name="connsiteY395" fmla="*/ 112776 h 123825"/>
                  <a:gd name="connsiteX396" fmla="*/ 315849 w 333375"/>
                  <a:gd name="connsiteY396" fmla="*/ 112776 h 123825"/>
                  <a:gd name="connsiteX397" fmla="*/ 320135 w 333375"/>
                  <a:gd name="connsiteY397" fmla="*/ 108585 h 123825"/>
                  <a:gd name="connsiteX398" fmla="*/ 333756 w 333375"/>
                  <a:gd name="connsiteY398" fmla="*/ 104394 h 123825"/>
                  <a:gd name="connsiteX399" fmla="*/ 334613 w 333375"/>
                  <a:gd name="connsiteY399" fmla="*/ 103537 h 123825"/>
                  <a:gd name="connsiteX400" fmla="*/ 334613 w 333375"/>
                  <a:gd name="connsiteY400" fmla="*/ 102680 h 123825"/>
                  <a:gd name="connsiteX401" fmla="*/ 334613 w 333375"/>
                  <a:gd name="connsiteY401" fmla="*/ 102680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</a:cxnLst>
                <a:rect l="l" t="t" r="r" b="b"/>
                <a:pathLst>
                  <a:path w="333375" h="123825">
                    <a:moveTo>
                      <a:pt x="334613" y="102680"/>
                    </a:moveTo>
                    <a:lnTo>
                      <a:pt x="332899" y="100965"/>
                    </a:lnTo>
                    <a:lnTo>
                      <a:pt x="332041" y="100108"/>
                    </a:lnTo>
                    <a:lnTo>
                      <a:pt x="332041" y="99346"/>
                    </a:lnTo>
                    <a:lnTo>
                      <a:pt x="332041" y="98489"/>
                    </a:lnTo>
                    <a:lnTo>
                      <a:pt x="332041" y="98489"/>
                    </a:lnTo>
                    <a:lnTo>
                      <a:pt x="331184" y="97631"/>
                    </a:lnTo>
                    <a:lnTo>
                      <a:pt x="331184" y="95917"/>
                    </a:lnTo>
                    <a:lnTo>
                      <a:pt x="332041" y="95060"/>
                    </a:lnTo>
                    <a:lnTo>
                      <a:pt x="332899" y="93440"/>
                    </a:lnTo>
                    <a:lnTo>
                      <a:pt x="332899" y="91726"/>
                    </a:lnTo>
                    <a:lnTo>
                      <a:pt x="332899" y="90869"/>
                    </a:lnTo>
                    <a:lnTo>
                      <a:pt x="332041" y="89154"/>
                    </a:lnTo>
                    <a:lnTo>
                      <a:pt x="331184" y="88392"/>
                    </a:lnTo>
                    <a:lnTo>
                      <a:pt x="329470" y="87535"/>
                    </a:lnTo>
                    <a:lnTo>
                      <a:pt x="327755" y="85820"/>
                    </a:lnTo>
                    <a:lnTo>
                      <a:pt x="326898" y="84106"/>
                    </a:lnTo>
                    <a:lnTo>
                      <a:pt x="321850" y="79915"/>
                    </a:lnTo>
                    <a:lnTo>
                      <a:pt x="320992" y="79058"/>
                    </a:lnTo>
                    <a:lnTo>
                      <a:pt x="320135" y="79058"/>
                    </a:lnTo>
                    <a:lnTo>
                      <a:pt x="318421" y="78296"/>
                    </a:lnTo>
                    <a:lnTo>
                      <a:pt x="314992" y="77438"/>
                    </a:lnTo>
                    <a:lnTo>
                      <a:pt x="314135" y="76581"/>
                    </a:lnTo>
                    <a:lnTo>
                      <a:pt x="313277" y="75724"/>
                    </a:lnTo>
                    <a:lnTo>
                      <a:pt x="313277" y="74867"/>
                    </a:lnTo>
                    <a:lnTo>
                      <a:pt x="312420" y="74009"/>
                    </a:lnTo>
                    <a:lnTo>
                      <a:pt x="309944" y="73247"/>
                    </a:lnTo>
                    <a:lnTo>
                      <a:pt x="309086" y="72390"/>
                    </a:lnTo>
                    <a:lnTo>
                      <a:pt x="309086" y="71533"/>
                    </a:lnTo>
                    <a:lnTo>
                      <a:pt x="309944" y="71533"/>
                    </a:lnTo>
                    <a:lnTo>
                      <a:pt x="311563" y="69818"/>
                    </a:lnTo>
                    <a:lnTo>
                      <a:pt x="314135" y="68199"/>
                    </a:lnTo>
                    <a:lnTo>
                      <a:pt x="314992" y="66485"/>
                    </a:lnTo>
                    <a:lnTo>
                      <a:pt x="315849" y="65627"/>
                    </a:lnTo>
                    <a:lnTo>
                      <a:pt x="316706" y="63913"/>
                    </a:lnTo>
                    <a:lnTo>
                      <a:pt x="317563" y="63056"/>
                    </a:lnTo>
                    <a:lnTo>
                      <a:pt x="318421" y="62294"/>
                    </a:lnTo>
                    <a:lnTo>
                      <a:pt x="319278" y="61436"/>
                    </a:lnTo>
                    <a:lnTo>
                      <a:pt x="319278" y="60579"/>
                    </a:lnTo>
                    <a:lnTo>
                      <a:pt x="320135" y="59722"/>
                    </a:lnTo>
                    <a:lnTo>
                      <a:pt x="320135" y="58007"/>
                    </a:lnTo>
                    <a:lnTo>
                      <a:pt x="319278" y="58007"/>
                    </a:lnTo>
                    <a:lnTo>
                      <a:pt x="318421" y="57245"/>
                    </a:lnTo>
                    <a:lnTo>
                      <a:pt x="317563" y="57245"/>
                    </a:lnTo>
                    <a:lnTo>
                      <a:pt x="316706" y="58007"/>
                    </a:lnTo>
                    <a:lnTo>
                      <a:pt x="315849" y="58865"/>
                    </a:lnTo>
                    <a:lnTo>
                      <a:pt x="313277" y="59722"/>
                    </a:lnTo>
                    <a:lnTo>
                      <a:pt x="312420" y="60579"/>
                    </a:lnTo>
                    <a:lnTo>
                      <a:pt x="311563" y="60579"/>
                    </a:lnTo>
                    <a:lnTo>
                      <a:pt x="310801" y="61436"/>
                    </a:lnTo>
                    <a:lnTo>
                      <a:pt x="310801" y="60579"/>
                    </a:lnTo>
                    <a:lnTo>
                      <a:pt x="310801" y="60579"/>
                    </a:lnTo>
                    <a:lnTo>
                      <a:pt x="309944" y="60579"/>
                    </a:lnTo>
                    <a:lnTo>
                      <a:pt x="302228" y="51340"/>
                    </a:lnTo>
                    <a:lnTo>
                      <a:pt x="297180" y="47149"/>
                    </a:lnTo>
                    <a:lnTo>
                      <a:pt x="292037" y="43720"/>
                    </a:lnTo>
                    <a:lnTo>
                      <a:pt x="290322" y="40386"/>
                    </a:lnTo>
                    <a:lnTo>
                      <a:pt x="288607" y="39529"/>
                    </a:lnTo>
                    <a:lnTo>
                      <a:pt x="286893" y="38672"/>
                    </a:lnTo>
                    <a:lnTo>
                      <a:pt x="285179" y="39529"/>
                    </a:lnTo>
                    <a:lnTo>
                      <a:pt x="283464" y="40386"/>
                    </a:lnTo>
                    <a:lnTo>
                      <a:pt x="281845" y="41243"/>
                    </a:lnTo>
                    <a:lnTo>
                      <a:pt x="280988" y="42863"/>
                    </a:lnTo>
                    <a:lnTo>
                      <a:pt x="279273" y="43720"/>
                    </a:lnTo>
                    <a:lnTo>
                      <a:pt x="274130" y="44577"/>
                    </a:lnTo>
                    <a:lnTo>
                      <a:pt x="269843" y="45434"/>
                    </a:lnTo>
                    <a:lnTo>
                      <a:pt x="267367" y="46292"/>
                    </a:lnTo>
                    <a:lnTo>
                      <a:pt x="264795" y="47911"/>
                    </a:lnTo>
                    <a:lnTo>
                      <a:pt x="263938" y="48768"/>
                    </a:lnTo>
                    <a:lnTo>
                      <a:pt x="263080" y="48768"/>
                    </a:lnTo>
                    <a:lnTo>
                      <a:pt x="263080" y="47911"/>
                    </a:lnTo>
                    <a:lnTo>
                      <a:pt x="263080" y="47149"/>
                    </a:lnTo>
                    <a:lnTo>
                      <a:pt x="263938" y="40386"/>
                    </a:lnTo>
                    <a:lnTo>
                      <a:pt x="263080" y="37814"/>
                    </a:lnTo>
                    <a:lnTo>
                      <a:pt x="263080" y="36195"/>
                    </a:lnTo>
                    <a:lnTo>
                      <a:pt x="263080" y="35338"/>
                    </a:lnTo>
                    <a:lnTo>
                      <a:pt x="262223" y="33623"/>
                    </a:lnTo>
                    <a:lnTo>
                      <a:pt x="263080" y="32766"/>
                    </a:lnTo>
                    <a:lnTo>
                      <a:pt x="264795" y="29432"/>
                    </a:lnTo>
                    <a:lnTo>
                      <a:pt x="266510" y="24384"/>
                    </a:lnTo>
                    <a:lnTo>
                      <a:pt x="268224" y="20193"/>
                    </a:lnTo>
                    <a:lnTo>
                      <a:pt x="268224" y="18479"/>
                    </a:lnTo>
                    <a:lnTo>
                      <a:pt x="267367" y="17621"/>
                    </a:lnTo>
                    <a:lnTo>
                      <a:pt x="264795" y="17621"/>
                    </a:lnTo>
                    <a:lnTo>
                      <a:pt x="263938" y="16764"/>
                    </a:lnTo>
                    <a:lnTo>
                      <a:pt x="263938" y="15907"/>
                    </a:lnTo>
                    <a:lnTo>
                      <a:pt x="263938" y="14288"/>
                    </a:lnTo>
                    <a:lnTo>
                      <a:pt x="263938" y="12573"/>
                    </a:lnTo>
                    <a:lnTo>
                      <a:pt x="263938" y="11716"/>
                    </a:lnTo>
                    <a:lnTo>
                      <a:pt x="264795" y="11716"/>
                    </a:lnTo>
                    <a:lnTo>
                      <a:pt x="273272" y="4191"/>
                    </a:lnTo>
                    <a:lnTo>
                      <a:pt x="274130" y="1619"/>
                    </a:lnTo>
                    <a:lnTo>
                      <a:pt x="274130" y="762"/>
                    </a:lnTo>
                    <a:lnTo>
                      <a:pt x="273272" y="762"/>
                    </a:lnTo>
                    <a:lnTo>
                      <a:pt x="272415" y="0"/>
                    </a:lnTo>
                    <a:lnTo>
                      <a:pt x="262223" y="0"/>
                    </a:lnTo>
                    <a:lnTo>
                      <a:pt x="260509" y="0"/>
                    </a:lnTo>
                    <a:lnTo>
                      <a:pt x="257080" y="1619"/>
                    </a:lnTo>
                    <a:lnTo>
                      <a:pt x="250317" y="3334"/>
                    </a:lnTo>
                    <a:lnTo>
                      <a:pt x="249460" y="3334"/>
                    </a:lnTo>
                    <a:lnTo>
                      <a:pt x="247745" y="3334"/>
                    </a:lnTo>
                    <a:lnTo>
                      <a:pt x="246888" y="3334"/>
                    </a:lnTo>
                    <a:lnTo>
                      <a:pt x="239268" y="5048"/>
                    </a:lnTo>
                    <a:lnTo>
                      <a:pt x="235839" y="5810"/>
                    </a:lnTo>
                    <a:lnTo>
                      <a:pt x="233267" y="5810"/>
                    </a:lnTo>
                    <a:lnTo>
                      <a:pt x="232410" y="5048"/>
                    </a:lnTo>
                    <a:lnTo>
                      <a:pt x="230696" y="4191"/>
                    </a:lnTo>
                    <a:lnTo>
                      <a:pt x="227362" y="762"/>
                    </a:lnTo>
                    <a:lnTo>
                      <a:pt x="224790" y="0"/>
                    </a:lnTo>
                    <a:lnTo>
                      <a:pt x="223075" y="0"/>
                    </a:lnTo>
                    <a:lnTo>
                      <a:pt x="221361" y="762"/>
                    </a:lnTo>
                    <a:lnTo>
                      <a:pt x="217075" y="5048"/>
                    </a:lnTo>
                    <a:lnTo>
                      <a:pt x="216217" y="5810"/>
                    </a:lnTo>
                    <a:lnTo>
                      <a:pt x="215360" y="6668"/>
                    </a:lnTo>
                    <a:lnTo>
                      <a:pt x="215360" y="10097"/>
                    </a:lnTo>
                    <a:lnTo>
                      <a:pt x="214503" y="11716"/>
                    </a:lnTo>
                    <a:lnTo>
                      <a:pt x="212884" y="14288"/>
                    </a:lnTo>
                    <a:lnTo>
                      <a:pt x="212027" y="15907"/>
                    </a:lnTo>
                    <a:lnTo>
                      <a:pt x="210312" y="17621"/>
                    </a:lnTo>
                    <a:lnTo>
                      <a:pt x="207740" y="19336"/>
                    </a:lnTo>
                    <a:lnTo>
                      <a:pt x="206026" y="19336"/>
                    </a:lnTo>
                    <a:lnTo>
                      <a:pt x="204311" y="18479"/>
                    </a:lnTo>
                    <a:lnTo>
                      <a:pt x="203454" y="17621"/>
                    </a:lnTo>
                    <a:lnTo>
                      <a:pt x="203454" y="16764"/>
                    </a:lnTo>
                    <a:lnTo>
                      <a:pt x="203454" y="15145"/>
                    </a:lnTo>
                    <a:lnTo>
                      <a:pt x="204311" y="13430"/>
                    </a:lnTo>
                    <a:lnTo>
                      <a:pt x="205169" y="11716"/>
                    </a:lnTo>
                    <a:lnTo>
                      <a:pt x="205169" y="10859"/>
                    </a:lnTo>
                    <a:lnTo>
                      <a:pt x="205169" y="10097"/>
                    </a:lnTo>
                    <a:lnTo>
                      <a:pt x="205169" y="8382"/>
                    </a:lnTo>
                    <a:lnTo>
                      <a:pt x="204311" y="7525"/>
                    </a:lnTo>
                    <a:lnTo>
                      <a:pt x="202597" y="6668"/>
                    </a:lnTo>
                    <a:lnTo>
                      <a:pt x="200882" y="5810"/>
                    </a:lnTo>
                    <a:lnTo>
                      <a:pt x="199263" y="6668"/>
                    </a:lnTo>
                    <a:lnTo>
                      <a:pt x="198406" y="7525"/>
                    </a:lnTo>
                    <a:lnTo>
                      <a:pt x="196691" y="10859"/>
                    </a:lnTo>
                    <a:lnTo>
                      <a:pt x="196691" y="10859"/>
                    </a:lnTo>
                    <a:lnTo>
                      <a:pt x="194977" y="12573"/>
                    </a:lnTo>
                    <a:lnTo>
                      <a:pt x="193262" y="14288"/>
                    </a:lnTo>
                    <a:lnTo>
                      <a:pt x="191548" y="16764"/>
                    </a:lnTo>
                    <a:lnTo>
                      <a:pt x="188976" y="20193"/>
                    </a:lnTo>
                    <a:lnTo>
                      <a:pt x="188119" y="21050"/>
                    </a:lnTo>
                    <a:lnTo>
                      <a:pt x="186499" y="23527"/>
                    </a:lnTo>
                    <a:lnTo>
                      <a:pt x="185642" y="23527"/>
                    </a:lnTo>
                    <a:lnTo>
                      <a:pt x="186499" y="24384"/>
                    </a:lnTo>
                    <a:lnTo>
                      <a:pt x="187262" y="24384"/>
                    </a:lnTo>
                    <a:lnTo>
                      <a:pt x="188119" y="24384"/>
                    </a:lnTo>
                    <a:lnTo>
                      <a:pt x="188976" y="24384"/>
                    </a:lnTo>
                    <a:lnTo>
                      <a:pt x="191548" y="22670"/>
                    </a:lnTo>
                    <a:lnTo>
                      <a:pt x="192405" y="22670"/>
                    </a:lnTo>
                    <a:lnTo>
                      <a:pt x="192405" y="23527"/>
                    </a:lnTo>
                    <a:lnTo>
                      <a:pt x="191548" y="24384"/>
                    </a:lnTo>
                    <a:lnTo>
                      <a:pt x="185642" y="26861"/>
                    </a:lnTo>
                    <a:lnTo>
                      <a:pt x="179641" y="27718"/>
                    </a:lnTo>
                    <a:lnTo>
                      <a:pt x="173641" y="29432"/>
                    </a:lnTo>
                    <a:lnTo>
                      <a:pt x="171164" y="31147"/>
                    </a:lnTo>
                    <a:lnTo>
                      <a:pt x="169450" y="31909"/>
                    </a:lnTo>
                    <a:lnTo>
                      <a:pt x="168592" y="35338"/>
                    </a:lnTo>
                    <a:lnTo>
                      <a:pt x="163449" y="40386"/>
                    </a:lnTo>
                    <a:lnTo>
                      <a:pt x="160877" y="42005"/>
                    </a:lnTo>
                    <a:lnTo>
                      <a:pt x="159258" y="42863"/>
                    </a:lnTo>
                    <a:lnTo>
                      <a:pt x="158401" y="42863"/>
                    </a:lnTo>
                    <a:lnTo>
                      <a:pt x="156686" y="42863"/>
                    </a:lnTo>
                    <a:lnTo>
                      <a:pt x="155829" y="39529"/>
                    </a:lnTo>
                    <a:lnTo>
                      <a:pt x="154972" y="35338"/>
                    </a:lnTo>
                    <a:lnTo>
                      <a:pt x="154972" y="32766"/>
                    </a:lnTo>
                    <a:lnTo>
                      <a:pt x="154972" y="31147"/>
                    </a:lnTo>
                    <a:lnTo>
                      <a:pt x="155829" y="27718"/>
                    </a:lnTo>
                    <a:lnTo>
                      <a:pt x="154972" y="26099"/>
                    </a:lnTo>
                    <a:lnTo>
                      <a:pt x="153257" y="26099"/>
                    </a:lnTo>
                    <a:lnTo>
                      <a:pt x="143923" y="30290"/>
                    </a:lnTo>
                    <a:lnTo>
                      <a:pt x="142208" y="30290"/>
                    </a:lnTo>
                    <a:lnTo>
                      <a:pt x="141351" y="30290"/>
                    </a:lnTo>
                    <a:lnTo>
                      <a:pt x="141351" y="29432"/>
                    </a:lnTo>
                    <a:lnTo>
                      <a:pt x="140494" y="28575"/>
                    </a:lnTo>
                    <a:lnTo>
                      <a:pt x="140494" y="28575"/>
                    </a:lnTo>
                    <a:lnTo>
                      <a:pt x="138779" y="29432"/>
                    </a:lnTo>
                    <a:lnTo>
                      <a:pt x="137065" y="30290"/>
                    </a:lnTo>
                    <a:lnTo>
                      <a:pt x="136207" y="30290"/>
                    </a:lnTo>
                    <a:lnTo>
                      <a:pt x="136207" y="29432"/>
                    </a:lnTo>
                    <a:lnTo>
                      <a:pt x="137065" y="26099"/>
                    </a:lnTo>
                    <a:lnTo>
                      <a:pt x="137065" y="24384"/>
                    </a:lnTo>
                    <a:lnTo>
                      <a:pt x="136207" y="22670"/>
                    </a:lnTo>
                    <a:lnTo>
                      <a:pt x="136207" y="21812"/>
                    </a:lnTo>
                    <a:lnTo>
                      <a:pt x="135350" y="21050"/>
                    </a:lnTo>
                    <a:lnTo>
                      <a:pt x="133636" y="21050"/>
                    </a:lnTo>
                    <a:lnTo>
                      <a:pt x="132779" y="20193"/>
                    </a:lnTo>
                    <a:lnTo>
                      <a:pt x="131921" y="20193"/>
                    </a:lnTo>
                    <a:lnTo>
                      <a:pt x="131159" y="18479"/>
                    </a:lnTo>
                    <a:lnTo>
                      <a:pt x="130302" y="17621"/>
                    </a:lnTo>
                    <a:lnTo>
                      <a:pt x="129445" y="17621"/>
                    </a:lnTo>
                    <a:lnTo>
                      <a:pt x="125158" y="17621"/>
                    </a:lnTo>
                    <a:lnTo>
                      <a:pt x="121729" y="16764"/>
                    </a:lnTo>
                    <a:lnTo>
                      <a:pt x="118300" y="16764"/>
                    </a:lnTo>
                    <a:lnTo>
                      <a:pt x="114110" y="16764"/>
                    </a:lnTo>
                    <a:lnTo>
                      <a:pt x="113252" y="17621"/>
                    </a:lnTo>
                    <a:lnTo>
                      <a:pt x="109823" y="19336"/>
                    </a:lnTo>
                    <a:lnTo>
                      <a:pt x="108966" y="19336"/>
                    </a:lnTo>
                    <a:lnTo>
                      <a:pt x="108109" y="19336"/>
                    </a:lnTo>
                    <a:lnTo>
                      <a:pt x="108109" y="18479"/>
                    </a:lnTo>
                    <a:lnTo>
                      <a:pt x="108109" y="15907"/>
                    </a:lnTo>
                    <a:lnTo>
                      <a:pt x="107252" y="15907"/>
                    </a:lnTo>
                    <a:lnTo>
                      <a:pt x="107252" y="15145"/>
                    </a:lnTo>
                    <a:lnTo>
                      <a:pt x="105537" y="15145"/>
                    </a:lnTo>
                    <a:lnTo>
                      <a:pt x="98774" y="16764"/>
                    </a:lnTo>
                    <a:lnTo>
                      <a:pt x="96203" y="17621"/>
                    </a:lnTo>
                    <a:lnTo>
                      <a:pt x="93631" y="19336"/>
                    </a:lnTo>
                    <a:lnTo>
                      <a:pt x="92773" y="18479"/>
                    </a:lnTo>
                    <a:lnTo>
                      <a:pt x="92773" y="17621"/>
                    </a:lnTo>
                    <a:lnTo>
                      <a:pt x="92773" y="16764"/>
                    </a:lnTo>
                    <a:lnTo>
                      <a:pt x="92773" y="15907"/>
                    </a:lnTo>
                    <a:lnTo>
                      <a:pt x="91916" y="15145"/>
                    </a:lnTo>
                    <a:lnTo>
                      <a:pt x="91059" y="14288"/>
                    </a:lnTo>
                    <a:lnTo>
                      <a:pt x="90297" y="14288"/>
                    </a:lnTo>
                    <a:lnTo>
                      <a:pt x="89440" y="14288"/>
                    </a:lnTo>
                    <a:lnTo>
                      <a:pt x="88582" y="15907"/>
                    </a:lnTo>
                    <a:lnTo>
                      <a:pt x="88582" y="16764"/>
                    </a:lnTo>
                    <a:lnTo>
                      <a:pt x="86868" y="18479"/>
                    </a:lnTo>
                    <a:lnTo>
                      <a:pt x="82582" y="21050"/>
                    </a:lnTo>
                    <a:lnTo>
                      <a:pt x="81724" y="21050"/>
                    </a:lnTo>
                    <a:lnTo>
                      <a:pt x="80867" y="21050"/>
                    </a:lnTo>
                    <a:lnTo>
                      <a:pt x="80867" y="21050"/>
                    </a:lnTo>
                    <a:lnTo>
                      <a:pt x="81724" y="20193"/>
                    </a:lnTo>
                    <a:lnTo>
                      <a:pt x="82582" y="18479"/>
                    </a:lnTo>
                    <a:lnTo>
                      <a:pt x="83439" y="16764"/>
                    </a:lnTo>
                    <a:lnTo>
                      <a:pt x="83439" y="15145"/>
                    </a:lnTo>
                    <a:lnTo>
                      <a:pt x="83439" y="13430"/>
                    </a:lnTo>
                    <a:lnTo>
                      <a:pt x="82582" y="12573"/>
                    </a:lnTo>
                    <a:lnTo>
                      <a:pt x="79153" y="10859"/>
                    </a:lnTo>
                    <a:lnTo>
                      <a:pt x="77438" y="9239"/>
                    </a:lnTo>
                    <a:lnTo>
                      <a:pt x="75819" y="9239"/>
                    </a:lnTo>
                    <a:lnTo>
                      <a:pt x="74962" y="9239"/>
                    </a:lnTo>
                    <a:lnTo>
                      <a:pt x="74104" y="9239"/>
                    </a:lnTo>
                    <a:lnTo>
                      <a:pt x="72390" y="9239"/>
                    </a:lnTo>
                    <a:lnTo>
                      <a:pt x="66389" y="8382"/>
                    </a:lnTo>
                    <a:lnTo>
                      <a:pt x="64675" y="8382"/>
                    </a:lnTo>
                    <a:lnTo>
                      <a:pt x="63817" y="9239"/>
                    </a:lnTo>
                    <a:lnTo>
                      <a:pt x="62198" y="10097"/>
                    </a:lnTo>
                    <a:lnTo>
                      <a:pt x="59627" y="11716"/>
                    </a:lnTo>
                    <a:lnTo>
                      <a:pt x="58769" y="11716"/>
                    </a:lnTo>
                    <a:lnTo>
                      <a:pt x="57912" y="12573"/>
                    </a:lnTo>
                    <a:lnTo>
                      <a:pt x="55340" y="12573"/>
                    </a:lnTo>
                    <a:lnTo>
                      <a:pt x="53626" y="13430"/>
                    </a:lnTo>
                    <a:lnTo>
                      <a:pt x="46863" y="13430"/>
                    </a:lnTo>
                    <a:lnTo>
                      <a:pt x="37433" y="15145"/>
                    </a:lnTo>
                    <a:lnTo>
                      <a:pt x="35719" y="16764"/>
                    </a:lnTo>
                    <a:lnTo>
                      <a:pt x="34957" y="17621"/>
                    </a:lnTo>
                    <a:lnTo>
                      <a:pt x="32385" y="20193"/>
                    </a:lnTo>
                    <a:lnTo>
                      <a:pt x="28956" y="22670"/>
                    </a:lnTo>
                    <a:lnTo>
                      <a:pt x="27242" y="24384"/>
                    </a:lnTo>
                    <a:lnTo>
                      <a:pt x="26384" y="25241"/>
                    </a:lnTo>
                    <a:lnTo>
                      <a:pt x="25527" y="26861"/>
                    </a:lnTo>
                    <a:lnTo>
                      <a:pt x="24670" y="28575"/>
                    </a:lnTo>
                    <a:lnTo>
                      <a:pt x="21336" y="31909"/>
                    </a:lnTo>
                    <a:lnTo>
                      <a:pt x="20479" y="32766"/>
                    </a:lnTo>
                    <a:lnTo>
                      <a:pt x="19621" y="34481"/>
                    </a:lnTo>
                    <a:lnTo>
                      <a:pt x="19621" y="36957"/>
                    </a:lnTo>
                    <a:lnTo>
                      <a:pt x="18764" y="38672"/>
                    </a:lnTo>
                    <a:lnTo>
                      <a:pt x="18764" y="39529"/>
                    </a:lnTo>
                    <a:lnTo>
                      <a:pt x="17907" y="40386"/>
                    </a:lnTo>
                    <a:lnTo>
                      <a:pt x="17050" y="42863"/>
                    </a:lnTo>
                    <a:lnTo>
                      <a:pt x="16192" y="43720"/>
                    </a:lnTo>
                    <a:lnTo>
                      <a:pt x="16192" y="45434"/>
                    </a:lnTo>
                    <a:lnTo>
                      <a:pt x="16192" y="46292"/>
                    </a:lnTo>
                    <a:lnTo>
                      <a:pt x="16192" y="47911"/>
                    </a:lnTo>
                    <a:lnTo>
                      <a:pt x="17050" y="51340"/>
                    </a:lnTo>
                    <a:lnTo>
                      <a:pt x="17050" y="52197"/>
                    </a:lnTo>
                    <a:lnTo>
                      <a:pt x="17907" y="52959"/>
                    </a:lnTo>
                    <a:lnTo>
                      <a:pt x="18764" y="54674"/>
                    </a:lnTo>
                    <a:lnTo>
                      <a:pt x="22098" y="57245"/>
                    </a:lnTo>
                    <a:lnTo>
                      <a:pt x="22098" y="58007"/>
                    </a:lnTo>
                    <a:lnTo>
                      <a:pt x="22955" y="58865"/>
                    </a:lnTo>
                    <a:lnTo>
                      <a:pt x="22955" y="59722"/>
                    </a:lnTo>
                    <a:lnTo>
                      <a:pt x="22955" y="60579"/>
                    </a:lnTo>
                    <a:lnTo>
                      <a:pt x="22098" y="61436"/>
                    </a:lnTo>
                    <a:lnTo>
                      <a:pt x="21336" y="62294"/>
                    </a:lnTo>
                    <a:lnTo>
                      <a:pt x="20479" y="63056"/>
                    </a:lnTo>
                    <a:lnTo>
                      <a:pt x="18764" y="63913"/>
                    </a:lnTo>
                    <a:lnTo>
                      <a:pt x="17050" y="63913"/>
                    </a:lnTo>
                    <a:lnTo>
                      <a:pt x="13621" y="63913"/>
                    </a:lnTo>
                    <a:lnTo>
                      <a:pt x="11906" y="64770"/>
                    </a:lnTo>
                    <a:lnTo>
                      <a:pt x="11049" y="66485"/>
                    </a:lnTo>
                    <a:lnTo>
                      <a:pt x="11049" y="67342"/>
                    </a:lnTo>
                    <a:lnTo>
                      <a:pt x="11049" y="71533"/>
                    </a:lnTo>
                    <a:lnTo>
                      <a:pt x="11049" y="73247"/>
                    </a:lnTo>
                    <a:lnTo>
                      <a:pt x="10192" y="74009"/>
                    </a:lnTo>
                    <a:lnTo>
                      <a:pt x="9334" y="74867"/>
                    </a:lnTo>
                    <a:lnTo>
                      <a:pt x="8477" y="75724"/>
                    </a:lnTo>
                    <a:lnTo>
                      <a:pt x="4286" y="77438"/>
                    </a:lnTo>
                    <a:lnTo>
                      <a:pt x="857" y="78296"/>
                    </a:lnTo>
                    <a:lnTo>
                      <a:pt x="0" y="81629"/>
                    </a:lnTo>
                    <a:lnTo>
                      <a:pt x="0" y="83344"/>
                    </a:lnTo>
                    <a:lnTo>
                      <a:pt x="0" y="86678"/>
                    </a:lnTo>
                    <a:lnTo>
                      <a:pt x="0" y="90011"/>
                    </a:lnTo>
                    <a:lnTo>
                      <a:pt x="857" y="95060"/>
                    </a:lnTo>
                    <a:lnTo>
                      <a:pt x="2572" y="96774"/>
                    </a:lnTo>
                    <a:lnTo>
                      <a:pt x="4286" y="97631"/>
                    </a:lnTo>
                    <a:lnTo>
                      <a:pt x="7620" y="95917"/>
                    </a:lnTo>
                    <a:lnTo>
                      <a:pt x="11906" y="95917"/>
                    </a:lnTo>
                    <a:lnTo>
                      <a:pt x="36576" y="106013"/>
                    </a:lnTo>
                    <a:lnTo>
                      <a:pt x="54483" y="110204"/>
                    </a:lnTo>
                    <a:lnTo>
                      <a:pt x="62960" y="113633"/>
                    </a:lnTo>
                    <a:lnTo>
                      <a:pt x="66389" y="113633"/>
                    </a:lnTo>
                    <a:lnTo>
                      <a:pt x="78296" y="111062"/>
                    </a:lnTo>
                    <a:lnTo>
                      <a:pt x="86868" y="111919"/>
                    </a:lnTo>
                    <a:lnTo>
                      <a:pt x="91059" y="111062"/>
                    </a:lnTo>
                    <a:lnTo>
                      <a:pt x="93631" y="111062"/>
                    </a:lnTo>
                    <a:lnTo>
                      <a:pt x="94488" y="111062"/>
                    </a:lnTo>
                    <a:lnTo>
                      <a:pt x="97060" y="112776"/>
                    </a:lnTo>
                    <a:lnTo>
                      <a:pt x="100489" y="112776"/>
                    </a:lnTo>
                    <a:lnTo>
                      <a:pt x="102203" y="112776"/>
                    </a:lnTo>
                    <a:lnTo>
                      <a:pt x="103061" y="112776"/>
                    </a:lnTo>
                    <a:lnTo>
                      <a:pt x="103918" y="111062"/>
                    </a:lnTo>
                    <a:lnTo>
                      <a:pt x="104680" y="111062"/>
                    </a:lnTo>
                    <a:lnTo>
                      <a:pt x="106394" y="111062"/>
                    </a:lnTo>
                    <a:lnTo>
                      <a:pt x="107252" y="111919"/>
                    </a:lnTo>
                    <a:lnTo>
                      <a:pt x="108966" y="113633"/>
                    </a:lnTo>
                    <a:lnTo>
                      <a:pt x="110680" y="113633"/>
                    </a:lnTo>
                    <a:lnTo>
                      <a:pt x="114110" y="114491"/>
                    </a:lnTo>
                    <a:lnTo>
                      <a:pt x="126016" y="112776"/>
                    </a:lnTo>
                    <a:lnTo>
                      <a:pt x="126873" y="112776"/>
                    </a:lnTo>
                    <a:lnTo>
                      <a:pt x="130302" y="111062"/>
                    </a:lnTo>
                    <a:lnTo>
                      <a:pt x="148114" y="108585"/>
                    </a:lnTo>
                    <a:lnTo>
                      <a:pt x="154972" y="108585"/>
                    </a:lnTo>
                    <a:lnTo>
                      <a:pt x="155829" y="108585"/>
                    </a:lnTo>
                    <a:lnTo>
                      <a:pt x="158401" y="106871"/>
                    </a:lnTo>
                    <a:lnTo>
                      <a:pt x="159258" y="106871"/>
                    </a:lnTo>
                    <a:lnTo>
                      <a:pt x="165163" y="110204"/>
                    </a:lnTo>
                    <a:lnTo>
                      <a:pt x="181356" y="114491"/>
                    </a:lnTo>
                    <a:lnTo>
                      <a:pt x="185642" y="115253"/>
                    </a:lnTo>
                    <a:lnTo>
                      <a:pt x="186499" y="115253"/>
                    </a:lnTo>
                    <a:lnTo>
                      <a:pt x="188976" y="114491"/>
                    </a:lnTo>
                    <a:lnTo>
                      <a:pt x="189833" y="114491"/>
                    </a:lnTo>
                    <a:lnTo>
                      <a:pt x="191548" y="113633"/>
                    </a:lnTo>
                    <a:lnTo>
                      <a:pt x="193262" y="112776"/>
                    </a:lnTo>
                    <a:lnTo>
                      <a:pt x="194120" y="111919"/>
                    </a:lnTo>
                    <a:lnTo>
                      <a:pt x="195834" y="111919"/>
                    </a:lnTo>
                    <a:lnTo>
                      <a:pt x="196691" y="112776"/>
                    </a:lnTo>
                    <a:lnTo>
                      <a:pt x="197548" y="114491"/>
                    </a:lnTo>
                    <a:lnTo>
                      <a:pt x="199263" y="116110"/>
                    </a:lnTo>
                    <a:lnTo>
                      <a:pt x="200882" y="116110"/>
                    </a:lnTo>
                    <a:lnTo>
                      <a:pt x="204311" y="116110"/>
                    </a:lnTo>
                    <a:lnTo>
                      <a:pt x="206883" y="116110"/>
                    </a:lnTo>
                    <a:lnTo>
                      <a:pt x="207740" y="115253"/>
                    </a:lnTo>
                    <a:lnTo>
                      <a:pt x="208597" y="112776"/>
                    </a:lnTo>
                    <a:lnTo>
                      <a:pt x="209455" y="112776"/>
                    </a:lnTo>
                    <a:lnTo>
                      <a:pt x="211169" y="113633"/>
                    </a:lnTo>
                    <a:lnTo>
                      <a:pt x="212027" y="114491"/>
                    </a:lnTo>
                    <a:lnTo>
                      <a:pt x="212884" y="113633"/>
                    </a:lnTo>
                    <a:lnTo>
                      <a:pt x="213741" y="111919"/>
                    </a:lnTo>
                    <a:lnTo>
                      <a:pt x="214503" y="111062"/>
                    </a:lnTo>
                    <a:lnTo>
                      <a:pt x="216217" y="111062"/>
                    </a:lnTo>
                    <a:lnTo>
                      <a:pt x="221361" y="111919"/>
                    </a:lnTo>
                    <a:lnTo>
                      <a:pt x="233267" y="110204"/>
                    </a:lnTo>
                    <a:lnTo>
                      <a:pt x="239268" y="111062"/>
                    </a:lnTo>
                    <a:lnTo>
                      <a:pt x="241840" y="110204"/>
                    </a:lnTo>
                    <a:lnTo>
                      <a:pt x="244316" y="109442"/>
                    </a:lnTo>
                    <a:lnTo>
                      <a:pt x="247745" y="109442"/>
                    </a:lnTo>
                    <a:lnTo>
                      <a:pt x="252031" y="110204"/>
                    </a:lnTo>
                    <a:lnTo>
                      <a:pt x="254603" y="111919"/>
                    </a:lnTo>
                    <a:lnTo>
                      <a:pt x="255461" y="111919"/>
                    </a:lnTo>
                    <a:lnTo>
                      <a:pt x="256222" y="113633"/>
                    </a:lnTo>
                    <a:lnTo>
                      <a:pt x="257080" y="114491"/>
                    </a:lnTo>
                    <a:lnTo>
                      <a:pt x="257937" y="115253"/>
                    </a:lnTo>
                    <a:lnTo>
                      <a:pt x="259652" y="115253"/>
                    </a:lnTo>
                    <a:lnTo>
                      <a:pt x="260509" y="115253"/>
                    </a:lnTo>
                    <a:lnTo>
                      <a:pt x="261366" y="116110"/>
                    </a:lnTo>
                    <a:lnTo>
                      <a:pt x="262223" y="115253"/>
                    </a:lnTo>
                    <a:lnTo>
                      <a:pt x="263080" y="115253"/>
                    </a:lnTo>
                    <a:lnTo>
                      <a:pt x="263938" y="116110"/>
                    </a:lnTo>
                    <a:lnTo>
                      <a:pt x="265652" y="118682"/>
                    </a:lnTo>
                    <a:lnTo>
                      <a:pt x="267367" y="119539"/>
                    </a:lnTo>
                    <a:lnTo>
                      <a:pt x="269081" y="120396"/>
                    </a:lnTo>
                    <a:lnTo>
                      <a:pt x="269843" y="121158"/>
                    </a:lnTo>
                    <a:lnTo>
                      <a:pt x="272415" y="122015"/>
                    </a:lnTo>
                    <a:lnTo>
                      <a:pt x="278416" y="122873"/>
                    </a:lnTo>
                    <a:lnTo>
                      <a:pt x="279273" y="122873"/>
                    </a:lnTo>
                    <a:lnTo>
                      <a:pt x="280988" y="125444"/>
                    </a:lnTo>
                    <a:lnTo>
                      <a:pt x="283464" y="127064"/>
                    </a:lnTo>
                    <a:lnTo>
                      <a:pt x="286036" y="128778"/>
                    </a:lnTo>
                    <a:lnTo>
                      <a:pt x="286893" y="130493"/>
                    </a:lnTo>
                    <a:lnTo>
                      <a:pt x="289465" y="128778"/>
                    </a:lnTo>
                    <a:lnTo>
                      <a:pt x="294608" y="122873"/>
                    </a:lnTo>
                    <a:lnTo>
                      <a:pt x="298799" y="120396"/>
                    </a:lnTo>
                    <a:lnTo>
                      <a:pt x="300514" y="117824"/>
                    </a:lnTo>
                    <a:lnTo>
                      <a:pt x="302228" y="116967"/>
                    </a:lnTo>
                    <a:lnTo>
                      <a:pt x="303086" y="116110"/>
                    </a:lnTo>
                    <a:lnTo>
                      <a:pt x="304800" y="116110"/>
                    </a:lnTo>
                    <a:lnTo>
                      <a:pt x="305657" y="116110"/>
                    </a:lnTo>
                    <a:lnTo>
                      <a:pt x="306514" y="115253"/>
                    </a:lnTo>
                    <a:lnTo>
                      <a:pt x="306514" y="114491"/>
                    </a:lnTo>
                    <a:lnTo>
                      <a:pt x="306514" y="113633"/>
                    </a:lnTo>
                    <a:lnTo>
                      <a:pt x="306514" y="112776"/>
                    </a:lnTo>
                    <a:lnTo>
                      <a:pt x="309086" y="113633"/>
                    </a:lnTo>
                    <a:lnTo>
                      <a:pt x="310801" y="113633"/>
                    </a:lnTo>
                    <a:lnTo>
                      <a:pt x="314992" y="112776"/>
                    </a:lnTo>
                    <a:lnTo>
                      <a:pt x="315849" y="112776"/>
                    </a:lnTo>
                    <a:lnTo>
                      <a:pt x="320135" y="108585"/>
                    </a:lnTo>
                    <a:lnTo>
                      <a:pt x="333756" y="104394"/>
                    </a:lnTo>
                    <a:lnTo>
                      <a:pt x="334613" y="103537"/>
                    </a:lnTo>
                    <a:lnTo>
                      <a:pt x="334613" y="102680"/>
                    </a:lnTo>
                    <a:lnTo>
                      <a:pt x="334613" y="102680"/>
                    </a:lnTo>
                    <a:close/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37" name="Freeform: Shape 141">
                <a:extLst>
                  <a:ext uri="{FF2B5EF4-FFF2-40B4-BE49-F238E27FC236}">
                    <a16:creationId xmlns:a16="http://schemas.microsoft.com/office/drawing/2014/main" id="{59452A9B-E6BD-4631-85EB-B7F358BDB550}"/>
                  </a:ext>
                </a:extLst>
              </p:cNvPr>
              <p:cNvSpPr/>
              <p:nvPr/>
            </p:nvSpPr>
            <p:spPr>
              <a:xfrm>
                <a:off x="6871430" y="3013996"/>
                <a:ext cx="333375" cy="123825"/>
              </a:xfrm>
              <a:custGeom>
                <a:avLst/>
                <a:gdLst>
                  <a:gd name="connsiteX0" fmla="*/ 334613 w 333375"/>
                  <a:gd name="connsiteY0" fmla="*/ 102680 h 123825"/>
                  <a:gd name="connsiteX1" fmla="*/ 332899 w 333375"/>
                  <a:gd name="connsiteY1" fmla="*/ 100965 h 123825"/>
                  <a:gd name="connsiteX2" fmla="*/ 332041 w 333375"/>
                  <a:gd name="connsiteY2" fmla="*/ 100108 h 123825"/>
                  <a:gd name="connsiteX3" fmla="*/ 332041 w 333375"/>
                  <a:gd name="connsiteY3" fmla="*/ 99346 h 123825"/>
                  <a:gd name="connsiteX4" fmla="*/ 332041 w 333375"/>
                  <a:gd name="connsiteY4" fmla="*/ 98489 h 123825"/>
                  <a:gd name="connsiteX5" fmla="*/ 332041 w 333375"/>
                  <a:gd name="connsiteY5" fmla="*/ 98489 h 123825"/>
                  <a:gd name="connsiteX6" fmla="*/ 331184 w 333375"/>
                  <a:gd name="connsiteY6" fmla="*/ 97631 h 123825"/>
                  <a:gd name="connsiteX7" fmla="*/ 331184 w 333375"/>
                  <a:gd name="connsiteY7" fmla="*/ 95917 h 123825"/>
                  <a:gd name="connsiteX8" fmla="*/ 332041 w 333375"/>
                  <a:gd name="connsiteY8" fmla="*/ 95060 h 123825"/>
                  <a:gd name="connsiteX9" fmla="*/ 332899 w 333375"/>
                  <a:gd name="connsiteY9" fmla="*/ 93440 h 123825"/>
                  <a:gd name="connsiteX10" fmla="*/ 332899 w 333375"/>
                  <a:gd name="connsiteY10" fmla="*/ 91726 h 123825"/>
                  <a:gd name="connsiteX11" fmla="*/ 332899 w 333375"/>
                  <a:gd name="connsiteY11" fmla="*/ 90869 h 123825"/>
                  <a:gd name="connsiteX12" fmla="*/ 332041 w 333375"/>
                  <a:gd name="connsiteY12" fmla="*/ 89154 h 123825"/>
                  <a:gd name="connsiteX13" fmla="*/ 331184 w 333375"/>
                  <a:gd name="connsiteY13" fmla="*/ 88392 h 123825"/>
                  <a:gd name="connsiteX14" fmla="*/ 329470 w 333375"/>
                  <a:gd name="connsiteY14" fmla="*/ 87535 h 123825"/>
                  <a:gd name="connsiteX15" fmla="*/ 327755 w 333375"/>
                  <a:gd name="connsiteY15" fmla="*/ 85820 h 123825"/>
                  <a:gd name="connsiteX16" fmla="*/ 326898 w 333375"/>
                  <a:gd name="connsiteY16" fmla="*/ 84106 h 123825"/>
                  <a:gd name="connsiteX17" fmla="*/ 321850 w 333375"/>
                  <a:gd name="connsiteY17" fmla="*/ 79915 h 123825"/>
                  <a:gd name="connsiteX18" fmla="*/ 320992 w 333375"/>
                  <a:gd name="connsiteY18" fmla="*/ 79058 h 123825"/>
                  <a:gd name="connsiteX19" fmla="*/ 320135 w 333375"/>
                  <a:gd name="connsiteY19" fmla="*/ 79058 h 123825"/>
                  <a:gd name="connsiteX20" fmla="*/ 318421 w 333375"/>
                  <a:gd name="connsiteY20" fmla="*/ 78296 h 123825"/>
                  <a:gd name="connsiteX21" fmla="*/ 314992 w 333375"/>
                  <a:gd name="connsiteY21" fmla="*/ 77438 h 123825"/>
                  <a:gd name="connsiteX22" fmla="*/ 314135 w 333375"/>
                  <a:gd name="connsiteY22" fmla="*/ 76581 h 123825"/>
                  <a:gd name="connsiteX23" fmla="*/ 313277 w 333375"/>
                  <a:gd name="connsiteY23" fmla="*/ 75724 h 123825"/>
                  <a:gd name="connsiteX24" fmla="*/ 313277 w 333375"/>
                  <a:gd name="connsiteY24" fmla="*/ 74867 h 123825"/>
                  <a:gd name="connsiteX25" fmla="*/ 312420 w 333375"/>
                  <a:gd name="connsiteY25" fmla="*/ 74009 h 123825"/>
                  <a:gd name="connsiteX26" fmla="*/ 309944 w 333375"/>
                  <a:gd name="connsiteY26" fmla="*/ 73247 h 123825"/>
                  <a:gd name="connsiteX27" fmla="*/ 309086 w 333375"/>
                  <a:gd name="connsiteY27" fmla="*/ 72390 h 123825"/>
                  <a:gd name="connsiteX28" fmla="*/ 309086 w 333375"/>
                  <a:gd name="connsiteY28" fmla="*/ 71533 h 123825"/>
                  <a:gd name="connsiteX29" fmla="*/ 309944 w 333375"/>
                  <a:gd name="connsiteY29" fmla="*/ 71533 h 123825"/>
                  <a:gd name="connsiteX30" fmla="*/ 311563 w 333375"/>
                  <a:gd name="connsiteY30" fmla="*/ 69818 h 123825"/>
                  <a:gd name="connsiteX31" fmla="*/ 314135 w 333375"/>
                  <a:gd name="connsiteY31" fmla="*/ 68199 h 123825"/>
                  <a:gd name="connsiteX32" fmla="*/ 314992 w 333375"/>
                  <a:gd name="connsiteY32" fmla="*/ 66485 h 123825"/>
                  <a:gd name="connsiteX33" fmla="*/ 315849 w 333375"/>
                  <a:gd name="connsiteY33" fmla="*/ 65627 h 123825"/>
                  <a:gd name="connsiteX34" fmla="*/ 316706 w 333375"/>
                  <a:gd name="connsiteY34" fmla="*/ 63913 h 123825"/>
                  <a:gd name="connsiteX35" fmla="*/ 317563 w 333375"/>
                  <a:gd name="connsiteY35" fmla="*/ 63056 h 123825"/>
                  <a:gd name="connsiteX36" fmla="*/ 318421 w 333375"/>
                  <a:gd name="connsiteY36" fmla="*/ 62294 h 123825"/>
                  <a:gd name="connsiteX37" fmla="*/ 319278 w 333375"/>
                  <a:gd name="connsiteY37" fmla="*/ 61436 h 123825"/>
                  <a:gd name="connsiteX38" fmla="*/ 319278 w 333375"/>
                  <a:gd name="connsiteY38" fmla="*/ 60579 h 123825"/>
                  <a:gd name="connsiteX39" fmla="*/ 320135 w 333375"/>
                  <a:gd name="connsiteY39" fmla="*/ 59722 h 123825"/>
                  <a:gd name="connsiteX40" fmla="*/ 320135 w 333375"/>
                  <a:gd name="connsiteY40" fmla="*/ 58007 h 123825"/>
                  <a:gd name="connsiteX41" fmla="*/ 319278 w 333375"/>
                  <a:gd name="connsiteY41" fmla="*/ 58007 h 123825"/>
                  <a:gd name="connsiteX42" fmla="*/ 318421 w 333375"/>
                  <a:gd name="connsiteY42" fmla="*/ 57245 h 123825"/>
                  <a:gd name="connsiteX43" fmla="*/ 317563 w 333375"/>
                  <a:gd name="connsiteY43" fmla="*/ 57245 h 123825"/>
                  <a:gd name="connsiteX44" fmla="*/ 316706 w 333375"/>
                  <a:gd name="connsiteY44" fmla="*/ 58007 h 123825"/>
                  <a:gd name="connsiteX45" fmla="*/ 315849 w 333375"/>
                  <a:gd name="connsiteY45" fmla="*/ 58865 h 123825"/>
                  <a:gd name="connsiteX46" fmla="*/ 313277 w 333375"/>
                  <a:gd name="connsiteY46" fmla="*/ 59722 h 123825"/>
                  <a:gd name="connsiteX47" fmla="*/ 312420 w 333375"/>
                  <a:gd name="connsiteY47" fmla="*/ 60579 h 123825"/>
                  <a:gd name="connsiteX48" fmla="*/ 311563 w 333375"/>
                  <a:gd name="connsiteY48" fmla="*/ 60579 h 123825"/>
                  <a:gd name="connsiteX49" fmla="*/ 310801 w 333375"/>
                  <a:gd name="connsiteY49" fmla="*/ 61436 h 123825"/>
                  <a:gd name="connsiteX50" fmla="*/ 310801 w 333375"/>
                  <a:gd name="connsiteY50" fmla="*/ 60579 h 123825"/>
                  <a:gd name="connsiteX51" fmla="*/ 310801 w 333375"/>
                  <a:gd name="connsiteY51" fmla="*/ 60579 h 123825"/>
                  <a:gd name="connsiteX52" fmla="*/ 309944 w 333375"/>
                  <a:gd name="connsiteY52" fmla="*/ 60579 h 123825"/>
                  <a:gd name="connsiteX53" fmla="*/ 302228 w 333375"/>
                  <a:gd name="connsiteY53" fmla="*/ 51340 h 123825"/>
                  <a:gd name="connsiteX54" fmla="*/ 297180 w 333375"/>
                  <a:gd name="connsiteY54" fmla="*/ 47149 h 123825"/>
                  <a:gd name="connsiteX55" fmla="*/ 292037 w 333375"/>
                  <a:gd name="connsiteY55" fmla="*/ 43720 h 123825"/>
                  <a:gd name="connsiteX56" fmla="*/ 290322 w 333375"/>
                  <a:gd name="connsiteY56" fmla="*/ 40386 h 123825"/>
                  <a:gd name="connsiteX57" fmla="*/ 288607 w 333375"/>
                  <a:gd name="connsiteY57" fmla="*/ 39529 h 123825"/>
                  <a:gd name="connsiteX58" fmla="*/ 286893 w 333375"/>
                  <a:gd name="connsiteY58" fmla="*/ 38672 h 123825"/>
                  <a:gd name="connsiteX59" fmla="*/ 285179 w 333375"/>
                  <a:gd name="connsiteY59" fmla="*/ 39529 h 123825"/>
                  <a:gd name="connsiteX60" fmla="*/ 283464 w 333375"/>
                  <a:gd name="connsiteY60" fmla="*/ 40386 h 123825"/>
                  <a:gd name="connsiteX61" fmla="*/ 281845 w 333375"/>
                  <a:gd name="connsiteY61" fmla="*/ 41243 h 123825"/>
                  <a:gd name="connsiteX62" fmla="*/ 280988 w 333375"/>
                  <a:gd name="connsiteY62" fmla="*/ 42863 h 123825"/>
                  <a:gd name="connsiteX63" fmla="*/ 279273 w 333375"/>
                  <a:gd name="connsiteY63" fmla="*/ 43720 h 123825"/>
                  <a:gd name="connsiteX64" fmla="*/ 274130 w 333375"/>
                  <a:gd name="connsiteY64" fmla="*/ 44577 h 123825"/>
                  <a:gd name="connsiteX65" fmla="*/ 269843 w 333375"/>
                  <a:gd name="connsiteY65" fmla="*/ 45434 h 123825"/>
                  <a:gd name="connsiteX66" fmla="*/ 267367 w 333375"/>
                  <a:gd name="connsiteY66" fmla="*/ 46292 h 123825"/>
                  <a:gd name="connsiteX67" fmla="*/ 264795 w 333375"/>
                  <a:gd name="connsiteY67" fmla="*/ 47911 h 123825"/>
                  <a:gd name="connsiteX68" fmla="*/ 263938 w 333375"/>
                  <a:gd name="connsiteY68" fmla="*/ 48768 h 123825"/>
                  <a:gd name="connsiteX69" fmla="*/ 263080 w 333375"/>
                  <a:gd name="connsiteY69" fmla="*/ 48768 h 123825"/>
                  <a:gd name="connsiteX70" fmla="*/ 263080 w 333375"/>
                  <a:gd name="connsiteY70" fmla="*/ 47911 h 123825"/>
                  <a:gd name="connsiteX71" fmla="*/ 263080 w 333375"/>
                  <a:gd name="connsiteY71" fmla="*/ 47149 h 123825"/>
                  <a:gd name="connsiteX72" fmla="*/ 263938 w 333375"/>
                  <a:gd name="connsiteY72" fmla="*/ 40386 h 123825"/>
                  <a:gd name="connsiteX73" fmla="*/ 263080 w 333375"/>
                  <a:gd name="connsiteY73" fmla="*/ 37814 h 123825"/>
                  <a:gd name="connsiteX74" fmla="*/ 263080 w 333375"/>
                  <a:gd name="connsiteY74" fmla="*/ 36195 h 123825"/>
                  <a:gd name="connsiteX75" fmla="*/ 263080 w 333375"/>
                  <a:gd name="connsiteY75" fmla="*/ 35338 h 123825"/>
                  <a:gd name="connsiteX76" fmla="*/ 262223 w 333375"/>
                  <a:gd name="connsiteY76" fmla="*/ 33623 h 123825"/>
                  <a:gd name="connsiteX77" fmla="*/ 263080 w 333375"/>
                  <a:gd name="connsiteY77" fmla="*/ 32766 h 123825"/>
                  <a:gd name="connsiteX78" fmla="*/ 264795 w 333375"/>
                  <a:gd name="connsiteY78" fmla="*/ 29432 h 123825"/>
                  <a:gd name="connsiteX79" fmla="*/ 266510 w 333375"/>
                  <a:gd name="connsiteY79" fmla="*/ 24384 h 123825"/>
                  <a:gd name="connsiteX80" fmla="*/ 268224 w 333375"/>
                  <a:gd name="connsiteY80" fmla="*/ 20193 h 123825"/>
                  <a:gd name="connsiteX81" fmla="*/ 268224 w 333375"/>
                  <a:gd name="connsiteY81" fmla="*/ 18479 h 123825"/>
                  <a:gd name="connsiteX82" fmla="*/ 267367 w 333375"/>
                  <a:gd name="connsiteY82" fmla="*/ 17621 h 123825"/>
                  <a:gd name="connsiteX83" fmla="*/ 264795 w 333375"/>
                  <a:gd name="connsiteY83" fmla="*/ 17621 h 123825"/>
                  <a:gd name="connsiteX84" fmla="*/ 263938 w 333375"/>
                  <a:gd name="connsiteY84" fmla="*/ 16764 h 123825"/>
                  <a:gd name="connsiteX85" fmla="*/ 263938 w 333375"/>
                  <a:gd name="connsiteY85" fmla="*/ 15907 h 123825"/>
                  <a:gd name="connsiteX86" fmla="*/ 263938 w 333375"/>
                  <a:gd name="connsiteY86" fmla="*/ 14288 h 123825"/>
                  <a:gd name="connsiteX87" fmla="*/ 263938 w 333375"/>
                  <a:gd name="connsiteY87" fmla="*/ 12573 h 123825"/>
                  <a:gd name="connsiteX88" fmla="*/ 263938 w 333375"/>
                  <a:gd name="connsiteY88" fmla="*/ 11716 h 123825"/>
                  <a:gd name="connsiteX89" fmla="*/ 264795 w 333375"/>
                  <a:gd name="connsiteY89" fmla="*/ 11716 h 123825"/>
                  <a:gd name="connsiteX90" fmla="*/ 273272 w 333375"/>
                  <a:gd name="connsiteY90" fmla="*/ 4191 h 123825"/>
                  <a:gd name="connsiteX91" fmla="*/ 274130 w 333375"/>
                  <a:gd name="connsiteY91" fmla="*/ 1619 h 123825"/>
                  <a:gd name="connsiteX92" fmla="*/ 274130 w 333375"/>
                  <a:gd name="connsiteY92" fmla="*/ 762 h 123825"/>
                  <a:gd name="connsiteX93" fmla="*/ 273272 w 333375"/>
                  <a:gd name="connsiteY93" fmla="*/ 762 h 123825"/>
                  <a:gd name="connsiteX94" fmla="*/ 272415 w 333375"/>
                  <a:gd name="connsiteY94" fmla="*/ 0 h 123825"/>
                  <a:gd name="connsiteX95" fmla="*/ 262223 w 333375"/>
                  <a:gd name="connsiteY95" fmla="*/ 0 h 123825"/>
                  <a:gd name="connsiteX96" fmla="*/ 260509 w 333375"/>
                  <a:gd name="connsiteY96" fmla="*/ 0 h 123825"/>
                  <a:gd name="connsiteX97" fmla="*/ 257080 w 333375"/>
                  <a:gd name="connsiteY97" fmla="*/ 1619 h 123825"/>
                  <a:gd name="connsiteX98" fmla="*/ 250317 w 333375"/>
                  <a:gd name="connsiteY98" fmla="*/ 3334 h 123825"/>
                  <a:gd name="connsiteX99" fmla="*/ 249460 w 333375"/>
                  <a:gd name="connsiteY99" fmla="*/ 3334 h 123825"/>
                  <a:gd name="connsiteX100" fmla="*/ 247745 w 333375"/>
                  <a:gd name="connsiteY100" fmla="*/ 3334 h 123825"/>
                  <a:gd name="connsiteX101" fmla="*/ 246888 w 333375"/>
                  <a:gd name="connsiteY101" fmla="*/ 3334 h 123825"/>
                  <a:gd name="connsiteX102" fmla="*/ 239268 w 333375"/>
                  <a:gd name="connsiteY102" fmla="*/ 5048 h 123825"/>
                  <a:gd name="connsiteX103" fmla="*/ 235839 w 333375"/>
                  <a:gd name="connsiteY103" fmla="*/ 5810 h 123825"/>
                  <a:gd name="connsiteX104" fmla="*/ 233267 w 333375"/>
                  <a:gd name="connsiteY104" fmla="*/ 5810 h 123825"/>
                  <a:gd name="connsiteX105" fmla="*/ 232410 w 333375"/>
                  <a:gd name="connsiteY105" fmla="*/ 5048 h 123825"/>
                  <a:gd name="connsiteX106" fmla="*/ 230696 w 333375"/>
                  <a:gd name="connsiteY106" fmla="*/ 4191 h 123825"/>
                  <a:gd name="connsiteX107" fmla="*/ 227362 w 333375"/>
                  <a:gd name="connsiteY107" fmla="*/ 762 h 123825"/>
                  <a:gd name="connsiteX108" fmla="*/ 224790 w 333375"/>
                  <a:gd name="connsiteY108" fmla="*/ 0 h 123825"/>
                  <a:gd name="connsiteX109" fmla="*/ 223075 w 333375"/>
                  <a:gd name="connsiteY109" fmla="*/ 0 h 123825"/>
                  <a:gd name="connsiteX110" fmla="*/ 221361 w 333375"/>
                  <a:gd name="connsiteY110" fmla="*/ 762 h 123825"/>
                  <a:gd name="connsiteX111" fmla="*/ 217075 w 333375"/>
                  <a:gd name="connsiteY111" fmla="*/ 5048 h 123825"/>
                  <a:gd name="connsiteX112" fmla="*/ 216217 w 333375"/>
                  <a:gd name="connsiteY112" fmla="*/ 5810 h 123825"/>
                  <a:gd name="connsiteX113" fmla="*/ 215360 w 333375"/>
                  <a:gd name="connsiteY113" fmla="*/ 6668 h 123825"/>
                  <a:gd name="connsiteX114" fmla="*/ 215360 w 333375"/>
                  <a:gd name="connsiteY114" fmla="*/ 10097 h 123825"/>
                  <a:gd name="connsiteX115" fmla="*/ 214503 w 333375"/>
                  <a:gd name="connsiteY115" fmla="*/ 11716 h 123825"/>
                  <a:gd name="connsiteX116" fmla="*/ 212884 w 333375"/>
                  <a:gd name="connsiteY116" fmla="*/ 14288 h 123825"/>
                  <a:gd name="connsiteX117" fmla="*/ 212027 w 333375"/>
                  <a:gd name="connsiteY117" fmla="*/ 15907 h 123825"/>
                  <a:gd name="connsiteX118" fmla="*/ 210312 w 333375"/>
                  <a:gd name="connsiteY118" fmla="*/ 17621 h 123825"/>
                  <a:gd name="connsiteX119" fmla="*/ 207740 w 333375"/>
                  <a:gd name="connsiteY119" fmla="*/ 19336 h 123825"/>
                  <a:gd name="connsiteX120" fmla="*/ 206026 w 333375"/>
                  <a:gd name="connsiteY120" fmla="*/ 19336 h 123825"/>
                  <a:gd name="connsiteX121" fmla="*/ 204311 w 333375"/>
                  <a:gd name="connsiteY121" fmla="*/ 18479 h 123825"/>
                  <a:gd name="connsiteX122" fmla="*/ 203454 w 333375"/>
                  <a:gd name="connsiteY122" fmla="*/ 17621 h 123825"/>
                  <a:gd name="connsiteX123" fmla="*/ 203454 w 333375"/>
                  <a:gd name="connsiteY123" fmla="*/ 16764 h 123825"/>
                  <a:gd name="connsiteX124" fmla="*/ 203454 w 333375"/>
                  <a:gd name="connsiteY124" fmla="*/ 15145 h 123825"/>
                  <a:gd name="connsiteX125" fmla="*/ 204311 w 333375"/>
                  <a:gd name="connsiteY125" fmla="*/ 13430 h 123825"/>
                  <a:gd name="connsiteX126" fmla="*/ 205169 w 333375"/>
                  <a:gd name="connsiteY126" fmla="*/ 11716 h 123825"/>
                  <a:gd name="connsiteX127" fmla="*/ 205169 w 333375"/>
                  <a:gd name="connsiteY127" fmla="*/ 10859 h 123825"/>
                  <a:gd name="connsiteX128" fmla="*/ 205169 w 333375"/>
                  <a:gd name="connsiteY128" fmla="*/ 10097 h 123825"/>
                  <a:gd name="connsiteX129" fmla="*/ 205169 w 333375"/>
                  <a:gd name="connsiteY129" fmla="*/ 8382 h 123825"/>
                  <a:gd name="connsiteX130" fmla="*/ 204311 w 333375"/>
                  <a:gd name="connsiteY130" fmla="*/ 7525 h 123825"/>
                  <a:gd name="connsiteX131" fmla="*/ 202597 w 333375"/>
                  <a:gd name="connsiteY131" fmla="*/ 6668 h 123825"/>
                  <a:gd name="connsiteX132" fmla="*/ 200882 w 333375"/>
                  <a:gd name="connsiteY132" fmla="*/ 5810 h 123825"/>
                  <a:gd name="connsiteX133" fmla="*/ 199263 w 333375"/>
                  <a:gd name="connsiteY133" fmla="*/ 6668 h 123825"/>
                  <a:gd name="connsiteX134" fmla="*/ 198406 w 333375"/>
                  <a:gd name="connsiteY134" fmla="*/ 7525 h 123825"/>
                  <a:gd name="connsiteX135" fmla="*/ 196691 w 333375"/>
                  <a:gd name="connsiteY135" fmla="*/ 10859 h 123825"/>
                  <a:gd name="connsiteX136" fmla="*/ 196691 w 333375"/>
                  <a:gd name="connsiteY136" fmla="*/ 10859 h 123825"/>
                  <a:gd name="connsiteX137" fmla="*/ 194977 w 333375"/>
                  <a:gd name="connsiteY137" fmla="*/ 12573 h 123825"/>
                  <a:gd name="connsiteX138" fmla="*/ 193262 w 333375"/>
                  <a:gd name="connsiteY138" fmla="*/ 14288 h 123825"/>
                  <a:gd name="connsiteX139" fmla="*/ 191548 w 333375"/>
                  <a:gd name="connsiteY139" fmla="*/ 16764 h 123825"/>
                  <a:gd name="connsiteX140" fmla="*/ 188976 w 333375"/>
                  <a:gd name="connsiteY140" fmla="*/ 20193 h 123825"/>
                  <a:gd name="connsiteX141" fmla="*/ 188119 w 333375"/>
                  <a:gd name="connsiteY141" fmla="*/ 21050 h 123825"/>
                  <a:gd name="connsiteX142" fmla="*/ 186499 w 333375"/>
                  <a:gd name="connsiteY142" fmla="*/ 23527 h 123825"/>
                  <a:gd name="connsiteX143" fmla="*/ 185642 w 333375"/>
                  <a:gd name="connsiteY143" fmla="*/ 23527 h 123825"/>
                  <a:gd name="connsiteX144" fmla="*/ 186499 w 333375"/>
                  <a:gd name="connsiteY144" fmla="*/ 24384 h 123825"/>
                  <a:gd name="connsiteX145" fmla="*/ 187262 w 333375"/>
                  <a:gd name="connsiteY145" fmla="*/ 24384 h 123825"/>
                  <a:gd name="connsiteX146" fmla="*/ 188119 w 333375"/>
                  <a:gd name="connsiteY146" fmla="*/ 24384 h 123825"/>
                  <a:gd name="connsiteX147" fmla="*/ 188976 w 333375"/>
                  <a:gd name="connsiteY147" fmla="*/ 24384 h 123825"/>
                  <a:gd name="connsiteX148" fmla="*/ 191548 w 333375"/>
                  <a:gd name="connsiteY148" fmla="*/ 22670 h 123825"/>
                  <a:gd name="connsiteX149" fmla="*/ 192405 w 333375"/>
                  <a:gd name="connsiteY149" fmla="*/ 22670 h 123825"/>
                  <a:gd name="connsiteX150" fmla="*/ 192405 w 333375"/>
                  <a:gd name="connsiteY150" fmla="*/ 23527 h 123825"/>
                  <a:gd name="connsiteX151" fmla="*/ 191548 w 333375"/>
                  <a:gd name="connsiteY151" fmla="*/ 24384 h 123825"/>
                  <a:gd name="connsiteX152" fmla="*/ 185642 w 333375"/>
                  <a:gd name="connsiteY152" fmla="*/ 26861 h 123825"/>
                  <a:gd name="connsiteX153" fmla="*/ 179641 w 333375"/>
                  <a:gd name="connsiteY153" fmla="*/ 27718 h 123825"/>
                  <a:gd name="connsiteX154" fmla="*/ 173641 w 333375"/>
                  <a:gd name="connsiteY154" fmla="*/ 29432 h 123825"/>
                  <a:gd name="connsiteX155" fmla="*/ 171164 w 333375"/>
                  <a:gd name="connsiteY155" fmla="*/ 31147 h 123825"/>
                  <a:gd name="connsiteX156" fmla="*/ 169450 w 333375"/>
                  <a:gd name="connsiteY156" fmla="*/ 31909 h 123825"/>
                  <a:gd name="connsiteX157" fmla="*/ 168592 w 333375"/>
                  <a:gd name="connsiteY157" fmla="*/ 35338 h 123825"/>
                  <a:gd name="connsiteX158" fmla="*/ 163449 w 333375"/>
                  <a:gd name="connsiteY158" fmla="*/ 40386 h 123825"/>
                  <a:gd name="connsiteX159" fmla="*/ 160877 w 333375"/>
                  <a:gd name="connsiteY159" fmla="*/ 42005 h 123825"/>
                  <a:gd name="connsiteX160" fmla="*/ 159258 w 333375"/>
                  <a:gd name="connsiteY160" fmla="*/ 42863 h 123825"/>
                  <a:gd name="connsiteX161" fmla="*/ 158401 w 333375"/>
                  <a:gd name="connsiteY161" fmla="*/ 42863 h 123825"/>
                  <a:gd name="connsiteX162" fmla="*/ 156686 w 333375"/>
                  <a:gd name="connsiteY162" fmla="*/ 42863 h 123825"/>
                  <a:gd name="connsiteX163" fmla="*/ 155829 w 333375"/>
                  <a:gd name="connsiteY163" fmla="*/ 39529 h 123825"/>
                  <a:gd name="connsiteX164" fmla="*/ 154972 w 333375"/>
                  <a:gd name="connsiteY164" fmla="*/ 35338 h 123825"/>
                  <a:gd name="connsiteX165" fmla="*/ 154972 w 333375"/>
                  <a:gd name="connsiteY165" fmla="*/ 32766 h 123825"/>
                  <a:gd name="connsiteX166" fmla="*/ 154972 w 333375"/>
                  <a:gd name="connsiteY166" fmla="*/ 31147 h 123825"/>
                  <a:gd name="connsiteX167" fmla="*/ 155829 w 333375"/>
                  <a:gd name="connsiteY167" fmla="*/ 27718 h 123825"/>
                  <a:gd name="connsiteX168" fmla="*/ 154972 w 333375"/>
                  <a:gd name="connsiteY168" fmla="*/ 26099 h 123825"/>
                  <a:gd name="connsiteX169" fmla="*/ 153257 w 333375"/>
                  <a:gd name="connsiteY169" fmla="*/ 26099 h 123825"/>
                  <a:gd name="connsiteX170" fmla="*/ 143923 w 333375"/>
                  <a:gd name="connsiteY170" fmla="*/ 30290 h 123825"/>
                  <a:gd name="connsiteX171" fmla="*/ 142208 w 333375"/>
                  <a:gd name="connsiteY171" fmla="*/ 30290 h 123825"/>
                  <a:gd name="connsiteX172" fmla="*/ 141351 w 333375"/>
                  <a:gd name="connsiteY172" fmla="*/ 30290 h 123825"/>
                  <a:gd name="connsiteX173" fmla="*/ 141351 w 333375"/>
                  <a:gd name="connsiteY173" fmla="*/ 29432 h 123825"/>
                  <a:gd name="connsiteX174" fmla="*/ 140494 w 333375"/>
                  <a:gd name="connsiteY174" fmla="*/ 28575 h 123825"/>
                  <a:gd name="connsiteX175" fmla="*/ 140494 w 333375"/>
                  <a:gd name="connsiteY175" fmla="*/ 28575 h 123825"/>
                  <a:gd name="connsiteX176" fmla="*/ 138779 w 333375"/>
                  <a:gd name="connsiteY176" fmla="*/ 29432 h 123825"/>
                  <a:gd name="connsiteX177" fmla="*/ 137065 w 333375"/>
                  <a:gd name="connsiteY177" fmla="*/ 30290 h 123825"/>
                  <a:gd name="connsiteX178" fmla="*/ 136207 w 333375"/>
                  <a:gd name="connsiteY178" fmla="*/ 30290 h 123825"/>
                  <a:gd name="connsiteX179" fmla="*/ 136207 w 333375"/>
                  <a:gd name="connsiteY179" fmla="*/ 29432 h 123825"/>
                  <a:gd name="connsiteX180" fmla="*/ 137065 w 333375"/>
                  <a:gd name="connsiteY180" fmla="*/ 26099 h 123825"/>
                  <a:gd name="connsiteX181" fmla="*/ 137065 w 333375"/>
                  <a:gd name="connsiteY181" fmla="*/ 24384 h 123825"/>
                  <a:gd name="connsiteX182" fmla="*/ 136207 w 333375"/>
                  <a:gd name="connsiteY182" fmla="*/ 22670 h 123825"/>
                  <a:gd name="connsiteX183" fmla="*/ 136207 w 333375"/>
                  <a:gd name="connsiteY183" fmla="*/ 21812 h 123825"/>
                  <a:gd name="connsiteX184" fmla="*/ 135350 w 333375"/>
                  <a:gd name="connsiteY184" fmla="*/ 21050 h 123825"/>
                  <a:gd name="connsiteX185" fmla="*/ 133636 w 333375"/>
                  <a:gd name="connsiteY185" fmla="*/ 21050 h 123825"/>
                  <a:gd name="connsiteX186" fmla="*/ 132779 w 333375"/>
                  <a:gd name="connsiteY186" fmla="*/ 20193 h 123825"/>
                  <a:gd name="connsiteX187" fmla="*/ 131921 w 333375"/>
                  <a:gd name="connsiteY187" fmla="*/ 20193 h 123825"/>
                  <a:gd name="connsiteX188" fmla="*/ 131159 w 333375"/>
                  <a:gd name="connsiteY188" fmla="*/ 18479 h 123825"/>
                  <a:gd name="connsiteX189" fmla="*/ 130302 w 333375"/>
                  <a:gd name="connsiteY189" fmla="*/ 17621 h 123825"/>
                  <a:gd name="connsiteX190" fmla="*/ 129445 w 333375"/>
                  <a:gd name="connsiteY190" fmla="*/ 17621 h 123825"/>
                  <a:gd name="connsiteX191" fmla="*/ 125158 w 333375"/>
                  <a:gd name="connsiteY191" fmla="*/ 17621 h 123825"/>
                  <a:gd name="connsiteX192" fmla="*/ 121729 w 333375"/>
                  <a:gd name="connsiteY192" fmla="*/ 16764 h 123825"/>
                  <a:gd name="connsiteX193" fmla="*/ 118300 w 333375"/>
                  <a:gd name="connsiteY193" fmla="*/ 16764 h 123825"/>
                  <a:gd name="connsiteX194" fmla="*/ 114110 w 333375"/>
                  <a:gd name="connsiteY194" fmla="*/ 16764 h 123825"/>
                  <a:gd name="connsiteX195" fmla="*/ 113252 w 333375"/>
                  <a:gd name="connsiteY195" fmla="*/ 17621 h 123825"/>
                  <a:gd name="connsiteX196" fmla="*/ 109823 w 333375"/>
                  <a:gd name="connsiteY196" fmla="*/ 19336 h 123825"/>
                  <a:gd name="connsiteX197" fmla="*/ 108966 w 333375"/>
                  <a:gd name="connsiteY197" fmla="*/ 19336 h 123825"/>
                  <a:gd name="connsiteX198" fmla="*/ 108109 w 333375"/>
                  <a:gd name="connsiteY198" fmla="*/ 19336 h 123825"/>
                  <a:gd name="connsiteX199" fmla="*/ 108109 w 333375"/>
                  <a:gd name="connsiteY199" fmla="*/ 18479 h 123825"/>
                  <a:gd name="connsiteX200" fmla="*/ 108109 w 333375"/>
                  <a:gd name="connsiteY200" fmla="*/ 15907 h 123825"/>
                  <a:gd name="connsiteX201" fmla="*/ 107252 w 333375"/>
                  <a:gd name="connsiteY201" fmla="*/ 15907 h 123825"/>
                  <a:gd name="connsiteX202" fmla="*/ 107252 w 333375"/>
                  <a:gd name="connsiteY202" fmla="*/ 15145 h 123825"/>
                  <a:gd name="connsiteX203" fmla="*/ 105537 w 333375"/>
                  <a:gd name="connsiteY203" fmla="*/ 15145 h 123825"/>
                  <a:gd name="connsiteX204" fmla="*/ 98774 w 333375"/>
                  <a:gd name="connsiteY204" fmla="*/ 16764 h 123825"/>
                  <a:gd name="connsiteX205" fmla="*/ 96203 w 333375"/>
                  <a:gd name="connsiteY205" fmla="*/ 17621 h 123825"/>
                  <a:gd name="connsiteX206" fmla="*/ 93631 w 333375"/>
                  <a:gd name="connsiteY206" fmla="*/ 19336 h 123825"/>
                  <a:gd name="connsiteX207" fmla="*/ 92773 w 333375"/>
                  <a:gd name="connsiteY207" fmla="*/ 18479 h 123825"/>
                  <a:gd name="connsiteX208" fmla="*/ 92773 w 333375"/>
                  <a:gd name="connsiteY208" fmla="*/ 17621 h 123825"/>
                  <a:gd name="connsiteX209" fmla="*/ 92773 w 333375"/>
                  <a:gd name="connsiteY209" fmla="*/ 16764 h 123825"/>
                  <a:gd name="connsiteX210" fmla="*/ 92773 w 333375"/>
                  <a:gd name="connsiteY210" fmla="*/ 15907 h 123825"/>
                  <a:gd name="connsiteX211" fmla="*/ 91916 w 333375"/>
                  <a:gd name="connsiteY211" fmla="*/ 15145 h 123825"/>
                  <a:gd name="connsiteX212" fmla="*/ 91059 w 333375"/>
                  <a:gd name="connsiteY212" fmla="*/ 14288 h 123825"/>
                  <a:gd name="connsiteX213" fmla="*/ 90297 w 333375"/>
                  <a:gd name="connsiteY213" fmla="*/ 14288 h 123825"/>
                  <a:gd name="connsiteX214" fmla="*/ 89440 w 333375"/>
                  <a:gd name="connsiteY214" fmla="*/ 14288 h 123825"/>
                  <a:gd name="connsiteX215" fmla="*/ 88582 w 333375"/>
                  <a:gd name="connsiteY215" fmla="*/ 15907 h 123825"/>
                  <a:gd name="connsiteX216" fmla="*/ 88582 w 333375"/>
                  <a:gd name="connsiteY216" fmla="*/ 16764 h 123825"/>
                  <a:gd name="connsiteX217" fmla="*/ 86868 w 333375"/>
                  <a:gd name="connsiteY217" fmla="*/ 18479 h 123825"/>
                  <a:gd name="connsiteX218" fmla="*/ 82582 w 333375"/>
                  <a:gd name="connsiteY218" fmla="*/ 21050 h 123825"/>
                  <a:gd name="connsiteX219" fmla="*/ 81724 w 333375"/>
                  <a:gd name="connsiteY219" fmla="*/ 21050 h 123825"/>
                  <a:gd name="connsiteX220" fmla="*/ 80867 w 333375"/>
                  <a:gd name="connsiteY220" fmla="*/ 21050 h 123825"/>
                  <a:gd name="connsiteX221" fmla="*/ 80867 w 333375"/>
                  <a:gd name="connsiteY221" fmla="*/ 21050 h 123825"/>
                  <a:gd name="connsiteX222" fmla="*/ 81724 w 333375"/>
                  <a:gd name="connsiteY222" fmla="*/ 20193 h 123825"/>
                  <a:gd name="connsiteX223" fmla="*/ 82582 w 333375"/>
                  <a:gd name="connsiteY223" fmla="*/ 18479 h 123825"/>
                  <a:gd name="connsiteX224" fmla="*/ 83439 w 333375"/>
                  <a:gd name="connsiteY224" fmla="*/ 16764 h 123825"/>
                  <a:gd name="connsiteX225" fmla="*/ 83439 w 333375"/>
                  <a:gd name="connsiteY225" fmla="*/ 15145 h 123825"/>
                  <a:gd name="connsiteX226" fmla="*/ 83439 w 333375"/>
                  <a:gd name="connsiteY226" fmla="*/ 13430 h 123825"/>
                  <a:gd name="connsiteX227" fmla="*/ 82582 w 333375"/>
                  <a:gd name="connsiteY227" fmla="*/ 12573 h 123825"/>
                  <a:gd name="connsiteX228" fmla="*/ 79153 w 333375"/>
                  <a:gd name="connsiteY228" fmla="*/ 10859 h 123825"/>
                  <a:gd name="connsiteX229" fmla="*/ 77438 w 333375"/>
                  <a:gd name="connsiteY229" fmla="*/ 9239 h 123825"/>
                  <a:gd name="connsiteX230" fmla="*/ 75819 w 333375"/>
                  <a:gd name="connsiteY230" fmla="*/ 9239 h 123825"/>
                  <a:gd name="connsiteX231" fmla="*/ 74962 w 333375"/>
                  <a:gd name="connsiteY231" fmla="*/ 9239 h 123825"/>
                  <a:gd name="connsiteX232" fmla="*/ 74104 w 333375"/>
                  <a:gd name="connsiteY232" fmla="*/ 9239 h 123825"/>
                  <a:gd name="connsiteX233" fmla="*/ 72390 w 333375"/>
                  <a:gd name="connsiteY233" fmla="*/ 9239 h 123825"/>
                  <a:gd name="connsiteX234" fmla="*/ 66389 w 333375"/>
                  <a:gd name="connsiteY234" fmla="*/ 8382 h 123825"/>
                  <a:gd name="connsiteX235" fmla="*/ 64675 w 333375"/>
                  <a:gd name="connsiteY235" fmla="*/ 8382 h 123825"/>
                  <a:gd name="connsiteX236" fmla="*/ 63817 w 333375"/>
                  <a:gd name="connsiteY236" fmla="*/ 9239 h 123825"/>
                  <a:gd name="connsiteX237" fmla="*/ 62198 w 333375"/>
                  <a:gd name="connsiteY237" fmla="*/ 10097 h 123825"/>
                  <a:gd name="connsiteX238" fmla="*/ 59627 w 333375"/>
                  <a:gd name="connsiteY238" fmla="*/ 11716 h 123825"/>
                  <a:gd name="connsiteX239" fmla="*/ 58769 w 333375"/>
                  <a:gd name="connsiteY239" fmla="*/ 11716 h 123825"/>
                  <a:gd name="connsiteX240" fmla="*/ 57912 w 333375"/>
                  <a:gd name="connsiteY240" fmla="*/ 12573 h 123825"/>
                  <a:gd name="connsiteX241" fmla="*/ 55340 w 333375"/>
                  <a:gd name="connsiteY241" fmla="*/ 12573 h 123825"/>
                  <a:gd name="connsiteX242" fmla="*/ 53626 w 333375"/>
                  <a:gd name="connsiteY242" fmla="*/ 13430 h 123825"/>
                  <a:gd name="connsiteX243" fmla="*/ 46863 w 333375"/>
                  <a:gd name="connsiteY243" fmla="*/ 13430 h 123825"/>
                  <a:gd name="connsiteX244" fmla="*/ 37433 w 333375"/>
                  <a:gd name="connsiteY244" fmla="*/ 15145 h 123825"/>
                  <a:gd name="connsiteX245" fmla="*/ 35719 w 333375"/>
                  <a:gd name="connsiteY245" fmla="*/ 16764 h 123825"/>
                  <a:gd name="connsiteX246" fmla="*/ 34957 w 333375"/>
                  <a:gd name="connsiteY246" fmla="*/ 17621 h 123825"/>
                  <a:gd name="connsiteX247" fmla="*/ 32385 w 333375"/>
                  <a:gd name="connsiteY247" fmla="*/ 20193 h 123825"/>
                  <a:gd name="connsiteX248" fmla="*/ 28956 w 333375"/>
                  <a:gd name="connsiteY248" fmla="*/ 22670 h 123825"/>
                  <a:gd name="connsiteX249" fmla="*/ 27242 w 333375"/>
                  <a:gd name="connsiteY249" fmla="*/ 24384 h 123825"/>
                  <a:gd name="connsiteX250" fmla="*/ 26384 w 333375"/>
                  <a:gd name="connsiteY250" fmla="*/ 25241 h 123825"/>
                  <a:gd name="connsiteX251" fmla="*/ 25527 w 333375"/>
                  <a:gd name="connsiteY251" fmla="*/ 26861 h 123825"/>
                  <a:gd name="connsiteX252" fmla="*/ 24670 w 333375"/>
                  <a:gd name="connsiteY252" fmla="*/ 28575 h 123825"/>
                  <a:gd name="connsiteX253" fmla="*/ 21336 w 333375"/>
                  <a:gd name="connsiteY253" fmla="*/ 31909 h 123825"/>
                  <a:gd name="connsiteX254" fmla="*/ 20479 w 333375"/>
                  <a:gd name="connsiteY254" fmla="*/ 32766 h 123825"/>
                  <a:gd name="connsiteX255" fmla="*/ 19621 w 333375"/>
                  <a:gd name="connsiteY255" fmla="*/ 34481 h 123825"/>
                  <a:gd name="connsiteX256" fmla="*/ 19621 w 333375"/>
                  <a:gd name="connsiteY256" fmla="*/ 36957 h 123825"/>
                  <a:gd name="connsiteX257" fmla="*/ 18764 w 333375"/>
                  <a:gd name="connsiteY257" fmla="*/ 38672 h 123825"/>
                  <a:gd name="connsiteX258" fmla="*/ 18764 w 333375"/>
                  <a:gd name="connsiteY258" fmla="*/ 39529 h 123825"/>
                  <a:gd name="connsiteX259" fmla="*/ 17907 w 333375"/>
                  <a:gd name="connsiteY259" fmla="*/ 40386 h 123825"/>
                  <a:gd name="connsiteX260" fmla="*/ 17050 w 333375"/>
                  <a:gd name="connsiteY260" fmla="*/ 42863 h 123825"/>
                  <a:gd name="connsiteX261" fmla="*/ 16192 w 333375"/>
                  <a:gd name="connsiteY261" fmla="*/ 43720 h 123825"/>
                  <a:gd name="connsiteX262" fmla="*/ 16192 w 333375"/>
                  <a:gd name="connsiteY262" fmla="*/ 45434 h 123825"/>
                  <a:gd name="connsiteX263" fmla="*/ 16192 w 333375"/>
                  <a:gd name="connsiteY263" fmla="*/ 46292 h 123825"/>
                  <a:gd name="connsiteX264" fmla="*/ 16192 w 333375"/>
                  <a:gd name="connsiteY264" fmla="*/ 47911 h 123825"/>
                  <a:gd name="connsiteX265" fmla="*/ 17050 w 333375"/>
                  <a:gd name="connsiteY265" fmla="*/ 51340 h 123825"/>
                  <a:gd name="connsiteX266" fmla="*/ 17050 w 333375"/>
                  <a:gd name="connsiteY266" fmla="*/ 52197 h 123825"/>
                  <a:gd name="connsiteX267" fmla="*/ 17907 w 333375"/>
                  <a:gd name="connsiteY267" fmla="*/ 52959 h 123825"/>
                  <a:gd name="connsiteX268" fmla="*/ 18764 w 333375"/>
                  <a:gd name="connsiteY268" fmla="*/ 54674 h 123825"/>
                  <a:gd name="connsiteX269" fmla="*/ 22098 w 333375"/>
                  <a:gd name="connsiteY269" fmla="*/ 57245 h 123825"/>
                  <a:gd name="connsiteX270" fmla="*/ 22098 w 333375"/>
                  <a:gd name="connsiteY270" fmla="*/ 58007 h 123825"/>
                  <a:gd name="connsiteX271" fmla="*/ 22955 w 333375"/>
                  <a:gd name="connsiteY271" fmla="*/ 58865 h 123825"/>
                  <a:gd name="connsiteX272" fmla="*/ 22955 w 333375"/>
                  <a:gd name="connsiteY272" fmla="*/ 59722 h 123825"/>
                  <a:gd name="connsiteX273" fmla="*/ 22955 w 333375"/>
                  <a:gd name="connsiteY273" fmla="*/ 60579 h 123825"/>
                  <a:gd name="connsiteX274" fmla="*/ 22098 w 333375"/>
                  <a:gd name="connsiteY274" fmla="*/ 61436 h 123825"/>
                  <a:gd name="connsiteX275" fmla="*/ 21336 w 333375"/>
                  <a:gd name="connsiteY275" fmla="*/ 62294 h 123825"/>
                  <a:gd name="connsiteX276" fmla="*/ 20479 w 333375"/>
                  <a:gd name="connsiteY276" fmla="*/ 63056 h 123825"/>
                  <a:gd name="connsiteX277" fmla="*/ 18764 w 333375"/>
                  <a:gd name="connsiteY277" fmla="*/ 63913 h 123825"/>
                  <a:gd name="connsiteX278" fmla="*/ 17050 w 333375"/>
                  <a:gd name="connsiteY278" fmla="*/ 63913 h 123825"/>
                  <a:gd name="connsiteX279" fmla="*/ 13621 w 333375"/>
                  <a:gd name="connsiteY279" fmla="*/ 63913 h 123825"/>
                  <a:gd name="connsiteX280" fmla="*/ 11906 w 333375"/>
                  <a:gd name="connsiteY280" fmla="*/ 64770 h 123825"/>
                  <a:gd name="connsiteX281" fmla="*/ 11049 w 333375"/>
                  <a:gd name="connsiteY281" fmla="*/ 66485 h 123825"/>
                  <a:gd name="connsiteX282" fmla="*/ 11049 w 333375"/>
                  <a:gd name="connsiteY282" fmla="*/ 67342 h 123825"/>
                  <a:gd name="connsiteX283" fmla="*/ 11049 w 333375"/>
                  <a:gd name="connsiteY283" fmla="*/ 71533 h 123825"/>
                  <a:gd name="connsiteX284" fmla="*/ 11049 w 333375"/>
                  <a:gd name="connsiteY284" fmla="*/ 73247 h 123825"/>
                  <a:gd name="connsiteX285" fmla="*/ 10192 w 333375"/>
                  <a:gd name="connsiteY285" fmla="*/ 74009 h 123825"/>
                  <a:gd name="connsiteX286" fmla="*/ 9334 w 333375"/>
                  <a:gd name="connsiteY286" fmla="*/ 74867 h 123825"/>
                  <a:gd name="connsiteX287" fmla="*/ 8477 w 333375"/>
                  <a:gd name="connsiteY287" fmla="*/ 75724 h 123825"/>
                  <a:gd name="connsiteX288" fmla="*/ 4286 w 333375"/>
                  <a:gd name="connsiteY288" fmla="*/ 77438 h 123825"/>
                  <a:gd name="connsiteX289" fmla="*/ 857 w 333375"/>
                  <a:gd name="connsiteY289" fmla="*/ 78296 h 123825"/>
                  <a:gd name="connsiteX290" fmla="*/ 0 w 333375"/>
                  <a:gd name="connsiteY290" fmla="*/ 81629 h 123825"/>
                  <a:gd name="connsiteX291" fmla="*/ 0 w 333375"/>
                  <a:gd name="connsiteY291" fmla="*/ 83344 h 123825"/>
                  <a:gd name="connsiteX292" fmla="*/ 0 w 333375"/>
                  <a:gd name="connsiteY292" fmla="*/ 86678 h 123825"/>
                  <a:gd name="connsiteX293" fmla="*/ 0 w 333375"/>
                  <a:gd name="connsiteY293" fmla="*/ 90011 h 123825"/>
                  <a:gd name="connsiteX294" fmla="*/ 857 w 333375"/>
                  <a:gd name="connsiteY294" fmla="*/ 95060 h 123825"/>
                  <a:gd name="connsiteX295" fmla="*/ 2572 w 333375"/>
                  <a:gd name="connsiteY295" fmla="*/ 96774 h 123825"/>
                  <a:gd name="connsiteX296" fmla="*/ 4286 w 333375"/>
                  <a:gd name="connsiteY296" fmla="*/ 97631 h 123825"/>
                  <a:gd name="connsiteX297" fmla="*/ 7620 w 333375"/>
                  <a:gd name="connsiteY297" fmla="*/ 95917 h 123825"/>
                  <a:gd name="connsiteX298" fmla="*/ 11906 w 333375"/>
                  <a:gd name="connsiteY298" fmla="*/ 95917 h 123825"/>
                  <a:gd name="connsiteX299" fmla="*/ 36576 w 333375"/>
                  <a:gd name="connsiteY299" fmla="*/ 106013 h 123825"/>
                  <a:gd name="connsiteX300" fmla="*/ 54483 w 333375"/>
                  <a:gd name="connsiteY300" fmla="*/ 110204 h 123825"/>
                  <a:gd name="connsiteX301" fmla="*/ 62960 w 333375"/>
                  <a:gd name="connsiteY301" fmla="*/ 113633 h 123825"/>
                  <a:gd name="connsiteX302" fmla="*/ 66389 w 333375"/>
                  <a:gd name="connsiteY302" fmla="*/ 113633 h 123825"/>
                  <a:gd name="connsiteX303" fmla="*/ 78296 w 333375"/>
                  <a:gd name="connsiteY303" fmla="*/ 111062 h 123825"/>
                  <a:gd name="connsiteX304" fmla="*/ 86868 w 333375"/>
                  <a:gd name="connsiteY304" fmla="*/ 111919 h 123825"/>
                  <a:gd name="connsiteX305" fmla="*/ 91059 w 333375"/>
                  <a:gd name="connsiteY305" fmla="*/ 111062 h 123825"/>
                  <a:gd name="connsiteX306" fmla="*/ 93631 w 333375"/>
                  <a:gd name="connsiteY306" fmla="*/ 111062 h 123825"/>
                  <a:gd name="connsiteX307" fmla="*/ 94488 w 333375"/>
                  <a:gd name="connsiteY307" fmla="*/ 111062 h 123825"/>
                  <a:gd name="connsiteX308" fmla="*/ 97060 w 333375"/>
                  <a:gd name="connsiteY308" fmla="*/ 112776 h 123825"/>
                  <a:gd name="connsiteX309" fmla="*/ 100489 w 333375"/>
                  <a:gd name="connsiteY309" fmla="*/ 112776 h 123825"/>
                  <a:gd name="connsiteX310" fmla="*/ 102203 w 333375"/>
                  <a:gd name="connsiteY310" fmla="*/ 112776 h 123825"/>
                  <a:gd name="connsiteX311" fmla="*/ 103061 w 333375"/>
                  <a:gd name="connsiteY311" fmla="*/ 112776 h 123825"/>
                  <a:gd name="connsiteX312" fmla="*/ 103918 w 333375"/>
                  <a:gd name="connsiteY312" fmla="*/ 111062 h 123825"/>
                  <a:gd name="connsiteX313" fmla="*/ 104680 w 333375"/>
                  <a:gd name="connsiteY313" fmla="*/ 111062 h 123825"/>
                  <a:gd name="connsiteX314" fmla="*/ 106394 w 333375"/>
                  <a:gd name="connsiteY314" fmla="*/ 111062 h 123825"/>
                  <a:gd name="connsiteX315" fmla="*/ 107252 w 333375"/>
                  <a:gd name="connsiteY315" fmla="*/ 111919 h 123825"/>
                  <a:gd name="connsiteX316" fmla="*/ 108966 w 333375"/>
                  <a:gd name="connsiteY316" fmla="*/ 113633 h 123825"/>
                  <a:gd name="connsiteX317" fmla="*/ 110680 w 333375"/>
                  <a:gd name="connsiteY317" fmla="*/ 113633 h 123825"/>
                  <a:gd name="connsiteX318" fmla="*/ 114110 w 333375"/>
                  <a:gd name="connsiteY318" fmla="*/ 114491 h 123825"/>
                  <a:gd name="connsiteX319" fmla="*/ 126016 w 333375"/>
                  <a:gd name="connsiteY319" fmla="*/ 112776 h 123825"/>
                  <a:gd name="connsiteX320" fmla="*/ 126873 w 333375"/>
                  <a:gd name="connsiteY320" fmla="*/ 112776 h 123825"/>
                  <a:gd name="connsiteX321" fmla="*/ 130302 w 333375"/>
                  <a:gd name="connsiteY321" fmla="*/ 111062 h 123825"/>
                  <a:gd name="connsiteX322" fmla="*/ 148114 w 333375"/>
                  <a:gd name="connsiteY322" fmla="*/ 108585 h 123825"/>
                  <a:gd name="connsiteX323" fmla="*/ 154972 w 333375"/>
                  <a:gd name="connsiteY323" fmla="*/ 108585 h 123825"/>
                  <a:gd name="connsiteX324" fmla="*/ 155829 w 333375"/>
                  <a:gd name="connsiteY324" fmla="*/ 108585 h 123825"/>
                  <a:gd name="connsiteX325" fmla="*/ 158401 w 333375"/>
                  <a:gd name="connsiteY325" fmla="*/ 106871 h 123825"/>
                  <a:gd name="connsiteX326" fmla="*/ 159258 w 333375"/>
                  <a:gd name="connsiteY326" fmla="*/ 106871 h 123825"/>
                  <a:gd name="connsiteX327" fmla="*/ 165163 w 333375"/>
                  <a:gd name="connsiteY327" fmla="*/ 110204 h 123825"/>
                  <a:gd name="connsiteX328" fmla="*/ 181356 w 333375"/>
                  <a:gd name="connsiteY328" fmla="*/ 114491 h 123825"/>
                  <a:gd name="connsiteX329" fmla="*/ 185642 w 333375"/>
                  <a:gd name="connsiteY329" fmla="*/ 115253 h 123825"/>
                  <a:gd name="connsiteX330" fmla="*/ 186499 w 333375"/>
                  <a:gd name="connsiteY330" fmla="*/ 115253 h 123825"/>
                  <a:gd name="connsiteX331" fmla="*/ 188976 w 333375"/>
                  <a:gd name="connsiteY331" fmla="*/ 114491 h 123825"/>
                  <a:gd name="connsiteX332" fmla="*/ 189833 w 333375"/>
                  <a:gd name="connsiteY332" fmla="*/ 114491 h 123825"/>
                  <a:gd name="connsiteX333" fmla="*/ 191548 w 333375"/>
                  <a:gd name="connsiteY333" fmla="*/ 113633 h 123825"/>
                  <a:gd name="connsiteX334" fmla="*/ 193262 w 333375"/>
                  <a:gd name="connsiteY334" fmla="*/ 112776 h 123825"/>
                  <a:gd name="connsiteX335" fmla="*/ 194120 w 333375"/>
                  <a:gd name="connsiteY335" fmla="*/ 111919 h 123825"/>
                  <a:gd name="connsiteX336" fmla="*/ 195834 w 333375"/>
                  <a:gd name="connsiteY336" fmla="*/ 111919 h 123825"/>
                  <a:gd name="connsiteX337" fmla="*/ 196691 w 333375"/>
                  <a:gd name="connsiteY337" fmla="*/ 112776 h 123825"/>
                  <a:gd name="connsiteX338" fmla="*/ 197548 w 333375"/>
                  <a:gd name="connsiteY338" fmla="*/ 114491 h 123825"/>
                  <a:gd name="connsiteX339" fmla="*/ 199263 w 333375"/>
                  <a:gd name="connsiteY339" fmla="*/ 116110 h 123825"/>
                  <a:gd name="connsiteX340" fmla="*/ 200882 w 333375"/>
                  <a:gd name="connsiteY340" fmla="*/ 116110 h 123825"/>
                  <a:gd name="connsiteX341" fmla="*/ 204311 w 333375"/>
                  <a:gd name="connsiteY341" fmla="*/ 116110 h 123825"/>
                  <a:gd name="connsiteX342" fmla="*/ 206883 w 333375"/>
                  <a:gd name="connsiteY342" fmla="*/ 116110 h 123825"/>
                  <a:gd name="connsiteX343" fmla="*/ 207740 w 333375"/>
                  <a:gd name="connsiteY343" fmla="*/ 115253 h 123825"/>
                  <a:gd name="connsiteX344" fmla="*/ 208597 w 333375"/>
                  <a:gd name="connsiteY344" fmla="*/ 112776 h 123825"/>
                  <a:gd name="connsiteX345" fmla="*/ 209455 w 333375"/>
                  <a:gd name="connsiteY345" fmla="*/ 112776 h 123825"/>
                  <a:gd name="connsiteX346" fmla="*/ 211169 w 333375"/>
                  <a:gd name="connsiteY346" fmla="*/ 113633 h 123825"/>
                  <a:gd name="connsiteX347" fmla="*/ 212027 w 333375"/>
                  <a:gd name="connsiteY347" fmla="*/ 114491 h 123825"/>
                  <a:gd name="connsiteX348" fmla="*/ 212884 w 333375"/>
                  <a:gd name="connsiteY348" fmla="*/ 113633 h 123825"/>
                  <a:gd name="connsiteX349" fmla="*/ 213741 w 333375"/>
                  <a:gd name="connsiteY349" fmla="*/ 111919 h 123825"/>
                  <a:gd name="connsiteX350" fmla="*/ 214503 w 333375"/>
                  <a:gd name="connsiteY350" fmla="*/ 111062 h 123825"/>
                  <a:gd name="connsiteX351" fmla="*/ 216217 w 333375"/>
                  <a:gd name="connsiteY351" fmla="*/ 111062 h 123825"/>
                  <a:gd name="connsiteX352" fmla="*/ 221361 w 333375"/>
                  <a:gd name="connsiteY352" fmla="*/ 111919 h 123825"/>
                  <a:gd name="connsiteX353" fmla="*/ 233267 w 333375"/>
                  <a:gd name="connsiteY353" fmla="*/ 110204 h 123825"/>
                  <a:gd name="connsiteX354" fmla="*/ 239268 w 333375"/>
                  <a:gd name="connsiteY354" fmla="*/ 111062 h 123825"/>
                  <a:gd name="connsiteX355" fmla="*/ 241840 w 333375"/>
                  <a:gd name="connsiteY355" fmla="*/ 110204 h 123825"/>
                  <a:gd name="connsiteX356" fmla="*/ 244316 w 333375"/>
                  <a:gd name="connsiteY356" fmla="*/ 109442 h 123825"/>
                  <a:gd name="connsiteX357" fmla="*/ 247745 w 333375"/>
                  <a:gd name="connsiteY357" fmla="*/ 109442 h 123825"/>
                  <a:gd name="connsiteX358" fmla="*/ 252031 w 333375"/>
                  <a:gd name="connsiteY358" fmla="*/ 110204 h 123825"/>
                  <a:gd name="connsiteX359" fmla="*/ 254603 w 333375"/>
                  <a:gd name="connsiteY359" fmla="*/ 111919 h 123825"/>
                  <a:gd name="connsiteX360" fmla="*/ 255461 w 333375"/>
                  <a:gd name="connsiteY360" fmla="*/ 111919 h 123825"/>
                  <a:gd name="connsiteX361" fmla="*/ 256222 w 333375"/>
                  <a:gd name="connsiteY361" fmla="*/ 113633 h 123825"/>
                  <a:gd name="connsiteX362" fmla="*/ 257080 w 333375"/>
                  <a:gd name="connsiteY362" fmla="*/ 114491 h 123825"/>
                  <a:gd name="connsiteX363" fmla="*/ 257937 w 333375"/>
                  <a:gd name="connsiteY363" fmla="*/ 115253 h 123825"/>
                  <a:gd name="connsiteX364" fmla="*/ 259652 w 333375"/>
                  <a:gd name="connsiteY364" fmla="*/ 115253 h 123825"/>
                  <a:gd name="connsiteX365" fmla="*/ 260509 w 333375"/>
                  <a:gd name="connsiteY365" fmla="*/ 115253 h 123825"/>
                  <a:gd name="connsiteX366" fmla="*/ 261366 w 333375"/>
                  <a:gd name="connsiteY366" fmla="*/ 116110 h 123825"/>
                  <a:gd name="connsiteX367" fmla="*/ 262223 w 333375"/>
                  <a:gd name="connsiteY367" fmla="*/ 115253 h 123825"/>
                  <a:gd name="connsiteX368" fmla="*/ 263080 w 333375"/>
                  <a:gd name="connsiteY368" fmla="*/ 115253 h 123825"/>
                  <a:gd name="connsiteX369" fmla="*/ 263938 w 333375"/>
                  <a:gd name="connsiteY369" fmla="*/ 116110 h 123825"/>
                  <a:gd name="connsiteX370" fmla="*/ 265652 w 333375"/>
                  <a:gd name="connsiteY370" fmla="*/ 118682 h 123825"/>
                  <a:gd name="connsiteX371" fmla="*/ 267367 w 333375"/>
                  <a:gd name="connsiteY371" fmla="*/ 119539 h 123825"/>
                  <a:gd name="connsiteX372" fmla="*/ 269081 w 333375"/>
                  <a:gd name="connsiteY372" fmla="*/ 120396 h 123825"/>
                  <a:gd name="connsiteX373" fmla="*/ 269843 w 333375"/>
                  <a:gd name="connsiteY373" fmla="*/ 121158 h 123825"/>
                  <a:gd name="connsiteX374" fmla="*/ 272415 w 333375"/>
                  <a:gd name="connsiteY374" fmla="*/ 122015 h 123825"/>
                  <a:gd name="connsiteX375" fmla="*/ 278416 w 333375"/>
                  <a:gd name="connsiteY375" fmla="*/ 122873 h 123825"/>
                  <a:gd name="connsiteX376" fmla="*/ 279273 w 333375"/>
                  <a:gd name="connsiteY376" fmla="*/ 122873 h 123825"/>
                  <a:gd name="connsiteX377" fmla="*/ 280988 w 333375"/>
                  <a:gd name="connsiteY377" fmla="*/ 125444 h 123825"/>
                  <a:gd name="connsiteX378" fmla="*/ 283464 w 333375"/>
                  <a:gd name="connsiteY378" fmla="*/ 127064 h 123825"/>
                  <a:gd name="connsiteX379" fmla="*/ 286036 w 333375"/>
                  <a:gd name="connsiteY379" fmla="*/ 128778 h 123825"/>
                  <a:gd name="connsiteX380" fmla="*/ 286893 w 333375"/>
                  <a:gd name="connsiteY380" fmla="*/ 130493 h 123825"/>
                  <a:gd name="connsiteX381" fmla="*/ 289465 w 333375"/>
                  <a:gd name="connsiteY381" fmla="*/ 128778 h 123825"/>
                  <a:gd name="connsiteX382" fmla="*/ 294608 w 333375"/>
                  <a:gd name="connsiteY382" fmla="*/ 122873 h 123825"/>
                  <a:gd name="connsiteX383" fmla="*/ 298799 w 333375"/>
                  <a:gd name="connsiteY383" fmla="*/ 120396 h 123825"/>
                  <a:gd name="connsiteX384" fmla="*/ 300514 w 333375"/>
                  <a:gd name="connsiteY384" fmla="*/ 117824 h 123825"/>
                  <a:gd name="connsiteX385" fmla="*/ 302228 w 333375"/>
                  <a:gd name="connsiteY385" fmla="*/ 116967 h 123825"/>
                  <a:gd name="connsiteX386" fmla="*/ 303086 w 333375"/>
                  <a:gd name="connsiteY386" fmla="*/ 116110 h 123825"/>
                  <a:gd name="connsiteX387" fmla="*/ 304800 w 333375"/>
                  <a:gd name="connsiteY387" fmla="*/ 116110 h 123825"/>
                  <a:gd name="connsiteX388" fmla="*/ 305657 w 333375"/>
                  <a:gd name="connsiteY388" fmla="*/ 116110 h 123825"/>
                  <a:gd name="connsiteX389" fmla="*/ 306514 w 333375"/>
                  <a:gd name="connsiteY389" fmla="*/ 115253 h 123825"/>
                  <a:gd name="connsiteX390" fmla="*/ 306514 w 333375"/>
                  <a:gd name="connsiteY390" fmla="*/ 114491 h 123825"/>
                  <a:gd name="connsiteX391" fmla="*/ 306514 w 333375"/>
                  <a:gd name="connsiteY391" fmla="*/ 113633 h 123825"/>
                  <a:gd name="connsiteX392" fmla="*/ 306514 w 333375"/>
                  <a:gd name="connsiteY392" fmla="*/ 112776 h 123825"/>
                  <a:gd name="connsiteX393" fmla="*/ 309086 w 333375"/>
                  <a:gd name="connsiteY393" fmla="*/ 113633 h 123825"/>
                  <a:gd name="connsiteX394" fmla="*/ 310801 w 333375"/>
                  <a:gd name="connsiteY394" fmla="*/ 113633 h 123825"/>
                  <a:gd name="connsiteX395" fmla="*/ 314992 w 333375"/>
                  <a:gd name="connsiteY395" fmla="*/ 112776 h 123825"/>
                  <a:gd name="connsiteX396" fmla="*/ 315849 w 333375"/>
                  <a:gd name="connsiteY396" fmla="*/ 112776 h 123825"/>
                  <a:gd name="connsiteX397" fmla="*/ 320135 w 333375"/>
                  <a:gd name="connsiteY397" fmla="*/ 108585 h 123825"/>
                  <a:gd name="connsiteX398" fmla="*/ 333756 w 333375"/>
                  <a:gd name="connsiteY398" fmla="*/ 104394 h 123825"/>
                  <a:gd name="connsiteX399" fmla="*/ 334613 w 333375"/>
                  <a:gd name="connsiteY399" fmla="*/ 103537 h 123825"/>
                  <a:gd name="connsiteX400" fmla="*/ 334613 w 333375"/>
                  <a:gd name="connsiteY400" fmla="*/ 102680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</a:cxnLst>
                <a:rect l="l" t="t" r="r" b="b"/>
                <a:pathLst>
                  <a:path w="333375" h="123825">
                    <a:moveTo>
                      <a:pt x="334613" y="102680"/>
                    </a:moveTo>
                    <a:lnTo>
                      <a:pt x="332899" y="100965"/>
                    </a:lnTo>
                    <a:lnTo>
                      <a:pt x="332041" y="100108"/>
                    </a:lnTo>
                    <a:lnTo>
                      <a:pt x="332041" y="99346"/>
                    </a:lnTo>
                    <a:lnTo>
                      <a:pt x="332041" y="98489"/>
                    </a:lnTo>
                    <a:lnTo>
                      <a:pt x="332041" y="98489"/>
                    </a:lnTo>
                    <a:lnTo>
                      <a:pt x="331184" y="97631"/>
                    </a:lnTo>
                    <a:lnTo>
                      <a:pt x="331184" y="95917"/>
                    </a:lnTo>
                    <a:lnTo>
                      <a:pt x="332041" y="95060"/>
                    </a:lnTo>
                    <a:lnTo>
                      <a:pt x="332899" y="93440"/>
                    </a:lnTo>
                    <a:lnTo>
                      <a:pt x="332899" y="91726"/>
                    </a:lnTo>
                    <a:lnTo>
                      <a:pt x="332899" y="90869"/>
                    </a:lnTo>
                    <a:lnTo>
                      <a:pt x="332041" y="89154"/>
                    </a:lnTo>
                    <a:lnTo>
                      <a:pt x="331184" y="88392"/>
                    </a:lnTo>
                    <a:lnTo>
                      <a:pt x="329470" y="87535"/>
                    </a:lnTo>
                    <a:lnTo>
                      <a:pt x="327755" y="85820"/>
                    </a:lnTo>
                    <a:lnTo>
                      <a:pt x="326898" y="84106"/>
                    </a:lnTo>
                    <a:lnTo>
                      <a:pt x="321850" y="79915"/>
                    </a:lnTo>
                    <a:lnTo>
                      <a:pt x="320992" y="79058"/>
                    </a:lnTo>
                    <a:lnTo>
                      <a:pt x="320135" y="79058"/>
                    </a:lnTo>
                    <a:lnTo>
                      <a:pt x="318421" y="78296"/>
                    </a:lnTo>
                    <a:lnTo>
                      <a:pt x="314992" y="77438"/>
                    </a:lnTo>
                    <a:lnTo>
                      <a:pt x="314135" y="76581"/>
                    </a:lnTo>
                    <a:lnTo>
                      <a:pt x="313277" y="75724"/>
                    </a:lnTo>
                    <a:lnTo>
                      <a:pt x="313277" y="74867"/>
                    </a:lnTo>
                    <a:lnTo>
                      <a:pt x="312420" y="74009"/>
                    </a:lnTo>
                    <a:lnTo>
                      <a:pt x="309944" y="73247"/>
                    </a:lnTo>
                    <a:lnTo>
                      <a:pt x="309086" y="72390"/>
                    </a:lnTo>
                    <a:lnTo>
                      <a:pt x="309086" y="71533"/>
                    </a:lnTo>
                    <a:lnTo>
                      <a:pt x="309944" y="71533"/>
                    </a:lnTo>
                    <a:lnTo>
                      <a:pt x="311563" y="69818"/>
                    </a:lnTo>
                    <a:lnTo>
                      <a:pt x="314135" y="68199"/>
                    </a:lnTo>
                    <a:lnTo>
                      <a:pt x="314992" y="66485"/>
                    </a:lnTo>
                    <a:lnTo>
                      <a:pt x="315849" y="65627"/>
                    </a:lnTo>
                    <a:lnTo>
                      <a:pt x="316706" y="63913"/>
                    </a:lnTo>
                    <a:lnTo>
                      <a:pt x="317563" y="63056"/>
                    </a:lnTo>
                    <a:lnTo>
                      <a:pt x="318421" y="62294"/>
                    </a:lnTo>
                    <a:lnTo>
                      <a:pt x="319278" y="61436"/>
                    </a:lnTo>
                    <a:lnTo>
                      <a:pt x="319278" y="60579"/>
                    </a:lnTo>
                    <a:lnTo>
                      <a:pt x="320135" y="59722"/>
                    </a:lnTo>
                    <a:lnTo>
                      <a:pt x="320135" y="58007"/>
                    </a:lnTo>
                    <a:lnTo>
                      <a:pt x="319278" y="58007"/>
                    </a:lnTo>
                    <a:lnTo>
                      <a:pt x="318421" y="57245"/>
                    </a:lnTo>
                    <a:lnTo>
                      <a:pt x="317563" y="57245"/>
                    </a:lnTo>
                    <a:lnTo>
                      <a:pt x="316706" y="58007"/>
                    </a:lnTo>
                    <a:lnTo>
                      <a:pt x="315849" y="58865"/>
                    </a:lnTo>
                    <a:lnTo>
                      <a:pt x="313277" y="59722"/>
                    </a:lnTo>
                    <a:lnTo>
                      <a:pt x="312420" y="60579"/>
                    </a:lnTo>
                    <a:lnTo>
                      <a:pt x="311563" y="60579"/>
                    </a:lnTo>
                    <a:lnTo>
                      <a:pt x="310801" y="61436"/>
                    </a:lnTo>
                    <a:lnTo>
                      <a:pt x="310801" y="60579"/>
                    </a:lnTo>
                    <a:lnTo>
                      <a:pt x="310801" y="60579"/>
                    </a:lnTo>
                    <a:lnTo>
                      <a:pt x="309944" y="60579"/>
                    </a:lnTo>
                    <a:lnTo>
                      <a:pt x="302228" y="51340"/>
                    </a:lnTo>
                    <a:lnTo>
                      <a:pt x="297180" y="47149"/>
                    </a:lnTo>
                    <a:lnTo>
                      <a:pt x="292037" y="43720"/>
                    </a:lnTo>
                    <a:lnTo>
                      <a:pt x="290322" y="40386"/>
                    </a:lnTo>
                    <a:lnTo>
                      <a:pt x="288607" y="39529"/>
                    </a:lnTo>
                    <a:lnTo>
                      <a:pt x="286893" y="38672"/>
                    </a:lnTo>
                    <a:lnTo>
                      <a:pt x="285179" y="39529"/>
                    </a:lnTo>
                    <a:lnTo>
                      <a:pt x="283464" y="40386"/>
                    </a:lnTo>
                    <a:lnTo>
                      <a:pt x="281845" y="41243"/>
                    </a:lnTo>
                    <a:lnTo>
                      <a:pt x="280988" y="42863"/>
                    </a:lnTo>
                    <a:lnTo>
                      <a:pt x="279273" y="43720"/>
                    </a:lnTo>
                    <a:lnTo>
                      <a:pt x="274130" y="44577"/>
                    </a:lnTo>
                    <a:lnTo>
                      <a:pt x="269843" y="45434"/>
                    </a:lnTo>
                    <a:lnTo>
                      <a:pt x="267367" y="46292"/>
                    </a:lnTo>
                    <a:lnTo>
                      <a:pt x="264795" y="47911"/>
                    </a:lnTo>
                    <a:lnTo>
                      <a:pt x="263938" y="48768"/>
                    </a:lnTo>
                    <a:lnTo>
                      <a:pt x="263080" y="48768"/>
                    </a:lnTo>
                    <a:lnTo>
                      <a:pt x="263080" y="47911"/>
                    </a:lnTo>
                    <a:lnTo>
                      <a:pt x="263080" y="47149"/>
                    </a:lnTo>
                    <a:lnTo>
                      <a:pt x="263938" y="40386"/>
                    </a:lnTo>
                    <a:lnTo>
                      <a:pt x="263080" y="37814"/>
                    </a:lnTo>
                    <a:lnTo>
                      <a:pt x="263080" y="36195"/>
                    </a:lnTo>
                    <a:lnTo>
                      <a:pt x="263080" y="35338"/>
                    </a:lnTo>
                    <a:lnTo>
                      <a:pt x="262223" y="33623"/>
                    </a:lnTo>
                    <a:lnTo>
                      <a:pt x="263080" y="32766"/>
                    </a:lnTo>
                    <a:lnTo>
                      <a:pt x="264795" y="29432"/>
                    </a:lnTo>
                    <a:lnTo>
                      <a:pt x="266510" y="24384"/>
                    </a:lnTo>
                    <a:lnTo>
                      <a:pt x="268224" y="20193"/>
                    </a:lnTo>
                    <a:lnTo>
                      <a:pt x="268224" y="18479"/>
                    </a:lnTo>
                    <a:lnTo>
                      <a:pt x="267367" y="17621"/>
                    </a:lnTo>
                    <a:lnTo>
                      <a:pt x="264795" y="17621"/>
                    </a:lnTo>
                    <a:lnTo>
                      <a:pt x="263938" y="16764"/>
                    </a:lnTo>
                    <a:lnTo>
                      <a:pt x="263938" y="15907"/>
                    </a:lnTo>
                    <a:lnTo>
                      <a:pt x="263938" y="14288"/>
                    </a:lnTo>
                    <a:lnTo>
                      <a:pt x="263938" y="12573"/>
                    </a:lnTo>
                    <a:lnTo>
                      <a:pt x="263938" y="11716"/>
                    </a:lnTo>
                    <a:lnTo>
                      <a:pt x="264795" y="11716"/>
                    </a:lnTo>
                    <a:lnTo>
                      <a:pt x="273272" y="4191"/>
                    </a:lnTo>
                    <a:lnTo>
                      <a:pt x="274130" y="1619"/>
                    </a:lnTo>
                    <a:lnTo>
                      <a:pt x="274130" y="762"/>
                    </a:lnTo>
                    <a:lnTo>
                      <a:pt x="273272" y="762"/>
                    </a:lnTo>
                    <a:lnTo>
                      <a:pt x="272415" y="0"/>
                    </a:lnTo>
                    <a:lnTo>
                      <a:pt x="262223" y="0"/>
                    </a:lnTo>
                    <a:lnTo>
                      <a:pt x="260509" y="0"/>
                    </a:lnTo>
                    <a:lnTo>
                      <a:pt x="257080" y="1619"/>
                    </a:lnTo>
                    <a:lnTo>
                      <a:pt x="250317" y="3334"/>
                    </a:lnTo>
                    <a:lnTo>
                      <a:pt x="249460" y="3334"/>
                    </a:lnTo>
                    <a:lnTo>
                      <a:pt x="247745" y="3334"/>
                    </a:lnTo>
                    <a:lnTo>
                      <a:pt x="246888" y="3334"/>
                    </a:lnTo>
                    <a:lnTo>
                      <a:pt x="239268" y="5048"/>
                    </a:lnTo>
                    <a:lnTo>
                      <a:pt x="235839" y="5810"/>
                    </a:lnTo>
                    <a:lnTo>
                      <a:pt x="233267" y="5810"/>
                    </a:lnTo>
                    <a:lnTo>
                      <a:pt x="232410" y="5048"/>
                    </a:lnTo>
                    <a:lnTo>
                      <a:pt x="230696" y="4191"/>
                    </a:lnTo>
                    <a:lnTo>
                      <a:pt x="227362" y="762"/>
                    </a:lnTo>
                    <a:lnTo>
                      <a:pt x="224790" y="0"/>
                    </a:lnTo>
                    <a:lnTo>
                      <a:pt x="223075" y="0"/>
                    </a:lnTo>
                    <a:lnTo>
                      <a:pt x="221361" y="762"/>
                    </a:lnTo>
                    <a:lnTo>
                      <a:pt x="217075" y="5048"/>
                    </a:lnTo>
                    <a:lnTo>
                      <a:pt x="216217" y="5810"/>
                    </a:lnTo>
                    <a:lnTo>
                      <a:pt x="215360" y="6668"/>
                    </a:lnTo>
                    <a:lnTo>
                      <a:pt x="215360" y="10097"/>
                    </a:lnTo>
                    <a:lnTo>
                      <a:pt x="214503" y="11716"/>
                    </a:lnTo>
                    <a:lnTo>
                      <a:pt x="212884" y="14288"/>
                    </a:lnTo>
                    <a:lnTo>
                      <a:pt x="212027" y="15907"/>
                    </a:lnTo>
                    <a:lnTo>
                      <a:pt x="210312" y="17621"/>
                    </a:lnTo>
                    <a:lnTo>
                      <a:pt x="207740" y="19336"/>
                    </a:lnTo>
                    <a:lnTo>
                      <a:pt x="206026" y="19336"/>
                    </a:lnTo>
                    <a:lnTo>
                      <a:pt x="204311" y="18479"/>
                    </a:lnTo>
                    <a:lnTo>
                      <a:pt x="203454" y="17621"/>
                    </a:lnTo>
                    <a:lnTo>
                      <a:pt x="203454" y="16764"/>
                    </a:lnTo>
                    <a:lnTo>
                      <a:pt x="203454" y="15145"/>
                    </a:lnTo>
                    <a:lnTo>
                      <a:pt x="204311" y="13430"/>
                    </a:lnTo>
                    <a:lnTo>
                      <a:pt x="205169" y="11716"/>
                    </a:lnTo>
                    <a:lnTo>
                      <a:pt x="205169" y="10859"/>
                    </a:lnTo>
                    <a:lnTo>
                      <a:pt x="205169" y="10097"/>
                    </a:lnTo>
                    <a:lnTo>
                      <a:pt x="205169" y="8382"/>
                    </a:lnTo>
                    <a:lnTo>
                      <a:pt x="204311" y="7525"/>
                    </a:lnTo>
                    <a:lnTo>
                      <a:pt x="202597" y="6668"/>
                    </a:lnTo>
                    <a:lnTo>
                      <a:pt x="200882" y="5810"/>
                    </a:lnTo>
                    <a:lnTo>
                      <a:pt x="199263" y="6668"/>
                    </a:lnTo>
                    <a:lnTo>
                      <a:pt x="198406" y="7525"/>
                    </a:lnTo>
                    <a:lnTo>
                      <a:pt x="196691" y="10859"/>
                    </a:lnTo>
                    <a:lnTo>
                      <a:pt x="196691" y="10859"/>
                    </a:lnTo>
                    <a:lnTo>
                      <a:pt x="194977" y="12573"/>
                    </a:lnTo>
                    <a:lnTo>
                      <a:pt x="193262" y="14288"/>
                    </a:lnTo>
                    <a:lnTo>
                      <a:pt x="191548" y="16764"/>
                    </a:lnTo>
                    <a:lnTo>
                      <a:pt x="188976" y="20193"/>
                    </a:lnTo>
                    <a:lnTo>
                      <a:pt x="188119" y="21050"/>
                    </a:lnTo>
                    <a:lnTo>
                      <a:pt x="186499" y="23527"/>
                    </a:lnTo>
                    <a:lnTo>
                      <a:pt x="185642" y="23527"/>
                    </a:lnTo>
                    <a:lnTo>
                      <a:pt x="186499" y="24384"/>
                    </a:lnTo>
                    <a:lnTo>
                      <a:pt x="187262" y="24384"/>
                    </a:lnTo>
                    <a:lnTo>
                      <a:pt x="188119" y="24384"/>
                    </a:lnTo>
                    <a:lnTo>
                      <a:pt x="188976" y="24384"/>
                    </a:lnTo>
                    <a:lnTo>
                      <a:pt x="191548" y="22670"/>
                    </a:lnTo>
                    <a:lnTo>
                      <a:pt x="192405" y="22670"/>
                    </a:lnTo>
                    <a:lnTo>
                      <a:pt x="192405" y="23527"/>
                    </a:lnTo>
                    <a:lnTo>
                      <a:pt x="191548" y="24384"/>
                    </a:lnTo>
                    <a:lnTo>
                      <a:pt x="185642" y="26861"/>
                    </a:lnTo>
                    <a:lnTo>
                      <a:pt x="179641" y="27718"/>
                    </a:lnTo>
                    <a:lnTo>
                      <a:pt x="173641" y="29432"/>
                    </a:lnTo>
                    <a:lnTo>
                      <a:pt x="171164" y="31147"/>
                    </a:lnTo>
                    <a:lnTo>
                      <a:pt x="169450" y="31909"/>
                    </a:lnTo>
                    <a:lnTo>
                      <a:pt x="168592" y="35338"/>
                    </a:lnTo>
                    <a:lnTo>
                      <a:pt x="163449" y="40386"/>
                    </a:lnTo>
                    <a:lnTo>
                      <a:pt x="160877" y="42005"/>
                    </a:lnTo>
                    <a:lnTo>
                      <a:pt x="159258" y="42863"/>
                    </a:lnTo>
                    <a:lnTo>
                      <a:pt x="158401" y="42863"/>
                    </a:lnTo>
                    <a:lnTo>
                      <a:pt x="156686" y="42863"/>
                    </a:lnTo>
                    <a:lnTo>
                      <a:pt x="155829" y="39529"/>
                    </a:lnTo>
                    <a:lnTo>
                      <a:pt x="154972" y="35338"/>
                    </a:lnTo>
                    <a:lnTo>
                      <a:pt x="154972" y="32766"/>
                    </a:lnTo>
                    <a:lnTo>
                      <a:pt x="154972" y="31147"/>
                    </a:lnTo>
                    <a:lnTo>
                      <a:pt x="155829" y="27718"/>
                    </a:lnTo>
                    <a:lnTo>
                      <a:pt x="154972" y="26099"/>
                    </a:lnTo>
                    <a:lnTo>
                      <a:pt x="153257" y="26099"/>
                    </a:lnTo>
                    <a:lnTo>
                      <a:pt x="143923" y="30290"/>
                    </a:lnTo>
                    <a:lnTo>
                      <a:pt x="142208" y="30290"/>
                    </a:lnTo>
                    <a:lnTo>
                      <a:pt x="141351" y="30290"/>
                    </a:lnTo>
                    <a:lnTo>
                      <a:pt x="141351" y="29432"/>
                    </a:lnTo>
                    <a:lnTo>
                      <a:pt x="140494" y="28575"/>
                    </a:lnTo>
                    <a:lnTo>
                      <a:pt x="140494" y="28575"/>
                    </a:lnTo>
                    <a:lnTo>
                      <a:pt x="138779" y="29432"/>
                    </a:lnTo>
                    <a:lnTo>
                      <a:pt x="137065" y="30290"/>
                    </a:lnTo>
                    <a:lnTo>
                      <a:pt x="136207" y="30290"/>
                    </a:lnTo>
                    <a:lnTo>
                      <a:pt x="136207" y="29432"/>
                    </a:lnTo>
                    <a:lnTo>
                      <a:pt x="137065" y="26099"/>
                    </a:lnTo>
                    <a:lnTo>
                      <a:pt x="137065" y="24384"/>
                    </a:lnTo>
                    <a:lnTo>
                      <a:pt x="136207" y="22670"/>
                    </a:lnTo>
                    <a:lnTo>
                      <a:pt x="136207" y="21812"/>
                    </a:lnTo>
                    <a:lnTo>
                      <a:pt x="135350" y="21050"/>
                    </a:lnTo>
                    <a:lnTo>
                      <a:pt x="133636" y="21050"/>
                    </a:lnTo>
                    <a:lnTo>
                      <a:pt x="132779" y="20193"/>
                    </a:lnTo>
                    <a:lnTo>
                      <a:pt x="131921" y="20193"/>
                    </a:lnTo>
                    <a:lnTo>
                      <a:pt x="131159" y="18479"/>
                    </a:lnTo>
                    <a:lnTo>
                      <a:pt x="130302" y="17621"/>
                    </a:lnTo>
                    <a:lnTo>
                      <a:pt x="129445" y="17621"/>
                    </a:lnTo>
                    <a:lnTo>
                      <a:pt x="125158" y="17621"/>
                    </a:lnTo>
                    <a:lnTo>
                      <a:pt x="121729" y="16764"/>
                    </a:lnTo>
                    <a:lnTo>
                      <a:pt x="118300" y="16764"/>
                    </a:lnTo>
                    <a:lnTo>
                      <a:pt x="114110" y="16764"/>
                    </a:lnTo>
                    <a:lnTo>
                      <a:pt x="113252" y="17621"/>
                    </a:lnTo>
                    <a:lnTo>
                      <a:pt x="109823" y="19336"/>
                    </a:lnTo>
                    <a:lnTo>
                      <a:pt x="108966" y="19336"/>
                    </a:lnTo>
                    <a:lnTo>
                      <a:pt x="108109" y="19336"/>
                    </a:lnTo>
                    <a:lnTo>
                      <a:pt x="108109" y="18479"/>
                    </a:lnTo>
                    <a:lnTo>
                      <a:pt x="108109" y="15907"/>
                    </a:lnTo>
                    <a:lnTo>
                      <a:pt x="107252" y="15907"/>
                    </a:lnTo>
                    <a:lnTo>
                      <a:pt x="107252" y="15145"/>
                    </a:lnTo>
                    <a:lnTo>
                      <a:pt x="105537" y="15145"/>
                    </a:lnTo>
                    <a:lnTo>
                      <a:pt x="98774" y="16764"/>
                    </a:lnTo>
                    <a:lnTo>
                      <a:pt x="96203" y="17621"/>
                    </a:lnTo>
                    <a:lnTo>
                      <a:pt x="93631" y="19336"/>
                    </a:lnTo>
                    <a:lnTo>
                      <a:pt x="92773" y="18479"/>
                    </a:lnTo>
                    <a:lnTo>
                      <a:pt x="92773" y="17621"/>
                    </a:lnTo>
                    <a:lnTo>
                      <a:pt x="92773" y="16764"/>
                    </a:lnTo>
                    <a:lnTo>
                      <a:pt x="92773" y="15907"/>
                    </a:lnTo>
                    <a:lnTo>
                      <a:pt x="91916" y="15145"/>
                    </a:lnTo>
                    <a:lnTo>
                      <a:pt x="91059" y="14288"/>
                    </a:lnTo>
                    <a:lnTo>
                      <a:pt x="90297" y="14288"/>
                    </a:lnTo>
                    <a:lnTo>
                      <a:pt x="89440" y="14288"/>
                    </a:lnTo>
                    <a:lnTo>
                      <a:pt x="88582" y="15907"/>
                    </a:lnTo>
                    <a:lnTo>
                      <a:pt x="88582" y="16764"/>
                    </a:lnTo>
                    <a:lnTo>
                      <a:pt x="86868" y="18479"/>
                    </a:lnTo>
                    <a:lnTo>
                      <a:pt x="82582" y="21050"/>
                    </a:lnTo>
                    <a:lnTo>
                      <a:pt x="81724" y="21050"/>
                    </a:lnTo>
                    <a:lnTo>
                      <a:pt x="80867" y="21050"/>
                    </a:lnTo>
                    <a:lnTo>
                      <a:pt x="80867" y="21050"/>
                    </a:lnTo>
                    <a:lnTo>
                      <a:pt x="81724" y="20193"/>
                    </a:lnTo>
                    <a:lnTo>
                      <a:pt x="82582" y="18479"/>
                    </a:lnTo>
                    <a:lnTo>
                      <a:pt x="83439" y="16764"/>
                    </a:lnTo>
                    <a:lnTo>
                      <a:pt x="83439" y="15145"/>
                    </a:lnTo>
                    <a:lnTo>
                      <a:pt x="83439" y="13430"/>
                    </a:lnTo>
                    <a:lnTo>
                      <a:pt x="82582" y="12573"/>
                    </a:lnTo>
                    <a:lnTo>
                      <a:pt x="79153" y="10859"/>
                    </a:lnTo>
                    <a:lnTo>
                      <a:pt x="77438" y="9239"/>
                    </a:lnTo>
                    <a:lnTo>
                      <a:pt x="75819" y="9239"/>
                    </a:lnTo>
                    <a:lnTo>
                      <a:pt x="74962" y="9239"/>
                    </a:lnTo>
                    <a:lnTo>
                      <a:pt x="74104" y="9239"/>
                    </a:lnTo>
                    <a:lnTo>
                      <a:pt x="72390" y="9239"/>
                    </a:lnTo>
                    <a:lnTo>
                      <a:pt x="66389" y="8382"/>
                    </a:lnTo>
                    <a:lnTo>
                      <a:pt x="64675" y="8382"/>
                    </a:lnTo>
                    <a:lnTo>
                      <a:pt x="63817" y="9239"/>
                    </a:lnTo>
                    <a:lnTo>
                      <a:pt x="62198" y="10097"/>
                    </a:lnTo>
                    <a:lnTo>
                      <a:pt x="59627" y="11716"/>
                    </a:lnTo>
                    <a:lnTo>
                      <a:pt x="58769" y="11716"/>
                    </a:lnTo>
                    <a:lnTo>
                      <a:pt x="57912" y="12573"/>
                    </a:lnTo>
                    <a:lnTo>
                      <a:pt x="55340" y="12573"/>
                    </a:lnTo>
                    <a:lnTo>
                      <a:pt x="53626" y="13430"/>
                    </a:lnTo>
                    <a:lnTo>
                      <a:pt x="46863" y="13430"/>
                    </a:lnTo>
                    <a:lnTo>
                      <a:pt x="37433" y="15145"/>
                    </a:lnTo>
                    <a:lnTo>
                      <a:pt x="35719" y="16764"/>
                    </a:lnTo>
                    <a:lnTo>
                      <a:pt x="34957" y="17621"/>
                    </a:lnTo>
                    <a:lnTo>
                      <a:pt x="32385" y="20193"/>
                    </a:lnTo>
                    <a:lnTo>
                      <a:pt x="28956" y="22670"/>
                    </a:lnTo>
                    <a:lnTo>
                      <a:pt x="27242" y="24384"/>
                    </a:lnTo>
                    <a:lnTo>
                      <a:pt x="26384" y="25241"/>
                    </a:lnTo>
                    <a:lnTo>
                      <a:pt x="25527" y="26861"/>
                    </a:lnTo>
                    <a:lnTo>
                      <a:pt x="24670" y="28575"/>
                    </a:lnTo>
                    <a:lnTo>
                      <a:pt x="21336" y="31909"/>
                    </a:lnTo>
                    <a:lnTo>
                      <a:pt x="20479" y="32766"/>
                    </a:lnTo>
                    <a:lnTo>
                      <a:pt x="19621" y="34481"/>
                    </a:lnTo>
                    <a:lnTo>
                      <a:pt x="19621" y="36957"/>
                    </a:lnTo>
                    <a:lnTo>
                      <a:pt x="18764" y="38672"/>
                    </a:lnTo>
                    <a:lnTo>
                      <a:pt x="18764" y="39529"/>
                    </a:lnTo>
                    <a:lnTo>
                      <a:pt x="17907" y="40386"/>
                    </a:lnTo>
                    <a:lnTo>
                      <a:pt x="17050" y="42863"/>
                    </a:lnTo>
                    <a:lnTo>
                      <a:pt x="16192" y="43720"/>
                    </a:lnTo>
                    <a:lnTo>
                      <a:pt x="16192" y="45434"/>
                    </a:lnTo>
                    <a:lnTo>
                      <a:pt x="16192" y="46292"/>
                    </a:lnTo>
                    <a:lnTo>
                      <a:pt x="16192" y="47911"/>
                    </a:lnTo>
                    <a:lnTo>
                      <a:pt x="17050" y="51340"/>
                    </a:lnTo>
                    <a:lnTo>
                      <a:pt x="17050" y="52197"/>
                    </a:lnTo>
                    <a:lnTo>
                      <a:pt x="17907" y="52959"/>
                    </a:lnTo>
                    <a:lnTo>
                      <a:pt x="18764" y="54674"/>
                    </a:lnTo>
                    <a:lnTo>
                      <a:pt x="22098" y="57245"/>
                    </a:lnTo>
                    <a:lnTo>
                      <a:pt x="22098" y="58007"/>
                    </a:lnTo>
                    <a:lnTo>
                      <a:pt x="22955" y="58865"/>
                    </a:lnTo>
                    <a:lnTo>
                      <a:pt x="22955" y="59722"/>
                    </a:lnTo>
                    <a:lnTo>
                      <a:pt x="22955" y="60579"/>
                    </a:lnTo>
                    <a:lnTo>
                      <a:pt x="22098" y="61436"/>
                    </a:lnTo>
                    <a:lnTo>
                      <a:pt x="21336" y="62294"/>
                    </a:lnTo>
                    <a:lnTo>
                      <a:pt x="20479" y="63056"/>
                    </a:lnTo>
                    <a:lnTo>
                      <a:pt x="18764" y="63913"/>
                    </a:lnTo>
                    <a:lnTo>
                      <a:pt x="17050" y="63913"/>
                    </a:lnTo>
                    <a:lnTo>
                      <a:pt x="13621" y="63913"/>
                    </a:lnTo>
                    <a:lnTo>
                      <a:pt x="11906" y="64770"/>
                    </a:lnTo>
                    <a:lnTo>
                      <a:pt x="11049" y="66485"/>
                    </a:lnTo>
                    <a:lnTo>
                      <a:pt x="11049" y="67342"/>
                    </a:lnTo>
                    <a:lnTo>
                      <a:pt x="11049" y="71533"/>
                    </a:lnTo>
                    <a:lnTo>
                      <a:pt x="11049" y="73247"/>
                    </a:lnTo>
                    <a:lnTo>
                      <a:pt x="10192" y="74009"/>
                    </a:lnTo>
                    <a:lnTo>
                      <a:pt x="9334" y="74867"/>
                    </a:lnTo>
                    <a:lnTo>
                      <a:pt x="8477" y="75724"/>
                    </a:lnTo>
                    <a:lnTo>
                      <a:pt x="4286" y="77438"/>
                    </a:lnTo>
                    <a:lnTo>
                      <a:pt x="857" y="78296"/>
                    </a:lnTo>
                    <a:lnTo>
                      <a:pt x="0" y="81629"/>
                    </a:lnTo>
                    <a:lnTo>
                      <a:pt x="0" y="83344"/>
                    </a:lnTo>
                    <a:lnTo>
                      <a:pt x="0" y="86678"/>
                    </a:lnTo>
                    <a:lnTo>
                      <a:pt x="0" y="90011"/>
                    </a:lnTo>
                    <a:lnTo>
                      <a:pt x="857" y="95060"/>
                    </a:lnTo>
                    <a:lnTo>
                      <a:pt x="2572" y="96774"/>
                    </a:lnTo>
                    <a:lnTo>
                      <a:pt x="4286" y="97631"/>
                    </a:lnTo>
                    <a:lnTo>
                      <a:pt x="7620" y="95917"/>
                    </a:lnTo>
                    <a:lnTo>
                      <a:pt x="11906" y="95917"/>
                    </a:lnTo>
                    <a:lnTo>
                      <a:pt x="36576" y="106013"/>
                    </a:lnTo>
                    <a:lnTo>
                      <a:pt x="54483" y="110204"/>
                    </a:lnTo>
                    <a:lnTo>
                      <a:pt x="62960" y="113633"/>
                    </a:lnTo>
                    <a:lnTo>
                      <a:pt x="66389" y="113633"/>
                    </a:lnTo>
                    <a:lnTo>
                      <a:pt x="78296" y="111062"/>
                    </a:lnTo>
                    <a:lnTo>
                      <a:pt x="86868" y="111919"/>
                    </a:lnTo>
                    <a:lnTo>
                      <a:pt x="91059" y="111062"/>
                    </a:lnTo>
                    <a:lnTo>
                      <a:pt x="93631" y="111062"/>
                    </a:lnTo>
                    <a:lnTo>
                      <a:pt x="94488" y="111062"/>
                    </a:lnTo>
                    <a:lnTo>
                      <a:pt x="97060" y="112776"/>
                    </a:lnTo>
                    <a:lnTo>
                      <a:pt x="100489" y="112776"/>
                    </a:lnTo>
                    <a:lnTo>
                      <a:pt x="102203" y="112776"/>
                    </a:lnTo>
                    <a:lnTo>
                      <a:pt x="103061" y="112776"/>
                    </a:lnTo>
                    <a:lnTo>
                      <a:pt x="103918" y="111062"/>
                    </a:lnTo>
                    <a:lnTo>
                      <a:pt x="104680" y="111062"/>
                    </a:lnTo>
                    <a:lnTo>
                      <a:pt x="106394" y="111062"/>
                    </a:lnTo>
                    <a:lnTo>
                      <a:pt x="107252" y="111919"/>
                    </a:lnTo>
                    <a:lnTo>
                      <a:pt x="108966" y="113633"/>
                    </a:lnTo>
                    <a:lnTo>
                      <a:pt x="110680" y="113633"/>
                    </a:lnTo>
                    <a:lnTo>
                      <a:pt x="114110" y="114491"/>
                    </a:lnTo>
                    <a:lnTo>
                      <a:pt x="126016" y="112776"/>
                    </a:lnTo>
                    <a:lnTo>
                      <a:pt x="126873" y="112776"/>
                    </a:lnTo>
                    <a:lnTo>
                      <a:pt x="130302" y="111062"/>
                    </a:lnTo>
                    <a:lnTo>
                      <a:pt x="148114" y="108585"/>
                    </a:lnTo>
                    <a:lnTo>
                      <a:pt x="154972" y="108585"/>
                    </a:lnTo>
                    <a:lnTo>
                      <a:pt x="155829" y="108585"/>
                    </a:lnTo>
                    <a:lnTo>
                      <a:pt x="158401" y="106871"/>
                    </a:lnTo>
                    <a:lnTo>
                      <a:pt x="159258" y="106871"/>
                    </a:lnTo>
                    <a:lnTo>
                      <a:pt x="165163" y="110204"/>
                    </a:lnTo>
                    <a:lnTo>
                      <a:pt x="181356" y="114491"/>
                    </a:lnTo>
                    <a:lnTo>
                      <a:pt x="185642" y="115253"/>
                    </a:lnTo>
                    <a:lnTo>
                      <a:pt x="186499" y="115253"/>
                    </a:lnTo>
                    <a:lnTo>
                      <a:pt x="188976" y="114491"/>
                    </a:lnTo>
                    <a:lnTo>
                      <a:pt x="189833" y="114491"/>
                    </a:lnTo>
                    <a:lnTo>
                      <a:pt x="191548" y="113633"/>
                    </a:lnTo>
                    <a:lnTo>
                      <a:pt x="193262" y="112776"/>
                    </a:lnTo>
                    <a:lnTo>
                      <a:pt x="194120" y="111919"/>
                    </a:lnTo>
                    <a:lnTo>
                      <a:pt x="195834" y="111919"/>
                    </a:lnTo>
                    <a:lnTo>
                      <a:pt x="196691" y="112776"/>
                    </a:lnTo>
                    <a:lnTo>
                      <a:pt x="197548" y="114491"/>
                    </a:lnTo>
                    <a:lnTo>
                      <a:pt x="199263" y="116110"/>
                    </a:lnTo>
                    <a:lnTo>
                      <a:pt x="200882" y="116110"/>
                    </a:lnTo>
                    <a:lnTo>
                      <a:pt x="204311" y="116110"/>
                    </a:lnTo>
                    <a:lnTo>
                      <a:pt x="206883" y="116110"/>
                    </a:lnTo>
                    <a:lnTo>
                      <a:pt x="207740" y="115253"/>
                    </a:lnTo>
                    <a:lnTo>
                      <a:pt x="208597" y="112776"/>
                    </a:lnTo>
                    <a:lnTo>
                      <a:pt x="209455" y="112776"/>
                    </a:lnTo>
                    <a:lnTo>
                      <a:pt x="211169" y="113633"/>
                    </a:lnTo>
                    <a:lnTo>
                      <a:pt x="212027" y="114491"/>
                    </a:lnTo>
                    <a:lnTo>
                      <a:pt x="212884" y="113633"/>
                    </a:lnTo>
                    <a:lnTo>
                      <a:pt x="213741" y="111919"/>
                    </a:lnTo>
                    <a:lnTo>
                      <a:pt x="214503" y="111062"/>
                    </a:lnTo>
                    <a:lnTo>
                      <a:pt x="216217" y="111062"/>
                    </a:lnTo>
                    <a:lnTo>
                      <a:pt x="221361" y="111919"/>
                    </a:lnTo>
                    <a:lnTo>
                      <a:pt x="233267" y="110204"/>
                    </a:lnTo>
                    <a:lnTo>
                      <a:pt x="239268" y="111062"/>
                    </a:lnTo>
                    <a:lnTo>
                      <a:pt x="241840" y="110204"/>
                    </a:lnTo>
                    <a:lnTo>
                      <a:pt x="244316" y="109442"/>
                    </a:lnTo>
                    <a:lnTo>
                      <a:pt x="247745" y="109442"/>
                    </a:lnTo>
                    <a:lnTo>
                      <a:pt x="252031" y="110204"/>
                    </a:lnTo>
                    <a:lnTo>
                      <a:pt x="254603" y="111919"/>
                    </a:lnTo>
                    <a:lnTo>
                      <a:pt x="255461" y="111919"/>
                    </a:lnTo>
                    <a:lnTo>
                      <a:pt x="256222" y="113633"/>
                    </a:lnTo>
                    <a:lnTo>
                      <a:pt x="257080" y="114491"/>
                    </a:lnTo>
                    <a:lnTo>
                      <a:pt x="257937" y="115253"/>
                    </a:lnTo>
                    <a:lnTo>
                      <a:pt x="259652" y="115253"/>
                    </a:lnTo>
                    <a:lnTo>
                      <a:pt x="260509" y="115253"/>
                    </a:lnTo>
                    <a:lnTo>
                      <a:pt x="261366" y="116110"/>
                    </a:lnTo>
                    <a:lnTo>
                      <a:pt x="262223" y="115253"/>
                    </a:lnTo>
                    <a:lnTo>
                      <a:pt x="263080" y="115253"/>
                    </a:lnTo>
                    <a:lnTo>
                      <a:pt x="263938" y="116110"/>
                    </a:lnTo>
                    <a:lnTo>
                      <a:pt x="265652" y="118682"/>
                    </a:lnTo>
                    <a:lnTo>
                      <a:pt x="267367" y="119539"/>
                    </a:lnTo>
                    <a:lnTo>
                      <a:pt x="269081" y="120396"/>
                    </a:lnTo>
                    <a:lnTo>
                      <a:pt x="269843" y="121158"/>
                    </a:lnTo>
                    <a:lnTo>
                      <a:pt x="272415" y="122015"/>
                    </a:lnTo>
                    <a:lnTo>
                      <a:pt x="278416" y="122873"/>
                    </a:lnTo>
                    <a:lnTo>
                      <a:pt x="279273" y="122873"/>
                    </a:lnTo>
                    <a:lnTo>
                      <a:pt x="280988" y="125444"/>
                    </a:lnTo>
                    <a:lnTo>
                      <a:pt x="283464" y="127064"/>
                    </a:lnTo>
                    <a:lnTo>
                      <a:pt x="286036" y="128778"/>
                    </a:lnTo>
                    <a:lnTo>
                      <a:pt x="286893" y="130493"/>
                    </a:lnTo>
                    <a:lnTo>
                      <a:pt x="289465" y="128778"/>
                    </a:lnTo>
                    <a:lnTo>
                      <a:pt x="294608" y="122873"/>
                    </a:lnTo>
                    <a:lnTo>
                      <a:pt x="298799" y="120396"/>
                    </a:lnTo>
                    <a:lnTo>
                      <a:pt x="300514" y="117824"/>
                    </a:lnTo>
                    <a:lnTo>
                      <a:pt x="302228" y="116967"/>
                    </a:lnTo>
                    <a:lnTo>
                      <a:pt x="303086" y="116110"/>
                    </a:lnTo>
                    <a:lnTo>
                      <a:pt x="304800" y="116110"/>
                    </a:lnTo>
                    <a:lnTo>
                      <a:pt x="305657" y="116110"/>
                    </a:lnTo>
                    <a:lnTo>
                      <a:pt x="306514" y="115253"/>
                    </a:lnTo>
                    <a:lnTo>
                      <a:pt x="306514" y="114491"/>
                    </a:lnTo>
                    <a:lnTo>
                      <a:pt x="306514" y="113633"/>
                    </a:lnTo>
                    <a:lnTo>
                      <a:pt x="306514" y="112776"/>
                    </a:lnTo>
                    <a:lnTo>
                      <a:pt x="309086" y="113633"/>
                    </a:lnTo>
                    <a:lnTo>
                      <a:pt x="310801" y="113633"/>
                    </a:lnTo>
                    <a:lnTo>
                      <a:pt x="314992" y="112776"/>
                    </a:lnTo>
                    <a:lnTo>
                      <a:pt x="315849" y="112776"/>
                    </a:lnTo>
                    <a:lnTo>
                      <a:pt x="320135" y="108585"/>
                    </a:lnTo>
                    <a:lnTo>
                      <a:pt x="333756" y="104394"/>
                    </a:lnTo>
                    <a:lnTo>
                      <a:pt x="334613" y="103537"/>
                    </a:lnTo>
                    <a:lnTo>
                      <a:pt x="334613" y="102680"/>
                    </a:lnTo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38" name="Freeform: Shape 142">
                <a:extLst>
                  <a:ext uri="{FF2B5EF4-FFF2-40B4-BE49-F238E27FC236}">
                    <a16:creationId xmlns:a16="http://schemas.microsoft.com/office/drawing/2014/main" id="{EA63C641-2C5C-48D0-BD3F-5C6DEBA4F548}"/>
                  </a:ext>
                </a:extLst>
              </p:cNvPr>
              <p:cNvSpPr/>
              <p:nvPr/>
            </p:nvSpPr>
            <p:spPr>
              <a:xfrm>
                <a:off x="7223378" y="3066193"/>
                <a:ext cx="190500" cy="219075"/>
              </a:xfrm>
              <a:custGeom>
                <a:avLst/>
                <a:gdLst>
                  <a:gd name="connsiteX0" fmla="*/ 190405 w 190500"/>
                  <a:gd name="connsiteY0" fmla="*/ 69151 h 219075"/>
                  <a:gd name="connsiteX1" fmla="*/ 187833 w 190500"/>
                  <a:gd name="connsiteY1" fmla="*/ 65722 h 219075"/>
                  <a:gd name="connsiteX2" fmla="*/ 184500 w 190500"/>
                  <a:gd name="connsiteY2" fmla="*/ 64103 h 219075"/>
                  <a:gd name="connsiteX3" fmla="*/ 179451 w 190500"/>
                  <a:gd name="connsiteY3" fmla="*/ 63246 h 219075"/>
                  <a:gd name="connsiteX4" fmla="*/ 176022 w 190500"/>
                  <a:gd name="connsiteY4" fmla="*/ 61531 h 219075"/>
                  <a:gd name="connsiteX5" fmla="*/ 173546 w 190500"/>
                  <a:gd name="connsiteY5" fmla="*/ 58198 h 219075"/>
                  <a:gd name="connsiteX6" fmla="*/ 172688 w 190500"/>
                  <a:gd name="connsiteY6" fmla="*/ 53054 h 219075"/>
                  <a:gd name="connsiteX7" fmla="*/ 179451 w 190500"/>
                  <a:gd name="connsiteY7" fmla="*/ 35433 h 219075"/>
                  <a:gd name="connsiteX8" fmla="*/ 181928 w 190500"/>
                  <a:gd name="connsiteY8" fmla="*/ 31147 h 219075"/>
                  <a:gd name="connsiteX9" fmla="*/ 183642 w 190500"/>
                  <a:gd name="connsiteY9" fmla="*/ 28670 h 219075"/>
                  <a:gd name="connsiteX10" fmla="*/ 183642 w 190500"/>
                  <a:gd name="connsiteY10" fmla="*/ 28670 h 219075"/>
                  <a:gd name="connsiteX11" fmla="*/ 180308 w 190500"/>
                  <a:gd name="connsiteY11" fmla="*/ 27813 h 219075"/>
                  <a:gd name="connsiteX12" fmla="*/ 178594 w 190500"/>
                  <a:gd name="connsiteY12" fmla="*/ 26956 h 219075"/>
                  <a:gd name="connsiteX13" fmla="*/ 173546 w 190500"/>
                  <a:gd name="connsiteY13" fmla="*/ 23622 h 219075"/>
                  <a:gd name="connsiteX14" fmla="*/ 171831 w 190500"/>
                  <a:gd name="connsiteY14" fmla="*/ 21908 h 219075"/>
                  <a:gd name="connsiteX15" fmla="*/ 170974 w 190500"/>
                  <a:gd name="connsiteY15" fmla="*/ 21050 h 219075"/>
                  <a:gd name="connsiteX16" fmla="*/ 171831 w 190500"/>
                  <a:gd name="connsiteY16" fmla="*/ 19336 h 219075"/>
                  <a:gd name="connsiteX17" fmla="*/ 173546 w 190500"/>
                  <a:gd name="connsiteY17" fmla="*/ 12573 h 219075"/>
                  <a:gd name="connsiteX18" fmla="*/ 174403 w 190500"/>
                  <a:gd name="connsiteY18" fmla="*/ 10954 h 219075"/>
                  <a:gd name="connsiteX19" fmla="*/ 175260 w 190500"/>
                  <a:gd name="connsiteY19" fmla="*/ 7525 h 219075"/>
                  <a:gd name="connsiteX20" fmla="*/ 175260 w 190500"/>
                  <a:gd name="connsiteY20" fmla="*/ 3334 h 219075"/>
                  <a:gd name="connsiteX21" fmla="*/ 175260 w 190500"/>
                  <a:gd name="connsiteY21" fmla="*/ 1619 h 219075"/>
                  <a:gd name="connsiteX22" fmla="*/ 175260 w 190500"/>
                  <a:gd name="connsiteY22" fmla="*/ 762 h 219075"/>
                  <a:gd name="connsiteX23" fmla="*/ 175260 w 190500"/>
                  <a:gd name="connsiteY23" fmla="*/ 0 h 219075"/>
                  <a:gd name="connsiteX24" fmla="*/ 175260 w 190500"/>
                  <a:gd name="connsiteY24" fmla="*/ 0 h 219075"/>
                  <a:gd name="connsiteX25" fmla="*/ 174403 w 190500"/>
                  <a:gd name="connsiteY25" fmla="*/ 0 h 219075"/>
                  <a:gd name="connsiteX26" fmla="*/ 165926 w 190500"/>
                  <a:gd name="connsiteY26" fmla="*/ 7525 h 219075"/>
                  <a:gd name="connsiteX27" fmla="*/ 165068 w 190500"/>
                  <a:gd name="connsiteY27" fmla="*/ 8382 h 219075"/>
                  <a:gd name="connsiteX28" fmla="*/ 160020 w 190500"/>
                  <a:gd name="connsiteY28" fmla="*/ 10954 h 219075"/>
                  <a:gd name="connsiteX29" fmla="*/ 159258 w 190500"/>
                  <a:gd name="connsiteY29" fmla="*/ 12573 h 219075"/>
                  <a:gd name="connsiteX30" fmla="*/ 156686 w 190500"/>
                  <a:gd name="connsiteY30" fmla="*/ 16002 h 219075"/>
                  <a:gd name="connsiteX31" fmla="*/ 154972 w 190500"/>
                  <a:gd name="connsiteY31" fmla="*/ 17717 h 219075"/>
                  <a:gd name="connsiteX32" fmla="*/ 152495 w 190500"/>
                  <a:gd name="connsiteY32" fmla="*/ 18479 h 219075"/>
                  <a:gd name="connsiteX33" fmla="*/ 148304 w 190500"/>
                  <a:gd name="connsiteY33" fmla="*/ 21050 h 219075"/>
                  <a:gd name="connsiteX34" fmla="*/ 139827 w 190500"/>
                  <a:gd name="connsiteY34" fmla="*/ 22765 h 219075"/>
                  <a:gd name="connsiteX35" fmla="*/ 135636 w 190500"/>
                  <a:gd name="connsiteY35" fmla="*/ 22765 h 219075"/>
                  <a:gd name="connsiteX36" fmla="*/ 133922 w 190500"/>
                  <a:gd name="connsiteY36" fmla="*/ 22765 h 219075"/>
                  <a:gd name="connsiteX37" fmla="*/ 133064 w 190500"/>
                  <a:gd name="connsiteY37" fmla="*/ 22765 h 219075"/>
                  <a:gd name="connsiteX38" fmla="*/ 133064 w 190500"/>
                  <a:gd name="connsiteY38" fmla="*/ 22765 h 219075"/>
                  <a:gd name="connsiteX39" fmla="*/ 132302 w 190500"/>
                  <a:gd name="connsiteY39" fmla="*/ 22765 h 219075"/>
                  <a:gd name="connsiteX40" fmla="*/ 132302 w 190500"/>
                  <a:gd name="connsiteY40" fmla="*/ 21908 h 219075"/>
                  <a:gd name="connsiteX41" fmla="*/ 131445 w 190500"/>
                  <a:gd name="connsiteY41" fmla="*/ 21050 h 219075"/>
                  <a:gd name="connsiteX42" fmla="*/ 130588 w 190500"/>
                  <a:gd name="connsiteY42" fmla="*/ 20193 h 219075"/>
                  <a:gd name="connsiteX43" fmla="*/ 128874 w 190500"/>
                  <a:gd name="connsiteY43" fmla="*/ 20193 h 219075"/>
                  <a:gd name="connsiteX44" fmla="*/ 126397 w 190500"/>
                  <a:gd name="connsiteY44" fmla="*/ 20193 h 219075"/>
                  <a:gd name="connsiteX45" fmla="*/ 124683 w 190500"/>
                  <a:gd name="connsiteY45" fmla="*/ 20193 h 219075"/>
                  <a:gd name="connsiteX46" fmla="*/ 122968 w 190500"/>
                  <a:gd name="connsiteY46" fmla="*/ 20193 h 219075"/>
                  <a:gd name="connsiteX47" fmla="*/ 121349 w 190500"/>
                  <a:gd name="connsiteY47" fmla="*/ 20193 h 219075"/>
                  <a:gd name="connsiteX48" fmla="*/ 120491 w 190500"/>
                  <a:gd name="connsiteY48" fmla="*/ 19336 h 219075"/>
                  <a:gd name="connsiteX49" fmla="*/ 117920 w 190500"/>
                  <a:gd name="connsiteY49" fmla="*/ 16859 h 219075"/>
                  <a:gd name="connsiteX50" fmla="*/ 117062 w 190500"/>
                  <a:gd name="connsiteY50" fmla="*/ 16859 h 219075"/>
                  <a:gd name="connsiteX51" fmla="*/ 115443 w 190500"/>
                  <a:gd name="connsiteY51" fmla="*/ 16002 h 219075"/>
                  <a:gd name="connsiteX52" fmla="*/ 112014 w 190500"/>
                  <a:gd name="connsiteY52" fmla="*/ 16002 h 219075"/>
                  <a:gd name="connsiteX53" fmla="*/ 109538 w 190500"/>
                  <a:gd name="connsiteY53" fmla="*/ 16859 h 219075"/>
                  <a:gd name="connsiteX54" fmla="*/ 104489 w 190500"/>
                  <a:gd name="connsiteY54" fmla="*/ 16002 h 219075"/>
                  <a:gd name="connsiteX55" fmla="*/ 90964 w 190500"/>
                  <a:gd name="connsiteY55" fmla="*/ 16859 h 219075"/>
                  <a:gd name="connsiteX56" fmla="*/ 88487 w 190500"/>
                  <a:gd name="connsiteY56" fmla="*/ 17717 h 219075"/>
                  <a:gd name="connsiteX57" fmla="*/ 87630 w 190500"/>
                  <a:gd name="connsiteY57" fmla="*/ 18479 h 219075"/>
                  <a:gd name="connsiteX58" fmla="*/ 86773 w 190500"/>
                  <a:gd name="connsiteY58" fmla="*/ 19336 h 219075"/>
                  <a:gd name="connsiteX59" fmla="*/ 86773 w 190500"/>
                  <a:gd name="connsiteY59" fmla="*/ 20193 h 219075"/>
                  <a:gd name="connsiteX60" fmla="*/ 85916 w 190500"/>
                  <a:gd name="connsiteY60" fmla="*/ 21908 h 219075"/>
                  <a:gd name="connsiteX61" fmla="*/ 85916 w 190500"/>
                  <a:gd name="connsiteY61" fmla="*/ 22765 h 219075"/>
                  <a:gd name="connsiteX62" fmla="*/ 85916 w 190500"/>
                  <a:gd name="connsiteY62" fmla="*/ 22765 h 219075"/>
                  <a:gd name="connsiteX63" fmla="*/ 85916 w 190500"/>
                  <a:gd name="connsiteY63" fmla="*/ 22765 h 219075"/>
                  <a:gd name="connsiteX64" fmla="*/ 85916 w 190500"/>
                  <a:gd name="connsiteY64" fmla="*/ 22765 h 219075"/>
                  <a:gd name="connsiteX65" fmla="*/ 85916 w 190500"/>
                  <a:gd name="connsiteY65" fmla="*/ 22765 h 219075"/>
                  <a:gd name="connsiteX66" fmla="*/ 90107 w 190500"/>
                  <a:gd name="connsiteY66" fmla="*/ 23622 h 219075"/>
                  <a:gd name="connsiteX67" fmla="*/ 90964 w 190500"/>
                  <a:gd name="connsiteY67" fmla="*/ 24384 h 219075"/>
                  <a:gd name="connsiteX68" fmla="*/ 90964 w 190500"/>
                  <a:gd name="connsiteY68" fmla="*/ 25241 h 219075"/>
                  <a:gd name="connsiteX69" fmla="*/ 91821 w 190500"/>
                  <a:gd name="connsiteY69" fmla="*/ 26098 h 219075"/>
                  <a:gd name="connsiteX70" fmla="*/ 91821 w 190500"/>
                  <a:gd name="connsiteY70" fmla="*/ 26956 h 219075"/>
                  <a:gd name="connsiteX71" fmla="*/ 91821 w 190500"/>
                  <a:gd name="connsiteY71" fmla="*/ 27813 h 219075"/>
                  <a:gd name="connsiteX72" fmla="*/ 91821 w 190500"/>
                  <a:gd name="connsiteY72" fmla="*/ 28670 h 219075"/>
                  <a:gd name="connsiteX73" fmla="*/ 82582 w 190500"/>
                  <a:gd name="connsiteY73" fmla="*/ 38767 h 219075"/>
                  <a:gd name="connsiteX74" fmla="*/ 79153 w 190500"/>
                  <a:gd name="connsiteY74" fmla="*/ 40481 h 219075"/>
                  <a:gd name="connsiteX75" fmla="*/ 77534 w 190500"/>
                  <a:gd name="connsiteY75" fmla="*/ 42958 h 219075"/>
                  <a:gd name="connsiteX76" fmla="*/ 77534 w 190500"/>
                  <a:gd name="connsiteY76" fmla="*/ 43815 h 219075"/>
                  <a:gd name="connsiteX77" fmla="*/ 77534 w 190500"/>
                  <a:gd name="connsiteY77" fmla="*/ 44672 h 219075"/>
                  <a:gd name="connsiteX78" fmla="*/ 74105 w 190500"/>
                  <a:gd name="connsiteY78" fmla="*/ 51435 h 219075"/>
                  <a:gd name="connsiteX79" fmla="*/ 69914 w 190500"/>
                  <a:gd name="connsiteY79" fmla="*/ 56483 h 219075"/>
                  <a:gd name="connsiteX80" fmla="*/ 69914 w 190500"/>
                  <a:gd name="connsiteY80" fmla="*/ 57340 h 219075"/>
                  <a:gd name="connsiteX81" fmla="*/ 69056 w 190500"/>
                  <a:gd name="connsiteY81" fmla="*/ 58198 h 219075"/>
                  <a:gd name="connsiteX82" fmla="*/ 68294 w 190500"/>
                  <a:gd name="connsiteY82" fmla="*/ 58198 h 219075"/>
                  <a:gd name="connsiteX83" fmla="*/ 67437 w 190500"/>
                  <a:gd name="connsiteY83" fmla="*/ 57340 h 219075"/>
                  <a:gd name="connsiteX84" fmla="*/ 65723 w 190500"/>
                  <a:gd name="connsiteY84" fmla="*/ 54769 h 219075"/>
                  <a:gd name="connsiteX85" fmla="*/ 64866 w 190500"/>
                  <a:gd name="connsiteY85" fmla="*/ 53912 h 219075"/>
                  <a:gd name="connsiteX86" fmla="*/ 64008 w 190500"/>
                  <a:gd name="connsiteY86" fmla="*/ 53054 h 219075"/>
                  <a:gd name="connsiteX87" fmla="*/ 62389 w 190500"/>
                  <a:gd name="connsiteY87" fmla="*/ 52292 h 219075"/>
                  <a:gd name="connsiteX88" fmla="*/ 60674 w 190500"/>
                  <a:gd name="connsiteY88" fmla="*/ 52292 h 219075"/>
                  <a:gd name="connsiteX89" fmla="*/ 58960 w 190500"/>
                  <a:gd name="connsiteY89" fmla="*/ 51435 h 219075"/>
                  <a:gd name="connsiteX90" fmla="*/ 58960 w 190500"/>
                  <a:gd name="connsiteY90" fmla="*/ 50578 h 219075"/>
                  <a:gd name="connsiteX91" fmla="*/ 58103 w 190500"/>
                  <a:gd name="connsiteY91" fmla="*/ 49721 h 219075"/>
                  <a:gd name="connsiteX92" fmla="*/ 57341 w 190500"/>
                  <a:gd name="connsiteY92" fmla="*/ 49721 h 219075"/>
                  <a:gd name="connsiteX93" fmla="*/ 57341 w 190500"/>
                  <a:gd name="connsiteY93" fmla="*/ 49721 h 219075"/>
                  <a:gd name="connsiteX94" fmla="*/ 56483 w 190500"/>
                  <a:gd name="connsiteY94" fmla="*/ 49721 h 219075"/>
                  <a:gd name="connsiteX95" fmla="*/ 55626 w 190500"/>
                  <a:gd name="connsiteY95" fmla="*/ 48863 h 219075"/>
                  <a:gd name="connsiteX96" fmla="*/ 54769 w 190500"/>
                  <a:gd name="connsiteY96" fmla="*/ 48863 h 219075"/>
                  <a:gd name="connsiteX97" fmla="*/ 53912 w 190500"/>
                  <a:gd name="connsiteY97" fmla="*/ 48006 h 219075"/>
                  <a:gd name="connsiteX98" fmla="*/ 53054 w 190500"/>
                  <a:gd name="connsiteY98" fmla="*/ 47149 h 219075"/>
                  <a:gd name="connsiteX99" fmla="*/ 52292 w 190500"/>
                  <a:gd name="connsiteY99" fmla="*/ 46387 h 219075"/>
                  <a:gd name="connsiteX100" fmla="*/ 52292 w 190500"/>
                  <a:gd name="connsiteY100" fmla="*/ 46387 h 219075"/>
                  <a:gd name="connsiteX101" fmla="*/ 52292 w 190500"/>
                  <a:gd name="connsiteY101" fmla="*/ 46387 h 219075"/>
                  <a:gd name="connsiteX102" fmla="*/ 48863 w 190500"/>
                  <a:gd name="connsiteY102" fmla="*/ 49721 h 219075"/>
                  <a:gd name="connsiteX103" fmla="*/ 48006 w 190500"/>
                  <a:gd name="connsiteY103" fmla="*/ 51435 h 219075"/>
                  <a:gd name="connsiteX104" fmla="*/ 45530 w 190500"/>
                  <a:gd name="connsiteY104" fmla="*/ 54769 h 219075"/>
                  <a:gd name="connsiteX105" fmla="*/ 42958 w 190500"/>
                  <a:gd name="connsiteY105" fmla="*/ 61531 h 219075"/>
                  <a:gd name="connsiteX106" fmla="*/ 40481 w 190500"/>
                  <a:gd name="connsiteY106" fmla="*/ 67437 h 219075"/>
                  <a:gd name="connsiteX107" fmla="*/ 40481 w 190500"/>
                  <a:gd name="connsiteY107" fmla="*/ 69151 h 219075"/>
                  <a:gd name="connsiteX108" fmla="*/ 38767 w 190500"/>
                  <a:gd name="connsiteY108" fmla="*/ 70771 h 219075"/>
                  <a:gd name="connsiteX109" fmla="*/ 37910 w 190500"/>
                  <a:gd name="connsiteY109" fmla="*/ 72485 h 219075"/>
                  <a:gd name="connsiteX110" fmla="*/ 37910 w 190500"/>
                  <a:gd name="connsiteY110" fmla="*/ 74200 h 219075"/>
                  <a:gd name="connsiteX111" fmla="*/ 37052 w 190500"/>
                  <a:gd name="connsiteY111" fmla="*/ 75057 h 219075"/>
                  <a:gd name="connsiteX112" fmla="*/ 36291 w 190500"/>
                  <a:gd name="connsiteY112" fmla="*/ 75914 h 219075"/>
                  <a:gd name="connsiteX113" fmla="*/ 34576 w 190500"/>
                  <a:gd name="connsiteY113" fmla="*/ 75914 h 219075"/>
                  <a:gd name="connsiteX114" fmla="*/ 33719 w 190500"/>
                  <a:gd name="connsiteY114" fmla="*/ 75914 h 219075"/>
                  <a:gd name="connsiteX115" fmla="*/ 32861 w 190500"/>
                  <a:gd name="connsiteY115" fmla="*/ 76676 h 219075"/>
                  <a:gd name="connsiteX116" fmla="*/ 32004 w 190500"/>
                  <a:gd name="connsiteY116" fmla="*/ 77533 h 219075"/>
                  <a:gd name="connsiteX117" fmla="*/ 31147 w 190500"/>
                  <a:gd name="connsiteY117" fmla="*/ 78391 h 219075"/>
                  <a:gd name="connsiteX118" fmla="*/ 31147 w 190500"/>
                  <a:gd name="connsiteY118" fmla="*/ 79248 h 219075"/>
                  <a:gd name="connsiteX119" fmla="*/ 31147 w 190500"/>
                  <a:gd name="connsiteY119" fmla="*/ 81820 h 219075"/>
                  <a:gd name="connsiteX120" fmla="*/ 32861 w 190500"/>
                  <a:gd name="connsiteY120" fmla="*/ 85154 h 219075"/>
                  <a:gd name="connsiteX121" fmla="*/ 32861 w 190500"/>
                  <a:gd name="connsiteY121" fmla="*/ 86011 h 219075"/>
                  <a:gd name="connsiteX122" fmla="*/ 32861 w 190500"/>
                  <a:gd name="connsiteY122" fmla="*/ 86868 h 219075"/>
                  <a:gd name="connsiteX123" fmla="*/ 32004 w 190500"/>
                  <a:gd name="connsiteY123" fmla="*/ 87725 h 219075"/>
                  <a:gd name="connsiteX124" fmla="*/ 31147 w 190500"/>
                  <a:gd name="connsiteY124" fmla="*/ 88487 h 219075"/>
                  <a:gd name="connsiteX125" fmla="*/ 30385 w 190500"/>
                  <a:gd name="connsiteY125" fmla="*/ 88487 h 219075"/>
                  <a:gd name="connsiteX126" fmla="*/ 29528 w 190500"/>
                  <a:gd name="connsiteY126" fmla="*/ 88487 h 219075"/>
                  <a:gd name="connsiteX127" fmla="*/ 29528 w 190500"/>
                  <a:gd name="connsiteY127" fmla="*/ 89344 h 219075"/>
                  <a:gd name="connsiteX128" fmla="*/ 28670 w 190500"/>
                  <a:gd name="connsiteY128" fmla="*/ 89344 h 219075"/>
                  <a:gd name="connsiteX129" fmla="*/ 29528 w 190500"/>
                  <a:gd name="connsiteY129" fmla="*/ 90202 h 219075"/>
                  <a:gd name="connsiteX130" fmla="*/ 30385 w 190500"/>
                  <a:gd name="connsiteY130" fmla="*/ 91059 h 219075"/>
                  <a:gd name="connsiteX131" fmla="*/ 30385 w 190500"/>
                  <a:gd name="connsiteY131" fmla="*/ 91916 h 219075"/>
                  <a:gd name="connsiteX132" fmla="*/ 30385 w 190500"/>
                  <a:gd name="connsiteY132" fmla="*/ 92773 h 219075"/>
                  <a:gd name="connsiteX133" fmla="*/ 27813 w 190500"/>
                  <a:gd name="connsiteY133" fmla="*/ 96964 h 219075"/>
                  <a:gd name="connsiteX134" fmla="*/ 25337 w 190500"/>
                  <a:gd name="connsiteY134" fmla="*/ 101155 h 219075"/>
                  <a:gd name="connsiteX135" fmla="*/ 25337 w 190500"/>
                  <a:gd name="connsiteY135" fmla="*/ 102870 h 219075"/>
                  <a:gd name="connsiteX136" fmla="*/ 25337 w 190500"/>
                  <a:gd name="connsiteY136" fmla="*/ 103727 h 219075"/>
                  <a:gd name="connsiteX137" fmla="*/ 24479 w 190500"/>
                  <a:gd name="connsiteY137" fmla="*/ 104584 h 219075"/>
                  <a:gd name="connsiteX138" fmla="*/ 23622 w 190500"/>
                  <a:gd name="connsiteY138" fmla="*/ 105442 h 219075"/>
                  <a:gd name="connsiteX139" fmla="*/ 22765 w 190500"/>
                  <a:gd name="connsiteY139" fmla="*/ 105442 h 219075"/>
                  <a:gd name="connsiteX140" fmla="*/ 21908 w 190500"/>
                  <a:gd name="connsiteY140" fmla="*/ 105442 h 219075"/>
                  <a:gd name="connsiteX141" fmla="*/ 21050 w 190500"/>
                  <a:gd name="connsiteY141" fmla="*/ 105442 h 219075"/>
                  <a:gd name="connsiteX142" fmla="*/ 20193 w 190500"/>
                  <a:gd name="connsiteY142" fmla="*/ 104584 h 219075"/>
                  <a:gd name="connsiteX143" fmla="*/ 19431 w 190500"/>
                  <a:gd name="connsiteY143" fmla="*/ 103727 h 219075"/>
                  <a:gd name="connsiteX144" fmla="*/ 19431 w 190500"/>
                  <a:gd name="connsiteY144" fmla="*/ 103727 h 219075"/>
                  <a:gd name="connsiteX145" fmla="*/ 19431 w 190500"/>
                  <a:gd name="connsiteY145" fmla="*/ 103727 h 219075"/>
                  <a:gd name="connsiteX146" fmla="*/ 18574 w 190500"/>
                  <a:gd name="connsiteY146" fmla="*/ 104584 h 219075"/>
                  <a:gd name="connsiteX147" fmla="*/ 17717 w 190500"/>
                  <a:gd name="connsiteY147" fmla="*/ 104584 h 219075"/>
                  <a:gd name="connsiteX148" fmla="*/ 16859 w 190500"/>
                  <a:gd name="connsiteY148" fmla="*/ 105442 h 219075"/>
                  <a:gd name="connsiteX149" fmla="*/ 16002 w 190500"/>
                  <a:gd name="connsiteY149" fmla="*/ 105442 h 219075"/>
                  <a:gd name="connsiteX150" fmla="*/ 15145 w 190500"/>
                  <a:gd name="connsiteY150" fmla="*/ 107061 h 219075"/>
                  <a:gd name="connsiteX151" fmla="*/ 15145 w 190500"/>
                  <a:gd name="connsiteY151" fmla="*/ 109633 h 219075"/>
                  <a:gd name="connsiteX152" fmla="*/ 14383 w 190500"/>
                  <a:gd name="connsiteY152" fmla="*/ 113824 h 219075"/>
                  <a:gd name="connsiteX153" fmla="*/ 13526 w 190500"/>
                  <a:gd name="connsiteY153" fmla="*/ 115538 h 219075"/>
                  <a:gd name="connsiteX154" fmla="*/ 12668 w 190500"/>
                  <a:gd name="connsiteY154" fmla="*/ 117253 h 219075"/>
                  <a:gd name="connsiteX155" fmla="*/ 12668 w 190500"/>
                  <a:gd name="connsiteY155" fmla="*/ 117253 h 219075"/>
                  <a:gd name="connsiteX156" fmla="*/ 12668 w 190500"/>
                  <a:gd name="connsiteY156" fmla="*/ 118015 h 219075"/>
                  <a:gd name="connsiteX157" fmla="*/ 12668 w 190500"/>
                  <a:gd name="connsiteY157" fmla="*/ 119729 h 219075"/>
                  <a:gd name="connsiteX158" fmla="*/ 12668 w 190500"/>
                  <a:gd name="connsiteY158" fmla="*/ 121444 h 219075"/>
                  <a:gd name="connsiteX159" fmla="*/ 13526 w 190500"/>
                  <a:gd name="connsiteY159" fmla="*/ 121444 h 219075"/>
                  <a:gd name="connsiteX160" fmla="*/ 14383 w 190500"/>
                  <a:gd name="connsiteY160" fmla="*/ 122301 h 219075"/>
                  <a:gd name="connsiteX161" fmla="*/ 13526 w 190500"/>
                  <a:gd name="connsiteY161" fmla="*/ 123920 h 219075"/>
                  <a:gd name="connsiteX162" fmla="*/ 11811 w 190500"/>
                  <a:gd name="connsiteY162" fmla="*/ 128206 h 219075"/>
                  <a:gd name="connsiteX163" fmla="*/ 13526 w 190500"/>
                  <a:gd name="connsiteY163" fmla="*/ 131540 h 219075"/>
                  <a:gd name="connsiteX164" fmla="*/ 13526 w 190500"/>
                  <a:gd name="connsiteY164" fmla="*/ 134112 h 219075"/>
                  <a:gd name="connsiteX165" fmla="*/ 12668 w 190500"/>
                  <a:gd name="connsiteY165" fmla="*/ 134969 h 219075"/>
                  <a:gd name="connsiteX166" fmla="*/ 10954 w 190500"/>
                  <a:gd name="connsiteY166" fmla="*/ 134969 h 219075"/>
                  <a:gd name="connsiteX167" fmla="*/ 10097 w 190500"/>
                  <a:gd name="connsiteY167" fmla="*/ 135731 h 219075"/>
                  <a:gd name="connsiteX168" fmla="*/ 8477 w 190500"/>
                  <a:gd name="connsiteY168" fmla="*/ 140017 h 219075"/>
                  <a:gd name="connsiteX169" fmla="*/ 7620 w 190500"/>
                  <a:gd name="connsiteY169" fmla="*/ 149257 h 219075"/>
                  <a:gd name="connsiteX170" fmla="*/ 6763 w 190500"/>
                  <a:gd name="connsiteY170" fmla="*/ 153448 h 219075"/>
                  <a:gd name="connsiteX171" fmla="*/ 4191 w 190500"/>
                  <a:gd name="connsiteY171" fmla="*/ 153448 h 219075"/>
                  <a:gd name="connsiteX172" fmla="*/ 5049 w 190500"/>
                  <a:gd name="connsiteY172" fmla="*/ 155162 h 219075"/>
                  <a:gd name="connsiteX173" fmla="*/ 5049 w 190500"/>
                  <a:gd name="connsiteY173" fmla="*/ 156019 h 219075"/>
                  <a:gd name="connsiteX174" fmla="*/ 5049 w 190500"/>
                  <a:gd name="connsiteY174" fmla="*/ 158496 h 219075"/>
                  <a:gd name="connsiteX175" fmla="*/ 5049 w 190500"/>
                  <a:gd name="connsiteY175" fmla="*/ 160210 h 219075"/>
                  <a:gd name="connsiteX176" fmla="*/ 7620 w 190500"/>
                  <a:gd name="connsiteY176" fmla="*/ 161925 h 219075"/>
                  <a:gd name="connsiteX177" fmla="*/ 7620 w 190500"/>
                  <a:gd name="connsiteY177" fmla="*/ 163639 h 219075"/>
                  <a:gd name="connsiteX178" fmla="*/ 7620 w 190500"/>
                  <a:gd name="connsiteY178" fmla="*/ 165259 h 219075"/>
                  <a:gd name="connsiteX179" fmla="*/ 5906 w 190500"/>
                  <a:gd name="connsiteY179" fmla="*/ 166973 h 219075"/>
                  <a:gd name="connsiteX180" fmla="*/ 5049 w 190500"/>
                  <a:gd name="connsiteY180" fmla="*/ 168688 h 219075"/>
                  <a:gd name="connsiteX181" fmla="*/ 4191 w 190500"/>
                  <a:gd name="connsiteY181" fmla="*/ 170307 h 219075"/>
                  <a:gd name="connsiteX182" fmla="*/ 4191 w 190500"/>
                  <a:gd name="connsiteY182" fmla="*/ 172021 h 219075"/>
                  <a:gd name="connsiteX183" fmla="*/ 4191 w 190500"/>
                  <a:gd name="connsiteY183" fmla="*/ 174593 h 219075"/>
                  <a:gd name="connsiteX184" fmla="*/ 4191 w 190500"/>
                  <a:gd name="connsiteY184" fmla="*/ 175450 h 219075"/>
                  <a:gd name="connsiteX185" fmla="*/ 3429 w 190500"/>
                  <a:gd name="connsiteY185" fmla="*/ 177070 h 219075"/>
                  <a:gd name="connsiteX186" fmla="*/ 3429 w 190500"/>
                  <a:gd name="connsiteY186" fmla="*/ 178784 h 219075"/>
                  <a:gd name="connsiteX187" fmla="*/ 3429 w 190500"/>
                  <a:gd name="connsiteY187" fmla="*/ 179642 h 219075"/>
                  <a:gd name="connsiteX188" fmla="*/ 2572 w 190500"/>
                  <a:gd name="connsiteY188" fmla="*/ 181356 h 219075"/>
                  <a:gd name="connsiteX189" fmla="*/ 2572 w 190500"/>
                  <a:gd name="connsiteY189" fmla="*/ 183833 h 219075"/>
                  <a:gd name="connsiteX190" fmla="*/ 2572 w 190500"/>
                  <a:gd name="connsiteY190" fmla="*/ 186404 h 219075"/>
                  <a:gd name="connsiteX191" fmla="*/ 2572 w 190500"/>
                  <a:gd name="connsiteY191" fmla="*/ 187262 h 219075"/>
                  <a:gd name="connsiteX192" fmla="*/ 2572 w 190500"/>
                  <a:gd name="connsiteY192" fmla="*/ 188023 h 219075"/>
                  <a:gd name="connsiteX193" fmla="*/ 1715 w 190500"/>
                  <a:gd name="connsiteY193" fmla="*/ 188023 h 219075"/>
                  <a:gd name="connsiteX194" fmla="*/ 858 w 190500"/>
                  <a:gd name="connsiteY194" fmla="*/ 188881 h 219075"/>
                  <a:gd name="connsiteX195" fmla="*/ 858 w 190500"/>
                  <a:gd name="connsiteY195" fmla="*/ 189738 h 219075"/>
                  <a:gd name="connsiteX196" fmla="*/ 0 w 190500"/>
                  <a:gd name="connsiteY196" fmla="*/ 189738 h 219075"/>
                  <a:gd name="connsiteX197" fmla="*/ 858 w 190500"/>
                  <a:gd name="connsiteY197" fmla="*/ 190595 h 219075"/>
                  <a:gd name="connsiteX198" fmla="*/ 858 w 190500"/>
                  <a:gd name="connsiteY198" fmla="*/ 191452 h 219075"/>
                  <a:gd name="connsiteX199" fmla="*/ 2572 w 190500"/>
                  <a:gd name="connsiteY199" fmla="*/ 191452 h 219075"/>
                  <a:gd name="connsiteX200" fmla="*/ 10097 w 190500"/>
                  <a:gd name="connsiteY200" fmla="*/ 194786 h 219075"/>
                  <a:gd name="connsiteX201" fmla="*/ 11811 w 190500"/>
                  <a:gd name="connsiteY201" fmla="*/ 195643 h 219075"/>
                  <a:gd name="connsiteX202" fmla="*/ 12668 w 190500"/>
                  <a:gd name="connsiteY202" fmla="*/ 196501 h 219075"/>
                  <a:gd name="connsiteX203" fmla="*/ 13526 w 190500"/>
                  <a:gd name="connsiteY203" fmla="*/ 197358 h 219075"/>
                  <a:gd name="connsiteX204" fmla="*/ 14383 w 190500"/>
                  <a:gd name="connsiteY204" fmla="*/ 197358 h 219075"/>
                  <a:gd name="connsiteX205" fmla="*/ 15145 w 190500"/>
                  <a:gd name="connsiteY205" fmla="*/ 197358 h 219075"/>
                  <a:gd name="connsiteX206" fmla="*/ 16002 w 190500"/>
                  <a:gd name="connsiteY206" fmla="*/ 197358 h 219075"/>
                  <a:gd name="connsiteX207" fmla="*/ 17717 w 190500"/>
                  <a:gd name="connsiteY207" fmla="*/ 195643 h 219075"/>
                  <a:gd name="connsiteX208" fmla="*/ 18574 w 190500"/>
                  <a:gd name="connsiteY208" fmla="*/ 195643 h 219075"/>
                  <a:gd name="connsiteX209" fmla="*/ 19431 w 190500"/>
                  <a:gd name="connsiteY209" fmla="*/ 195643 h 219075"/>
                  <a:gd name="connsiteX210" fmla="*/ 20193 w 190500"/>
                  <a:gd name="connsiteY210" fmla="*/ 195643 h 219075"/>
                  <a:gd name="connsiteX211" fmla="*/ 21050 w 190500"/>
                  <a:gd name="connsiteY211" fmla="*/ 196501 h 219075"/>
                  <a:gd name="connsiteX212" fmla="*/ 21050 w 190500"/>
                  <a:gd name="connsiteY212" fmla="*/ 196501 h 219075"/>
                  <a:gd name="connsiteX213" fmla="*/ 21050 w 190500"/>
                  <a:gd name="connsiteY213" fmla="*/ 197358 h 219075"/>
                  <a:gd name="connsiteX214" fmla="*/ 21050 w 190500"/>
                  <a:gd name="connsiteY214" fmla="*/ 198215 h 219075"/>
                  <a:gd name="connsiteX215" fmla="*/ 21908 w 190500"/>
                  <a:gd name="connsiteY215" fmla="*/ 198215 h 219075"/>
                  <a:gd name="connsiteX216" fmla="*/ 21908 w 190500"/>
                  <a:gd name="connsiteY216" fmla="*/ 198215 h 219075"/>
                  <a:gd name="connsiteX217" fmla="*/ 23622 w 190500"/>
                  <a:gd name="connsiteY217" fmla="*/ 198215 h 219075"/>
                  <a:gd name="connsiteX218" fmla="*/ 25337 w 190500"/>
                  <a:gd name="connsiteY218" fmla="*/ 197358 h 219075"/>
                  <a:gd name="connsiteX219" fmla="*/ 26099 w 190500"/>
                  <a:gd name="connsiteY219" fmla="*/ 197358 h 219075"/>
                  <a:gd name="connsiteX220" fmla="*/ 26956 w 190500"/>
                  <a:gd name="connsiteY220" fmla="*/ 196501 h 219075"/>
                  <a:gd name="connsiteX221" fmla="*/ 26956 w 190500"/>
                  <a:gd name="connsiteY221" fmla="*/ 195643 h 219075"/>
                  <a:gd name="connsiteX222" fmla="*/ 27813 w 190500"/>
                  <a:gd name="connsiteY222" fmla="*/ 194786 h 219075"/>
                  <a:gd name="connsiteX223" fmla="*/ 28670 w 190500"/>
                  <a:gd name="connsiteY223" fmla="*/ 194786 h 219075"/>
                  <a:gd name="connsiteX224" fmla="*/ 28670 w 190500"/>
                  <a:gd name="connsiteY224" fmla="*/ 194786 h 219075"/>
                  <a:gd name="connsiteX225" fmla="*/ 30385 w 190500"/>
                  <a:gd name="connsiteY225" fmla="*/ 196501 h 219075"/>
                  <a:gd name="connsiteX226" fmla="*/ 30385 w 190500"/>
                  <a:gd name="connsiteY226" fmla="*/ 197358 h 219075"/>
                  <a:gd name="connsiteX227" fmla="*/ 30385 w 190500"/>
                  <a:gd name="connsiteY227" fmla="*/ 198215 h 219075"/>
                  <a:gd name="connsiteX228" fmla="*/ 30385 w 190500"/>
                  <a:gd name="connsiteY228" fmla="*/ 199072 h 219075"/>
                  <a:gd name="connsiteX229" fmla="*/ 30385 w 190500"/>
                  <a:gd name="connsiteY229" fmla="*/ 199834 h 219075"/>
                  <a:gd name="connsiteX230" fmla="*/ 29528 w 190500"/>
                  <a:gd name="connsiteY230" fmla="*/ 199834 h 219075"/>
                  <a:gd name="connsiteX231" fmla="*/ 30385 w 190500"/>
                  <a:gd name="connsiteY231" fmla="*/ 200692 h 219075"/>
                  <a:gd name="connsiteX232" fmla="*/ 31147 w 190500"/>
                  <a:gd name="connsiteY232" fmla="*/ 200692 h 219075"/>
                  <a:gd name="connsiteX233" fmla="*/ 34576 w 190500"/>
                  <a:gd name="connsiteY233" fmla="*/ 199072 h 219075"/>
                  <a:gd name="connsiteX234" fmla="*/ 35433 w 190500"/>
                  <a:gd name="connsiteY234" fmla="*/ 199072 h 219075"/>
                  <a:gd name="connsiteX235" fmla="*/ 36291 w 190500"/>
                  <a:gd name="connsiteY235" fmla="*/ 199072 h 219075"/>
                  <a:gd name="connsiteX236" fmla="*/ 36291 w 190500"/>
                  <a:gd name="connsiteY236" fmla="*/ 198215 h 219075"/>
                  <a:gd name="connsiteX237" fmla="*/ 37052 w 190500"/>
                  <a:gd name="connsiteY237" fmla="*/ 195643 h 219075"/>
                  <a:gd name="connsiteX238" fmla="*/ 37910 w 190500"/>
                  <a:gd name="connsiteY238" fmla="*/ 193167 h 219075"/>
                  <a:gd name="connsiteX239" fmla="*/ 41339 w 190500"/>
                  <a:gd name="connsiteY239" fmla="*/ 192310 h 219075"/>
                  <a:gd name="connsiteX240" fmla="*/ 42958 w 190500"/>
                  <a:gd name="connsiteY240" fmla="*/ 193929 h 219075"/>
                  <a:gd name="connsiteX241" fmla="*/ 46387 w 190500"/>
                  <a:gd name="connsiteY241" fmla="*/ 198215 h 219075"/>
                  <a:gd name="connsiteX242" fmla="*/ 47149 w 190500"/>
                  <a:gd name="connsiteY242" fmla="*/ 199834 h 219075"/>
                  <a:gd name="connsiteX243" fmla="*/ 50578 w 190500"/>
                  <a:gd name="connsiteY243" fmla="*/ 203263 h 219075"/>
                  <a:gd name="connsiteX244" fmla="*/ 51435 w 190500"/>
                  <a:gd name="connsiteY244" fmla="*/ 204978 h 219075"/>
                  <a:gd name="connsiteX245" fmla="*/ 52292 w 190500"/>
                  <a:gd name="connsiteY245" fmla="*/ 206597 h 219075"/>
                  <a:gd name="connsiteX246" fmla="*/ 53054 w 190500"/>
                  <a:gd name="connsiteY246" fmla="*/ 207454 h 219075"/>
                  <a:gd name="connsiteX247" fmla="*/ 54769 w 190500"/>
                  <a:gd name="connsiteY247" fmla="*/ 208312 h 219075"/>
                  <a:gd name="connsiteX248" fmla="*/ 57341 w 190500"/>
                  <a:gd name="connsiteY248" fmla="*/ 208312 h 219075"/>
                  <a:gd name="connsiteX249" fmla="*/ 60674 w 190500"/>
                  <a:gd name="connsiteY249" fmla="*/ 205740 h 219075"/>
                  <a:gd name="connsiteX250" fmla="*/ 62389 w 190500"/>
                  <a:gd name="connsiteY250" fmla="*/ 205740 h 219075"/>
                  <a:gd name="connsiteX251" fmla="*/ 63151 w 190500"/>
                  <a:gd name="connsiteY251" fmla="*/ 205740 h 219075"/>
                  <a:gd name="connsiteX252" fmla="*/ 64008 w 190500"/>
                  <a:gd name="connsiteY252" fmla="*/ 206597 h 219075"/>
                  <a:gd name="connsiteX253" fmla="*/ 64008 w 190500"/>
                  <a:gd name="connsiteY253" fmla="*/ 207454 h 219075"/>
                  <a:gd name="connsiteX254" fmla="*/ 65723 w 190500"/>
                  <a:gd name="connsiteY254" fmla="*/ 206597 h 219075"/>
                  <a:gd name="connsiteX255" fmla="*/ 65723 w 190500"/>
                  <a:gd name="connsiteY255" fmla="*/ 206597 h 219075"/>
                  <a:gd name="connsiteX256" fmla="*/ 66580 w 190500"/>
                  <a:gd name="connsiteY256" fmla="*/ 205740 h 219075"/>
                  <a:gd name="connsiteX257" fmla="*/ 67437 w 190500"/>
                  <a:gd name="connsiteY257" fmla="*/ 204978 h 219075"/>
                  <a:gd name="connsiteX258" fmla="*/ 67437 w 190500"/>
                  <a:gd name="connsiteY258" fmla="*/ 203263 h 219075"/>
                  <a:gd name="connsiteX259" fmla="*/ 69914 w 190500"/>
                  <a:gd name="connsiteY259" fmla="*/ 201549 h 219075"/>
                  <a:gd name="connsiteX260" fmla="*/ 74962 w 190500"/>
                  <a:gd name="connsiteY260" fmla="*/ 201549 h 219075"/>
                  <a:gd name="connsiteX261" fmla="*/ 80867 w 190500"/>
                  <a:gd name="connsiteY261" fmla="*/ 202406 h 219075"/>
                  <a:gd name="connsiteX262" fmla="*/ 84296 w 190500"/>
                  <a:gd name="connsiteY262" fmla="*/ 203263 h 219075"/>
                  <a:gd name="connsiteX263" fmla="*/ 88487 w 190500"/>
                  <a:gd name="connsiteY263" fmla="*/ 209169 h 219075"/>
                  <a:gd name="connsiteX264" fmla="*/ 90964 w 190500"/>
                  <a:gd name="connsiteY264" fmla="*/ 210884 h 219075"/>
                  <a:gd name="connsiteX265" fmla="*/ 99441 w 190500"/>
                  <a:gd name="connsiteY265" fmla="*/ 210026 h 219075"/>
                  <a:gd name="connsiteX266" fmla="*/ 102775 w 190500"/>
                  <a:gd name="connsiteY266" fmla="*/ 210026 h 219075"/>
                  <a:gd name="connsiteX267" fmla="*/ 106109 w 190500"/>
                  <a:gd name="connsiteY267" fmla="*/ 211646 h 219075"/>
                  <a:gd name="connsiteX268" fmla="*/ 109538 w 190500"/>
                  <a:gd name="connsiteY268" fmla="*/ 212503 h 219075"/>
                  <a:gd name="connsiteX269" fmla="*/ 112014 w 190500"/>
                  <a:gd name="connsiteY269" fmla="*/ 212503 h 219075"/>
                  <a:gd name="connsiteX270" fmla="*/ 118777 w 190500"/>
                  <a:gd name="connsiteY270" fmla="*/ 216789 h 219075"/>
                  <a:gd name="connsiteX271" fmla="*/ 120491 w 190500"/>
                  <a:gd name="connsiteY271" fmla="*/ 217551 h 219075"/>
                  <a:gd name="connsiteX272" fmla="*/ 122111 w 190500"/>
                  <a:gd name="connsiteY272" fmla="*/ 220123 h 219075"/>
                  <a:gd name="connsiteX273" fmla="*/ 122968 w 190500"/>
                  <a:gd name="connsiteY273" fmla="*/ 221837 h 219075"/>
                  <a:gd name="connsiteX274" fmla="*/ 125540 w 190500"/>
                  <a:gd name="connsiteY274" fmla="*/ 221837 h 219075"/>
                  <a:gd name="connsiteX275" fmla="*/ 126397 w 190500"/>
                  <a:gd name="connsiteY275" fmla="*/ 220980 h 219075"/>
                  <a:gd name="connsiteX276" fmla="*/ 127254 w 190500"/>
                  <a:gd name="connsiteY276" fmla="*/ 220123 h 219075"/>
                  <a:gd name="connsiteX277" fmla="*/ 127254 w 190500"/>
                  <a:gd name="connsiteY277" fmla="*/ 217551 h 219075"/>
                  <a:gd name="connsiteX278" fmla="*/ 127254 w 190500"/>
                  <a:gd name="connsiteY278" fmla="*/ 215075 h 219075"/>
                  <a:gd name="connsiteX279" fmla="*/ 127254 w 190500"/>
                  <a:gd name="connsiteY279" fmla="*/ 212503 h 219075"/>
                  <a:gd name="connsiteX280" fmla="*/ 128874 w 190500"/>
                  <a:gd name="connsiteY280" fmla="*/ 210026 h 219075"/>
                  <a:gd name="connsiteX281" fmla="*/ 133064 w 190500"/>
                  <a:gd name="connsiteY281" fmla="*/ 203263 h 219075"/>
                  <a:gd name="connsiteX282" fmla="*/ 133922 w 190500"/>
                  <a:gd name="connsiteY282" fmla="*/ 201549 h 219075"/>
                  <a:gd name="connsiteX283" fmla="*/ 133922 w 190500"/>
                  <a:gd name="connsiteY283" fmla="*/ 197358 h 219075"/>
                  <a:gd name="connsiteX284" fmla="*/ 134779 w 190500"/>
                  <a:gd name="connsiteY284" fmla="*/ 196501 h 219075"/>
                  <a:gd name="connsiteX285" fmla="*/ 135636 w 190500"/>
                  <a:gd name="connsiteY285" fmla="*/ 194786 h 219075"/>
                  <a:gd name="connsiteX286" fmla="*/ 136493 w 190500"/>
                  <a:gd name="connsiteY286" fmla="*/ 193167 h 219075"/>
                  <a:gd name="connsiteX287" fmla="*/ 136493 w 190500"/>
                  <a:gd name="connsiteY287" fmla="*/ 188023 h 219075"/>
                  <a:gd name="connsiteX288" fmla="*/ 138113 w 190500"/>
                  <a:gd name="connsiteY288" fmla="*/ 183833 h 219075"/>
                  <a:gd name="connsiteX289" fmla="*/ 143256 w 190500"/>
                  <a:gd name="connsiteY289" fmla="*/ 171164 h 219075"/>
                  <a:gd name="connsiteX290" fmla="*/ 144018 w 190500"/>
                  <a:gd name="connsiteY290" fmla="*/ 169545 h 219075"/>
                  <a:gd name="connsiteX291" fmla="*/ 144018 w 190500"/>
                  <a:gd name="connsiteY291" fmla="*/ 165259 h 219075"/>
                  <a:gd name="connsiteX292" fmla="*/ 144875 w 190500"/>
                  <a:gd name="connsiteY292" fmla="*/ 162782 h 219075"/>
                  <a:gd name="connsiteX293" fmla="*/ 145733 w 190500"/>
                  <a:gd name="connsiteY293" fmla="*/ 161925 h 219075"/>
                  <a:gd name="connsiteX294" fmla="*/ 148304 w 190500"/>
                  <a:gd name="connsiteY294" fmla="*/ 160210 h 219075"/>
                  <a:gd name="connsiteX295" fmla="*/ 149066 w 190500"/>
                  <a:gd name="connsiteY295" fmla="*/ 159353 h 219075"/>
                  <a:gd name="connsiteX296" fmla="*/ 149066 w 190500"/>
                  <a:gd name="connsiteY296" fmla="*/ 158496 h 219075"/>
                  <a:gd name="connsiteX297" fmla="*/ 148304 w 190500"/>
                  <a:gd name="connsiteY297" fmla="*/ 156877 h 219075"/>
                  <a:gd name="connsiteX298" fmla="*/ 148304 w 190500"/>
                  <a:gd name="connsiteY298" fmla="*/ 156019 h 219075"/>
                  <a:gd name="connsiteX299" fmla="*/ 149924 w 190500"/>
                  <a:gd name="connsiteY299" fmla="*/ 154305 h 219075"/>
                  <a:gd name="connsiteX300" fmla="*/ 150781 w 190500"/>
                  <a:gd name="connsiteY300" fmla="*/ 153448 h 219075"/>
                  <a:gd name="connsiteX301" fmla="*/ 152495 w 190500"/>
                  <a:gd name="connsiteY301" fmla="*/ 151829 h 219075"/>
                  <a:gd name="connsiteX302" fmla="*/ 152495 w 190500"/>
                  <a:gd name="connsiteY302" fmla="*/ 146780 h 219075"/>
                  <a:gd name="connsiteX303" fmla="*/ 153353 w 190500"/>
                  <a:gd name="connsiteY303" fmla="*/ 145923 h 219075"/>
                  <a:gd name="connsiteX304" fmla="*/ 154115 w 190500"/>
                  <a:gd name="connsiteY304" fmla="*/ 145066 h 219075"/>
                  <a:gd name="connsiteX305" fmla="*/ 155829 w 190500"/>
                  <a:gd name="connsiteY305" fmla="*/ 143351 h 219075"/>
                  <a:gd name="connsiteX306" fmla="*/ 157544 w 190500"/>
                  <a:gd name="connsiteY306" fmla="*/ 137446 h 219075"/>
                  <a:gd name="connsiteX307" fmla="*/ 158401 w 190500"/>
                  <a:gd name="connsiteY307" fmla="*/ 135731 h 219075"/>
                  <a:gd name="connsiteX308" fmla="*/ 160020 w 190500"/>
                  <a:gd name="connsiteY308" fmla="*/ 134112 h 219075"/>
                  <a:gd name="connsiteX309" fmla="*/ 164306 w 190500"/>
                  <a:gd name="connsiteY309" fmla="*/ 131540 h 219075"/>
                  <a:gd name="connsiteX310" fmla="*/ 165926 w 190500"/>
                  <a:gd name="connsiteY310" fmla="*/ 129064 h 219075"/>
                  <a:gd name="connsiteX311" fmla="*/ 168497 w 190500"/>
                  <a:gd name="connsiteY311" fmla="*/ 120587 h 219075"/>
                  <a:gd name="connsiteX312" fmla="*/ 169355 w 190500"/>
                  <a:gd name="connsiteY312" fmla="*/ 118015 h 219075"/>
                  <a:gd name="connsiteX313" fmla="*/ 170974 w 190500"/>
                  <a:gd name="connsiteY313" fmla="*/ 118015 h 219075"/>
                  <a:gd name="connsiteX314" fmla="*/ 171831 w 190500"/>
                  <a:gd name="connsiteY314" fmla="*/ 118015 h 219075"/>
                  <a:gd name="connsiteX315" fmla="*/ 173546 w 190500"/>
                  <a:gd name="connsiteY315" fmla="*/ 118015 h 219075"/>
                  <a:gd name="connsiteX316" fmla="*/ 175260 w 190500"/>
                  <a:gd name="connsiteY316" fmla="*/ 117253 h 219075"/>
                  <a:gd name="connsiteX317" fmla="*/ 176022 w 190500"/>
                  <a:gd name="connsiteY317" fmla="*/ 115538 h 219075"/>
                  <a:gd name="connsiteX318" fmla="*/ 176879 w 190500"/>
                  <a:gd name="connsiteY318" fmla="*/ 112967 h 219075"/>
                  <a:gd name="connsiteX319" fmla="*/ 177737 w 190500"/>
                  <a:gd name="connsiteY319" fmla="*/ 111347 h 219075"/>
                  <a:gd name="connsiteX320" fmla="*/ 177737 w 190500"/>
                  <a:gd name="connsiteY320" fmla="*/ 108775 h 219075"/>
                  <a:gd name="connsiteX321" fmla="*/ 177737 w 190500"/>
                  <a:gd name="connsiteY321" fmla="*/ 105442 h 219075"/>
                  <a:gd name="connsiteX322" fmla="*/ 182785 w 190500"/>
                  <a:gd name="connsiteY322" fmla="*/ 99536 h 219075"/>
                  <a:gd name="connsiteX323" fmla="*/ 184500 w 190500"/>
                  <a:gd name="connsiteY323" fmla="*/ 96107 h 219075"/>
                  <a:gd name="connsiteX324" fmla="*/ 186119 w 190500"/>
                  <a:gd name="connsiteY324" fmla="*/ 86011 h 219075"/>
                  <a:gd name="connsiteX325" fmla="*/ 187833 w 190500"/>
                  <a:gd name="connsiteY325" fmla="*/ 83439 h 219075"/>
                  <a:gd name="connsiteX326" fmla="*/ 190405 w 190500"/>
                  <a:gd name="connsiteY326" fmla="*/ 80105 h 219075"/>
                  <a:gd name="connsiteX327" fmla="*/ 191262 w 190500"/>
                  <a:gd name="connsiteY327" fmla="*/ 75057 h 219075"/>
                  <a:gd name="connsiteX328" fmla="*/ 190405 w 190500"/>
                  <a:gd name="connsiteY328" fmla="*/ 69151 h 219075"/>
                  <a:gd name="connsiteX329" fmla="*/ 190405 w 190500"/>
                  <a:gd name="connsiteY329" fmla="*/ 69151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</a:cxnLst>
                <a:rect l="l" t="t" r="r" b="b"/>
                <a:pathLst>
                  <a:path w="190500" h="219075">
                    <a:moveTo>
                      <a:pt x="190405" y="69151"/>
                    </a:moveTo>
                    <a:lnTo>
                      <a:pt x="187833" y="65722"/>
                    </a:lnTo>
                    <a:lnTo>
                      <a:pt x="184500" y="64103"/>
                    </a:lnTo>
                    <a:lnTo>
                      <a:pt x="179451" y="63246"/>
                    </a:lnTo>
                    <a:lnTo>
                      <a:pt x="176022" y="61531"/>
                    </a:lnTo>
                    <a:lnTo>
                      <a:pt x="173546" y="58198"/>
                    </a:lnTo>
                    <a:lnTo>
                      <a:pt x="172688" y="53054"/>
                    </a:lnTo>
                    <a:lnTo>
                      <a:pt x="179451" y="35433"/>
                    </a:lnTo>
                    <a:lnTo>
                      <a:pt x="181928" y="31147"/>
                    </a:lnTo>
                    <a:lnTo>
                      <a:pt x="183642" y="28670"/>
                    </a:lnTo>
                    <a:lnTo>
                      <a:pt x="183642" y="28670"/>
                    </a:lnTo>
                    <a:lnTo>
                      <a:pt x="180308" y="27813"/>
                    </a:lnTo>
                    <a:lnTo>
                      <a:pt x="178594" y="26956"/>
                    </a:lnTo>
                    <a:lnTo>
                      <a:pt x="173546" y="23622"/>
                    </a:lnTo>
                    <a:lnTo>
                      <a:pt x="171831" y="21908"/>
                    </a:lnTo>
                    <a:lnTo>
                      <a:pt x="170974" y="21050"/>
                    </a:lnTo>
                    <a:lnTo>
                      <a:pt x="171831" y="19336"/>
                    </a:lnTo>
                    <a:lnTo>
                      <a:pt x="173546" y="12573"/>
                    </a:lnTo>
                    <a:lnTo>
                      <a:pt x="174403" y="10954"/>
                    </a:lnTo>
                    <a:lnTo>
                      <a:pt x="175260" y="7525"/>
                    </a:lnTo>
                    <a:lnTo>
                      <a:pt x="175260" y="3334"/>
                    </a:lnTo>
                    <a:lnTo>
                      <a:pt x="175260" y="1619"/>
                    </a:lnTo>
                    <a:lnTo>
                      <a:pt x="175260" y="762"/>
                    </a:lnTo>
                    <a:lnTo>
                      <a:pt x="175260" y="0"/>
                    </a:lnTo>
                    <a:lnTo>
                      <a:pt x="175260" y="0"/>
                    </a:lnTo>
                    <a:lnTo>
                      <a:pt x="174403" y="0"/>
                    </a:lnTo>
                    <a:lnTo>
                      <a:pt x="165926" y="7525"/>
                    </a:lnTo>
                    <a:lnTo>
                      <a:pt x="165068" y="8382"/>
                    </a:lnTo>
                    <a:lnTo>
                      <a:pt x="160020" y="10954"/>
                    </a:lnTo>
                    <a:lnTo>
                      <a:pt x="159258" y="12573"/>
                    </a:lnTo>
                    <a:lnTo>
                      <a:pt x="156686" y="16002"/>
                    </a:lnTo>
                    <a:lnTo>
                      <a:pt x="154972" y="17717"/>
                    </a:lnTo>
                    <a:lnTo>
                      <a:pt x="152495" y="18479"/>
                    </a:lnTo>
                    <a:lnTo>
                      <a:pt x="148304" y="21050"/>
                    </a:lnTo>
                    <a:lnTo>
                      <a:pt x="139827" y="22765"/>
                    </a:lnTo>
                    <a:lnTo>
                      <a:pt x="135636" y="22765"/>
                    </a:lnTo>
                    <a:lnTo>
                      <a:pt x="133922" y="22765"/>
                    </a:lnTo>
                    <a:lnTo>
                      <a:pt x="133064" y="22765"/>
                    </a:lnTo>
                    <a:lnTo>
                      <a:pt x="133064" y="22765"/>
                    </a:lnTo>
                    <a:lnTo>
                      <a:pt x="132302" y="22765"/>
                    </a:lnTo>
                    <a:lnTo>
                      <a:pt x="132302" y="21908"/>
                    </a:lnTo>
                    <a:lnTo>
                      <a:pt x="131445" y="21050"/>
                    </a:lnTo>
                    <a:lnTo>
                      <a:pt x="130588" y="20193"/>
                    </a:lnTo>
                    <a:lnTo>
                      <a:pt x="128874" y="20193"/>
                    </a:lnTo>
                    <a:lnTo>
                      <a:pt x="126397" y="20193"/>
                    </a:lnTo>
                    <a:lnTo>
                      <a:pt x="124683" y="20193"/>
                    </a:lnTo>
                    <a:lnTo>
                      <a:pt x="122968" y="20193"/>
                    </a:lnTo>
                    <a:lnTo>
                      <a:pt x="121349" y="20193"/>
                    </a:lnTo>
                    <a:lnTo>
                      <a:pt x="120491" y="19336"/>
                    </a:lnTo>
                    <a:lnTo>
                      <a:pt x="117920" y="16859"/>
                    </a:lnTo>
                    <a:lnTo>
                      <a:pt x="117062" y="16859"/>
                    </a:lnTo>
                    <a:lnTo>
                      <a:pt x="115443" y="16002"/>
                    </a:lnTo>
                    <a:lnTo>
                      <a:pt x="112014" y="16002"/>
                    </a:lnTo>
                    <a:lnTo>
                      <a:pt x="109538" y="16859"/>
                    </a:lnTo>
                    <a:lnTo>
                      <a:pt x="104489" y="16002"/>
                    </a:lnTo>
                    <a:lnTo>
                      <a:pt x="90964" y="16859"/>
                    </a:lnTo>
                    <a:lnTo>
                      <a:pt x="88487" y="17717"/>
                    </a:lnTo>
                    <a:lnTo>
                      <a:pt x="87630" y="18479"/>
                    </a:lnTo>
                    <a:lnTo>
                      <a:pt x="86773" y="19336"/>
                    </a:lnTo>
                    <a:lnTo>
                      <a:pt x="86773" y="20193"/>
                    </a:lnTo>
                    <a:lnTo>
                      <a:pt x="85916" y="21908"/>
                    </a:lnTo>
                    <a:lnTo>
                      <a:pt x="85916" y="22765"/>
                    </a:lnTo>
                    <a:lnTo>
                      <a:pt x="85916" y="22765"/>
                    </a:lnTo>
                    <a:lnTo>
                      <a:pt x="85916" y="22765"/>
                    </a:lnTo>
                    <a:lnTo>
                      <a:pt x="85916" y="22765"/>
                    </a:lnTo>
                    <a:lnTo>
                      <a:pt x="85916" y="22765"/>
                    </a:lnTo>
                    <a:lnTo>
                      <a:pt x="90107" y="23622"/>
                    </a:lnTo>
                    <a:lnTo>
                      <a:pt x="90964" y="24384"/>
                    </a:lnTo>
                    <a:lnTo>
                      <a:pt x="90964" y="25241"/>
                    </a:lnTo>
                    <a:lnTo>
                      <a:pt x="91821" y="26098"/>
                    </a:lnTo>
                    <a:lnTo>
                      <a:pt x="91821" y="26956"/>
                    </a:lnTo>
                    <a:lnTo>
                      <a:pt x="91821" y="27813"/>
                    </a:lnTo>
                    <a:lnTo>
                      <a:pt x="91821" y="28670"/>
                    </a:lnTo>
                    <a:lnTo>
                      <a:pt x="82582" y="38767"/>
                    </a:lnTo>
                    <a:lnTo>
                      <a:pt x="79153" y="40481"/>
                    </a:lnTo>
                    <a:lnTo>
                      <a:pt x="77534" y="42958"/>
                    </a:lnTo>
                    <a:lnTo>
                      <a:pt x="77534" y="43815"/>
                    </a:lnTo>
                    <a:lnTo>
                      <a:pt x="77534" y="44672"/>
                    </a:lnTo>
                    <a:lnTo>
                      <a:pt x="74105" y="51435"/>
                    </a:lnTo>
                    <a:lnTo>
                      <a:pt x="69914" y="56483"/>
                    </a:lnTo>
                    <a:lnTo>
                      <a:pt x="69914" y="57340"/>
                    </a:lnTo>
                    <a:lnTo>
                      <a:pt x="69056" y="58198"/>
                    </a:lnTo>
                    <a:lnTo>
                      <a:pt x="68294" y="58198"/>
                    </a:lnTo>
                    <a:lnTo>
                      <a:pt x="67437" y="57340"/>
                    </a:lnTo>
                    <a:lnTo>
                      <a:pt x="65723" y="54769"/>
                    </a:lnTo>
                    <a:lnTo>
                      <a:pt x="64866" y="53912"/>
                    </a:lnTo>
                    <a:lnTo>
                      <a:pt x="64008" y="53054"/>
                    </a:lnTo>
                    <a:lnTo>
                      <a:pt x="62389" y="52292"/>
                    </a:lnTo>
                    <a:lnTo>
                      <a:pt x="60674" y="52292"/>
                    </a:lnTo>
                    <a:lnTo>
                      <a:pt x="58960" y="51435"/>
                    </a:lnTo>
                    <a:lnTo>
                      <a:pt x="58960" y="50578"/>
                    </a:lnTo>
                    <a:lnTo>
                      <a:pt x="58103" y="49721"/>
                    </a:lnTo>
                    <a:lnTo>
                      <a:pt x="57341" y="49721"/>
                    </a:lnTo>
                    <a:lnTo>
                      <a:pt x="57341" y="49721"/>
                    </a:lnTo>
                    <a:lnTo>
                      <a:pt x="56483" y="49721"/>
                    </a:lnTo>
                    <a:lnTo>
                      <a:pt x="55626" y="48863"/>
                    </a:lnTo>
                    <a:lnTo>
                      <a:pt x="54769" y="48863"/>
                    </a:lnTo>
                    <a:lnTo>
                      <a:pt x="53912" y="48006"/>
                    </a:lnTo>
                    <a:lnTo>
                      <a:pt x="53054" y="47149"/>
                    </a:lnTo>
                    <a:lnTo>
                      <a:pt x="52292" y="46387"/>
                    </a:lnTo>
                    <a:lnTo>
                      <a:pt x="52292" y="46387"/>
                    </a:lnTo>
                    <a:lnTo>
                      <a:pt x="52292" y="46387"/>
                    </a:lnTo>
                    <a:lnTo>
                      <a:pt x="48863" y="49721"/>
                    </a:lnTo>
                    <a:lnTo>
                      <a:pt x="48006" y="51435"/>
                    </a:lnTo>
                    <a:lnTo>
                      <a:pt x="45530" y="54769"/>
                    </a:lnTo>
                    <a:lnTo>
                      <a:pt x="42958" y="61531"/>
                    </a:lnTo>
                    <a:lnTo>
                      <a:pt x="40481" y="67437"/>
                    </a:lnTo>
                    <a:lnTo>
                      <a:pt x="40481" y="69151"/>
                    </a:lnTo>
                    <a:lnTo>
                      <a:pt x="38767" y="70771"/>
                    </a:lnTo>
                    <a:lnTo>
                      <a:pt x="37910" y="72485"/>
                    </a:lnTo>
                    <a:lnTo>
                      <a:pt x="37910" y="74200"/>
                    </a:lnTo>
                    <a:lnTo>
                      <a:pt x="37052" y="75057"/>
                    </a:lnTo>
                    <a:lnTo>
                      <a:pt x="36291" y="75914"/>
                    </a:lnTo>
                    <a:lnTo>
                      <a:pt x="34576" y="75914"/>
                    </a:lnTo>
                    <a:lnTo>
                      <a:pt x="33719" y="75914"/>
                    </a:lnTo>
                    <a:lnTo>
                      <a:pt x="32861" y="76676"/>
                    </a:lnTo>
                    <a:lnTo>
                      <a:pt x="32004" y="77533"/>
                    </a:lnTo>
                    <a:lnTo>
                      <a:pt x="31147" y="78391"/>
                    </a:lnTo>
                    <a:lnTo>
                      <a:pt x="31147" y="79248"/>
                    </a:lnTo>
                    <a:lnTo>
                      <a:pt x="31147" y="81820"/>
                    </a:lnTo>
                    <a:lnTo>
                      <a:pt x="32861" y="85154"/>
                    </a:lnTo>
                    <a:lnTo>
                      <a:pt x="32861" y="86011"/>
                    </a:lnTo>
                    <a:lnTo>
                      <a:pt x="32861" y="86868"/>
                    </a:lnTo>
                    <a:lnTo>
                      <a:pt x="32004" y="87725"/>
                    </a:lnTo>
                    <a:lnTo>
                      <a:pt x="31147" y="88487"/>
                    </a:lnTo>
                    <a:lnTo>
                      <a:pt x="30385" y="88487"/>
                    </a:lnTo>
                    <a:lnTo>
                      <a:pt x="29528" y="88487"/>
                    </a:lnTo>
                    <a:lnTo>
                      <a:pt x="29528" y="89344"/>
                    </a:lnTo>
                    <a:lnTo>
                      <a:pt x="28670" y="89344"/>
                    </a:lnTo>
                    <a:lnTo>
                      <a:pt x="29528" y="90202"/>
                    </a:lnTo>
                    <a:lnTo>
                      <a:pt x="30385" y="91059"/>
                    </a:lnTo>
                    <a:lnTo>
                      <a:pt x="30385" y="91916"/>
                    </a:lnTo>
                    <a:lnTo>
                      <a:pt x="30385" y="92773"/>
                    </a:lnTo>
                    <a:lnTo>
                      <a:pt x="27813" y="96964"/>
                    </a:lnTo>
                    <a:lnTo>
                      <a:pt x="25337" y="101155"/>
                    </a:lnTo>
                    <a:lnTo>
                      <a:pt x="25337" y="102870"/>
                    </a:lnTo>
                    <a:lnTo>
                      <a:pt x="25337" y="103727"/>
                    </a:lnTo>
                    <a:lnTo>
                      <a:pt x="24479" y="104584"/>
                    </a:lnTo>
                    <a:lnTo>
                      <a:pt x="23622" y="105442"/>
                    </a:lnTo>
                    <a:lnTo>
                      <a:pt x="22765" y="105442"/>
                    </a:lnTo>
                    <a:lnTo>
                      <a:pt x="21908" y="105442"/>
                    </a:lnTo>
                    <a:lnTo>
                      <a:pt x="21050" y="105442"/>
                    </a:lnTo>
                    <a:lnTo>
                      <a:pt x="20193" y="104584"/>
                    </a:lnTo>
                    <a:lnTo>
                      <a:pt x="19431" y="103727"/>
                    </a:lnTo>
                    <a:lnTo>
                      <a:pt x="19431" y="103727"/>
                    </a:lnTo>
                    <a:lnTo>
                      <a:pt x="19431" y="103727"/>
                    </a:lnTo>
                    <a:lnTo>
                      <a:pt x="18574" y="104584"/>
                    </a:lnTo>
                    <a:lnTo>
                      <a:pt x="17717" y="104584"/>
                    </a:lnTo>
                    <a:lnTo>
                      <a:pt x="16859" y="105442"/>
                    </a:lnTo>
                    <a:lnTo>
                      <a:pt x="16002" y="105442"/>
                    </a:lnTo>
                    <a:lnTo>
                      <a:pt x="15145" y="107061"/>
                    </a:lnTo>
                    <a:lnTo>
                      <a:pt x="15145" y="109633"/>
                    </a:lnTo>
                    <a:lnTo>
                      <a:pt x="14383" y="113824"/>
                    </a:lnTo>
                    <a:lnTo>
                      <a:pt x="13526" y="115538"/>
                    </a:lnTo>
                    <a:lnTo>
                      <a:pt x="12668" y="117253"/>
                    </a:lnTo>
                    <a:lnTo>
                      <a:pt x="12668" y="117253"/>
                    </a:lnTo>
                    <a:lnTo>
                      <a:pt x="12668" y="118015"/>
                    </a:lnTo>
                    <a:lnTo>
                      <a:pt x="12668" y="119729"/>
                    </a:lnTo>
                    <a:lnTo>
                      <a:pt x="12668" y="121444"/>
                    </a:lnTo>
                    <a:lnTo>
                      <a:pt x="13526" y="121444"/>
                    </a:lnTo>
                    <a:lnTo>
                      <a:pt x="14383" y="122301"/>
                    </a:lnTo>
                    <a:lnTo>
                      <a:pt x="13526" y="123920"/>
                    </a:lnTo>
                    <a:lnTo>
                      <a:pt x="11811" y="128206"/>
                    </a:lnTo>
                    <a:lnTo>
                      <a:pt x="13526" y="131540"/>
                    </a:lnTo>
                    <a:lnTo>
                      <a:pt x="13526" y="134112"/>
                    </a:lnTo>
                    <a:lnTo>
                      <a:pt x="12668" y="134969"/>
                    </a:lnTo>
                    <a:lnTo>
                      <a:pt x="10954" y="134969"/>
                    </a:lnTo>
                    <a:lnTo>
                      <a:pt x="10097" y="135731"/>
                    </a:lnTo>
                    <a:lnTo>
                      <a:pt x="8477" y="140017"/>
                    </a:lnTo>
                    <a:lnTo>
                      <a:pt x="7620" y="149257"/>
                    </a:lnTo>
                    <a:lnTo>
                      <a:pt x="6763" y="153448"/>
                    </a:lnTo>
                    <a:lnTo>
                      <a:pt x="4191" y="153448"/>
                    </a:lnTo>
                    <a:lnTo>
                      <a:pt x="5049" y="155162"/>
                    </a:lnTo>
                    <a:lnTo>
                      <a:pt x="5049" y="156019"/>
                    </a:lnTo>
                    <a:lnTo>
                      <a:pt x="5049" y="158496"/>
                    </a:lnTo>
                    <a:lnTo>
                      <a:pt x="5049" y="160210"/>
                    </a:lnTo>
                    <a:lnTo>
                      <a:pt x="7620" y="161925"/>
                    </a:lnTo>
                    <a:lnTo>
                      <a:pt x="7620" y="163639"/>
                    </a:lnTo>
                    <a:lnTo>
                      <a:pt x="7620" y="165259"/>
                    </a:lnTo>
                    <a:lnTo>
                      <a:pt x="5906" y="166973"/>
                    </a:lnTo>
                    <a:lnTo>
                      <a:pt x="5049" y="168688"/>
                    </a:lnTo>
                    <a:lnTo>
                      <a:pt x="4191" y="170307"/>
                    </a:lnTo>
                    <a:lnTo>
                      <a:pt x="4191" y="172021"/>
                    </a:lnTo>
                    <a:lnTo>
                      <a:pt x="4191" y="174593"/>
                    </a:lnTo>
                    <a:lnTo>
                      <a:pt x="4191" y="175450"/>
                    </a:lnTo>
                    <a:lnTo>
                      <a:pt x="3429" y="177070"/>
                    </a:lnTo>
                    <a:lnTo>
                      <a:pt x="3429" y="178784"/>
                    </a:lnTo>
                    <a:lnTo>
                      <a:pt x="3429" y="179642"/>
                    </a:lnTo>
                    <a:lnTo>
                      <a:pt x="2572" y="181356"/>
                    </a:lnTo>
                    <a:lnTo>
                      <a:pt x="2572" y="183833"/>
                    </a:lnTo>
                    <a:lnTo>
                      <a:pt x="2572" y="186404"/>
                    </a:lnTo>
                    <a:lnTo>
                      <a:pt x="2572" y="187262"/>
                    </a:lnTo>
                    <a:lnTo>
                      <a:pt x="2572" y="188023"/>
                    </a:lnTo>
                    <a:lnTo>
                      <a:pt x="1715" y="188023"/>
                    </a:lnTo>
                    <a:lnTo>
                      <a:pt x="858" y="188881"/>
                    </a:lnTo>
                    <a:lnTo>
                      <a:pt x="858" y="189738"/>
                    </a:lnTo>
                    <a:lnTo>
                      <a:pt x="0" y="189738"/>
                    </a:lnTo>
                    <a:lnTo>
                      <a:pt x="858" y="190595"/>
                    </a:lnTo>
                    <a:lnTo>
                      <a:pt x="858" y="191452"/>
                    </a:lnTo>
                    <a:lnTo>
                      <a:pt x="2572" y="191452"/>
                    </a:lnTo>
                    <a:lnTo>
                      <a:pt x="10097" y="194786"/>
                    </a:lnTo>
                    <a:lnTo>
                      <a:pt x="11811" y="195643"/>
                    </a:lnTo>
                    <a:lnTo>
                      <a:pt x="12668" y="196501"/>
                    </a:lnTo>
                    <a:lnTo>
                      <a:pt x="13526" y="197358"/>
                    </a:lnTo>
                    <a:lnTo>
                      <a:pt x="14383" y="197358"/>
                    </a:lnTo>
                    <a:lnTo>
                      <a:pt x="15145" y="197358"/>
                    </a:lnTo>
                    <a:lnTo>
                      <a:pt x="16002" y="197358"/>
                    </a:lnTo>
                    <a:lnTo>
                      <a:pt x="17717" y="195643"/>
                    </a:lnTo>
                    <a:lnTo>
                      <a:pt x="18574" y="195643"/>
                    </a:lnTo>
                    <a:lnTo>
                      <a:pt x="19431" y="195643"/>
                    </a:lnTo>
                    <a:lnTo>
                      <a:pt x="20193" y="195643"/>
                    </a:lnTo>
                    <a:lnTo>
                      <a:pt x="21050" y="196501"/>
                    </a:lnTo>
                    <a:lnTo>
                      <a:pt x="21050" y="196501"/>
                    </a:lnTo>
                    <a:lnTo>
                      <a:pt x="21050" y="197358"/>
                    </a:lnTo>
                    <a:lnTo>
                      <a:pt x="21050" y="198215"/>
                    </a:lnTo>
                    <a:lnTo>
                      <a:pt x="21908" y="198215"/>
                    </a:lnTo>
                    <a:lnTo>
                      <a:pt x="21908" y="198215"/>
                    </a:lnTo>
                    <a:lnTo>
                      <a:pt x="23622" y="198215"/>
                    </a:lnTo>
                    <a:lnTo>
                      <a:pt x="25337" y="197358"/>
                    </a:lnTo>
                    <a:lnTo>
                      <a:pt x="26099" y="197358"/>
                    </a:lnTo>
                    <a:lnTo>
                      <a:pt x="26956" y="196501"/>
                    </a:lnTo>
                    <a:lnTo>
                      <a:pt x="26956" y="195643"/>
                    </a:lnTo>
                    <a:lnTo>
                      <a:pt x="27813" y="194786"/>
                    </a:lnTo>
                    <a:lnTo>
                      <a:pt x="28670" y="194786"/>
                    </a:lnTo>
                    <a:lnTo>
                      <a:pt x="28670" y="194786"/>
                    </a:lnTo>
                    <a:lnTo>
                      <a:pt x="30385" y="196501"/>
                    </a:lnTo>
                    <a:lnTo>
                      <a:pt x="30385" y="197358"/>
                    </a:lnTo>
                    <a:lnTo>
                      <a:pt x="30385" y="198215"/>
                    </a:lnTo>
                    <a:lnTo>
                      <a:pt x="30385" y="199072"/>
                    </a:lnTo>
                    <a:lnTo>
                      <a:pt x="30385" y="199834"/>
                    </a:lnTo>
                    <a:lnTo>
                      <a:pt x="29528" y="199834"/>
                    </a:lnTo>
                    <a:lnTo>
                      <a:pt x="30385" y="200692"/>
                    </a:lnTo>
                    <a:lnTo>
                      <a:pt x="31147" y="200692"/>
                    </a:lnTo>
                    <a:lnTo>
                      <a:pt x="34576" y="199072"/>
                    </a:lnTo>
                    <a:lnTo>
                      <a:pt x="35433" y="199072"/>
                    </a:lnTo>
                    <a:lnTo>
                      <a:pt x="36291" y="199072"/>
                    </a:lnTo>
                    <a:lnTo>
                      <a:pt x="36291" y="198215"/>
                    </a:lnTo>
                    <a:lnTo>
                      <a:pt x="37052" y="195643"/>
                    </a:lnTo>
                    <a:lnTo>
                      <a:pt x="37910" y="193167"/>
                    </a:lnTo>
                    <a:lnTo>
                      <a:pt x="41339" y="192310"/>
                    </a:lnTo>
                    <a:lnTo>
                      <a:pt x="42958" y="193929"/>
                    </a:lnTo>
                    <a:lnTo>
                      <a:pt x="46387" y="198215"/>
                    </a:lnTo>
                    <a:lnTo>
                      <a:pt x="47149" y="199834"/>
                    </a:lnTo>
                    <a:lnTo>
                      <a:pt x="50578" y="203263"/>
                    </a:lnTo>
                    <a:lnTo>
                      <a:pt x="51435" y="204978"/>
                    </a:lnTo>
                    <a:lnTo>
                      <a:pt x="52292" y="206597"/>
                    </a:lnTo>
                    <a:lnTo>
                      <a:pt x="53054" y="207454"/>
                    </a:lnTo>
                    <a:lnTo>
                      <a:pt x="54769" y="208312"/>
                    </a:lnTo>
                    <a:lnTo>
                      <a:pt x="57341" y="208312"/>
                    </a:lnTo>
                    <a:lnTo>
                      <a:pt x="60674" y="205740"/>
                    </a:lnTo>
                    <a:lnTo>
                      <a:pt x="62389" y="205740"/>
                    </a:lnTo>
                    <a:lnTo>
                      <a:pt x="63151" y="205740"/>
                    </a:lnTo>
                    <a:lnTo>
                      <a:pt x="64008" y="206597"/>
                    </a:lnTo>
                    <a:lnTo>
                      <a:pt x="64008" y="207454"/>
                    </a:lnTo>
                    <a:lnTo>
                      <a:pt x="65723" y="206597"/>
                    </a:lnTo>
                    <a:lnTo>
                      <a:pt x="65723" y="206597"/>
                    </a:lnTo>
                    <a:lnTo>
                      <a:pt x="66580" y="205740"/>
                    </a:lnTo>
                    <a:lnTo>
                      <a:pt x="67437" y="204978"/>
                    </a:lnTo>
                    <a:lnTo>
                      <a:pt x="67437" y="203263"/>
                    </a:lnTo>
                    <a:lnTo>
                      <a:pt x="69914" y="201549"/>
                    </a:lnTo>
                    <a:lnTo>
                      <a:pt x="74962" y="201549"/>
                    </a:lnTo>
                    <a:lnTo>
                      <a:pt x="80867" y="202406"/>
                    </a:lnTo>
                    <a:lnTo>
                      <a:pt x="84296" y="203263"/>
                    </a:lnTo>
                    <a:lnTo>
                      <a:pt x="88487" y="209169"/>
                    </a:lnTo>
                    <a:lnTo>
                      <a:pt x="90964" y="210884"/>
                    </a:lnTo>
                    <a:lnTo>
                      <a:pt x="99441" y="210026"/>
                    </a:lnTo>
                    <a:lnTo>
                      <a:pt x="102775" y="210026"/>
                    </a:lnTo>
                    <a:lnTo>
                      <a:pt x="106109" y="211646"/>
                    </a:lnTo>
                    <a:lnTo>
                      <a:pt x="109538" y="212503"/>
                    </a:lnTo>
                    <a:lnTo>
                      <a:pt x="112014" y="212503"/>
                    </a:lnTo>
                    <a:lnTo>
                      <a:pt x="118777" y="216789"/>
                    </a:lnTo>
                    <a:lnTo>
                      <a:pt x="120491" y="217551"/>
                    </a:lnTo>
                    <a:lnTo>
                      <a:pt x="122111" y="220123"/>
                    </a:lnTo>
                    <a:lnTo>
                      <a:pt x="122968" y="221837"/>
                    </a:lnTo>
                    <a:lnTo>
                      <a:pt x="125540" y="221837"/>
                    </a:lnTo>
                    <a:lnTo>
                      <a:pt x="126397" y="220980"/>
                    </a:lnTo>
                    <a:lnTo>
                      <a:pt x="127254" y="220123"/>
                    </a:lnTo>
                    <a:lnTo>
                      <a:pt x="127254" y="217551"/>
                    </a:lnTo>
                    <a:lnTo>
                      <a:pt x="127254" y="215075"/>
                    </a:lnTo>
                    <a:lnTo>
                      <a:pt x="127254" y="212503"/>
                    </a:lnTo>
                    <a:lnTo>
                      <a:pt x="128874" y="210026"/>
                    </a:lnTo>
                    <a:lnTo>
                      <a:pt x="133064" y="203263"/>
                    </a:lnTo>
                    <a:lnTo>
                      <a:pt x="133922" y="201549"/>
                    </a:lnTo>
                    <a:lnTo>
                      <a:pt x="133922" y="197358"/>
                    </a:lnTo>
                    <a:lnTo>
                      <a:pt x="134779" y="196501"/>
                    </a:lnTo>
                    <a:lnTo>
                      <a:pt x="135636" y="194786"/>
                    </a:lnTo>
                    <a:lnTo>
                      <a:pt x="136493" y="193167"/>
                    </a:lnTo>
                    <a:lnTo>
                      <a:pt x="136493" y="188023"/>
                    </a:lnTo>
                    <a:lnTo>
                      <a:pt x="138113" y="183833"/>
                    </a:lnTo>
                    <a:lnTo>
                      <a:pt x="143256" y="171164"/>
                    </a:lnTo>
                    <a:lnTo>
                      <a:pt x="144018" y="169545"/>
                    </a:lnTo>
                    <a:lnTo>
                      <a:pt x="144018" y="165259"/>
                    </a:lnTo>
                    <a:lnTo>
                      <a:pt x="144875" y="162782"/>
                    </a:lnTo>
                    <a:lnTo>
                      <a:pt x="145733" y="161925"/>
                    </a:lnTo>
                    <a:lnTo>
                      <a:pt x="148304" y="160210"/>
                    </a:lnTo>
                    <a:lnTo>
                      <a:pt x="149066" y="159353"/>
                    </a:lnTo>
                    <a:lnTo>
                      <a:pt x="149066" y="158496"/>
                    </a:lnTo>
                    <a:lnTo>
                      <a:pt x="148304" y="156877"/>
                    </a:lnTo>
                    <a:lnTo>
                      <a:pt x="148304" y="156019"/>
                    </a:lnTo>
                    <a:lnTo>
                      <a:pt x="149924" y="154305"/>
                    </a:lnTo>
                    <a:lnTo>
                      <a:pt x="150781" y="153448"/>
                    </a:lnTo>
                    <a:lnTo>
                      <a:pt x="152495" y="151829"/>
                    </a:lnTo>
                    <a:lnTo>
                      <a:pt x="152495" y="146780"/>
                    </a:lnTo>
                    <a:lnTo>
                      <a:pt x="153353" y="145923"/>
                    </a:lnTo>
                    <a:lnTo>
                      <a:pt x="154115" y="145066"/>
                    </a:lnTo>
                    <a:lnTo>
                      <a:pt x="155829" y="143351"/>
                    </a:lnTo>
                    <a:lnTo>
                      <a:pt x="157544" y="137446"/>
                    </a:lnTo>
                    <a:lnTo>
                      <a:pt x="158401" y="135731"/>
                    </a:lnTo>
                    <a:lnTo>
                      <a:pt x="160020" y="134112"/>
                    </a:lnTo>
                    <a:lnTo>
                      <a:pt x="164306" y="131540"/>
                    </a:lnTo>
                    <a:lnTo>
                      <a:pt x="165926" y="129064"/>
                    </a:lnTo>
                    <a:lnTo>
                      <a:pt x="168497" y="120587"/>
                    </a:lnTo>
                    <a:lnTo>
                      <a:pt x="169355" y="118015"/>
                    </a:lnTo>
                    <a:lnTo>
                      <a:pt x="170974" y="118015"/>
                    </a:lnTo>
                    <a:lnTo>
                      <a:pt x="171831" y="118015"/>
                    </a:lnTo>
                    <a:lnTo>
                      <a:pt x="173546" y="118015"/>
                    </a:lnTo>
                    <a:lnTo>
                      <a:pt x="175260" y="117253"/>
                    </a:lnTo>
                    <a:lnTo>
                      <a:pt x="176022" y="115538"/>
                    </a:lnTo>
                    <a:lnTo>
                      <a:pt x="176879" y="112967"/>
                    </a:lnTo>
                    <a:lnTo>
                      <a:pt x="177737" y="111347"/>
                    </a:lnTo>
                    <a:lnTo>
                      <a:pt x="177737" y="108775"/>
                    </a:lnTo>
                    <a:lnTo>
                      <a:pt x="177737" y="105442"/>
                    </a:lnTo>
                    <a:lnTo>
                      <a:pt x="182785" y="99536"/>
                    </a:lnTo>
                    <a:lnTo>
                      <a:pt x="184500" y="96107"/>
                    </a:lnTo>
                    <a:lnTo>
                      <a:pt x="186119" y="86011"/>
                    </a:lnTo>
                    <a:lnTo>
                      <a:pt x="187833" y="83439"/>
                    </a:lnTo>
                    <a:lnTo>
                      <a:pt x="190405" y="80105"/>
                    </a:lnTo>
                    <a:lnTo>
                      <a:pt x="191262" y="75057"/>
                    </a:lnTo>
                    <a:lnTo>
                      <a:pt x="190405" y="69151"/>
                    </a:lnTo>
                    <a:lnTo>
                      <a:pt x="190405" y="69151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39" name="Freeform: Shape 143">
                <a:extLst>
                  <a:ext uri="{FF2B5EF4-FFF2-40B4-BE49-F238E27FC236}">
                    <a16:creationId xmlns:a16="http://schemas.microsoft.com/office/drawing/2014/main" id="{238FC2EE-0F25-4FDD-A682-99CCACED5D4B}"/>
                  </a:ext>
                </a:extLst>
              </p:cNvPr>
              <p:cNvSpPr/>
              <p:nvPr/>
            </p:nvSpPr>
            <p:spPr>
              <a:xfrm>
                <a:off x="4981193" y="3505486"/>
                <a:ext cx="904875" cy="742950"/>
              </a:xfrm>
              <a:custGeom>
                <a:avLst/>
                <a:gdLst>
                  <a:gd name="connsiteX0" fmla="*/ 908209 w 904875"/>
                  <a:gd name="connsiteY0" fmla="*/ 297847 h 742950"/>
                  <a:gd name="connsiteX1" fmla="*/ 906494 w 904875"/>
                  <a:gd name="connsiteY1" fmla="*/ 295370 h 742950"/>
                  <a:gd name="connsiteX2" fmla="*/ 904018 w 904875"/>
                  <a:gd name="connsiteY2" fmla="*/ 292799 h 742950"/>
                  <a:gd name="connsiteX3" fmla="*/ 902303 w 904875"/>
                  <a:gd name="connsiteY3" fmla="*/ 291084 h 742950"/>
                  <a:gd name="connsiteX4" fmla="*/ 901446 w 904875"/>
                  <a:gd name="connsiteY4" fmla="*/ 291084 h 742950"/>
                  <a:gd name="connsiteX5" fmla="*/ 900589 w 904875"/>
                  <a:gd name="connsiteY5" fmla="*/ 290322 h 742950"/>
                  <a:gd name="connsiteX6" fmla="*/ 898874 w 904875"/>
                  <a:gd name="connsiteY6" fmla="*/ 290322 h 742950"/>
                  <a:gd name="connsiteX7" fmla="*/ 898017 w 904875"/>
                  <a:gd name="connsiteY7" fmla="*/ 290322 h 742950"/>
                  <a:gd name="connsiteX8" fmla="*/ 895540 w 904875"/>
                  <a:gd name="connsiteY8" fmla="*/ 287750 h 742950"/>
                  <a:gd name="connsiteX9" fmla="*/ 893826 w 904875"/>
                  <a:gd name="connsiteY9" fmla="*/ 286893 h 742950"/>
                  <a:gd name="connsiteX10" fmla="*/ 887920 w 904875"/>
                  <a:gd name="connsiteY10" fmla="*/ 285179 h 742950"/>
                  <a:gd name="connsiteX11" fmla="*/ 887063 w 904875"/>
                  <a:gd name="connsiteY11" fmla="*/ 285179 h 742950"/>
                  <a:gd name="connsiteX12" fmla="*/ 885349 w 904875"/>
                  <a:gd name="connsiteY12" fmla="*/ 283464 h 742950"/>
                  <a:gd name="connsiteX13" fmla="*/ 885349 w 904875"/>
                  <a:gd name="connsiteY13" fmla="*/ 281845 h 742950"/>
                  <a:gd name="connsiteX14" fmla="*/ 883634 w 904875"/>
                  <a:gd name="connsiteY14" fmla="*/ 275844 h 742950"/>
                  <a:gd name="connsiteX15" fmla="*/ 882872 w 904875"/>
                  <a:gd name="connsiteY15" fmla="*/ 274225 h 742950"/>
                  <a:gd name="connsiteX16" fmla="*/ 882015 w 904875"/>
                  <a:gd name="connsiteY16" fmla="*/ 273367 h 742950"/>
                  <a:gd name="connsiteX17" fmla="*/ 881158 w 904875"/>
                  <a:gd name="connsiteY17" fmla="*/ 272510 h 742950"/>
                  <a:gd name="connsiteX18" fmla="*/ 880301 w 904875"/>
                  <a:gd name="connsiteY18" fmla="*/ 272510 h 742950"/>
                  <a:gd name="connsiteX19" fmla="*/ 876110 w 904875"/>
                  <a:gd name="connsiteY19" fmla="*/ 271653 h 742950"/>
                  <a:gd name="connsiteX20" fmla="*/ 874395 w 904875"/>
                  <a:gd name="connsiteY20" fmla="*/ 270796 h 742950"/>
                  <a:gd name="connsiteX21" fmla="*/ 872681 w 904875"/>
                  <a:gd name="connsiteY21" fmla="*/ 269938 h 742950"/>
                  <a:gd name="connsiteX22" fmla="*/ 871823 w 904875"/>
                  <a:gd name="connsiteY22" fmla="*/ 268319 h 742950"/>
                  <a:gd name="connsiteX23" fmla="*/ 870966 w 904875"/>
                  <a:gd name="connsiteY23" fmla="*/ 266605 h 742950"/>
                  <a:gd name="connsiteX24" fmla="*/ 870109 w 904875"/>
                  <a:gd name="connsiteY24" fmla="*/ 262319 h 742950"/>
                  <a:gd name="connsiteX25" fmla="*/ 869347 w 904875"/>
                  <a:gd name="connsiteY25" fmla="*/ 261461 h 742950"/>
                  <a:gd name="connsiteX26" fmla="*/ 868490 w 904875"/>
                  <a:gd name="connsiteY26" fmla="*/ 259842 h 742950"/>
                  <a:gd name="connsiteX27" fmla="*/ 867632 w 904875"/>
                  <a:gd name="connsiteY27" fmla="*/ 259842 h 742950"/>
                  <a:gd name="connsiteX28" fmla="*/ 866775 w 904875"/>
                  <a:gd name="connsiteY28" fmla="*/ 259842 h 742950"/>
                  <a:gd name="connsiteX29" fmla="*/ 865918 w 904875"/>
                  <a:gd name="connsiteY29" fmla="*/ 259842 h 742950"/>
                  <a:gd name="connsiteX30" fmla="*/ 865061 w 904875"/>
                  <a:gd name="connsiteY30" fmla="*/ 259842 h 742950"/>
                  <a:gd name="connsiteX31" fmla="*/ 864203 w 904875"/>
                  <a:gd name="connsiteY31" fmla="*/ 260699 h 742950"/>
                  <a:gd name="connsiteX32" fmla="*/ 863346 w 904875"/>
                  <a:gd name="connsiteY32" fmla="*/ 261461 h 742950"/>
                  <a:gd name="connsiteX33" fmla="*/ 863346 w 904875"/>
                  <a:gd name="connsiteY33" fmla="*/ 262319 h 742950"/>
                  <a:gd name="connsiteX34" fmla="*/ 863346 w 904875"/>
                  <a:gd name="connsiteY34" fmla="*/ 262319 h 742950"/>
                  <a:gd name="connsiteX35" fmla="*/ 863346 w 904875"/>
                  <a:gd name="connsiteY35" fmla="*/ 263176 h 742950"/>
                  <a:gd name="connsiteX36" fmla="*/ 863346 w 904875"/>
                  <a:gd name="connsiteY36" fmla="*/ 264033 h 742950"/>
                  <a:gd name="connsiteX37" fmla="*/ 863346 w 904875"/>
                  <a:gd name="connsiteY37" fmla="*/ 264033 h 742950"/>
                  <a:gd name="connsiteX38" fmla="*/ 863346 w 904875"/>
                  <a:gd name="connsiteY38" fmla="*/ 264890 h 742950"/>
                  <a:gd name="connsiteX39" fmla="*/ 863346 w 904875"/>
                  <a:gd name="connsiteY39" fmla="*/ 264890 h 742950"/>
                  <a:gd name="connsiteX40" fmla="*/ 862584 w 904875"/>
                  <a:gd name="connsiteY40" fmla="*/ 264890 h 742950"/>
                  <a:gd name="connsiteX41" fmla="*/ 861727 w 904875"/>
                  <a:gd name="connsiteY41" fmla="*/ 264890 h 742950"/>
                  <a:gd name="connsiteX42" fmla="*/ 860012 w 904875"/>
                  <a:gd name="connsiteY42" fmla="*/ 264890 h 742950"/>
                  <a:gd name="connsiteX43" fmla="*/ 857440 w 904875"/>
                  <a:gd name="connsiteY43" fmla="*/ 264033 h 742950"/>
                  <a:gd name="connsiteX44" fmla="*/ 855726 w 904875"/>
                  <a:gd name="connsiteY44" fmla="*/ 264033 h 742950"/>
                  <a:gd name="connsiteX45" fmla="*/ 854964 w 904875"/>
                  <a:gd name="connsiteY45" fmla="*/ 263176 h 742950"/>
                  <a:gd name="connsiteX46" fmla="*/ 854964 w 904875"/>
                  <a:gd name="connsiteY46" fmla="*/ 262319 h 742950"/>
                  <a:gd name="connsiteX47" fmla="*/ 854964 w 904875"/>
                  <a:gd name="connsiteY47" fmla="*/ 261461 h 742950"/>
                  <a:gd name="connsiteX48" fmla="*/ 855726 w 904875"/>
                  <a:gd name="connsiteY48" fmla="*/ 260699 h 742950"/>
                  <a:gd name="connsiteX49" fmla="*/ 856583 w 904875"/>
                  <a:gd name="connsiteY49" fmla="*/ 259842 h 742950"/>
                  <a:gd name="connsiteX50" fmla="*/ 859155 w 904875"/>
                  <a:gd name="connsiteY50" fmla="*/ 259842 h 742950"/>
                  <a:gd name="connsiteX51" fmla="*/ 860870 w 904875"/>
                  <a:gd name="connsiteY51" fmla="*/ 258985 h 742950"/>
                  <a:gd name="connsiteX52" fmla="*/ 861727 w 904875"/>
                  <a:gd name="connsiteY52" fmla="*/ 258128 h 742950"/>
                  <a:gd name="connsiteX53" fmla="*/ 861727 w 904875"/>
                  <a:gd name="connsiteY53" fmla="*/ 257270 h 742950"/>
                  <a:gd name="connsiteX54" fmla="*/ 862584 w 904875"/>
                  <a:gd name="connsiteY54" fmla="*/ 257270 h 742950"/>
                  <a:gd name="connsiteX55" fmla="*/ 862584 w 904875"/>
                  <a:gd name="connsiteY55" fmla="*/ 256413 h 742950"/>
                  <a:gd name="connsiteX56" fmla="*/ 863346 w 904875"/>
                  <a:gd name="connsiteY56" fmla="*/ 254699 h 742950"/>
                  <a:gd name="connsiteX57" fmla="*/ 863346 w 904875"/>
                  <a:gd name="connsiteY57" fmla="*/ 253841 h 742950"/>
                  <a:gd name="connsiteX58" fmla="*/ 862584 w 904875"/>
                  <a:gd name="connsiteY58" fmla="*/ 253079 h 742950"/>
                  <a:gd name="connsiteX59" fmla="*/ 861727 w 904875"/>
                  <a:gd name="connsiteY59" fmla="*/ 253079 h 742950"/>
                  <a:gd name="connsiteX60" fmla="*/ 858298 w 904875"/>
                  <a:gd name="connsiteY60" fmla="*/ 252222 h 742950"/>
                  <a:gd name="connsiteX61" fmla="*/ 857440 w 904875"/>
                  <a:gd name="connsiteY61" fmla="*/ 252222 h 742950"/>
                  <a:gd name="connsiteX62" fmla="*/ 857440 w 904875"/>
                  <a:gd name="connsiteY62" fmla="*/ 251365 h 742950"/>
                  <a:gd name="connsiteX63" fmla="*/ 856583 w 904875"/>
                  <a:gd name="connsiteY63" fmla="*/ 251365 h 742950"/>
                  <a:gd name="connsiteX64" fmla="*/ 856583 w 904875"/>
                  <a:gd name="connsiteY64" fmla="*/ 250508 h 742950"/>
                  <a:gd name="connsiteX65" fmla="*/ 856583 w 904875"/>
                  <a:gd name="connsiteY65" fmla="*/ 249650 h 742950"/>
                  <a:gd name="connsiteX66" fmla="*/ 857440 w 904875"/>
                  <a:gd name="connsiteY66" fmla="*/ 247936 h 742950"/>
                  <a:gd name="connsiteX67" fmla="*/ 858298 w 904875"/>
                  <a:gd name="connsiteY67" fmla="*/ 246317 h 742950"/>
                  <a:gd name="connsiteX68" fmla="*/ 859155 w 904875"/>
                  <a:gd name="connsiteY68" fmla="*/ 245459 h 742950"/>
                  <a:gd name="connsiteX69" fmla="*/ 860012 w 904875"/>
                  <a:gd name="connsiteY69" fmla="*/ 244602 h 742950"/>
                  <a:gd name="connsiteX70" fmla="*/ 860870 w 904875"/>
                  <a:gd name="connsiteY70" fmla="*/ 245459 h 742950"/>
                  <a:gd name="connsiteX71" fmla="*/ 864203 w 904875"/>
                  <a:gd name="connsiteY71" fmla="*/ 247079 h 742950"/>
                  <a:gd name="connsiteX72" fmla="*/ 865918 w 904875"/>
                  <a:gd name="connsiteY72" fmla="*/ 247079 h 742950"/>
                  <a:gd name="connsiteX73" fmla="*/ 866775 w 904875"/>
                  <a:gd name="connsiteY73" fmla="*/ 247936 h 742950"/>
                  <a:gd name="connsiteX74" fmla="*/ 867632 w 904875"/>
                  <a:gd name="connsiteY74" fmla="*/ 247936 h 742950"/>
                  <a:gd name="connsiteX75" fmla="*/ 868490 w 904875"/>
                  <a:gd name="connsiteY75" fmla="*/ 247079 h 742950"/>
                  <a:gd name="connsiteX76" fmla="*/ 868490 w 904875"/>
                  <a:gd name="connsiteY76" fmla="*/ 246317 h 742950"/>
                  <a:gd name="connsiteX77" fmla="*/ 868490 w 904875"/>
                  <a:gd name="connsiteY77" fmla="*/ 244602 h 742950"/>
                  <a:gd name="connsiteX78" fmla="*/ 869347 w 904875"/>
                  <a:gd name="connsiteY78" fmla="*/ 237839 h 742950"/>
                  <a:gd name="connsiteX79" fmla="*/ 870109 w 904875"/>
                  <a:gd name="connsiteY79" fmla="*/ 235267 h 742950"/>
                  <a:gd name="connsiteX80" fmla="*/ 870966 w 904875"/>
                  <a:gd name="connsiteY80" fmla="*/ 234410 h 742950"/>
                  <a:gd name="connsiteX81" fmla="*/ 870966 w 904875"/>
                  <a:gd name="connsiteY81" fmla="*/ 233553 h 742950"/>
                  <a:gd name="connsiteX82" fmla="*/ 870966 w 904875"/>
                  <a:gd name="connsiteY82" fmla="*/ 232696 h 742950"/>
                  <a:gd name="connsiteX83" fmla="*/ 870966 w 904875"/>
                  <a:gd name="connsiteY83" fmla="*/ 229362 h 742950"/>
                  <a:gd name="connsiteX84" fmla="*/ 867632 w 904875"/>
                  <a:gd name="connsiteY84" fmla="*/ 222599 h 742950"/>
                  <a:gd name="connsiteX85" fmla="*/ 866775 w 904875"/>
                  <a:gd name="connsiteY85" fmla="*/ 221742 h 742950"/>
                  <a:gd name="connsiteX86" fmla="*/ 865918 w 904875"/>
                  <a:gd name="connsiteY86" fmla="*/ 221742 h 742950"/>
                  <a:gd name="connsiteX87" fmla="*/ 865061 w 904875"/>
                  <a:gd name="connsiteY87" fmla="*/ 221742 h 742950"/>
                  <a:gd name="connsiteX88" fmla="*/ 856583 w 904875"/>
                  <a:gd name="connsiteY88" fmla="*/ 220885 h 742950"/>
                  <a:gd name="connsiteX89" fmla="*/ 855726 w 904875"/>
                  <a:gd name="connsiteY89" fmla="*/ 220885 h 742950"/>
                  <a:gd name="connsiteX90" fmla="*/ 854964 w 904875"/>
                  <a:gd name="connsiteY90" fmla="*/ 220028 h 742950"/>
                  <a:gd name="connsiteX91" fmla="*/ 854964 w 904875"/>
                  <a:gd name="connsiteY91" fmla="*/ 219170 h 742950"/>
                  <a:gd name="connsiteX92" fmla="*/ 856583 w 904875"/>
                  <a:gd name="connsiteY92" fmla="*/ 214979 h 742950"/>
                  <a:gd name="connsiteX93" fmla="*/ 856583 w 904875"/>
                  <a:gd name="connsiteY93" fmla="*/ 213265 h 742950"/>
                  <a:gd name="connsiteX94" fmla="*/ 855726 w 904875"/>
                  <a:gd name="connsiteY94" fmla="*/ 212408 h 742950"/>
                  <a:gd name="connsiteX95" fmla="*/ 856583 w 904875"/>
                  <a:gd name="connsiteY95" fmla="*/ 210693 h 742950"/>
                  <a:gd name="connsiteX96" fmla="*/ 857440 w 904875"/>
                  <a:gd name="connsiteY96" fmla="*/ 209074 h 742950"/>
                  <a:gd name="connsiteX97" fmla="*/ 858298 w 904875"/>
                  <a:gd name="connsiteY97" fmla="*/ 208217 h 742950"/>
                  <a:gd name="connsiteX98" fmla="*/ 860012 w 904875"/>
                  <a:gd name="connsiteY98" fmla="*/ 208217 h 742950"/>
                  <a:gd name="connsiteX99" fmla="*/ 865918 w 904875"/>
                  <a:gd name="connsiteY99" fmla="*/ 207359 h 742950"/>
                  <a:gd name="connsiteX100" fmla="*/ 866775 w 904875"/>
                  <a:gd name="connsiteY100" fmla="*/ 207359 h 742950"/>
                  <a:gd name="connsiteX101" fmla="*/ 868490 w 904875"/>
                  <a:gd name="connsiteY101" fmla="*/ 206502 h 742950"/>
                  <a:gd name="connsiteX102" fmla="*/ 870109 w 904875"/>
                  <a:gd name="connsiteY102" fmla="*/ 205645 h 742950"/>
                  <a:gd name="connsiteX103" fmla="*/ 872681 w 904875"/>
                  <a:gd name="connsiteY103" fmla="*/ 202311 h 742950"/>
                  <a:gd name="connsiteX104" fmla="*/ 874395 w 904875"/>
                  <a:gd name="connsiteY104" fmla="*/ 201454 h 742950"/>
                  <a:gd name="connsiteX105" fmla="*/ 875252 w 904875"/>
                  <a:gd name="connsiteY105" fmla="*/ 201454 h 742950"/>
                  <a:gd name="connsiteX106" fmla="*/ 877729 w 904875"/>
                  <a:gd name="connsiteY106" fmla="*/ 200596 h 742950"/>
                  <a:gd name="connsiteX107" fmla="*/ 877729 w 904875"/>
                  <a:gd name="connsiteY107" fmla="*/ 199739 h 742950"/>
                  <a:gd name="connsiteX108" fmla="*/ 878586 w 904875"/>
                  <a:gd name="connsiteY108" fmla="*/ 198882 h 742950"/>
                  <a:gd name="connsiteX109" fmla="*/ 878586 w 904875"/>
                  <a:gd name="connsiteY109" fmla="*/ 198025 h 742950"/>
                  <a:gd name="connsiteX110" fmla="*/ 877729 w 904875"/>
                  <a:gd name="connsiteY110" fmla="*/ 195453 h 742950"/>
                  <a:gd name="connsiteX111" fmla="*/ 877729 w 904875"/>
                  <a:gd name="connsiteY111" fmla="*/ 194691 h 742950"/>
                  <a:gd name="connsiteX112" fmla="*/ 876872 w 904875"/>
                  <a:gd name="connsiteY112" fmla="*/ 192976 h 742950"/>
                  <a:gd name="connsiteX113" fmla="*/ 876872 w 904875"/>
                  <a:gd name="connsiteY113" fmla="*/ 191262 h 742950"/>
                  <a:gd name="connsiteX114" fmla="*/ 876872 w 904875"/>
                  <a:gd name="connsiteY114" fmla="*/ 183642 h 742950"/>
                  <a:gd name="connsiteX115" fmla="*/ 877729 w 904875"/>
                  <a:gd name="connsiteY115" fmla="*/ 182785 h 742950"/>
                  <a:gd name="connsiteX116" fmla="*/ 878586 w 904875"/>
                  <a:gd name="connsiteY116" fmla="*/ 181070 h 742950"/>
                  <a:gd name="connsiteX117" fmla="*/ 878586 w 904875"/>
                  <a:gd name="connsiteY117" fmla="*/ 179451 h 742950"/>
                  <a:gd name="connsiteX118" fmla="*/ 879443 w 904875"/>
                  <a:gd name="connsiteY118" fmla="*/ 178594 h 742950"/>
                  <a:gd name="connsiteX119" fmla="*/ 878586 w 904875"/>
                  <a:gd name="connsiteY119" fmla="*/ 176879 h 742950"/>
                  <a:gd name="connsiteX120" fmla="*/ 878586 w 904875"/>
                  <a:gd name="connsiteY120" fmla="*/ 176022 h 742950"/>
                  <a:gd name="connsiteX121" fmla="*/ 877729 w 904875"/>
                  <a:gd name="connsiteY121" fmla="*/ 175165 h 742950"/>
                  <a:gd name="connsiteX122" fmla="*/ 877729 w 904875"/>
                  <a:gd name="connsiteY122" fmla="*/ 174308 h 742950"/>
                  <a:gd name="connsiteX123" fmla="*/ 877729 w 904875"/>
                  <a:gd name="connsiteY123" fmla="*/ 169259 h 742950"/>
                  <a:gd name="connsiteX124" fmla="*/ 878586 w 904875"/>
                  <a:gd name="connsiteY124" fmla="*/ 169259 h 742950"/>
                  <a:gd name="connsiteX125" fmla="*/ 878586 w 904875"/>
                  <a:gd name="connsiteY125" fmla="*/ 168402 h 742950"/>
                  <a:gd name="connsiteX126" fmla="*/ 877729 w 904875"/>
                  <a:gd name="connsiteY126" fmla="*/ 167545 h 742950"/>
                  <a:gd name="connsiteX127" fmla="*/ 876872 w 904875"/>
                  <a:gd name="connsiteY127" fmla="*/ 167545 h 742950"/>
                  <a:gd name="connsiteX128" fmla="*/ 876872 w 904875"/>
                  <a:gd name="connsiteY128" fmla="*/ 166688 h 742950"/>
                  <a:gd name="connsiteX129" fmla="*/ 876110 w 904875"/>
                  <a:gd name="connsiteY129" fmla="*/ 166688 h 742950"/>
                  <a:gd name="connsiteX130" fmla="*/ 874395 w 904875"/>
                  <a:gd name="connsiteY130" fmla="*/ 165925 h 742950"/>
                  <a:gd name="connsiteX131" fmla="*/ 873538 w 904875"/>
                  <a:gd name="connsiteY131" fmla="*/ 165925 h 742950"/>
                  <a:gd name="connsiteX132" fmla="*/ 872681 w 904875"/>
                  <a:gd name="connsiteY132" fmla="*/ 165925 h 742950"/>
                  <a:gd name="connsiteX133" fmla="*/ 871823 w 904875"/>
                  <a:gd name="connsiteY133" fmla="*/ 165925 h 742950"/>
                  <a:gd name="connsiteX134" fmla="*/ 870109 w 904875"/>
                  <a:gd name="connsiteY134" fmla="*/ 167545 h 742950"/>
                  <a:gd name="connsiteX135" fmla="*/ 868490 w 904875"/>
                  <a:gd name="connsiteY135" fmla="*/ 168402 h 742950"/>
                  <a:gd name="connsiteX136" fmla="*/ 867632 w 904875"/>
                  <a:gd name="connsiteY136" fmla="*/ 169259 h 742950"/>
                  <a:gd name="connsiteX137" fmla="*/ 865918 w 904875"/>
                  <a:gd name="connsiteY137" fmla="*/ 169259 h 742950"/>
                  <a:gd name="connsiteX138" fmla="*/ 865061 w 904875"/>
                  <a:gd name="connsiteY138" fmla="*/ 169259 h 742950"/>
                  <a:gd name="connsiteX139" fmla="*/ 865061 w 904875"/>
                  <a:gd name="connsiteY139" fmla="*/ 168402 h 742950"/>
                  <a:gd name="connsiteX140" fmla="*/ 864203 w 904875"/>
                  <a:gd name="connsiteY140" fmla="*/ 168402 h 742950"/>
                  <a:gd name="connsiteX141" fmla="*/ 864203 w 904875"/>
                  <a:gd name="connsiteY141" fmla="*/ 167545 h 742950"/>
                  <a:gd name="connsiteX142" fmla="*/ 864203 w 904875"/>
                  <a:gd name="connsiteY142" fmla="*/ 166688 h 742950"/>
                  <a:gd name="connsiteX143" fmla="*/ 864203 w 904875"/>
                  <a:gd name="connsiteY143" fmla="*/ 165925 h 742950"/>
                  <a:gd name="connsiteX144" fmla="*/ 865061 w 904875"/>
                  <a:gd name="connsiteY144" fmla="*/ 164211 h 742950"/>
                  <a:gd name="connsiteX145" fmla="*/ 865918 w 904875"/>
                  <a:gd name="connsiteY145" fmla="*/ 162496 h 742950"/>
                  <a:gd name="connsiteX146" fmla="*/ 866775 w 904875"/>
                  <a:gd name="connsiteY146" fmla="*/ 162496 h 742950"/>
                  <a:gd name="connsiteX147" fmla="*/ 870966 w 904875"/>
                  <a:gd name="connsiteY147" fmla="*/ 159925 h 742950"/>
                  <a:gd name="connsiteX148" fmla="*/ 871823 w 904875"/>
                  <a:gd name="connsiteY148" fmla="*/ 159067 h 742950"/>
                  <a:gd name="connsiteX149" fmla="*/ 872681 w 904875"/>
                  <a:gd name="connsiteY149" fmla="*/ 158305 h 742950"/>
                  <a:gd name="connsiteX150" fmla="*/ 872681 w 904875"/>
                  <a:gd name="connsiteY150" fmla="*/ 156591 h 742950"/>
                  <a:gd name="connsiteX151" fmla="*/ 870966 w 904875"/>
                  <a:gd name="connsiteY151" fmla="*/ 146399 h 742950"/>
                  <a:gd name="connsiteX152" fmla="*/ 870966 w 904875"/>
                  <a:gd name="connsiteY152" fmla="*/ 135446 h 742950"/>
                  <a:gd name="connsiteX153" fmla="*/ 870966 w 904875"/>
                  <a:gd name="connsiteY153" fmla="*/ 132874 h 742950"/>
                  <a:gd name="connsiteX154" fmla="*/ 870966 w 904875"/>
                  <a:gd name="connsiteY154" fmla="*/ 132017 h 742950"/>
                  <a:gd name="connsiteX155" fmla="*/ 870109 w 904875"/>
                  <a:gd name="connsiteY155" fmla="*/ 130302 h 742950"/>
                  <a:gd name="connsiteX156" fmla="*/ 870109 w 904875"/>
                  <a:gd name="connsiteY156" fmla="*/ 129445 h 742950"/>
                  <a:gd name="connsiteX157" fmla="*/ 869347 w 904875"/>
                  <a:gd name="connsiteY157" fmla="*/ 128683 h 742950"/>
                  <a:gd name="connsiteX158" fmla="*/ 868490 w 904875"/>
                  <a:gd name="connsiteY158" fmla="*/ 128683 h 742950"/>
                  <a:gd name="connsiteX159" fmla="*/ 867632 w 904875"/>
                  <a:gd name="connsiteY159" fmla="*/ 127825 h 742950"/>
                  <a:gd name="connsiteX160" fmla="*/ 866775 w 904875"/>
                  <a:gd name="connsiteY160" fmla="*/ 128683 h 742950"/>
                  <a:gd name="connsiteX161" fmla="*/ 865061 w 904875"/>
                  <a:gd name="connsiteY161" fmla="*/ 128683 h 742950"/>
                  <a:gd name="connsiteX162" fmla="*/ 864203 w 904875"/>
                  <a:gd name="connsiteY162" fmla="*/ 129445 h 742950"/>
                  <a:gd name="connsiteX163" fmla="*/ 863346 w 904875"/>
                  <a:gd name="connsiteY163" fmla="*/ 129445 h 742950"/>
                  <a:gd name="connsiteX164" fmla="*/ 862584 w 904875"/>
                  <a:gd name="connsiteY164" fmla="*/ 128683 h 742950"/>
                  <a:gd name="connsiteX165" fmla="*/ 861727 w 904875"/>
                  <a:gd name="connsiteY165" fmla="*/ 128683 h 742950"/>
                  <a:gd name="connsiteX166" fmla="*/ 860870 w 904875"/>
                  <a:gd name="connsiteY166" fmla="*/ 127825 h 742950"/>
                  <a:gd name="connsiteX167" fmla="*/ 860012 w 904875"/>
                  <a:gd name="connsiteY167" fmla="*/ 126968 h 742950"/>
                  <a:gd name="connsiteX168" fmla="*/ 859155 w 904875"/>
                  <a:gd name="connsiteY168" fmla="*/ 126111 h 742950"/>
                  <a:gd name="connsiteX169" fmla="*/ 858298 w 904875"/>
                  <a:gd name="connsiteY169" fmla="*/ 123539 h 742950"/>
                  <a:gd name="connsiteX170" fmla="*/ 857440 w 904875"/>
                  <a:gd name="connsiteY170" fmla="*/ 121063 h 742950"/>
                  <a:gd name="connsiteX171" fmla="*/ 857440 w 904875"/>
                  <a:gd name="connsiteY171" fmla="*/ 119348 h 742950"/>
                  <a:gd name="connsiteX172" fmla="*/ 857440 w 904875"/>
                  <a:gd name="connsiteY172" fmla="*/ 117634 h 742950"/>
                  <a:gd name="connsiteX173" fmla="*/ 859155 w 904875"/>
                  <a:gd name="connsiteY173" fmla="*/ 113443 h 742950"/>
                  <a:gd name="connsiteX174" fmla="*/ 860012 w 904875"/>
                  <a:gd name="connsiteY174" fmla="*/ 105823 h 742950"/>
                  <a:gd name="connsiteX175" fmla="*/ 860012 w 904875"/>
                  <a:gd name="connsiteY175" fmla="*/ 104966 h 742950"/>
                  <a:gd name="connsiteX176" fmla="*/ 860870 w 904875"/>
                  <a:gd name="connsiteY176" fmla="*/ 103251 h 742950"/>
                  <a:gd name="connsiteX177" fmla="*/ 861727 w 904875"/>
                  <a:gd name="connsiteY177" fmla="*/ 102394 h 742950"/>
                  <a:gd name="connsiteX178" fmla="*/ 863346 w 904875"/>
                  <a:gd name="connsiteY178" fmla="*/ 101537 h 742950"/>
                  <a:gd name="connsiteX179" fmla="*/ 870109 w 904875"/>
                  <a:gd name="connsiteY179" fmla="*/ 96488 h 742950"/>
                  <a:gd name="connsiteX180" fmla="*/ 878586 w 904875"/>
                  <a:gd name="connsiteY180" fmla="*/ 92297 h 742950"/>
                  <a:gd name="connsiteX181" fmla="*/ 880301 w 904875"/>
                  <a:gd name="connsiteY181" fmla="*/ 91440 h 742950"/>
                  <a:gd name="connsiteX182" fmla="*/ 882872 w 904875"/>
                  <a:gd name="connsiteY182" fmla="*/ 88011 h 742950"/>
                  <a:gd name="connsiteX183" fmla="*/ 884492 w 904875"/>
                  <a:gd name="connsiteY183" fmla="*/ 85439 h 742950"/>
                  <a:gd name="connsiteX184" fmla="*/ 884492 w 904875"/>
                  <a:gd name="connsiteY184" fmla="*/ 79534 h 742950"/>
                  <a:gd name="connsiteX185" fmla="*/ 882872 w 904875"/>
                  <a:gd name="connsiteY185" fmla="*/ 80391 h 742950"/>
                  <a:gd name="connsiteX186" fmla="*/ 880301 w 904875"/>
                  <a:gd name="connsiteY186" fmla="*/ 82105 h 742950"/>
                  <a:gd name="connsiteX187" fmla="*/ 880301 w 904875"/>
                  <a:gd name="connsiteY187" fmla="*/ 82105 h 742950"/>
                  <a:gd name="connsiteX188" fmla="*/ 879443 w 904875"/>
                  <a:gd name="connsiteY188" fmla="*/ 82105 h 742950"/>
                  <a:gd name="connsiteX189" fmla="*/ 878586 w 904875"/>
                  <a:gd name="connsiteY189" fmla="*/ 82105 h 742950"/>
                  <a:gd name="connsiteX190" fmla="*/ 876872 w 904875"/>
                  <a:gd name="connsiteY190" fmla="*/ 82105 h 742950"/>
                  <a:gd name="connsiteX191" fmla="*/ 865061 w 904875"/>
                  <a:gd name="connsiteY191" fmla="*/ 74486 h 742950"/>
                  <a:gd name="connsiteX192" fmla="*/ 863346 w 904875"/>
                  <a:gd name="connsiteY192" fmla="*/ 73628 h 742950"/>
                  <a:gd name="connsiteX193" fmla="*/ 861727 w 904875"/>
                  <a:gd name="connsiteY193" fmla="*/ 73628 h 742950"/>
                  <a:gd name="connsiteX194" fmla="*/ 860870 w 904875"/>
                  <a:gd name="connsiteY194" fmla="*/ 73628 h 742950"/>
                  <a:gd name="connsiteX195" fmla="*/ 860012 w 904875"/>
                  <a:gd name="connsiteY195" fmla="*/ 73628 h 742950"/>
                  <a:gd name="connsiteX196" fmla="*/ 856583 w 904875"/>
                  <a:gd name="connsiteY196" fmla="*/ 74486 h 742950"/>
                  <a:gd name="connsiteX197" fmla="*/ 855726 w 904875"/>
                  <a:gd name="connsiteY197" fmla="*/ 74486 h 742950"/>
                  <a:gd name="connsiteX198" fmla="*/ 854964 w 904875"/>
                  <a:gd name="connsiteY198" fmla="*/ 74486 h 742950"/>
                  <a:gd name="connsiteX199" fmla="*/ 854107 w 904875"/>
                  <a:gd name="connsiteY199" fmla="*/ 74486 h 742950"/>
                  <a:gd name="connsiteX200" fmla="*/ 853249 w 904875"/>
                  <a:gd name="connsiteY200" fmla="*/ 73628 h 742950"/>
                  <a:gd name="connsiteX201" fmla="*/ 853249 w 904875"/>
                  <a:gd name="connsiteY201" fmla="*/ 72771 h 742950"/>
                  <a:gd name="connsiteX202" fmla="*/ 853249 w 904875"/>
                  <a:gd name="connsiteY202" fmla="*/ 71914 h 742950"/>
                  <a:gd name="connsiteX203" fmla="*/ 854964 w 904875"/>
                  <a:gd name="connsiteY203" fmla="*/ 69437 h 742950"/>
                  <a:gd name="connsiteX204" fmla="*/ 855726 w 904875"/>
                  <a:gd name="connsiteY204" fmla="*/ 69437 h 742950"/>
                  <a:gd name="connsiteX205" fmla="*/ 855726 w 904875"/>
                  <a:gd name="connsiteY205" fmla="*/ 68580 h 742950"/>
                  <a:gd name="connsiteX206" fmla="*/ 855726 w 904875"/>
                  <a:gd name="connsiteY206" fmla="*/ 68580 h 742950"/>
                  <a:gd name="connsiteX207" fmla="*/ 854964 w 904875"/>
                  <a:gd name="connsiteY207" fmla="*/ 66866 h 742950"/>
                  <a:gd name="connsiteX208" fmla="*/ 854964 w 904875"/>
                  <a:gd name="connsiteY208" fmla="*/ 66008 h 742950"/>
                  <a:gd name="connsiteX209" fmla="*/ 854107 w 904875"/>
                  <a:gd name="connsiteY209" fmla="*/ 64294 h 742950"/>
                  <a:gd name="connsiteX210" fmla="*/ 852392 w 904875"/>
                  <a:gd name="connsiteY210" fmla="*/ 62675 h 742950"/>
                  <a:gd name="connsiteX211" fmla="*/ 846487 w 904875"/>
                  <a:gd name="connsiteY211" fmla="*/ 59246 h 742950"/>
                  <a:gd name="connsiteX212" fmla="*/ 845630 w 904875"/>
                  <a:gd name="connsiteY212" fmla="*/ 57531 h 742950"/>
                  <a:gd name="connsiteX213" fmla="*/ 844772 w 904875"/>
                  <a:gd name="connsiteY213" fmla="*/ 55912 h 742950"/>
                  <a:gd name="connsiteX214" fmla="*/ 844772 w 904875"/>
                  <a:gd name="connsiteY214" fmla="*/ 55054 h 742950"/>
                  <a:gd name="connsiteX215" fmla="*/ 844772 w 904875"/>
                  <a:gd name="connsiteY215" fmla="*/ 54197 h 742950"/>
                  <a:gd name="connsiteX216" fmla="*/ 844772 w 904875"/>
                  <a:gd name="connsiteY216" fmla="*/ 53340 h 742950"/>
                  <a:gd name="connsiteX217" fmla="*/ 843915 w 904875"/>
                  <a:gd name="connsiteY217" fmla="*/ 52483 h 742950"/>
                  <a:gd name="connsiteX218" fmla="*/ 839724 w 904875"/>
                  <a:gd name="connsiteY218" fmla="*/ 51625 h 742950"/>
                  <a:gd name="connsiteX219" fmla="*/ 837152 w 904875"/>
                  <a:gd name="connsiteY219" fmla="*/ 50768 h 742950"/>
                  <a:gd name="connsiteX220" fmla="*/ 832104 w 904875"/>
                  <a:gd name="connsiteY220" fmla="*/ 47434 h 742950"/>
                  <a:gd name="connsiteX221" fmla="*/ 830390 w 904875"/>
                  <a:gd name="connsiteY221" fmla="*/ 45720 h 742950"/>
                  <a:gd name="connsiteX222" fmla="*/ 829532 w 904875"/>
                  <a:gd name="connsiteY222" fmla="*/ 46577 h 742950"/>
                  <a:gd name="connsiteX223" fmla="*/ 828675 w 904875"/>
                  <a:gd name="connsiteY223" fmla="*/ 47434 h 742950"/>
                  <a:gd name="connsiteX224" fmla="*/ 827913 w 904875"/>
                  <a:gd name="connsiteY224" fmla="*/ 47434 h 742950"/>
                  <a:gd name="connsiteX225" fmla="*/ 821912 w 904875"/>
                  <a:gd name="connsiteY225" fmla="*/ 49911 h 742950"/>
                  <a:gd name="connsiteX226" fmla="*/ 819436 w 904875"/>
                  <a:gd name="connsiteY226" fmla="*/ 50768 h 742950"/>
                  <a:gd name="connsiteX227" fmla="*/ 818578 w 904875"/>
                  <a:gd name="connsiteY227" fmla="*/ 53340 h 742950"/>
                  <a:gd name="connsiteX228" fmla="*/ 810101 w 904875"/>
                  <a:gd name="connsiteY228" fmla="*/ 55912 h 742950"/>
                  <a:gd name="connsiteX229" fmla="*/ 808387 w 904875"/>
                  <a:gd name="connsiteY229" fmla="*/ 55912 h 742950"/>
                  <a:gd name="connsiteX230" fmla="*/ 807530 w 904875"/>
                  <a:gd name="connsiteY230" fmla="*/ 55912 h 742950"/>
                  <a:gd name="connsiteX231" fmla="*/ 807530 w 904875"/>
                  <a:gd name="connsiteY231" fmla="*/ 55912 h 742950"/>
                  <a:gd name="connsiteX232" fmla="*/ 807530 w 904875"/>
                  <a:gd name="connsiteY232" fmla="*/ 55054 h 742950"/>
                  <a:gd name="connsiteX233" fmla="*/ 807530 w 904875"/>
                  <a:gd name="connsiteY233" fmla="*/ 55054 h 742950"/>
                  <a:gd name="connsiteX234" fmla="*/ 806768 w 904875"/>
                  <a:gd name="connsiteY234" fmla="*/ 55054 h 742950"/>
                  <a:gd name="connsiteX235" fmla="*/ 805910 w 904875"/>
                  <a:gd name="connsiteY235" fmla="*/ 54197 h 742950"/>
                  <a:gd name="connsiteX236" fmla="*/ 803339 w 904875"/>
                  <a:gd name="connsiteY236" fmla="*/ 55054 h 742950"/>
                  <a:gd name="connsiteX237" fmla="*/ 802481 w 904875"/>
                  <a:gd name="connsiteY237" fmla="*/ 55912 h 742950"/>
                  <a:gd name="connsiteX238" fmla="*/ 800767 w 904875"/>
                  <a:gd name="connsiteY238" fmla="*/ 56674 h 742950"/>
                  <a:gd name="connsiteX239" fmla="*/ 800005 w 904875"/>
                  <a:gd name="connsiteY239" fmla="*/ 57531 h 742950"/>
                  <a:gd name="connsiteX240" fmla="*/ 798290 w 904875"/>
                  <a:gd name="connsiteY240" fmla="*/ 58388 h 742950"/>
                  <a:gd name="connsiteX241" fmla="*/ 796576 w 904875"/>
                  <a:gd name="connsiteY241" fmla="*/ 58388 h 742950"/>
                  <a:gd name="connsiteX242" fmla="*/ 794004 w 904875"/>
                  <a:gd name="connsiteY242" fmla="*/ 58388 h 742950"/>
                  <a:gd name="connsiteX243" fmla="*/ 793242 w 904875"/>
                  <a:gd name="connsiteY243" fmla="*/ 58388 h 742950"/>
                  <a:gd name="connsiteX244" fmla="*/ 792385 w 904875"/>
                  <a:gd name="connsiteY244" fmla="*/ 58388 h 742950"/>
                  <a:gd name="connsiteX245" fmla="*/ 791528 w 904875"/>
                  <a:gd name="connsiteY245" fmla="*/ 56674 h 742950"/>
                  <a:gd name="connsiteX246" fmla="*/ 790670 w 904875"/>
                  <a:gd name="connsiteY246" fmla="*/ 55054 h 742950"/>
                  <a:gd name="connsiteX247" fmla="*/ 789813 w 904875"/>
                  <a:gd name="connsiteY247" fmla="*/ 54197 h 742950"/>
                  <a:gd name="connsiteX248" fmla="*/ 788956 w 904875"/>
                  <a:gd name="connsiteY248" fmla="*/ 52483 h 742950"/>
                  <a:gd name="connsiteX249" fmla="*/ 787241 w 904875"/>
                  <a:gd name="connsiteY249" fmla="*/ 51625 h 742950"/>
                  <a:gd name="connsiteX250" fmla="*/ 785622 w 904875"/>
                  <a:gd name="connsiteY250" fmla="*/ 50768 h 742950"/>
                  <a:gd name="connsiteX251" fmla="*/ 783050 w 904875"/>
                  <a:gd name="connsiteY251" fmla="*/ 50768 h 742950"/>
                  <a:gd name="connsiteX252" fmla="*/ 777145 w 904875"/>
                  <a:gd name="connsiteY252" fmla="*/ 52483 h 742950"/>
                  <a:gd name="connsiteX253" fmla="*/ 773716 w 904875"/>
                  <a:gd name="connsiteY253" fmla="*/ 51625 h 742950"/>
                  <a:gd name="connsiteX254" fmla="*/ 772097 w 904875"/>
                  <a:gd name="connsiteY254" fmla="*/ 51625 h 742950"/>
                  <a:gd name="connsiteX255" fmla="*/ 771239 w 904875"/>
                  <a:gd name="connsiteY255" fmla="*/ 52483 h 742950"/>
                  <a:gd name="connsiteX256" fmla="*/ 769525 w 904875"/>
                  <a:gd name="connsiteY256" fmla="*/ 53340 h 742950"/>
                  <a:gd name="connsiteX257" fmla="*/ 766953 w 904875"/>
                  <a:gd name="connsiteY257" fmla="*/ 55054 h 742950"/>
                  <a:gd name="connsiteX258" fmla="*/ 765334 w 904875"/>
                  <a:gd name="connsiteY258" fmla="*/ 56674 h 742950"/>
                  <a:gd name="connsiteX259" fmla="*/ 762762 w 904875"/>
                  <a:gd name="connsiteY259" fmla="*/ 57531 h 742950"/>
                  <a:gd name="connsiteX260" fmla="*/ 761905 w 904875"/>
                  <a:gd name="connsiteY260" fmla="*/ 57531 h 742950"/>
                  <a:gd name="connsiteX261" fmla="*/ 761048 w 904875"/>
                  <a:gd name="connsiteY261" fmla="*/ 56674 h 742950"/>
                  <a:gd name="connsiteX262" fmla="*/ 760190 w 904875"/>
                  <a:gd name="connsiteY262" fmla="*/ 55912 h 742950"/>
                  <a:gd name="connsiteX263" fmla="*/ 760190 w 904875"/>
                  <a:gd name="connsiteY263" fmla="*/ 53340 h 742950"/>
                  <a:gd name="connsiteX264" fmla="*/ 759333 w 904875"/>
                  <a:gd name="connsiteY264" fmla="*/ 52483 h 742950"/>
                  <a:gd name="connsiteX265" fmla="*/ 759333 w 904875"/>
                  <a:gd name="connsiteY265" fmla="*/ 51625 h 742950"/>
                  <a:gd name="connsiteX266" fmla="*/ 759333 w 904875"/>
                  <a:gd name="connsiteY266" fmla="*/ 51625 h 742950"/>
                  <a:gd name="connsiteX267" fmla="*/ 758571 w 904875"/>
                  <a:gd name="connsiteY267" fmla="*/ 50768 h 742950"/>
                  <a:gd name="connsiteX268" fmla="*/ 758571 w 904875"/>
                  <a:gd name="connsiteY268" fmla="*/ 48292 h 742950"/>
                  <a:gd name="connsiteX269" fmla="*/ 754285 w 904875"/>
                  <a:gd name="connsiteY269" fmla="*/ 45720 h 742950"/>
                  <a:gd name="connsiteX270" fmla="*/ 752570 w 904875"/>
                  <a:gd name="connsiteY270" fmla="*/ 42291 h 742950"/>
                  <a:gd name="connsiteX271" fmla="*/ 750951 w 904875"/>
                  <a:gd name="connsiteY271" fmla="*/ 41434 h 742950"/>
                  <a:gd name="connsiteX272" fmla="*/ 746665 w 904875"/>
                  <a:gd name="connsiteY272" fmla="*/ 39815 h 742950"/>
                  <a:gd name="connsiteX273" fmla="*/ 745045 w 904875"/>
                  <a:gd name="connsiteY273" fmla="*/ 39815 h 742950"/>
                  <a:gd name="connsiteX274" fmla="*/ 743331 w 904875"/>
                  <a:gd name="connsiteY274" fmla="*/ 39815 h 742950"/>
                  <a:gd name="connsiteX275" fmla="*/ 741617 w 904875"/>
                  <a:gd name="connsiteY275" fmla="*/ 39815 h 742950"/>
                  <a:gd name="connsiteX276" fmla="*/ 739902 w 904875"/>
                  <a:gd name="connsiteY276" fmla="*/ 39815 h 742950"/>
                  <a:gd name="connsiteX277" fmla="*/ 735711 w 904875"/>
                  <a:gd name="connsiteY277" fmla="*/ 39815 h 742950"/>
                  <a:gd name="connsiteX278" fmla="*/ 733139 w 904875"/>
                  <a:gd name="connsiteY278" fmla="*/ 38957 h 742950"/>
                  <a:gd name="connsiteX279" fmla="*/ 732282 w 904875"/>
                  <a:gd name="connsiteY279" fmla="*/ 38957 h 742950"/>
                  <a:gd name="connsiteX280" fmla="*/ 728091 w 904875"/>
                  <a:gd name="connsiteY280" fmla="*/ 36386 h 742950"/>
                  <a:gd name="connsiteX281" fmla="*/ 725519 w 904875"/>
                  <a:gd name="connsiteY281" fmla="*/ 37243 h 742950"/>
                  <a:gd name="connsiteX282" fmla="*/ 725519 w 904875"/>
                  <a:gd name="connsiteY282" fmla="*/ 37243 h 742950"/>
                  <a:gd name="connsiteX283" fmla="*/ 725519 w 904875"/>
                  <a:gd name="connsiteY283" fmla="*/ 38100 h 742950"/>
                  <a:gd name="connsiteX284" fmla="*/ 725519 w 904875"/>
                  <a:gd name="connsiteY284" fmla="*/ 38957 h 742950"/>
                  <a:gd name="connsiteX285" fmla="*/ 725519 w 904875"/>
                  <a:gd name="connsiteY285" fmla="*/ 40672 h 742950"/>
                  <a:gd name="connsiteX286" fmla="*/ 724662 w 904875"/>
                  <a:gd name="connsiteY286" fmla="*/ 42291 h 742950"/>
                  <a:gd name="connsiteX287" fmla="*/ 723043 w 904875"/>
                  <a:gd name="connsiteY287" fmla="*/ 44005 h 742950"/>
                  <a:gd name="connsiteX288" fmla="*/ 720471 w 904875"/>
                  <a:gd name="connsiteY288" fmla="*/ 44863 h 742950"/>
                  <a:gd name="connsiteX289" fmla="*/ 717899 w 904875"/>
                  <a:gd name="connsiteY289" fmla="*/ 45720 h 742950"/>
                  <a:gd name="connsiteX290" fmla="*/ 711994 w 904875"/>
                  <a:gd name="connsiteY290" fmla="*/ 47434 h 742950"/>
                  <a:gd name="connsiteX291" fmla="*/ 708660 w 904875"/>
                  <a:gd name="connsiteY291" fmla="*/ 49054 h 742950"/>
                  <a:gd name="connsiteX292" fmla="*/ 699326 w 904875"/>
                  <a:gd name="connsiteY292" fmla="*/ 49911 h 742950"/>
                  <a:gd name="connsiteX293" fmla="*/ 694277 w 904875"/>
                  <a:gd name="connsiteY293" fmla="*/ 51625 h 742950"/>
                  <a:gd name="connsiteX294" fmla="*/ 691706 w 904875"/>
                  <a:gd name="connsiteY294" fmla="*/ 52483 h 742950"/>
                  <a:gd name="connsiteX295" fmla="*/ 690848 w 904875"/>
                  <a:gd name="connsiteY295" fmla="*/ 53340 h 742950"/>
                  <a:gd name="connsiteX296" fmla="*/ 690848 w 904875"/>
                  <a:gd name="connsiteY296" fmla="*/ 54197 h 742950"/>
                  <a:gd name="connsiteX297" fmla="*/ 691706 w 904875"/>
                  <a:gd name="connsiteY297" fmla="*/ 55912 h 742950"/>
                  <a:gd name="connsiteX298" fmla="*/ 691706 w 904875"/>
                  <a:gd name="connsiteY298" fmla="*/ 56674 h 742950"/>
                  <a:gd name="connsiteX299" fmla="*/ 691706 w 904875"/>
                  <a:gd name="connsiteY299" fmla="*/ 58388 h 742950"/>
                  <a:gd name="connsiteX300" fmla="*/ 691706 w 904875"/>
                  <a:gd name="connsiteY300" fmla="*/ 59246 h 742950"/>
                  <a:gd name="connsiteX301" fmla="*/ 689991 w 904875"/>
                  <a:gd name="connsiteY301" fmla="*/ 60103 h 742950"/>
                  <a:gd name="connsiteX302" fmla="*/ 689229 w 904875"/>
                  <a:gd name="connsiteY302" fmla="*/ 60960 h 742950"/>
                  <a:gd name="connsiteX303" fmla="*/ 684086 w 904875"/>
                  <a:gd name="connsiteY303" fmla="*/ 60960 h 742950"/>
                  <a:gd name="connsiteX304" fmla="*/ 681609 w 904875"/>
                  <a:gd name="connsiteY304" fmla="*/ 61817 h 742950"/>
                  <a:gd name="connsiteX305" fmla="*/ 677323 w 904875"/>
                  <a:gd name="connsiteY305" fmla="*/ 63437 h 742950"/>
                  <a:gd name="connsiteX306" fmla="*/ 670560 w 904875"/>
                  <a:gd name="connsiteY306" fmla="*/ 64294 h 742950"/>
                  <a:gd name="connsiteX307" fmla="*/ 668084 w 904875"/>
                  <a:gd name="connsiteY307" fmla="*/ 65151 h 742950"/>
                  <a:gd name="connsiteX308" fmla="*/ 666369 w 904875"/>
                  <a:gd name="connsiteY308" fmla="*/ 65151 h 742950"/>
                  <a:gd name="connsiteX309" fmla="*/ 658749 w 904875"/>
                  <a:gd name="connsiteY309" fmla="*/ 64294 h 742950"/>
                  <a:gd name="connsiteX310" fmla="*/ 651129 w 904875"/>
                  <a:gd name="connsiteY310" fmla="*/ 62675 h 742950"/>
                  <a:gd name="connsiteX311" fmla="*/ 650272 w 904875"/>
                  <a:gd name="connsiteY311" fmla="*/ 61817 h 742950"/>
                  <a:gd name="connsiteX312" fmla="*/ 648557 w 904875"/>
                  <a:gd name="connsiteY312" fmla="*/ 60103 h 742950"/>
                  <a:gd name="connsiteX313" fmla="*/ 646938 w 904875"/>
                  <a:gd name="connsiteY313" fmla="*/ 59246 h 742950"/>
                  <a:gd name="connsiteX314" fmla="*/ 646081 w 904875"/>
                  <a:gd name="connsiteY314" fmla="*/ 59246 h 742950"/>
                  <a:gd name="connsiteX315" fmla="*/ 643509 w 904875"/>
                  <a:gd name="connsiteY315" fmla="*/ 58388 h 742950"/>
                  <a:gd name="connsiteX316" fmla="*/ 642652 w 904875"/>
                  <a:gd name="connsiteY316" fmla="*/ 59246 h 742950"/>
                  <a:gd name="connsiteX317" fmla="*/ 641795 w 904875"/>
                  <a:gd name="connsiteY317" fmla="*/ 59246 h 742950"/>
                  <a:gd name="connsiteX318" fmla="*/ 641033 w 904875"/>
                  <a:gd name="connsiteY318" fmla="*/ 60103 h 742950"/>
                  <a:gd name="connsiteX319" fmla="*/ 639318 w 904875"/>
                  <a:gd name="connsiteY319" fmla="*/ 60960 h 742950"/>
                  <a:gd name="connsiteX320" fmla="*/ 638461 w 904875"/>
                  <a:gd name="connsiteY320" fmla="*/ 60960 h 742950"/>
                  <a:gd name="connsiteX321" fmla="*/ 637604 w 904875"/>
                  <a:gd name="connsiteY321" fmla="*/ 60960 h 742950"/>
                  <a:gd name="connsiteX322" fmla="*/ 636746 w 904875"/>
                  <a:gd name="connsiteY322" fmla="*/ 60960 h 742950"/>
                  <a:gd name="connsiteX323" fmla="*/ 636746 w 904875"/>
                  <a:gd name="connsiteY323" fmla="*/ 60960 h 742950"/>
                  <a:gd name="connsiteX324" fmla="*/ 636746 w 904875"/>
                  <a:gd name="connsiteY324" fmla="*/ 60960 h 742950"/>
                  <a:gd name="connsiteX325" fmla="*/ 636746 w 904875"/>
                  <a:gd name="connsiteY325" fmla="*/ 60960 h 742950"/>
                  <a:gd name="connsiteX326" fmla="*/ 636746 w 904875"/>
                  <a:gd name="connsiteY326" fmla="*/ 60103 h 742950"/>
                  <a:gd name="connsiteX327" fmla="*/ 636746 w 904875"/>
                  <a:gd name="connsiteY327" fmla="*/ 59246 h 742950"/>
                  <a:gd name="connsiteX328" fmla="*/ 635889 w 904875"/>
                  <a:gd name="connsiteY328" fmla="*/ 55912 h 742950"/>
                  <a:gd name="connsiteX329" fmla="*/ 635889 w 904875"/>
                  <a:gd name="connsiteY329" fmla="*/ 54197 h 742950"/>
                  <a:gd name="connsiteX330" fmla="*/ 635032 w 904875"/>
                  <a:gd name="connsiteY330" fmla="*/ 52483 h 742950"/>
                  <a:gd name="connsiteX331" fmla="*/ 635032 w 904875"/>
                  <a:gd name="connsiteY331" fmla="*/ 49054 h 742950"/>
                  <a:gd name="connsiteX332" fmla="*/ 634270 w 904875"/>
                  <a:gd name="connsiteY332" fmla="*/ 48292 h 742950"/>
                  <a:gd name="connsiteX333" fmla="*/ 632555 w 904875"/>
                  <a:gd name="connsiteY333" fmla="*/ 47434 h 742950"/>
                  <a:gd name="connsiteX334" fmla="*/ 631698 w 904875"/>
                  <a:gd name="connsiteY334" fmla="*/ 47434 h 742950"/>
                  <a:gd name="connsiteX335" fmla="*/ 629126 w 904875"/>
                  <a:gd name="connsiteY335" fmla="*/ 47434 h 742950"/>
                  <a:gd name="connsiteX336" fmla="*/ 628269 w 904875"/>
                  <a:gd name="connsiteY336" fmla="*/ 47434 h 742950"/>
                  <a:gd name="connsiteX337" fmla="*/ 627507 w 904875"/>
                  <a:gd name="connsiteY337" fmla="*/ 47434 h 742950"/>
                  <a:gd name="connsiteX338" fmla="*/ 626650 w 904875"/>
                  <a:gd name="connsiteY338" fmla="*/ 48292 h 742950"/>
                  <a:gd name="connsiteX339" fmla="*/ 625793 w 904875"/>
                  <a:gd name="connsiteY339" fmla="*/ 48292 h 742950"/>
                  <a:gd name="connsiteX340" fmla="*/ 623221 w 904875"/>
                  <a:gd name="connsiteY340" fmla="*/ 51625 h 742950"/>
                  <a:gd name="connsiteX341" fmla="*/ 618173 w 904875"/>
                  <a:gd name="connsiteY341" fmla="*/ 53340 h 742950"/>
                  <a:gd name="connsiteX342" fmla="*/ 612267 w 904875"/>
                  <a:gd name="connsiteY342" fmla="*/ 55054 h 742950"/>
                  <a:gd name="connsiteX343" fmla="*/ 610553 w 904875"/>
                  <a:gd name="connsiteY343" fmla="*/ 55912 h 742950"/>
                  <a:gd name="connsiteX344" fmla="*/ 608838 w 904875"/>
                  <a:gd name="connsiteY344" fmla="*/ 57531 h 742950"/>
                  <a:gd name="connsiteX345" fmla="*/ 607981 w 904875"/>
                  <a:gd name="connsiteY345" fmla="*/ 59246 h 742950"/>
                  <a:gd name="connsiteX346" fmla="*/ 605504 w 904875"/>
                  <a:gd name="connsiteY346" fmla="*/ 61817 h 742950"/>
                  <a:gd name="connsiteX347" fmla="*/ 602933 w 904875"/>
                  <a:gd name="connsiteY347" fmla="*/ 63437 h 742950"/>
                  <a:gd name="connsiteX348" fmla="*/ 598742 w 904875"/>
                  <a:gd name="connsiteY348" fmla="*/ 66008 h 742950"/>
                  <a:gd name="connsiteX349" fmla="*/ 592836 w 904875"/>
                  <a:gd name="connsiteY349" fmla="*/ 69437 h 742950"/>
                  <a:gd name="connsiteX350" fmla="*/ 579215 w 904875"/>
                  <a:gd name="connsiteY350" fmla="*/ 73628 h 742950"/>
                  <a:gd name="connsiteX351" fmla="*/ 577596 w 904875"/>
                  <a:gd name="connsiteY351" fmla="*/ 74486 h 742950"/>
                  <a:gd name="connsiteX352" fmla="*/ 575024 w 904875"/>
                  <a:gd name="connsiteY352" fmla="*/ 74486 h 742950"/>
                  <a:gd name="connsiteX353" fmla="*/ 573310 w 904875"/>
                  <a:gd name="connsiteY353" fmla="*/ 73628 h 742950"/>
                  <a:gd name="connsiteX354" fmla="*/ 567404 w 904875"/>
                  <a:gd name="connsiteY354" fmla="*/ 71057 h 742950"/>
                  <a:gd name="connsiteX355" fmla="*/ 566547 w 904875"/>
                  <a:gd name="connsiteY355" fmla="*/ 71057 h 742950"/>
                  <a:gd name="connsiteX356" fmla="*/ 565690 w 904875"/>
                  <a:gd name="connsiteY356" fmla="*/ 71057 h 742950"/>
                  <a:gd name="connsiteX357" fmla="*/ 563213 w 904875"/>
                  <a:gd name="connsiteY357" fmla="*/ 72771 h 742950"/>
                  <a:gd name="connsiteX358" fmla="*/ 560642 w 904875"/>
                  <a:gd name="connsiteY358" fmla="*/ 73628 h 742950"/>
                  <a:gd name="connsiteX359" fmla="*/ 557308 w 904875"/>
                  <a:gd name="connsiteY359" fmla="*/ 76200 h 742950"/>
                  <a:gd name="connsiteX360" fmla="*/ 556451 w 904875"/>
                  <a:gd name="connsiteY360" fmla="*/ 76200 h 742950"/>
                  <a:gd name="connsiteX361" fmla="*/ 555593 w 904875"/>
                  <a:gd name="connsiteY361" fmla="*/ 76200 h 742950"/>
                  <a:gd name="connsiteX362" fmla="*/ 555593 w 904875"/>
                  <a:gd name="connsiteY362" fmla="*/ 75343 h 742950"/>
                  <a:gd name="connsiteX363" fmla="*/ 554736 w 904875"/>
                  <a:gd name="connsiteY363" fmla="*/ 74486 h 742950"/>
                  <a:gd name="connsiteX364" fmla="*/ 553022 w 904875"/>
                  <a:gd name="connsiteY364" fmla="*/ 74486 h 742950"/>
                  <a:gd name="connsiteX365" fmla="*/ 550545 w 904875"/>
                  <a:gd name="connsiteY365" fmla="*/ 74486 h 742950"/>
                  <a:gd name="connsiteX366" fmla="*/ 549688 w 904875"/>
                  <a:gd name="connsiteY366" fmla="*/ 73628 h 742950"/>
                  <a:gd name="connsiteX367" fmla="*/ 547973 w 904875"/>
                  <a:gd name="connsiteY367" fmla="*/ 73628 h 742950"/>
                  <a:gd name="connsiteX368" fmla="*/ 547116 w 904875"/>
                  <a:gd name="connsiteY368" fmla="*/ 74486 h 742950"/>
                  <a:gd name="connsiteX369" fmla="*/ 545402 w 904875"/>
                  <a:gd name="connsiteY369" fmla="*/ 75343 h 742950"/>
                  <a:gd name="connsiteX370" fmla="*/ 544640 w 904875"/>
                  <a:gd name="connsiteY370" fmla="*/ 75343 h 742950"/>
                  <a:gd name="connsiteX371" fmla="*/ 542925 w 904875"/>
                  <a:gd name="connsiteY371" fmla="*/ 75343 h 742950"/>
                  <a:gd name="connsiteX372" fmla="*/ 541211 w 904875"/>
                  <a:gd name="connsiteY372" fmla="*/ 75343 h 742950"/>
                  <a:gd name="connsiteX373" fmla="*/ 540353 w 904875"/>
                  <a:gd name="connsiteY373" fmla="*/ 75343 h 742950"/>
                  <a:gd name="connsiteX374" fmla="*/ 540353 w 904875"/>
                  <a:gd name="connsiteY374" fmla="*/ 74486 h 742950"/>
                  <a:gd name="connsiteX375" fmla="*/ 539496 w 904875"/>
                  <a:gd name="connsiteY375" fmla="*/ 72771 h 742950"/>
                  <a:gd name="connsiteX376" fmla="*/ 538639 w 904875"/>
                  <a:gd name="connsiteY376" fmla="*/ 72771 h 742950"/>
                  <a:gd name="connsiteX377" fmla="*/ 537782 w 904875"/>
                  <a:gd name="connsiteY377" fmla="*/ 71914 h 742950"/>
                  <a:gd name="connsiteX378" fmla="*/ 536162 w 904875"/>
                  <a:gd name="connsiteY378" fmla="*/ 71914 h 742950"/>
                  <a:gd name="connsiteX379" fmla="*/ 536162 w 904875"/>
                  <a:gd name="connsiteY379" fmla="*/ 71914 h 742950"/>
                  <a:gd name="connsiteX380" fmla="*/ 535305 w 904875"/>
                  <a:gd name="connsiteY380" fmla="*/ 72771 h 742950"/>
                  <a:gd name="connsiteX381" fmla="*/ 534448 w 904875"/>
                  <a:gd name="connsiteY381" fmla="*/ 74486 h 742950"/>
                  <a:gd name="connsiteX382" fmla="*/ 533591 w 904875"/>
                  <a:gd name="connsiteY382" fmla="*/ 74486 h 742950"/>
                  <a:gd name="connsiteX383" fmla="*/ 532733 w 904875"/>
                  <a:gd name="connsiteY383" fmla="*/ 74486 h 742950"/>
                  <a:gd name="connsiteX384" fmla="*/ 532733 w 904875"/>
                  <a:gd name="connsiteY384" fmla="*/ 73628 h 742950"/>
                  <a:gd name="connsiteX385" fmla="*/ 532733 w 904875"/>
                  <a:gd name="connsiteY385" fmla="*/ 72771 h 742950"/>
                  <a:gd name="connsiteX386" fmla="*/ 531876 w 904875"/>
                  <a:gd name="connsiteY386" fmla="*/ 71057 h 742950"/>
                  <a:gd name="connsiteX387" fmla="*/ 529400 w 904875"/>
                  <a:gd name="connsiteY387" fmla="*/ 66866 h 742950"/>
                  <a:gd name="connsiteX388" fmla="*/ 526828 w 904875"/>
                  <a:gd name="connsiteY388" fmla="*/ 61817 h 742950"/>
                  <a:gd name="connsiteX389" fmla="*/ 526828 w 904875"/>
                  <a:gd name="connsiteY389" fmla="*/ 61817 h 742950"/>
                  <a:gd name="connsiteX390" fmla="*/ 526828 w 904875"/>
                  <a:gd name="connsiteY390" fmla="*/ 60960 h 742950"/>
                  <a:gd name="connsiteX391" fmla="*/ 526828 w 904875"/>
                  <a:gd name="connsiteY391" fmla="*/ 59246 h 742950"/>
                  <a:gd name="connsiteX392" fmla="*/ 526828 w 904875"/>
                  <a:gd name="connsiteY392" fmla="*/ 58388 h 742950"/>
                  <a:gd name="connsiteX393" fmla="*/ 526828 w 904875"/>
                  <a:gd name="connsiteY393" fmla="*/ 56674 h 742950"/>
                  <a:gd name="connsiteX394" fmla="*/ 527685 w 904875"/>
                  <a:gd name="connsiteY394" fmla="*/ 56674 h 742950"/>
                  <a:gd name="connsiteX395" fmla="*/ 529400 w 904875"/>
                  <a:gd name="connsiteY395" fmla="*/ 55912 h 742950"/>
                  <a:gd name="connsiteX396" fmla="*/ 540353 w 904875"/>
                  <a:gd name="connsiteY396" fmla="*/ 56674 h 742950"/>
                  <a:gd name="connsiteX397" fmla="*/ 541211 w 904875"/>
                  <a:gd name="connsiteY397" fmla="*/ 56674 h 742950"/>
                  <a:gd name="connsiteX398" fmla="*/ 542068 w 904875"/>
                  <a:gd name="connsiteY398" fmla="*/ 55912 h 742950"/>
                  <a:gd name="connsiteX399" fmla="*/ 542925 w 904875"/>
                  <a:gd name="connsiteY399" fmla="*/ 55054 h 742950"/>
                  <a:gd name="connsiteX400" fmla="*/ 542068 w 904875"/>
                  <a:gd name="connsiteY400" fmla="*/ 54197 h 742950"/>
                  <a:gd name="connsiteX401" fmla="*/ 541211 w 904875"/>
                  <a:gd name="connsiteY401" fmla="*/ 53340 h 742950"/>
                  <a:gd name="connsiteX402" fmla="*/ 541211 w 904875"/>
                  <a:gd name="connsiteY402" fmla="*/ 52483 h 742950"/>
                  <a:gd name="connsiteX403" fmla="*/ 540353 w 904875"/>
                  <a:gd name="connsiteY403" fmla="*/ 50768 h 742950"/>
                  <a:gd name="connsiteX404" fmla="*/ 541211 w 904875"/>
                  <a:gd name="connsiteY404" fmla="*/ 49054 h 742950"/>
                  <a:gd name="connsiteX405" fmla="*/ 541211 w 904875"/>
                  <a:gd name="connsiteY405" fmla="*/ 47434 h 742950"/>
                  <a:gd name="connsiteX406" fmla="*/ 539496 w 904875"/>
                  <a:gd name="connsiteY406" fmla="*/ 38957 h 742950"/>
                  <a:gd name="connsiteX407" fmla="*/ 539496 w 904875"/>
                  <a:gd name="connsiteY407" fmla="*/ 37243 h 742950"/>
                  <a:gd name="connsiteX408" fmla="*/ 538639 w 904875"/>
                  <a:gd name="connsiteY408" fmla="*/ 36386 h 742950"/>
                  <a:gd name="connsiteX409" fmla="*/ 537782 w 904875"/>
                  <a:gd name="connsiteY409" fmla="*/ 35528 h 742950"/>
                  <a:gd name="connsiteX410" fmla="*/ 535305 w 904875"/>
                  <a:gd name="connsiteY410" fmla="*/ 34671 h 742950"/>
                  <a:gd name="connsiteX411" fmla="*/ 534448 w 904875"/>
                  <a:gd name="connsiteY411" fmla="*/ 34671 h 742950"/>
                  <a:gd name="connsiteX412" fmla="*/ 534448 w 904875"/>
                  <a:gd name="connsiteY412" fmla="*/ 33909 h 742950"/>
                  <a:gd name="connsiteX413" fmla="*/ 534448 w 904875"/>
                  <a:gd name="connsiteY413" fmla="*/ 33909 h 742950"/>
                  <a:gd name="connsiteX414" fmla="*/ 533591 w 904875"/>
                  <a:gd name="connsiteY414" fmla="*/ 33052 h 742950"/>
                  <a:gd name="connsiteX415" fmla="*/ 533591 w 904875"/>
                  <a:gd name="connsiteY415" fmla="*/ 32195 h 742950"/>
                  <a:gd name="connsiteX416" fmla="*/ 532733 w 904875"/>
                  <a:gd name="connsiteY416" fmla="*/ 31337 h 742950"/>
                  <a:gd name="connsiteX417" fmla="*/ 531019 w 904875"/>
                  <a:gd name="connsiteY417" fmla="*/ 30480 h 742950"/>
                  <a:gd name="connsiteX418" fmla="*/ 529400 w 904875"/>
                  <a:gd name="connsiteY418" fmla="*/ 29623 h 742950"/>
                  <a:gd name="connsiteX419" fmla="*/ 515874 w 904875"/>
                  <a:gd name="connsiteY419" fmla="*/ 29623 h 742950"/>
                  <a:gd name="connsiteX420" fmla="*/ 514160 w 904875"/>
                  <a:gd name="connsiteY420" fmla="*/ 30480 h 742950"/>
                  <a:gd name="connsiteX421" fmla="*/ 512445 w 904875"/>
                  <a:gd name="connsiteY421" fmla="*/ 31337 h 742950"/>
                  <a:gd name="connsiteX422" fmla="*/ 511588 w 904875"/>
                  <a:gd name="connsiteY422" fmla="*/ 33052 h 742950"/>
                  <a:gd name="connsiteX423" fmla="*/ 510731 w 904875"/>
                  <a:gd name="connsiteY423" fmla="*/ 33909 h 742950"/>
                  <a:gd name="connsiteX424" fmla="*/ 507397 w 904875"/>
                  <a:gd name="connsiteY424" fmla="*/ 34671 h 742950"/>
                  <a:gd name="connsiteX425" fmla="*/ 506540 w 904875"/>
                  <a:gd name="connsiteY425" fmla="*/ 34671 h 742950"/>
                  <a:gd name="connsiteX426" fmla="*/ 505682 w 904875"/>
                  <a:gd name="connsiteY426" fmla="*/ 36386 h 742950"/>
                  <a:gd name="connsiteX427" fmla="*/ 504825 w 904875"/>
                  <a:gd name="connsiteY427" fmla="*/ 37243 h 742950"/>
                  <a:gd name="connsiteX428" fmla="*/ 504825 w 904875"/>
                  <a:gd name="connsiteY428" fmla="*/ 38100 h 742950"/>
                  <a:gd name="connsiteX429" fmla="*/ 503206 w 904875"/>
                  <a:gd name="connsiteY429" fmla="*/ 38100 h 742950"/>
                  <a:gd name="connsiteX430" fmla="*/ 502348 w 904875"/>
                  <a:gd name="connsiteY430" fmla="*/ 38100 h 742950"/>
                  <a:gd name="connsiteX431" fmla="*/ 501491 w 904875"/>
                  <a:gd name="connsiteY431" fmla="*/ 38100 h 742950"/>
                  <a:gd name="connsiteX432" fmla="*/ 500634 w 904875"/>
                  <a:gd name="connsiteY432" fmla="*/ 37243 h 742950"/>
                  <a:gd name="connsiteX433" fmla="*/ 500634 w 904875"/>
                  <a:gd name="connsiteY433" fmla="*/ 37243 h 742950"/>
                  <a:gd name="connsiteX434" fmla="*/ 499777 w 904875"/>
                  <a:gd name="connsiteY434" fmla="*/ 36386 h 742950"/>
                  <a:gd name="connsiteX435" fmla="*/ 499777 w 904875"/>
                  <a:gd name="connsiteY435" fmla="*/ 35528 h 742950"/>
                  <a:gd name="connsiteX436" fmla="*/ 498919 w 904875"/>
                  <a:gd name="connsiteY436" fmla="*/ 35528 h 742950"/>
                  <a:gd name="connsiteX437" fmla="*/ 497205 w 904875"/>
                  <a:gd name="connsiteY437" fmla="*/ 34671 h 742950"/>
                  <a:gd name="connsiteX438" fmla="*/ 491300 w 904875"/>
                  <a:gd name="connsiteY438" fmla="*/ 35528 h 742950"/>
                  <a:gd name="connsiteX439" fmla="*/ 487109 w 904875"/>
                  <a:gd name="connsiteY439" fmla="*/ 37243 h 742950"/>
                  <a:gd name="connsiteX440" fmla="*/ 482060 w 904875"/>
                  <a:gd name="connsiteY440" fmla="*/ 38957 h 742950"/>
                  <a:gd name="connsiteX441" fmla="*/ 470154 w 904875"/>
                  <a:gd name="connsiteY441" fmla="*/ 48292 h 742950"/>
                  <a:gd name="connsiteX442" fmla="*/ 467678 w 904875"/>
                  <a:gd name="connsiteY442" fmla="*/ 49054 h 742950"/>
                  <a:gd name="connsiteX443" fmla="*/ 461772 w 904875"/>
                  <a:gd name="connsiteY443" fmla="*/ 49054 h 742950"/>
                  <a:gd name="connsiteX444" fmla="*/ 458343 w 904875"/>
                  <a:gd name="connsiteY444" fmla="*/ 49911 h 742950"/>
                  <a:gd name="connsiteX445" fmla="*/ 456629 w 904875"/>
                  <a:gd name="connsiteY445" fmla="*/ 52483 h 742950"/>
                  <a:gd name="connsiteX446" fmla="*/ 455771 w 904875"/>
                  <a:gd name="connsiteY446" fmla="*/ 55912 h 742950"/>
                  <a:gd name="connsiteX447" fmla="*/ 455771 w 904875"/>
                  <a:gd name="connsiteY447" fmla="*/ 57531 h 742950"/>
                  <a:gd name="connsiteX448" fmla="*/ 455771 w 904875"/>
                  <a:gd name="connsiteY448" fmla="*/ 58388 h 742950"/>
                  <a:gd name="connsiteX449" fmla="*/ 455771 w 904875"/>
                  <a:gd name="connsiteY449" fmla="*/ 60960 h 742950"/>
                  <a:gd name="connsiteX450" fmla="*/ 455771 w 904875"/>
                  <a:gd name="connsiteY450" fmla="*/ 61817 h 742950"/>
                  <a:gd name="connsiteX451" fmla="*/ 455771 w 904875"/>
                  <a:gd name="connsiteY451" fmla="*/ 61817 h 742950"/>
                  <a:gd name="connsiteX452" fmla="*/ 455771 w 904875"/>
                  <a:gd name="connsiteY452" fmla="*/ 62675 h 742950"/>
                  <a:gd name="connsiteX453" fmla="*/ 454914 w 904875"/>
                  <a:gd name="connsiteY453" fmla="*/ 62675 h 742950"/>
                  <a:gd name="connsiteX454" fmla="*/ 454914 w 904875"/>
                  <a:gd name="connsiteY454" fmla="*/ 64294 h 742950"/>
                  <a:gd name="connsiteX455" fmla="*/ 453295 w 904875"/>
                  <a:gd name="connsiteY455" fmla="*/ 65151 h 742950"/>
                  <a:gd name="connsiteX456" fmla="*/ 452438 w 904875"/>
                  <a:gd name="connsiteY456" fmla="*/ 66866 h 742950"/>
                  <a:gd name="connsiteX457" fmla="*/ 451580 w 904875"/>
                  <a:gd name="connsiteY457" fmla="*/ 67723 h 742950"/>
                  <a:gd name="connsiteX458" fmla="*/ 449009 w 904875"/>
                  <a:gd name="connsiteY458" fmla="*/ 71914 h 742950"/>
                  <a:gd name="connsiteX459" fmla="*/ 448151 w 904875"/>
                  <a:gd name="connsiteY459" fmla="*/ 73628 h 742950"/>
                  <a:gd name="connsiteX460" fmla="*/ 447389 w 904875"/>
                  <a:gd name="connsiteY460" fmla="*/ 74486 h 742950"/>
                  <a:gd name="connsiteX461" fmla="*/ 443103 w 904875"/>
                  <a:gd name="connsiteY461" fmla="*/ 77057 h 742950"/>
                  <a:gd name="connsiteX462" fmla="*/ 439769 w 904875"/>
                  <a:gd name="connsiteY462" fmla="*/ 78676 h 742950"/>
                  <a:gd name="connsiteX463" fmla="*/ 438912 w 904875"/>
                  <a:gd name="connsiteY463" fmla="*/ 79534 h 742950"/>
                  <a:gd name="connsiteX464" fmla="*/ 438912 w 904875"/>
                  <a:gd name="connsiteY464" fmla="*/ 80391 h 742950"/>
                  <a:gd name="connsiteX465" fmla="*/ 438912 w 904875"/>
                  <a:gd name="connsiteY465" fmla="*/ 82105 h 742950"/>
                  <a:gd name="connsiteX466" fmla="*/ 438912 w 904875"/>
                  <a:gd name="connsiteY466" fmla="*/ 82963 h 742950"/>
                  <a:gd name="connsiteX467" fmla="*/ 440627 w 904875"/>
                  <a:gd name="connsiteY467" fmla="*/ 86296 h 742950"/>
                  <a:gd name="connsiteX468" fmla="*/ 440627 w 904875"/>
                  <a:gd name="connsiteY468" fmla="*/ 91440 h 742950"/>
                  <a:gd name="connsiteX469" fmla="*/ 439769 w 904875"/>
                  <a:gd name="connsiteY469" fmla="*/ 93059 h 742950"/>
                  <a:gd name="connsiteX470" fmla="*/ 438912 w 904875"/>
                  <a:gd name="connsiteY470" fmla="*/ 94774 h 742950"/>
                  <a:gd name="connsiteX471" fmla="*/ 438055 w 904875"/>
                  <a:gd name="connsiteY471" fmla="*/ 96488 h 742950"/>
                  <a:gd name="connsiteX472" fmla="*/ 436340 w 904875"/>
                  <a:gd name="connsiteY472" fmla="*/ 97346 h 742950"/>
                  <a:gd name="connsiteX473" fmla="*/ 428720 w 904875"/>
                  <a:gd name="connsiteY473" fmla="*/ 98203 h 742950"/>
                  <a:gd name="connsiteX474" fmla="*/ 426244 w 904875"/>
                  <a:gd name="connsiteY474" fmla="*/ 98203 h 742950"/>
                  <a:gd name="connsiteX475" fmla="*/ 423672 w 904875"/>
                  <a:gd name="connsiteY475" fmla="*/ 99917 h 742950"/>
                  <a:gd name="connsiteX476" fmla="*/ 421958 w 904875"/>
                  <a:gd name="connsiteY476" fmla="*/ 101537 h 742950"/>
                  <a:gd name="connsiteX477" fmla="*/ 420338 w 904875"/>
                  <a:gd name="connsiteY477" fmla="*/ 103251 h 742950"/>
                  <a:gd name="connsiteX478" fmla="*/ 418624 w 904875"/>
                  <a:gd name="connsiteY478" fmla="*/ 106680 h 742950"/>
                  <a:gd name="connsiteX479" fmla="*/ 416909 w 904875"/>
                  <a:gd name="connsiteY479" fmla="*/ 108299 h 742950"/>
                  <a:gd name="connsiteX480" fmla="*/ 414338 w 904875"/>
                  <a:gd name="connsiteY480" fmla="*/ 109157 h 742950"/>
                  <a:gd name="connsiteX481" fmla="*/ 410146 w 904875"/>
                  <a:gd name="connsiteY481" fmla="*/ 110871 h 742950"/>
                  <a:gd name="connsiteX482" fmla="*/ 404241 w 904875"/>
                  <a:gd name="connsiteY482" fmla="*/ 111728 h 742950"/>
                  <a:gd name="connsiteX483" fmla="*/ 399955 w 904875"/>
                  <a:gd name="connsiteY483" fmla="*/ 112586 h 742950"/>
                  <a:gd name="connsiteX484" fmla="*/ 389001 w 904875"/>
                  <a:gd name="connsiteY484" fmla="*/ 110871 h 742950"/>
                  <a:gd name="connsiteX485" fmla="*/ 387287 w 904875"/>
                  <a:gd name="connsiteY485" fmla="*/ 110014 h 742950"/>
                  <a:gd name="connsiteX486" fmla="*/ 384810 w 904875"/>
                  <a:gd name="connsiteY486" fmla="*/ 108299 h 742950"/>
                  <a:gd name="connsiteX487" fmla="*/ 380524 w 904875"/>
                  <a:gd name="connsiteY487" fmla="*/ 103251 h 742950"/>
                  <a:gd name="connsiteX488" fmla="*/ 380524 w 904875"/>
                  <a:gd name="connsiteY488" fmla="*/ 102394 h 742950"/>
                  <a:gd name="connsiteX489" fmla="*/ 380524 w 904875"/>
                  <a:gd name="connsiteY489" fmla="*/ 101537 h 742950"/>
                  <a:gd name="connsiteX490" fmla="*/ 380524 w 904875"/>
                  <a:gd name="connsiteY490" fmla="*/ 101537 h 742950"/>
                  <a:gd name="connsiteX491" fmla="*/ 380524 w 904875"/>
                  <a:gd name="connsiteY491" fmla="*/ 100679 h 742950"/>
                  <a:gd name="connsiteX492" fmla="*/ 380524 w 904875"/>
                  <a:gd name="connsiteY492" fmla="*/ 100679 h 742950"/>
                  <a:gd name="connsiteX493" fmla="*/ 381381 w 904875"/>
                  <a:gd name="connsiteY493" fmla="*/ 100679 h 742950"/>
                  <a:gd name="connsiteX494" fmla="*/ 381381 w 904875"/>
                  <a:gd name="connsiteY494" fmla="*/ 100679 h 742950"/>
                  <a:gd name="connsiteX495" fmla="*/ 382238 w 904875"/>
                  <a:gd name="connsiteY495" fmla="*/ 100679 h 742950"/>
                  <a:gd name="connsiteX496" fmla="*/ 383096 w 904875"/>
                  <a:gd name="connsiteY496" fmla="*/ 99917 h 742950"/>
                  <a:gd name="connsiteX497" fmla="*/ 383953 w 904875"/>
                  <a:gd name="connsiteY497" fmla="*/ 99917 h 742950"/>
                  <a:gd name="connsiteX498" fmla="*/ 384810 w 904875"/>
                  <a:gd name="connsiteY498" fmla="*/ 98203 h 742950"/>
                  <a:gd name="connsiteX499" fmla="*/ 383953 w 904875"/>
                  <a:gd name="connsiteY499" fmla="*/ 93059 h 742950"/>
                  <a:gd name="connsiteX500" fmla="*/ 383096 w 904875"/>
                  <a:gd name="connsiteY500" fmla="*/ 88011 h 742950"/>
                  <a:gd name="connsiteX501" fmla="*/ 380524 w 904875"/>
                  <a:gd name="connsiteY501" fmla="*/ 82105 h 742950"/>
                  <a:gd name="connsiteX502" fmla="*/ 378809 w 904875"/>
                  <a:gd name="connsiteY502" fmla="*/ 78676 h 742950"/>
                  <a:gd name="connsiteX503" fmla="*/ 378047 w 904875"/>
                  <a:gd name="connsiteY503" fmla="*/ 77915 h 742950"/>
                  <a:gd name="connsiteX504" fmla="*/ 376333 w 904875"/>
                  <a:gd name="connsiteY504" fmla="*/ 77057 h 742950"/>
                  <a:gd name="connsiteX505" fmla="*/ 375475 w 904875"/>
                  <a:gd name="connsiteY505" fmla="*/ 77915 h 742950"/>
                  <a:gd name="connsiteX506" fmla="*/ 374618 w 904875"/>
                  <a:gd name="connsiteY506" fmla="*/ 77915 h 742950"/>
                  <a:gd name="connsiteX507" fmla="*/ 372904 w 904875"/>
                  <a:gd name="connsiteY507" fmla="*/ 77915 h 742950"/>
                  <a:gd name="connsiteX508" fmla="*/ 366998 w 904875"/>
                  <a:gd name="connsiteY508" fmla="*/ 76200 h 742950"/>
                  <a:gd name="connsiteX509" fmla="*/ 363665 w 904875"/>
                  <a:gd name="connsiteY509" fmla="*/ 75343 h 742950"/>
                  <a:gd name="connsiteX510" fmla="*/ 361950 w 904875"/>
                  <a:gd name="connsiteY510" fmla="*/ 74486 h 742950"/>
                  <a:gd name="connsiteX511" fmla="*/ 358521 w 904875"/>
                  <a:gd name="connsiteY511" fmla="*/ 74486 h 742950"/>
                  <a:gd name="connsiteX512" fmla="*/ 355187 w 904875"/>
                  <a:gd name="connsiteY512" fmla="*/ 73628 h 742950"/>
                  <a:gd name="connsiteX513" fmla="*/ 348425 w 904875"/>
                  <a:gd name="connsiteY513" fmla="*/ 76200 h 742950"/>
                  <a:gd name="connsiteX514" fmla="*/ 336614 w 904875"/>
                  <a:gd name="connsiteY514" fmla="*/ 76200 h 742950"/>
                  <a:gd name="connsiteX515" fmla="*/ 331470 w 904875"/>
                  <a:gd name="connsiteY515" fmla="*/ 76200 h 742950"/>
                  <a:gd name="connsiteX516" fmla="*/ 327279 w 904875"/>
                  <a:gd name="connsiteY516" fmla="*/ 75343 h 742950"/>
                  <a:gd name="connsiteX517" fmla="*/ 325565 w 904875"/>
                  <a:gd name="connsiteY517" fmla="*/ 75343 h 742950"/>
                  <a:gd name="connsiteX518" fmla="*/ 323850 w 904875"/>
                  <a:gd name="connsiteY518" fmla="*/ 76200 h 742950"/>
                  <a:gd name="connsiteX519" fmla="*/ 321373 w 904875"/>
                  <a:gd name="connsiteY519" fmla="*/ 76200 h 742950"/>
                  <a:gd name="connsiteX520" fmla="*/ 317944 w 904875"/>
                  <a:gd name="connsiteY520" fmla="*/ 77057 h 742950"/>
                  <a:gd name="connsiteX521" fmla="*/ 316325 w 904875"/>
                  <a:gd name="connsiteY521" fmla="*/ 77057 h 742950"/>
                  <a:gd name="connsiteX522" fmla="*/ 312039 w 904875"/>
                  <a:gd name="connsiteY522" fmla="*/ 77057 h 742950"/>
                  <a:gd name="connsiteX523" fmla="*/ 301085 w 904875"/>
                  <a:gd name="connsiteY523" fmla="*/ 77057 h 742950"/>
                  <a:gd name="connsiteX524" fmla="*/ 299371 w 904875"/>
                  <a:gd name="connsiteY524" fmla="*/ 76200 h 742950"/>
                  <a:gd name="connsiteX525" fmla="*/ 298514 w 904875"/>
                  <a:gd name="connsiteY525" fmla="*/ 76200 h 742950"/>
                  <a:gd name="connsiteX526" fmla="*/ 296799 w 904875"/>
                  <a:gd name="connsiteY526" fmla="*/ 75343 h 742950"/>
                  <a:gd name="connsiteX527" fmla="*/ 293465 w 904875"/>
                  <a:gd name="connsiteY527" fmla="*/ 76200 h 742950"/>
                  <a:gd name="connsiteX528" fmla="*/ 281654 w 904875"/>
                  <a:gd name="connsiteY528" fmla="*/ 73628 h 742950"/>
                  <a:gd name="connsiteX529" fmla="*/ 275654 w 904875"/>
                  <a:gd name="connsiteY529" fmla="*/ 71057 h 742950"/>
                  <a:gd name="connsiteX530" fmla="*/ 274034 w 904875"/>
                  <a:gd name="connsiteY530" fmla="*/ 70295 h 742950"/>
                  <a:gd name="connsiteX531" fmla="*/ 273177 w 904875"/>
                  <a:gd name="connsiteY531" fmla="*/ 69437 h 742950"/>
                  <a:gd name="connsiteX532" fmla="*/ 272320 w 904875"/>
                  <a:gd name="connsiteY532" fmla="*/ 67723 h 742950"/>
                  <a:gd name="connsiteX533" fmla="*/ 271463 w 904875"/>
                  <a:gd name="connsiteY533" fmla="*/ 66866 h 742950"/>
                  <a:gd name="connsiteX534" fmla="*/ 270605 w 904875"/>
                  <a:gd name="connsiteY534" fmla="*/ 64294 h 742950"/>
                  <a:gd name="connsiteX535" fmla="*/ 266414 w 904875"/>
                  <a:gd name="connsiteY535" fmla="*/ 58388 h 742950"/>
                  <a:gd name="connsiteX536" fmla="*/ 263843 w 904875"/>
                  <a:gd name="connsiteY536" fmla="*/ 55912 h 742950"/>
                  <a:gd name="connsiteX537" fmla="*/ 262985 w 904875"/>
                  <a:gd name="connsiteY537" fmla="*/ 55054 h 742950"/>
                  <a:gd name="connsiteX538" fmla="*/ 259652 w 904875"/>
                  <a:gd name="connsiteY538" fmla="*/ 53340 h 742950"/>
                  <a:gd name="connsiteX539" fmla="*/ 259652 w 904875"/>
                  <a:gd name="connsiteY539" fmla="*/ 53340 h 742950"/>
                  <a:gd name="connsiteX540" fmla="*/ 253746 w 904875"/>
                  <a:gd name="connsiteY540" fmla="*/ 52483 h 742950"/>
                  <a:gd name="connsiteX541" fmla="*/ 252031 w 904875"/>
                  <a:gd name="connsiteY541" fmla="*/ 52483 h 742950"/>
                  <a:gd name="connsiteX542" fmla="*/ 251174 w 904875"/>
                  <a:gd name="connsiteY542" fmla="*/ 51625 h 742950"/>
                  <a:gd name="connsiteX543" fmla="*/ 249460 w 904875"/>
                  <a:gd name="connsiteY543" fmla="*/ 49911 h 742950"/>
                  <a:gd name="connsiteX544" fmla="*/ 247745 w 904875"/>
                  <a:gd name="connsiteY544" fmla="*/ 49054 h 742950"/>
                  <a:gd name="connsiteX545" fmla="*/ 246983 w 904875"/>
                  <a:gd name="connsiteY545" fmla="*/ 49054 h 742950"/>
                  <a:gd name="connsiteX546" fmla="*/ 243554 w 904875"/>
                  <a:gd name="connsiteY546" fmla="*/ 48292 h 742950"/>
                  <a:gd name="connsiteX547" fmla="*/ 242697 w 904875"/>
                  <a:gd name="connsiteY547" fmla="*/ 48292 h 742950"/>
                  <a:gd name="connsiteX548" fmla="*/ 232600 w 904875"/>
                  <a:gd name="connsiteY548" fmla="*/ 49054 h 742950"/>
                  <a:gd name="connsiteX549" fmla="*/ 229171 w 904875"/>
                  <a:gd name="connsiteY549" fmla="*/ 49054 h 742950"/>
                  <a:gd name="connsiteX550" fmla="*/ 226695 w 904875"/>
                  <a:gd name="connsiteY550" fmla="*/ 49054 h 742950"/>
                  <a:gd name="connsiteX551" fmla="*/ 224981 w 904875"/>
                  <a:gd name="connsiteY551" fmla="*/ 48292 h 742950"/>
                  <a:gd name="connsiteX552" fmla="*/ 224123 w 904875"/>
                  <a:gd name="connsiteY552" fmla="*/ 47434 h 742950"/>
                  <a:gd name="connsiteX553" fmla="*/ 222409 w 904875"/>
                  <a:gd name="connsiteY553" fmla="*/ 45720 h 742950"/>
                  <a:gd name="connsiteX554" fmla="*/ 221552 w 904875"/>
                  <a:gd name="connsiteY554" fmla="*/ 44863 h 742950"/>
                  <a:gd name="connsiteX555" fmla="*/ 215646 w 904875"/>
                  <a:gd name="connsiteY555" fmla="*/ 43148 h 742950"/>
                  <a:gd name="connsiteX556" fmla="*/ 213931 w 904875"/>
                  <a:gd name="connsiteY556" fmla="*/ 42291 h 742950"/>
                  <a:gd name="connsiteX557" fmla="*/ 210598 w 904875"/>
                  <a:gd name="connsiteY557" fmla="*/ 38957 h 742950"/>
                  <a:gd name="connsiteX558" fmla="*/ 207169 w 904875"/>
                  <a:gd name="connsiteY558" fmla="*/ 37243 h 742950"/>
                  <a:gd name="connsiteX559" fmla="*/ 205550 w 904875"/>
                  <a:gd name="connsiteY559" fmla="*/ 36386 h 742950"/>
                  <a:gd name="connsiteX560" fmla="*/ 204692 w 904875"/>
                  <a:gd name="connsiteY560" fmla="*/ 35528 h 742950"/>
                  <a:gd name="connsiteX561" fmla="*/ 204692 w 904875"/>
                  <a:gd name="connsiteY561" fmla="*/ 33909 h 742950"/>
                  <a:gd name="connsiteX562" fmla="*/ 204692 w 904875"/>
                  <a:gd name="connsiteY562" fmla="*/ 31337 h 742950"/>
                  <a:gd name="connsiteX563" fmla="*/ 203835 w 904875"/>
                  <a:gd name="connsiteY563" fmla="*/ 29623 h 742950"/>
                  <a:gd name="connsiteX564" fmla="*/ 202978 w 904875"/>
                  <a:gd name="connsiteY564" fmla="*/ 27051 h 742950"/>
                  <a:gd name="connsiteX565" fmla="*/ 202121 w 904875"/>
                  <a:gd name="connsiteY565" fmla="*/ 26289 h 742950"/>
                  <a:gd name="connsiteX566" fmla="*/ 202121 w 904875"/>
                  <a:gd name="connsiteY566" fmla="*/ 24575 h 742950"/>
                  <a:gd name="connsiteX567" fmla="*/ 202978 w 904875"/>
                  <a:gd name="connsiteY567" fmla="*/ 14383 h 742950"/>
                  <a:gd name="connsiteX568" fmla="*/ 202978 w 904875"/>
                  <a:gd name="connsiteY568" fmla="*/ 12668 h 742950"/>
                  <a:gd name="connsiteX569" fmla="*/ 202121 w 904875"/>
                  <a:gd name="connsiteY569" fmla="*/ 9334 h 742950"/>
                  <a:gd name="connsiteX570" fmla="*/ 195358 w 904875"/>
                  <a:gd name="connsiteY570" fmla="*/ 2572 h 742950"/>
                  <a:gd name="connsiteX571" fmla="*/ 193643 w 904875"/>
                  <a:gd name="connsiteY571" fmla="*/ 0 h 742950"/>
                  <a:gd name="connsiteX572" fmla="*/ 192024 w 904875"/>
                  <a:gd name="connsiteY572" fmla="*/ 0 h 742950"/>
                  <a:gd name="connsiteX573" fmla="*/ 187738 w 904875"/>
                  <a:gd name="connsiteY573" fmla="*/ 4286 h 742950"/>
                  <a:gd name="connsiteX574" fmla="*/ 186023 w 904875"/>
                  <a:gd name="connsiteY574" fmla="*/ 5048 h 742950"/>
                  <a:gd name="connsiteX575" fmla="*/ 183547 w 904875"/>
                  <a:gd name="connsiteY575" fmla="*/ 5905 h 742950"/>
                  <a:gd name="connsiteX576" fmla="*/ 181832 w 904875"/>
                  <a:gd name="connsiteY576" fmla="*/ 6763 h 742950"/>
                  <a:gd name="connsiteX577" fmla="*/ 180975 w 904875"/>
                  <a:gd name="connsiteY577" fmla="*/ 6763 h 742950"/>
                  <a:gd name="connsiteX578" fmla="*/ 180118 w 904875"/>
                  <a:gd name="connsiteY578" fmla="*/ 6763 h 742950"/>
                  <a:gd name="connsiteX579" fmla="*/ 180118 w 904875"/>
                  <a:gd name="connsiteY579" fmla="*/ 7620 h 742950"/>
                  <a:gd name="connsiteX580" fmla="*/ 180118 w 904875"/>
                  <a:gd name="connsiteY580" fmla="*/ 8477 h 742950"/>
                  <a:gd name="connsiteX581" fmla="*/ 180118 w 904875"/>
                  <a:gd name="connsiteY581" fmla="*/ 8477 h 742950"/>
                  <a:gd name="connsiteX582" fmla="*/ 180118 w 904875"/>
                  <a:gd name="connsiteY582" fmla="*/ 9334 h 742950"/>
                  <a:gd name="connsiteX583" fmla="*/ 178403 w 904875"/>
                  <a:gd name="connsiteY583" fmla="*/ 10192 h 742950"/>
                  <a:gd name="connsiteX584" fmla="*/ 175927 w 904875"/>
                  <a:gd name="connsiteY584" fmla="*/ 11049 h 742950"/>
                  <a:gd name="connsiteX585" fmla="*/ 173355 w 904875"/>
                  <a:gd name="connsiteY585" fmla="*/ 11906 h 742950"/>
                  <a:gd name="connsiteX586" fmla="*/ 170879 w 904875"/>
                  <a:gd name="connsiteY586" fmla="*/ 11906 h 742950"/>
                  <a:gd name="connsiteX587" fmla="*/ 169164 w 904875"/>
                  <a:gd name="connsiteY587" fmla="*/ 11049 h 742950"/>
                  <a:gd name="connsiteX588" fmla="*/ 164878 w 904875"/>
                  <a:gd name="connsiteY588" fmla="*/ 9334 h 742950"/>
                  <a:gd name="connsiteX589" fmla="*/ 162401 w 904875"/>
                  <a:gd name="connsiteY589" fmla="*/ 8477 h 742950"/>
                  <a:gd name="connsiteX590" fmla="*/ 154781 w 904875"/>
                  <a:gd name="connsiteY590" fmla="*/ 10192 h 742950"/>
                  <a:gd name="connsiteX591" fmla="*/ 145447 w 904875"/>
                  <a:gd name="connsiteY591" fmla="*/ 14383 h 742950"/>
                  <a:gd name="connsiteX592" fmla="*/ 144590 w 904875"/>
                  <a:gd name="connsiteY592" fmla="*/ 16097 h 742950"/>
                  <a:gd name="connsiteX593" fmla="*/ 142113 w 904875"/>
                  <a:gd name="connsiteY593" fmla="*/ 17812 h 742950"/>
                  <a:gd name="connsiteX594" fmla="*/ 139541 w 904875"/>
                  <a:gd name="connsiteY594" fmla="*/ 18669 h 742950"/>
                  <a:gd name="connsiteX595" fmla="*/ 137827 w 904875"/>
                  <a:gd name="connsiteY595" fmla="*/ 18669 h 742950"/>
                  <a:gd name="connsiteX596" fmla="*/ 134493 w 904875"/>
                  <a:gd name="connsiteY596" fmla="*/ 20288 h 742950"/>
                  <a:gd name="connsiteX597" fmla="*/ 130207 w 904875"/>
                  <a:gd name="connsiteY597" fmla="*/ 21146 h 742950"/>
                  <a:gd name="connsiteX598" fmla="*/ 129445 w 904875"/>
                  <a:gd name="connsiteY598" fmla="*/ 22003 h 742950"/>
                  <a:gd name="connsiteX599" fmla="*/ 127730 w 904875"/>
                  <a:gd name="connsiteY599" fmla="*/ 22003 h 742950"/>
                  <a:gd name="connsiteX600" fmla="*/ 126016 w 904875"/>
                  <a:gd name="connsiteY600" fmla="*/ 25432 h 742950"/>
                  <a:gd name="connsiteX601" fmla="*/ 126016 w 904875"/>
                  <a:gd name="connsiteY601" fmla="*/ 26289 h 742950"/>
                  <a:gd name="connsiteX602" fmla="*/ 126016 w 904875"/>
                  <a:gd name="connsiteY602" fmla="*/ 27051 h 742950"/>
                  <a:gd name="connsiteX603" fmla="*/ 126873 w 904875"/>
                  <a:gd name="connsiteY603" fmla="*/ 30480 h 742950"/>
                  <a:gd name="connsiteX604" fmla="*/ 126873 w 904875"/>
                  <a:gd name="connsiteY604" fmla="*/ 32195 h 742950"/>
                  <a:gd name="connsiteX605" fmla="*/ 126873 w 904875"/>
                  <a:gd name="connsiteY605" fmla="*/ 33909 h 742950"/>
                  <a:gd name="connsiteX606" fmla="*/ 127730 w 904875"/>
                  <a:gd name="connsiteY606" fmla="*/ 35528 h 742950"/>
                  <a:gd name="connsiteX607" fmla="*/ 128588 w 904875"/>
                  <a:gd name="connsiteY607" fmla="*/ 36386 h 742950"/>
                  <a:gd name="connsiteX608" fmla="*/ 129445 w 904875"/>
                  <a:gd name="connsiteY608" fmla="*/ 37243 h 742950"/>
                  <a:gd name="connsiteX609" fmla="*/ 130207 w 904875"/>
                  <a:gd name="connsiteY609" fmla="*/ 38957 h 742950"/>
                  <a:gd name="connsiteX610" fmla="*/ 131064 w 904875"/>
                  <a:gd name="connsiteY610" fmla="*/ 40672 h 742950"/>
                  <a:gd name="connsiteX611" fmla="*/ 129445 w 904875"/>
                  <a:gd name="connsiteY611" fmla="*/ 44005 h 742950"/>
                  <a:gd name="connsiteX612" fmla="*/ 127730 w 904875"/>
                  <a:gd name="connsiteY612" fmla="*/ 46577 h 742950"/>
                  <a:gd name="connsiteX613" fmla="*/ 125158 w 904875"/>
                  <a:gd name="connsiteY613" fmla="*/ 47434 h 742950"/>
                  <a:gd name="connsiteX614" fmla="*/ 122682 w 904875"/>
                  <a:gd name="connsiteY614" fmla="*/ 47434 h 742950"/>
                  <a:gd name="connsiteX615" fmla="*/ 121825 w 904875"/>
                  <a:gd name="connsiteY615" fmla="*/ 48292 h 742950"/>
                  <a:gd name="connsiteX616" fmla="*/ 120968 w 904875"/>
                  <a:gd name="connsiteY616" fmla="*/ 49054 h 742950"/>
                  <a:gd name="connsiteX617" fmla="*/ 121825 w 904875"/>
                  <a:gd name="connsiteY617" fmla="*/ 50768 h 742950"/>
                  <a:gd name="connsiteX618" fmla="*/ 122682 w 904875"/>
                  <a:gd name="connsiteY618" fmla="*/ 51625 h 742950"/>
                  <a:gd name="connsiteX619" fmla="*/ 125158 w 904875"/>
                  <a:gd name="connsiteY619" fmla="*/ 55912 h 742950"/>
                  <a:gd name="connsiteX620" fmla="*/ 126873 w 904875"/>
                  <a:gd name="connsiteY620" fmla="*/ 57531 h 742950"/>
                  <a:gd name="connsiteX621" fmla="*/ 127730 w 904875"/>
                  <a:gd name="connsiteY621" fmla="*/ 60103 h 742950"/>
                  <a:gd name="connsiteX622" fmla="*/ 128588 w 904875"/>
                  <a:gd name="connsiteY622" fmla="*/ 60960 h 742950"/>
                  <a:gd name="connsiteX623" fmla="*/ 128588 w 904875"/>
                  <a:gd name="connsiteY623" fmla="*/ 60960 h 742950"/>
                  <a:gd name="connsiteX624" fmla="*/ 129445 w 904875"/>
                  <a:gd name="connsiteY624" fmla="*/ 60960 h 742950"/>
                  <a:gd name="connsiteX625" fmla="*/ 132779 w 904875"/>
                  <a:gd name="connsiteY625" fmla="*/ 59246 h 742950"/>
                  <a:gd name="connsiteX626" fmla="*/ 140398 w 904875"/>
                  <a:gd name="connsiteY626" fmla="*/ 58388 h 742950"/>
                  <a:gd name="connsiteX627" fmla="*/ 143827 w 904875"/>
                  <a:gd name="connsiteY627" fmla="*/ 56674 h 742950"/>
                  <a:gd name="connsiteX628" fmla="*/ 148019 w 904875"/>
                  <a:gd name="connsiteY628" fmla="*/ 55054 h 742950"/>
                  <a:gd name="connsiteX629" fmla="*/ 150590 w 904875"/>
                  <a:gd name="connsiteY629" fmla="*/ 55054 h 742950"/>
                  <a:gd name="connsiteX630" fmla="*/ 153067 w 904875"/>
                  <a:gd name="connsiteY630" fmla="*/ 55054 h 742950"/>
                  <a:gd name="connsiteX631" fmla="*/ 160687 w 904875"/>
                  <a:gd name="connsiteY631" fmla="*/ 55912 h 742950"/>
                  <a:gd name="connsiteX632" fmla="*/ 161544 w 904875"/>
                  <a:gd name="connsiteY632" fmla="*/ 55912 h 742950"/>
                  <a:gd name="connsiteX633" fmla="*/ 162401 w 904875"/>
                  <a:gd name="connsiteY633" fmla="*/ 55054 h 742950"/>
                  <a:gd name="connsiteX634" fmla="*/ 162401 w 904875"/>
                  <a:gd name="connsiteY634" fmla="*/ 54197 h 742950"/>
                  <a:gd name="connsiteX635" fmla="*/ 163259 w 904875"/>
                  <a:gd name="connsiteY635" fmla="*/ 54197 h 742950"/>
                  <a:gd name="connsiteX636" fmla="*/ 163259 w 904875"/>
                  <a:gd name="connsiteY636" fmla="*/ 53340 h 742950"/>
                  <a:gd name="connsiteX637" fmla="*/ 164878 w 904875"/>
                  <a:gd name="connsiteY637" fmla="*/ 53340 h 742950"/>
                  <a:gd name="connsiteX638" fmla="*/ 165735 w 904875"/>
                  <a:gd name="connsiteY638" fmla="*/ 54197 h 742950"/>
                  <a:gd name="connsiteX639" fmla="*/ 166592 w 904875"/>
                  <a:gd name="connsiteY639" fmla="*/ 54197 h 742950"/>
                  <a:gd name="connsiteX640" fmla="*/ 167450 w 904875"/>
                  <a:gd name="connsiteY640" fmla="*/ 55054 h 742950"/>
                  <a:gd name="connsiteX641" fmla="*/ 168307 w 904875"/>
                  <a:gd name="connsiteY641" fmla="*/ 55912 h 742950"/>
                  <a:gd name="connsiteX642" fmla="*/ 168307 w 904875"/>
                  <a:gd name="connsiteY642" fmla="*/ 56674 h 742950"/>
                  <a:gd name="connsiteX643" fmla="*/ 170021 w 904875"/>
                  <a:gd name="connsiteY643" fmla="*/ 56674 h 742950"/>
                  <a:gd name="connsiteX644" fmla="*/ 173355 w 904875"/>
                  <a:gd name="connsiteY644" fmla="*/ 55912 h 742950"/>
                  <a:gd name="connsiteX645" fmla="*/ 175069 w 904875"/>
                  <a:gd name="connsiteY645" fmla="*/ 55054 h 742950"/>
                  <a:gd name="connsiteX646" fmla="*/ 175927 w 904875"/>
                  <a:gd name="connsiteY646" fmla="*/ 55054 h 742950"/>
                  <a:gd name="connsiteX647" fmla="*/ 177641 w 904875"/>
                  <a:gd name="connsiteY647" fmla="*/ 54197 h 742950"/>
                  <a:gd name="connsiteX648" fmla="*/ 178403 w 904875"/>
                  <a:gd name="connsiteY648" fmla="*/ 53340 h 742950"/>
                  <a:gd name="connsiteX649" fmla="*/ 179261 w 904875"/>
                  <a:gd name="connsiteY649" fmla="*/ 53340 h 742950"/>
                  <a:gd name="connsiteX650" fmla="*/ 180118 w 904875"/>
                  <a:gd name="connsiteY650" fmla="*/ 53340 h 742950"/>
                  <a:gd name="connsiteX651" fmla="*/ 180118 w 904875"/>
                  <a:gd name="connsiteY651" fmla="*/ 53340 h 742950"/>
                  <a:gd name="connsiteX652" fmla="*/ 180975 w 904875"/>
                  <a:gd name="connsiteY652" fmla="*/ 54197 h 742950"/>
                  <a:gd name="connsiteX653" fmla="*/ 180975 w 904875"/>
                  <a:gd name="connsiteY653" fmla="*/ 55912 h 742950"/>
                  <a:gd name="connsiteX654" fmla="*/ 181832 w 904875"/>
                  <a:gd name="connsiteY654" fmla="*/ 56674 h 742950"/>
                  <a:gd name="connsiteX655" fmla="*/ 181832 w 904875"/>
                  <a:gd name="connsiteY655" fmla="*/ 57531 h 742950"/>
                  <a:gd name="connsiteX656" fmla="*/ 181832 w 904875"/>
                  <a:gd name="connsiteY656" fmla="*/ 58388 h 742950"/>
                  <a:gd name="connsiteX657" fmla="*/ 180975 w 904875"/>
                  <a:gd name="connsiteY657" fmla="*/ 60103 h 742950"/>
                  <a:gd name="connsiteX658" fmla="*/ 180975 w 904875"/>
                  <a:gd name="connsiteY658" fmla="*/ 60103 h 742950"/>
                  <a:gd name="connsiteX659" fmla="*/ 179261 w 904875"/>
                  <a:gd name="connsiteY659" fmla="*/ 61817 h 742950"/>
                  <a:gd name="connsiteX660" fmla="*/ 177641 w 904875"/>
                  <a:gd name="connsiteY660" fmla="*/ 62675 h 742950"/>
                  <a:gd name="connsiteX661" fmla="*/ 175069 w 904875"/>
                  <a:gd name="connsiteY661" fmla="*/ 63437 h 742950"/>
                  <a:gd name="connsiteX662" fmla="*/ 160687 w 904875"/>
                  <a:gd name="connsiteY662" fmla="*/ 67723 h 742950"/>
                  <a:gd name="connsiteX663" fmla="*/ 158972 w 904875"/>
                  <a:gd name="connsiteY663" fmla="*/ 67723 h 742950"/>
                  <a:gd name="connsiteX664" fmla="*/ 158115 w 904875"/>
                  <a:gd name="connsiteY664" fmla="*/ 67723 h 742950"/>
                  <a:gd name="connsiteX665" fmla="*/ 155639 w 904875"/>
                  <a:gd name="connsiteY665" fmla="*/ 66008 h 742950"/>
                  <a:gd name="connsiteX666" fmla="*/ 154781 w 904875"/>
                  <a:gd name="connsiteY666" fmla="*/ 66008 h 742950"/>
                  <a:gd name="connsiteX667" fmla="*/ 153067 w 904875"/>
                  <a:gd name="connsiteY667" fmla="*/ 66866 h 742950"/>
                  <a:gd name="connsiteX668" fmla="*/ 152210 w 904875"/>
                  <a:gd name="connsiteY668" fmla="*/ 67723 h 742950"/>
                  <a:gd name="connsiteX669" fmla="*/ 149733 w 904875"/>
                  <a:gd name="connsiteY669" fmla="*/ 71057 h 742950"/>
                  <a:gd name="connsiteX670" fmla="*/ 148019 w 904875"/>
                  <a:gd name="connsiteY670" fmla="*/ 71914 h 742950"/>
                  <a:gd name="connsiteX671" fmla="*/ 145447 w 904875"/>
                  <a:gd name="connsiteY671" fmla="*/ 72771 h 742950"/>
                  <a:gd name="connsiteX672" fmla="*/ 143827 w 904875"/>
                  <a:gd name="connsiteY672" fmla="*/ 74486 h 742950"/>
                  <a:gd name="connsiteX673" fmla="*/ 142970 w 904875"/>
                  <a:gd name="connsiteY673" fmla="*/ 77057 h 742950"/>
                  <a:gd name="connsiteX674" fmla="*/ 140398 w 904875"/>
                  <a:gd name="connsiteY674" fmla="*/ 84677 h 742950"/>
                  <a:gd name="connsiteX675" fmla="*/ 139541 w 904875"/>
                  <a:gd name="connsiteY675" fmla="*/ 86296 h 742950"/>
                  <a:gd name="connsiteX676" fmla="*/ 138684 w 904875"/>
                  <a:gd name="connsiteY676" fmla="*/ 87154 h 742950"/>
                  <a:gd name="connsiteX677" fmla="*/ 132779 w 904875"/>
                  <a:gd name="connsiteY677" fmla="*/ 89725 h 742950"/>
                  <a:gd name="connsiteX678" fmla="*/ 131064 w 904875"/>
                  <a:gd name="connsiteY678" fmla="*/ 89725 h 742950"/>
                  <a:gd name="connsiteX679" fmla="*/ 130207 w 904875"/>
                  <a:gd name="connsiteY679" fmla="*/ 89725 h 742950"/>
                  <a:gd name="connsiteX680" fmla="*/ 128588 w 904875"/>
                  <a:gd name="connsiteY680" fmla="*/ 87154 h 742950"/>
                  <a:gd name="connsiteX681" fmla="*/ 127730 w 904875"/>
                  <a:gd name="connsiteY681" fmla="*/ 87154 h 742950"/>
                  <a:gd name="connsiteX682" fmla="*/ 126873 w 904875"/>
                  <a:gd name="connsiteY682" fmla="*/ 88011 h 742950"/>
                  <a:gd name="connsiteX683" fmla="*/ 125158 w 904875"/>
                  <a:gd name="connsiteY683" fmla="*/ 89725 h 742950"/>
                  <a:gd name="connsiteX684" fmla="*/ 124301 w 904875"/>
                  <a:gd name="connsiteY684" fmla="*/ 95631 h 742950"/>
                  <a:gd name="connsiteX685" fmla="*/ 122682 w 904875"/>
                  <a:gd name="connsiteY685" fmla="*/ 97346 h 742950"/>
                  <a:gd name="connsiteX686" fmla="*/ 121825 w 904875"/>
                  <a:gd name="connsiteY686" fmla="*/ 98203 h 742950"/>
                  <a:gd name="connsiteX687" fmla="*/ 120110 w 904875"/>
                  <a:gd name="connsiteY687" fmla="*/ 98203 h 742950"/>
                  <a:gd name="connsiteX688" fmla="*/ 119253 w 904875"/>
                  <a:gd name="connsiteY688" fmla="*/ 98203 h 742950"/>
                  <a:gd name="connsiteX689" fmla="*/ 118396 w 904875"/>
                  <a:gd name="connsiteY689" fmla="*/ 99060 h 742950"/>
                  <a:gd name="connsiteX690" fmla="*/ 117539 w 904875"/>
                  <a:gd name="connsiteY690" fmla="*/ 99917 h 742950"/>
                  <a:gd name="connsiteX691" fmla="*/ 115062 w 904875"/>
                  <a:gd name="connsiteY691" fmla="*/ 101537 h 742950"/>
                  <a:gd name="connsiteX692" fmla="*/ 115062 w 904875"/>
                  <a:gd name="connsiteY692" fmla="*/ 101537 h 742950"/>
                  <a:gd name="connsiteX693" fmla="*/ 115062 w 904875"/>
                  <a:gd name="connsiteY693" fmla="*/ 101537 h 742950"/>
                  <a:gd name="connsiteX694" fmla="*/ 114205 w 904875"/>
                  <a:gd name="connsiteY694" fmla="*/ 101537 h 742950"/>
                  <a:gd name="connsiteX695" fmla="*/ 113348 w 904875"/>
                  <a:gd name="connsiteY695" fmla="*/ 100679 h 742950"/>
                  <a:gd name="connsiteX696" fmla="*/ 112490 w 904875"/>
                  <a:gd name="connsiteY696" fmla="*/ 100679 h 742950"/>
                  <a:gd name="connsiteX697" fmla="*/ 111633 w 904875"/>
                  <a:gd name="connsiteY697" fmla="*/ 100679 h 742950"/>
                  <a:gd name="connsiteX698" fmla="*/ 110776 w 904875"/>
                  <a:gd name="connsiteY698" fmla="*/ 100679 h 742950"/>
                  <a:gd name="connsiteX699" fmla="*/ 109919 w 904875"/>
                  <a:gd name="connsiteY699" fmla="*/ 101537 h 742950"/>
                  <a:gd name="connsiteX700" fmla="*/ 109156 w 904875"/>
                  <a:gd name="connsiteY700" fmla="*/ 101537 h 742950"/>
                  <a:gd name="connsiteX701" fmla="*/ 108299 w 904875"/>
                  <a:gd name="connsiteY701" fmla="*/ 101537 h 742950"/>
                  <a:gd name="connsiteX702" fmla="*/ 101537 w 904875"/>
                  <a:gd name="connsiteY702" fmla="*/ 98203 h 742950"/>
                  <a:gd name="connsiteX703" fmla="*/ 100679 w 904875"/>
                  <a:gd name="connsiteY703" fmla="*/ 97346 h 742950"/>
                  <a:gd name="connsiteX704" fmla="*/ 99822 w 904875"/>
                  <a:gd name="connsiteY704" fmla="*/ 97346 h 742950"/>
                  <a:gd name="connsiteX705" fmla="*/ 98965 w 904875"/>
                  <a:gd name="connsiteY705" fmla="*/ 98203 h 742950"/>
                  <a:gd name="connsiteX706" fmla="*/ 98965 w 904875"/>
                  <a:gd name="connsiteY706" fmla="*/ 98203 h 742950"/>
                  <a:gd name="connsiteX707" fmla="*/ 98965 w 904875"/>
                  <a:gd name="connsiteY707" fmla="*/ 99060 h 742950"/>
                  <a:gd name="connsiteX708" fmla="*/ 99822 w 904875"/>
                  <a:gd name="connsiteY708" fmla="*/ 100679 h 742950"/>
                  <a:gd name="connsiteX709" fmla="*/ 104013 w 904875"/>
                  <a:gd name="connsiteY709" fmla="*/ 104108 h 742950"/>
                  <a:gd name="connsiteX710" fmla="*/ 108299 w 904875"/>
                  <a:gd name="connsiteY710" fmla="*/ 106680 h 742950"/>
                  <a:gd name="connsiteX711" fmla="*/ 109919 w 904875"/>
                  <a:gd name="connsiteY711" fmla="*/ 106680 h 742950"/>
                  <a:gd name="connsiteX712" fmla="*/ 111633 w 904875"/>
                  <a:gd name="connsiteY712" fmla="*/ 106680 h 742950"/>
                  <a:gd name="connsiteX713" fmla="*/ 112490 w 904875"/>
                  <a:gd name="connsiteY713" fmla="*/ 106680 h 742950"/>
                  <a:gd name="connsiteX714" fmla="*/ 113348 w 904875"/>
                  <a:gd name="connsiteY714" fmla="*/ 106680 h 742950"/>
                  <a:gd name="connsiteX715" fmla="*/ 115062 w 904875"/>
                  <a:gd name="connsiteY715" fmla="*/ 106680 h 742950"/>
                  <a:gd name="connsiteX716" fmla="*/ 115919 w 904875"/>
                  <a:gd name="connsiteY716" fmla="*/ 106680 h 742950"/>
                  <a:gd name="connsiteX717" fmla="*/ 116681 w 904875"/>
                  <a:gd name="connsiteY717" fmla="*/ 107442 h 742950"/>
                  <a:gd name="connsiteX718" fmla="*/ 118396 w 904875"/>
                  <a:gd name="connsiteY718" fmla="*/ 109157 h 742950"/>
                  <a:gd name="connsiteX719" fmla="*/ 119253 w 904875"/>
                  <a:gd name="connsiteY719" fmla="*/ 110871 h 742950"/>
                  <a:gd name="connsiteX720" fmla="*/ 120110 w 904875"/>
                  <a:gd name="connsiteY720" fmla="*/ 112586 h 742950"/>
                  <a:gd name="connsiteX721" fmla="*/ 123444 w 904875"/>
                  <a:gd name="connsiteY721" fmla="*/ 113443 h 742950"/>
                  <a:gd name="connsiteX722" fmla="*/ 125158 w 904875"/>
                  <a:gd name="connsiteY722" fmla="*/ 114300 h 742950"/>
                  <a:gd name="connsiteX723" fmla="*/ 126016 w 904875"/>
                  <a:gd name="connsiteY723" fmla="*/ 115062 h 742950"/>
                  <a:gd name="connsiteX724" fmla="*/ 127730 w 904875"/>
                  <a:gd name="connsiteY724" fmla="*/ 117634 h 742950"/>
                  <a:gd name="connsiteX725" fmla="*/ 130207 w 904875"/>
                  <a:gd name="connsiteY725" fmla="*/ 120205 h 742950"/>
                  <a:gd name="connsiteX726" fmla="*/ 131921 w 904875"/>
                  <a:gd name="connsiteY726" fmla="*/ 121920 h 742950"/>
                  <a:gd name="connsiteX727" fmla="*/ 132779 w 904875"/>
                  <a:gd name="connsiteY727" fmla="*/ 122682 h 742950"/>
                  <a:gd name="connsiteX728" fmla="*/ 133636 w 904875"/>
                  <a:gd name="connsiteY728" fmla="*/ 123539 h 742950"/>
                  <a:gd name="connsiteX729" fmla="*/ 134493 w 904875"/>
                  <a:gd name="connsiteY729" fmla="*/ 125254 h 742950"/>
                  <a:gd name="connsiteX730" fmla="*/ 135350 w 904875"/>
                  <a:gd name="connsiteY730" fmla="*/ 129445 h 742950"/>
                  <a:gd name="connsiteX731" fmla="*/ 136969 w 904875"/>
                  <a:gd name="connsiteY731" fmla="*/ 132017 h 742950"/>
                  <a:gd name="connsiteX732" fmla="*/ 137827 w 904875"/>
                  <a:gd name="connsiteY732" fmla="*/ 134588 h 742950"/>
                  <a:gd name="connsiteX733" fmla="*/ 138684 w 904875"/>
                  <a:gd name="connsiteY733" fmla="*/ 143923 h 742950"/>
                  <a:gd name="connsiteX734" fmla="*/ 138684 w 904875"/>
                  <a:gd name="connsiteY734" fmla="*/ 145542 h 742950"/>
                  <a:gd name="connsiteX735" fmla="*/ 138684 w 904875"/>
                  <a:gd name="connsiteY735" fmla="*/ 147257 h 742950"/>
                  <a:gd name="connsiteX736" fmla="*/ 137827 w 904875"/>
                  <a:gd name="connsiteY736" fmla="*/ 148971 h 742950"/>
                  <a:gd name="connsiteX737" fmla="*/ 137827 w 904875"/>
                  <a:gd name="connsiteY737" fmla="*/ 150686 h 742950"/>
                  <a:gd name="connsiteX738" fmla="*/ 136208 w 904875"/>
                  <a:gd name="connsiteY738" fmla="*/ 151447 h 742950"/>
                  <a:gd name="connsiteX739" fmla="*/ 131064 w 904875"/>
                  <a:gd name="connsiteY739" fmla="*/ 155734 h 742950"/>
                  <a:gd name="connsiteX740" fmla="*/ 127730 w 904875"/>
                  <a:gd name="connsiteY740" fmla="*/ 159067 h 742950"/>
                  <a:gd name="connsiteX741" fmla="*/ 127730 w 904875"/>
                  <a:gd name="connsiteY741" fmla="*/ 159925 h 742950"/>
                  <a:gd name="connsiteX742" fmla="*/ 127730 w 904875"/>
                  <a:gd name="connsiteY742" fmla="*/ 161639 h 742950"/>
                  <a:gd name="connsiteX743" fmla="*/ 127730 w 904875"/>
                  <a:gd name="connsiteY743" fmla="*/ 163354 h 742950"/>
                  <a:gd name="connsiteX744" fmla="*/ 126873 w 904875"/>
                  <a:gd name="connsiteY744" fmla="*/ 165068 h 742950"/>
                  <a:gd name="connsiteX745" fmla="*/ 126873 w 904875"/>
                  <a:gd name="connsiteY745" fmla="*/ 165925 h 742950"/>
                  <a:gd name="connsiteX746" fmla="*/ 125158 w 904875"/>
                  <a:gd name="connsiteY746" fmla="*/ 167545 h 742950"/>
                  <a:gd name="connsiteX747" fmla="*/ 124301 w 904875"/>
                  <a:gd name="connsiteY747" fmla="*/ 167545 h 742950"/>
                  <a:gd name="connsiteX748" fmla="*/ 122682 w 904875"/>
                  <a:gd name="connsiteY748" fmla="*/ 168402 h 742950"/>
                  <a:gd name="connsiteX749" fmla="*/ 119253 w 904875"/>
                  <a:gd name="connsiteY749" fmla="*/ 170117 h 742950"/>
                  <a:gd name="connsiteX750" fmla="*/ 116681 w 904875"/>
                  <a:gd name="connsiteY750" fmla="*/ 171831 h 742950"/>
                  <a:gd name="connsiteX751" fmla="*/ 115919 w 904875"/>
                  <a:gd name="connsiteY751" fmla="*/ 171831 h 742950"/>
                  <a:gd name="connsiteX752" fmla="*/ 109919 w 904875"/>
                  <a:gd name="connsiteY752" fmla="*/ 172688 h 742950"/>
                  <a:gd name="connsiteX753" fmla="*/ 108299 w 904875"/>
                  <a:gd name="connsiteY753" fmla="*/ 172688 h 742950"/>
                  <a:gd name="connsiteX754" fmla="*/ 107442 w 904875"/>
                  <a:gd name="connsiteY754" fmla="*/ 171831 h 742950"/>
                  <a:gd name="connsiteX755" fmla="*/ 107442 w 904875"/>
                  <a:gd name="connsiteY755" fmla="*/ 170974 h 742950"/>
                  <a:gd name="connsiteX756" fmla="*/ 104013 w 904875"/>
                  <a:gd name="connsiteY756" fmla="*/ 167545 h 742950"/>
                  <a:gd name="connsiteX757" fmla="*/ 103156 w 904875"/>
                  <a:gd name="connsiteY757" fmla="*/ 165925 h 742950"/>
                  <a:gd name="connsiteX758" fmla="*/ 101537 w 904875"/>
                  <a:gd name="connsiteY758" fmla="*/ 165068 h 742950"/>
                  <a:gd name="connsiteX759" fmla="*/ 98107 w 904875"/>
                  <a:gd name="connsiteY759" fmla="*/ 163354 h 742950"/>
                  <a:gd name="connsiteX760" fmla="*/ 93917 w 904875"/>
                  <a:gd name="connsiteY760" fmla="*/ 159925 h 742950"/>
                  <a:gd name="connsiteX761" fmla="*/ 93059 w 904875"/>
                  <a:gd name="connsiteY761" fmla="*/ 159925 h 742950"/>
                  <a:gd name="connsiteX762" fmla="*/ 92202 w 904875"/>
                  <a:gd name="connsiteY762" fmla="*/ 159067 h 742950"/>
                  <a:gd name="connsiteX763" fmla="*/ 91345 w 904875"/>
                  <a:gd name="connsiteY763" fmla="*/ 159067 h 742950"/>
                  <a:gd name="connsiteX764" fmla="*/ 90488 w 904875"/>
                  <a:gd name="connsiteY764" fmla="*/ 158305 h 742950"/>
                  <a:gd name="connsiteX765" fmla="*/ 89630 w 904875"/>
                  <a:gd name="connsiteY765" fmla="*/ 155734 h 742950"/>
                  <a:gd name="connsiteX766" fmla="*/ 88773 w 904875"/>
                  <a:gd name="connsiteY766" fmla="*/ 154876 h 742950"/>
                  <a:gd name="connsiteX767" fmla="*/ 88011 w 904875"/>
                  <a:gd name="connsiteY767" fmla="*/ 154019 h 742950"/>
                  <a:gd name="connsiteX768" fmla="*/ 88011 w 904875"/>
                  <a:gd name="connsiteY768" fmla="*/ 154019 h 742950"/>
                  <a:gd name="connsiteX769" fmla="*/ 87154 w 904875"/>
                  <a:gd name="connsiteY769" fmla="*/ 154019 h 742950"/>
                  <a:gd name="connsiteX770" fmla="*/ 86297 w 904875"/>
                  <a:gd name="connsiteY770" fmla="*/ 154019 h 742950"/>
                  <a:gd name="connsiteX771" fmla="*/ 85439 w 904875"/>
                  <a:gd name="connsiteY771" fmla="*/ 154876 h 742950"/>
                  <a:gd name="connsiteX772" fmla="*/ 84582 w 904875"/>
                  <a:gd name="connsiteY772" fmla="*/ 158305 h 742950"/>
                  <a:gd name="connsiteX773" fmla="*/ 82868 w 904875"/>
                  <a:gd name="connsiteY773" fmla="*/ 159925 h 742950"/>
                  <a:gd name="connsiteX774" fmla="*/ 79534 w 904875"/>
                  <a:gd name="connsiteY774" fmla="*/ 160782 h 742950"/>
                  <a:gd name="connsiteX775" fmla="*/ 78677 w 904875"/>
                  <a:gd name="connsiteY775" fmla="*/ 161639 h 742950"/>
                  <a:gd name="connsiteX776" fmla="*/ 78677 w 904875"/>
                  <a:gd name="connsiteY776" fmla="*/ 161639 h 742950"/>
                  <a:gd name="connsiteX777" fmla="*/ 78677 w 904875"/>
                  <a:gd name="connsiteY777" fmla="*/ 162496 h 742950"/>
                  <a:gd name="connsiteX778" fmla="*/ 79534 w 904875"/>
                  <a:gd name="connsiteY778" fmla="*/ 163354 h 742950"/>
                  <a:gd name="connsiteX779" fmla="*/ 80391 w 904875"/>
                  <a:gd name="connsiteY779" fmla="*/ 163354 h 742950"/>
                  <a:gd name="connsiteX780" fmla="*/ 81248 w 904875"/>
                  <a:gd name="connsiteY780" fmla="*/ 163354 h 742950"/>
                  <a:gd name="connsiteX781" fmla="*/ 82010 w 904875"/>
                  <a:gd name="connsiteY781" fmla="*/ 163354 h 742950"/>
                  <a:gd name="connsiteX782" fmla="*/ 82868 w 904875"/>
                  <a:gd name="connsiteY782" fmla="*/ 164211 h 742950"/>
                  <a:gd name="connsiteX783" fmla="*/ 82868 w 904875"/>
                  <a:gd name="connsiteY783" fmla="*/ 164211 h 742950"/>
                  <a:gd name="connsiteX784" fmla="*/ 83725 w 904875"/>
                  <a:gd name="connsiteY784" fmla="*/ 165068 h 742950"/>
                  <a:gd name="connsiteX785" fmla="*/ 83725 w 904875"/>
                  <a:gd name="connsiteY785" fmla="*/ 167545 h 742950"/>
                  <a:gd name="connsiteX786" fmla="*/ 83725 w 904875"/>
                  <a:gd name="connsiteY786" fmla="*/ 168402 h 742950"/>
                  <a:gd name="connsiteX787" fmla="*/ 84582 w 904875"/>
                  <a:gd name="connsiteY787" fmla="*/ 168402 h 742950"/>
                  <a:gd name="connsiteX788" fmla="*/ 84582 w 904875"/>
                  <a:gd name="connsiteY788" fmla="*/ 169259 h 742950"/>
                  <a:gd name="connsiteX789" fmla="*/ 85439 w 904875"/>
                  <a:gd name="connsiteY789" fmla="*/ 169259 h 742950"/>
                  <a:gd name="connsiteX790" fmla="*/ 87154 w 904875"/>
                  <a:gd name="connsiteY790" fmla="*/ 169259 h 742950"/>
                  <a:gd name="connsiteX791" fmla="*/ 87154 w 904875"/>
                  <a:gd name="connsiteY791" fmla="*/ 169259 h 742950"/>
                  <a:gd name="connsiteX792" fmla="*/ 88011 w 904875"/>
                  <a:gd name="connsiteY792" fmla="*/ 170117 h 742950"/>
                  <a:gd name="connsiteX793" fmla="*/ 88011 w 904875"/>
                  <a:gd name="connsiteY793" fmla="*/ 170117 h 742950"/>
                  <a:gd name="connsiteX794" fmla="*/ 88011 w 904875"/>
                  <a:gd name="connsiteY794" fmla="*/ 170974 h 742950"/>
                  <a:gd name="connsiteX795" fmla="*/ 88773 w 904875"/>
                  <a:gd name="connsiteY795" fmla="*/ 175165 h 742950"/>
                  <a:gd name="connsiteX796" fmla="*/ 88011 w 904875"/>
                  <a:gd name="connsiteY796" fmla="*/ 176879 h 742950"/>
                  <a:gd name="connsiteX797" fmla="*/ 87154 w 904875"/>
                  <a:gd name="connsiteY797" fmla="*/ 180308 h 742950"/>
                  <a:gd name="connsiteX798" fmla="*/ 81248 w 904875"/>
                  <a:gd name="connsiteY798" fmla="*/ 188690 h 742950"/>
                  <a:gd name="connsiteX799" fmla="*/ 78677 w 904875"/>
                  <a:gd name="connsiteY799" fmla="*/ 193834 h 742950"/>
                  <a:gd name="connsiteX800" fmla="*/ 77819 w 904875"/>
                  <a:gd name="connsiteY800" fmla="*/ 194691 h 742950"/>
                  <a:gd name="connsiteX801" fmla="*/ 78677 w 904875"/>
                  <a:gd name="connsiteY801" fmla="*/ 195453 h 742950"/>
                  <a:gd name="connsiteX802" fmla="*/ 78677 w 904875"/>
                  <a:gd name="connsiteY802" fmla="*/ 196310 h 742950"/>
                  <a:gd name="connsiteX803" fmla="*/ 79534 w 904875"/>
                  <a:gd name="connsiteY803" fmla="*/ 196310 h 742950"/>
                  <a:gd name="connsiteX804" fmla="*/ 80391 w 904875"/>
                  <a:gd name="connsiteY804" fmla="*/ 196310 h 742950"/>
                  <a:gd name="connsiteX805" fmla="*/ 80391 w 904875"/>
                  <a:gd name="connsiteY805" fmla="*/ 197167 h 742950"/>
                  <a:gd name="connsiteX806" fmla="*/ 81248 w 904875"/>
                  <a:gd name="connsiteY806" fmla="*/ 198025 h 742950"/>
                  <a:gd name="connsiteX807" fmla="*/ 81248 w 904875"/>
                  <a:gd name="connsiteY807" fmla="*/ 198882 h 742950"/>
                  <a:gd name="connsiteX808" fmla="*/ 81248 w 904875"/>
                  <a:gd name="connsiteY808" fmla="*/ 200596 h 742950"/>
                  <a:gd name="connsiteX809" fmla="*/ 82010 w 904875"/>
                  <a:gd name="connsiteY809" fmla="*/ 206502 h 742950"/>
                  <a:gd name="connsiteX810" fmla="*/ 81248 w 904875"/>
                  <a:gd name="connsiteY810" fmla="*/ 208217 h 742950"/>
                  <a:gd name="connsiteX811" fmla="*/ 81248 w 904875"/>
                  <a:gd name="connsiteY811" fmla="*/ 209931 h 742950"/>
                  <a:gd name="connsiteX812" fmla="*/ 80391 w 904875"/>
                  <a:gd name="connsiteY812" fmla="*/ 211550 h 742950"/>
                  <a:gd name="connsiteX813" fmla="*/ 80391 w 904875"/>
                  <a:gd name="connsiteY813" fmla="*/ 212408 h 742950"/>
                  <a:gd name="connsiteX814" fmla="*/ 80391 w 904875"/>
                  <a:gd name="connsiteY814" fmla="*/ 213265 h 742950"/>
                  <a:gd name="connsiteX815" fmla="*/ 80391 w 904875"/>
                  <a:gd name="connsiteY815" fmla="*/ 214979 h 742950"/>
                  <a:gd name="connsiteX816" fmla="*/ 80391 w 904875"/>
                  <a:gd name="connsiteY816" fmla="*/ 216694 h 742950"/>
                  <a:gd name="connsiteX817" fmla="*/ 80391 w 904875"/>
                  <a:gd name="connsiteY817" fmla="*/ 216694 h 742950"/>
                  <a:gd name="connsiteX818" fmla="*/ 78677 w 904875"/>
                  <a:gd name="connsiteY818" fmla="*/ 217456 h 742950"/>
                  <a:gd name="connsiteX819" fmla="*/ 77819 w 904875"/>
                  <a:gd name="connsiteY819" fmla="*/ 217456 h 742950"/>
                  <a:gd name="connsiteX820" fmla="*/ 75248 w 904875"/>
                  <a:gd name="connsiteY820" fmla="*/ 216694 h 742950"/>
                  <a:gd name="connsiteX821" fmla="*/ 68485 w 904875"/>
                  <a:gd name="connsiteY821" fmla="*/ 214979 h 742950"/>
                  <a:gd name="connsiteX822" fmla="*/ 67723 w 904875"/>
                  <a:gd name="connsiteY822" fmla="*/ 215837 h 742950"/>
                  <a:gd name="connsiteX823" fmla="*/ 66866 w 904875"/>
                  <a:gd name="connsiteY823" fmla="*/ 216694 h 742950"/>
                  <a:gd name="connsiteX824" fmla="*/ 66008 w 904875"/>
                  <a:gd name="connsiteY824" fmla="*/ 217456 h 742950"/>
                  <a:gd name="connsiteX825" fmla="*/ 65151 w 904875"/>
                  <a:gd name="connsiteY825" fmla="*/ 218313 h 742950"/>
                  <a:gd name="connsiteX826" fmla="*/ 65151 w 904875"/>
                  <a:gd name="connsiteY826" fmla="*/ 219170 h 742950"/>
                  <a:gd name="connsiteX827" fmla="*/ 65151 w 904875"/>
                  <a:gd name="connsiteY827" fmla="*/ 220028 h 742950"/>
                  <a:gd name="connsiteX828" fmla="*/ 65151 w 904875"/>
                  <a:gd name="connsiteY828" fmla="*/ 220885 h 742950"/>
                  <a:gd name="connsiteX829" fmla="*/ 65151 w 904875"/>
                  <a:gd name="connsiteY829" fmla="*/ 221742 h 742950"/>
                  <a:gd name="connsiteX830" fmla="*/ 64294 w 904875"/>
                  <a:gd name="connsiteY830" fmla="*/ 222599 h 742950"/>
                  <a:gd name="connsiteX831" fmla="*/ 63437 w 904875"/>
                  <a:gd name="connsiteY831" fmla="*/ 223457 h 742950"/>
                  <a:gd name="connsiteX832" fmla="*/ 61722 w 904875"/>
                  <a:gd name="connsiteY832" fmla="*/ 224314 h 742950"/>
                  <a:gd name="connsiteX833" fmla="*/ 60865 w 904875"/>
                  <a:gd name="connsiteY833" fmla="*/ 225076 h 742950"/>
                  <a:gd name="connsiteX834" fmla="*/ 59246 w 904875"/>
                  <a:gd name="connsiteY834" fmla="*/ 225076 h 742950"/>
                  <a:gd name="connsiteX835" fmla="*/ 56674 w 904875"/>
                  <a:gd name="connsiteY835" fmla="*/ 224314 h 742950"/>
                  <a:gd name="connsiteX836" fmla="*/ 56674 w 904875"/>
                  <a:gd name="connsiteY836" fmla="*/ 228505 h 742950"/>
                  <a:gd name="connsiteX837" fmla="*/ 56674 w 904875"/>
                  <a:gd name="connsiteY837" fmla="*/ 231076 h 742950"/>
                  <a:gd name="connsiteX838" fmla="*/ 55817 w 904875"/>
                  <a:gd name="connsiteY838" fmla="*/ 232696 h 742950"/>
                  <a:gd name="connsiteX839" fmla="*/ 54959 w 904875"/>
                  <a:gd name="connsiteY839" fmla="*/ 234410 h 742950"/>
                  <a:gd name="connsiteX840" fmla="*/ 54959 w 904875"/>
                  <a:gd name="connsiteY840" fmla="*/ 234410 h 742950"/>
                  <a:gd name="connsiteX841" fmla="*/ 54102 w 904875"/>
                  <a:gd name="connsiteY841" fmla="*/ 235267 h 742950"/>
                  <a:gd name="connsiteX842" fmla="*/ 53340 w 904875"/>
                  <a:gd name="connsiteY842" fmla="*/ 235267 h 742950"/>
                  <a:gd name="connsiteX843" fmla="*/ 51626 w 904875"/>
                  <a:gd name="connsiteY843" fmla="*/ 233553 h 742950"/>
                  <a:gd name="connsiteX844" fmla="*/ 51626 w 904875"/>
                  <a:gd name="connsiteY844" fmla="*/ 232696 h 742950"/>
                  <a:gd name="connsiteX845" fmla="*/ 50768 w 904875"/>
                  <a:gd name="connsiteY845" fmla="*/ 231838 h 742950"/>
                  <a:gd name="connsiteX846" fmla="*/ 49911 w 904875"/>
                  <a:gd name="connsiteY846" fmla="*/ 231838 h 742950"/>
                  <a:gd name="connsiteX847" fmla="*/ 48197 w 904875"/>
                  <a:gd name="connsiteY847" fmla="*/ 231838 h 742950"/>
                  <a:gd name="connsiteX848" fmla="*/ 48197 w 904875"/>
                  <a:gd name="connsiteY848" fmla="*/ 231838 h 742950"/>
                  <a:gd name="connsiteX849" fmla="*/ 46577 w 904875"/>
                  <a:gd name="connsiteY849" fmla="*/ 232696 h 742950"/>
                  <a:gd name="connsiteX850" fmla="*/ 45720 w 904875"/>
                  <a:gd name="connsiteY850" fmla="*/ 233553 h 742950"/>
                  <a:gd name="connsiteX851" fmla="*/ 45720 w 904875"/>
                  <a:gd name="connsiteY851" fmla="*/ 233553 h 742950"/>
                  <a:gd name="connsiteX852" fmla="*/ 44863 w 904875"/>
                  <a:gd name="connsiteY852" fmla="*/ 232696 h 742950"/>
                  <a:gd name="connsiteX853" fmla="*/ 44006 w 904875"/>
                  <a:gd name="connsiteY853" fmla="*/ 231838 h 742950"/>
                  <a:gd name="connsiteX854" fmla="*/ 43148 w 904875"/>
                  <a:gd name="connsiteY854" fmla="*/ 231838 h 742950"/>
                  <a:gd name="connsiteX855" fmla="*/ 42291 w 904875"/>
                  <a:gd name="connsiteY855" fmla="*/ 231076 h 742950"/>
                  <a:gd name="connsiteX856" fmla="*/ 41434 w 904875"/>
                  <a:gd name="connsiteY856" fmla="*/ 231838 h 742950"/>
                  <a:gd name="connsiteX857" fmla="*/ 39815 w 904875"/>
                  <a:gd name="connsiteY857" fmla="*/ 232696 h 742950"/>
                  <a:gd name="connsiteX858" fmla="*/ 38957 w 904875"/>
                  <a:gd name="connsiteY858" fmla="*/ 233553 h 742950"/>
                  <a:gd name="connsiteX859" fmla="*/ 38957 w 904875"/>
                  <a:gd name="connsiteY859" fmla="*/ 233553 h 742950"/>
                  <a:gd name="connsiteX860" fmla="*/ 38100 w 904875"/>
                  <a:gd name="connsiteY860" fmla="*/ 233553 h 742950"/>
                  <a:gd name="connsiteX861" fmla="*/ 37243 w 904875"/>
                  <a:gd name="connsiteY861" fmla="*/ 232696 h 742950"/>
                  <a:gd name="connsiteX862" fmla="*/ 36385 w 904875"/>
                  <a:gd name="connsiteY862" fmla="*/ 231076 h 742950"/>
                  <a:gd name="connsiteX863" fmla="*/ 35528 w 904875"/>
                  <a:gd name="connsiteY863" fmla="*/ 227647 h 742950"/>
                  <a:gd name="connsiteX864" fmla="*/ 32195 w 904875"/>
                  <a:gd name="connsiteY864" fmla="*/ 223457 h 742950"/>
                  <a:gd name="connsiteX865" fmla="*/ 27051 w 904875"/>
                  <a:gd name="connsiteY865" fmla="*/ 225076 h 742950"/>
                  <a:gd name="connsiteX866" fmla="*/ 24575 w 904875"/>
                  <a:gd name="connsiteY866" fmla="*/ 225933 h 742950"/>
                  <a:gd name="connsiteX867" fmla="*/ 22003 w 904875"/>
                  <a:gd name="connsiteY867" fmla="*/ 225933 h 742950"/>
                  <a:gd name="connsiteX868" fmla="*/ 19431 w 904875"/>
                  <a:gd name="connsiteY868" fmla="*/ 225933 h 742950"/>
                  <a:gd name="connsiteX869" fmla="*/ 18669 w 904875"/>
                  <a:gd name="connsiteY869" fmla="*/ 225933 h 742950"/>
                  <a:gd name="connsiteX870" fmla="*/ 17812 w 904875"/>
                  <a:gd name="connsiteY870" fmla="*/ 226790 h 742950"/>
                  <a:gd name="connsiteX871" fmla="*/ 17812 w 904875"/>
                  <a:gd name="connsiteY871" fmla="*/ 226790 h 742950"/>
                  <a:gd name="connsiteX872" fmla="*/ 16955 w 904875"/>
                  <a:gd name="connsiteY872" fmla="*/ 226790 h 742950"/>
                  <a:gd name="connsiteX873" fmla="*/ 14383 w 904875"/>
                  <a:gd name="connsiteY873" fmla="*/ 225933 h 742950"/>
                  <a:gd name="connsiteX874" fmla="*/ 13526 w 904875"/>
                  <a:gd name="connsiteY874" fmla="*/ 225933 h 742950"/>
                  <a:gd name="connsiteX875" fmla="*/ 12668 w 904875"/>
                  <a:gd name="connsiteY875" fmla="*/ 225933 h 742950"/>
                  <a:gd name="connsiteX876" fmla="*/ 11906 w 904875"/>
                  <a:gd name="connsiteY876" fmla="*/ 227647 h 742950"/>
                  <a:gd name="connsiteX877" fmla="*/ 11049 w 904875"/>
                  <a:gd name="connsiteY877" fmla="*/ 227647 h 742950"/>
                  <a:gd name="connsiteX878" fmla="*/ 8477 w 904875"/>
                  <a:gd name="connsiteY878" fmla="*/ 229362 h 742950"/>
                  <a:gd name="connsiteX879" fmla="*/ 5906 w 904875"/>
                  <a:gd name="connsiteY879" fmla="*/ 229362 h 742950"/>
                  <a:gd name="connsiteX880" fmla="*/ 5906 w 904875"/>
                  <a:gd name="connsiteY880" fmla="*/ 229362 h 742950"/>
                  <a:gd name="connsiteX881" fmla="*/ 5906 w 904875"/>
                  <a:gd name="connsiteY881" fmla="*/ 230219 h 742950"/>
                  <a:gd name="connsiteX882" fmla="*/ 5906 w 904875"/>
                  <a:gd name="connsiteY882" fmla="*/ 236125 h 742950"/>
                  <a:gd name="connsiteX883" fmla="*/ 5906 w 904875"/>
                  <a:gd name="connsiteY883" fmla="*/ 238696 h 742950"/>
                  <a:gd name="connsiteX884" fmla="*/ 5144 w 904875"/>
                  <a:gd name="connsiteY884" fmla="*/ 240316 h 742950"/>
                  <a:gd name="connsiteX885" fmla="*/ 3429 w 904875"/>
                  <a:gd name="connsiteY885" fmla="*/ 242030 h 742950"/>
                  <a:gd name="connsiteX886" fmla="*/ 2572 w 904875"/>
                  <a:gd name="connsiteY886" fmla="*/ 242888 h 742950"/>
                  <a:gd name="connsiteX887" fmla="*/ 1715 w 904875"/>
                  <a:gd name="connsiteY887" fmla="*/ 243745 h 742950"/>
                  <a:gd name="connsiteX888" fmla="*/ 857 w 904875"/>
                  <a:gd name="connsiteY888" fmla="*/ 244602 h 742950"/>
                  <a:gd name="connsiteX889" fmla="*/ 1715 w 904875"/>
                  <a:gd name="connsiteY889" fmla="*/ 247936 h 742950"/>
                  <a:gd name="connsiteX890" fmla="*/ 857 w 904875"/>
                  <a:gd name="connsiteY890" fmla="*/ 252222 h 742950"/>
                  <a:gd name="connsiteX891" fmla="*/ 857 w 904875"/>
                  <a:gd name="connsiteY891" fmla="*/ 253841 h 742950"/>
                  <a:gd name="connsiteX892" fmla="*/ 0 w 904875"/>
                  <a:gd name="connsiteY892" fmla="*/ 255556 h 742950"/>
                  <a:gd name="connsiteX893" fmla="*/ 0 w 904875"/>
                  <a:gd name="connsiteY893" fmla="*/ 256413 h 742950"/>
                  <a:gd name="connsiteX894" fmla="*/ 2572 w 904875"/>
                  <a:gd name="connsiteY894" fmla="*/ 259842 h 742950"/>
                  <a:gd name="connsiteX895" fmla="*/ 2572 w 904875"/>
                  <a:gd name="connsiteY895" fmla="*/ 261461 h 742950"/>
                  <a:gd name="connsiteX896" fmla="*/ 2572 w 904875"/>
                  <a:gd name="connsiteY896" fmla="*/ 265747 h 742950"/>
                  <a:gd name="connsiteX897" fmla="*/ 2572 w 904875"/>
                  <a:gd name="connsiteY897" fmla="*/ 267462 h 742950"/>
                  <a:gd name="connsiteX898" fmla="*/ 4286 w 904875"/>
                  <a:gd name="connsiteY898" fmla="*/ 267462 h 742950"/>
                  <a:gd name="connsiteX899" fmla="*/ 8477 w 904875"/>
                  <a:gd name="connsiteY899" fmla="*/ 262319 h 742950"/>
                  <a:gd name="connsiteX900" fmla="*/ 8477 w 904875"/>
                  <a:gd name="connsiteY900" fmla="*/ 264033 h 742950"/>
                  <a:gd name="connsiteX901" fmla="*/ 9334 w 904875"/>
                  <a:gd name="connsiteY901" fmla="*/ 264890 h 742950"/>
                  <a:gd name="connsiteX902" fmla="*/ 9334 w 904875"/>
                  <a:gd name="connsiteY902" fmla="*/ 265747 h 742950"/>
                  <a:gd name="connsiteX903" fmla="*/ 8477 w 904875"/>
                  <a:gd name="connsiteY903" fmla="*/ 266605 h 742950"/>
                  <a:gd name="connsiteX904" fmla="*/ 7620 w 904875"/>
                  <a:gd name="connsiteY904" fmla="*/ 266605 h 742950"/>
                  <a:gd name="connsiteX905" fmla="*/ 7620 w 904875"/>
                  <a:gd name="connsiteY905" fmla="*/ 266605 h 742950"/>
                  <a:gd name="connsiteX906" fmla="*/ 6763 w 904875"/>
                  <a:gd name="connsiteY906" fmla="*/ 267462 h 742950"/>
                  <a:gd name="connsiteX907" fmla="*/ 7620 w 904875"/>
                  <a:gd name="connsiteY907" fmla="*/ 269938 h 742950"/>
                  <a:gd name="connsiteX908" fmla="*/ 8477 w 904875"/>
                  <a:gd name="connsiteY908" fmla="*/ 271653 h 742950"/>
                  <a:gd name="connsiteX909" fmla="*/ 8477 w 904875"/>
                  <a:gd name="connsiteY909" fmla="*/ 272510 h 742950"/>
                  <a:gd name="connsiteX910" fmla="*/ 5906 w 904875"/>
                  <a:gd name="connsiteY910" fmla="*/ 273367 h 742950"/>
                  <a:gd name="connsiteX911" fmla="*/ 5906 w 904875"/>
                  <a:gd name="connsiteY911" fmla="*/ 272510 h 742950"/>
                  <a:gd name="connsiteX912" fmla="*/ 5144 w 904875"/>
                  <a:gd name="connsiteY912" fmla="*/ 271653 h 742950"/>
                  <a:gd name="connsiteX913" fmla="*/ 5144 w 904875"/>
                  <a:gd name="connsiteY913" fmla="*/ 270796 h 742950"/>
                  <a:gd name="connsiteX914" fmla="*/ 4286 w 904875"/>
                  <a:gd name="connsiteY914" fmla="*/ 269938 h 742950"/>
                  <a:gd name="connsiteX915" fmla="*/ 6763 w 904875"/>
                  <a:gd name="connsiteY915" fmla="*/ 278416 h 742950"/>
                  <a:gd name="connsiteX916" fmla="*/ 7620 w 904875"/>
                  <a:gd name="connsiteY916" fmla="*/ 284321 h 742950"/>
                  <a:gd name="connsiteX917" fmla="*/ 6763 w 904875"/>
                  <a:gd name="connsiteY917" fmla="*/ 286036 h 742950"/>
                  <a:gd name="connsiteX918" fmla="*/ 7620 w 904875"/>
                  <a:gd name="connsiteY918" fmla="*/ 291941 h 742950"/>
                  <a:gd name="connsiteX919" fmla="*/ 10192 w 904875"/>
                  <a:gd name="connsiteY919" fmla="*/ 294513 h 742950"/>
                  <a:gd name="connsiteX920" fmla="*/ 11049 w 904875"/>
                  <a:gd name="connsiteY920" fmla="*/ 294513 h 742950"/>
                  <a:gd name="connsiteX921" fmla="*/ 11049 w 904875"/>
                  <a:gd name="connsiteY921" fmla="*/ 293656 h 742950"/>
                  <a:gd name="connsiteX922" fmla="*/ 11049 w 904875"/>
                  <a:gd name="connsiteY922" fmla="*/ 292799 h 742950"/>
                  <a:gd name="connsiteX923" fmla="*/ 11049 w 904875"/>
                  <a:gd name="connsiteY923" fmla="*/ 291941 h 742950"/>
                  <a:gd name="connsiteX924" fmla="*/ 9334 w 904875"/>
                  <a:gd name="connsiteY924" fmla="*/ 291084 h 742950"/>
                  <a:gd name="connsiteX925" fmla="*/ 9334 w 904875"/>
                  <a:gd name="connsiteY925" fmla="*/ 290322 h 742950"/>
                  <a:gd name="connsiteX926" fmla="*/ 10192 w 904875"/>
                  <a:gd name="connsiteY926" fmla="*/ 289465 h 742950"/>
                  <a:gd name="connsiteX927" fmla="*/ 9334 w 904875"/>
                  <a:gd name="connsiteY927" fmla="*/ 287750 h 742950"/>
                  <a:gd name="connsiteX928" fmla="*/ 9334 w 904875"/>
                  <a:gd name="connsiteY928" fmla="*/ 286893 h 742950"/>
                  <a:gd name="connsiteX929" fmla="*/ 10192 w 904875"/>
                  <a:gd name="connsiteY929" fmla="*/ 286893 h 742950"/>
                  <a:gd name="connsiteX930" fmla="*/ 11906 w 904875"/>
                  <a:gd name="connsiteY930" fmla="*/ 287750 h 742950"/>
                  <a:gd name="connsiteX931" fmla="*/ 12668 w 904875"/>
                  <a:gd name="connsiteY931" fmla="*/ 288608 h 742950"/>
                  <a:gd name="connsiteX932" fmla="*/ 13526 w 904875"/>
                  <a:gd name="connsiteY932" fmla="*/ 289465 h 742950"/>
                  <a:gd name="connsiteX933" fmla="*/ 13526 w 904875"/>
                  <a:gd name="connsiteY933" fmla="*/ 291084 h 742950"/>
                  <a:gd name="connsiteX934" fmla="*/ 14383 w 904875"/>
                  <a:gd name="connsiteY934" fmla="*/ 291941 h 742950"/>
                  <a:gd name="connsiteX935" fmla="*/ 15240 w 904875"/>
                  <a:gd name="connsiteY935" fmla="*/ 292799 h 742950"/>
                  <a:gd name="connsiteX936" fmla="*/ 16097 w 904875"/>
                  <a:gd name="connsiteY936" fmla="*/ 292799 h 742950"/>
                  <a:gd name="connsiteX937" fmla="*/ 17812 w 904875"/>
                  <a:gd name="connsiteY937" fmla="*/ 292799 h 742950"/>
                  <a:gd name="connsiteX938" fmla="*/ 20288 w 904875"/>
                  <a:gd name="connsiteY938" fmla="*/ 291941 h 742950"/>
                  <a:gd name="connsiteX939" fmla="*/ 22860 w 904875"/>
                  <a:gd name="connsiteY939" fmla="*/ 291084 h 742950"/>
                  <a:gd name="connsiteX940" fmla="*/ 25432 w 904875"/>
                  <a:gd name="connsiteY940" fmla="*/ 292799 h 742950"/>
                  <a:gd name="connsiteX941" fmla="*/ 12668 w 904875"/>
                  <a:gd name="connsiteY941" fmla="*/ 297847 h 742950"/>
                  <a:gd name="connsiteX942" fmla="*/ 11049 w 904875"/>
                  <a:gd name="connsiteY942" fmla="*/ 298704 h 742950"/>
                  <a:gd name="connsiteX943" fmla="*/ 10192 w 904875"/>
                  <a:gd name="connsiteY943" fmla="*/ 300419 h 742950"/>
                  <a:gd name="connsiteX944" fmla="*/ 10192 w 904875"/>
                  <a:gd name="connsiteY944" fmla="*/ 302990 h 742950"/>
                  <a:gd name="connsiteX945" fmla="*/ 11906 w 904875"/>
                  <a:gd name="connsiteY945" fmla="*/ 309753 h 742950"/>
                  <a:gd name="connsiteX946" fmla="*/ 11906 w 904875"/>
                  <a:gd name="connsiteY946" fmla="*/ 310610 h 742950"/>
                  <a:gd name="connsiteX947" fmla="*/ 15240 w 904875"/>
                  <a:gd name="connsiteY947" fmla="*/ 313944 h 742950"/>
                  <a:gd name="connsiteX948" fmla="*/ 16955 w 904875"/>
                  <a:gd name="connsiteY948" fmla="*/ 315659 h 742950"/>
                  <a:gd name="connsiteX949" fmla="*/ 18669 w 904875"/>
                  <a:gd name="connsiteY949" fmla="*/ 315659 h 742950"/>
                  <a:gd name="connsiteX950" fmla="*/ 20288 w 904875"/>
                  <a:gd name="connsiteY950" fmla="*/ 313944 h 742950"/>
                  <a:gd name="connsiteX951" fmla="*/ 22003 w 904875"/>
                  <a:gd name="connsiteY951" fmla="*/ 314801 h 742950"/>
                  <a:gd name="connsiteX952" fmla="*/ 25432 w 904875"/>
                  <a:gd name="connsiteY952" fmla="*/ 317373 h 742950"/>
                  <a:gd name="connsiteX953" fmla="*/ 27051 w 904875"/>
                  <a:gd name="connsiteY953" fmla="*/ 319088 h 742950"/>
                  <a:gd name="connsiteX954" fmla="*/ 28766 w 904875"/>
                  <a:gd name="connsiteY954" fmla="*/ 319088 h 742950"/>
                  <a:gd name="connsiteX955" fmla="*/ 35528 w 904875"/>
                  <a:gd name="connsiteY955" fmla="*/ 319088 h 742950"/>
                  <a:gd name="connsiteX956" fmla="*/ 37243 w 904875"/>
                  <a:gd name="connsiteY956" fmla="*/ 319088 h 742950"/>
                  <a:gd name="connsiteX957" fmla="*/ 38957 w 904875"/>
                  <a:gd name="connsiteY957" fmla="*/ 320707 h 742950"/>
                  <a:gd name="connsiteX958" fmla="*/ 39815 w 904875"/>
                  <a:gd name="connsiteY958" fmla="*/ 323279 h 742950"/>
                  <a:gd name="connsiteX959" fmla="*/ 40577 w 904875"/>
                  <a:gd name="connsiteY959" fmla="*/ 323279 h 742950"/>
                  <a:gd name="connsiteX960" fmla="*/ 41434 w 904875"/>
                  <a:gd name="connsiteY960" fmla="*/ 324136 h 742950"/>
                  <a:gd name="connsiteX961" fmla="*/ 41434 w 904875"/>
                  <a:gd name="connsiteY961" fmla="*/ 325850 h 742950"/>
                  <a:gd name="connsiteX962" fmla="*/ 41434 w 904875"/>
                  <a:gd name="connsiteY962" fmla="*/ 328327 h 742950"/>
                  <a:gd name="connsiteX963" fmla="*/ 44006 w 904875"/>
                  <a:gd name="connsiteY963" fmla="*/ 329184 h 742950"/>
                  <a:gd name="connsiteX964" fmla="*/ 41434 w 904875"/>
                  <a:gd name="connsiteY964" fmla="*/ 330899 h 742950"/>
                  <a:gd name="connsiteX965" fmla="*/ 39815 w 904875"/>
                  <a:gd name="connsiteY965" fmla="*/ 328327 h 742950"/>
                  <a:gd name="connsiteX966" fmla="*/ 37243 w 904875"/>
                  <a:gd name="connsiteY966" fmla="*/ 322421 h 742950"/>
                  <a:gd name="connsiteX967" fmla="*/ 35528 w 904875"/>
                  <a:gd name="connsiteY967" fmla="*/ 319850 h 742950"/>
                  <a:gd name="connsiteX968" fmla="*/ 33814 w 904875"/>
                  <a:gd name="connsiteY968" fmla="*/ 319850 h 742950"/>
                  <a:gd name="connsiteX969" fmla="*/ 32195 w 904875"/>
                  <a:gd name="connsiteY969" fmla="*/ 320707 h 742950"/>
                  <a:gd name="connsiteX970" fmla="*/ 30480 w 904875"/>
                  <a:gd name="connsiteY970" fmla="*/ 320707 h 742950"/>
                  <a:gd name="connsiteX971" fmla="*/ 27051 w 904875"/>
                  <a:gd name="connsiteY971" fmla="*/ 320707 h 742950"/>
                  <a:gd name="connsiteX972" fmla="*/ 25432 w 904875"/>
                  <a:gd name="connsiteY972" fmla="*/ 319850 h 742950"/>
                  <a:gd name="connsiteX973" fmla="*/ 23717 w 904875"/>
                  <a:gd name="connsiteY973" fmla="*/ 317373 h 742950"/>
                  <a:gd name="connsiteX974" fmla="*/ 20288 w 904875"/>
                  <a:gd name="connsiteY974" fmla="*/ 317373 h 742950"/>
                  <a:gd name="connsiteX975" fmla="*/ 14383 w 904875"/>
                  <a:gd name="connsiteY975" fmla="*/ 318230 h 742950"/>
                  <a:gd name="connsiteX976" fmla="*/ 13526 w 904875"/>
                  <a:gd name="connsiteY976" fmla="*/ 319850 h 742950"/>
                  <a:gd name="connsiteX977" fmla="*/ 13526 w 904875"/>
                  <a:gd name="connsiteY977" fmla="*/ 324136 h 742950"/>
                  <a:gd name="connsiteX978" fmla="*/ 13526 w 904875"/>
                  <a:gd name="connsiteY978" fmla="*/ 330899 h 742950"/>
                  <a:gd name="connsiteX979" fmla="*/ 15240 w 904875"/>
                  <a:gd name="connsiteY979" fmla="*/ 329184 h 742950"/>
                  <a:gd name="connsiteX980" fmla="*/ 16955 w 904875"/>
                  <a:gd name="connsiteY980" fmla="*/ 326708 h 742950"/>
                  <a:gd name="connsiteX981" fmla="*/ 17812 w 904875"/>
                  <a:gd name="connsiteY981" fmla="*/ 324993 h 742950"/>
                  <a:gd name="connsiteX982" fmla="*/ 19431 w 904875"/>
                  <a:gd name="connsiteY982" fmla="*/ 324993 h 742950"/>
                  <a:gd name="connsiteX983" fmla="*/ 18669 w 904875"/>
                  <a:gd name="connsiteY983" fmla="*/ 326708 h 742950"/>
                  <a:gd name="connsiteX984" fmla="*/ 16955 w 904875"/>
                  <a:gd name="connsiteY984" fmla="*/ 330041 h 742950"/>
                  <a:gd name="connsiteX985" fmla="*/ 14383 w 904875"/>
                  <a:gd name="connsiteY985" fmla="*/ 335090 h 742950"/>
                  <a:gd name="connsiteX986" fmla="*/ 14383 w 904875"/>
                  <a:gd name="connsiteY986" fmla="*/ 335947 h 742950"/>
                  <a:gd name="connsiteX987" fmla="*/ 14383 w 904875"/>
                  <a:gd name="connsiteY987" fmla="*/ 336804 h 742950"/>
                  <a:gd name="connsiteX988" fmla="*/ 15240 w 904875"/>
                  <a:gd name="connsiteY988" fmla="*/ 336804 h 742950"/>
                  <a:gd name="connsiteX989" fmla="*/ 16097 w 904875"/>
                  <a:gd name="connsiteY989" fmla="*/ 335947 h 742950"/>
                  <a:gd name="connsiteX990" fmla="*/ 16955 w 904875"/>
                  <a:gd name="connsiteY990" fmla="*/ 334328 h 742950"/>
                  <a:gd name="connsiteX991" fmla="*/ 17812 w 904875"/>
                  <a:gd name="connsiteY991" fmla="*/ 334328 h 742950"/>
                  <a:gd name="connsiteX992" fmla="*/ 18669 w 904875"/>
                  <a:gd name="connsiteY992" fmla="*/ 334328 h 742950"/>
                  <a:gd name="connsiteX993" fmla="*/ 18669 w 904875"/>
                  <a:gd name="connsiteY993" fmla="*/ 334328 h 742950"/>
                  <a:gd name="connsiteX994" fmla="*/ 18669 w 904875"/>
                  <a:gd name="connsiteY994" fmla="*/ 335090 h 742950"/>
                  <a:gd name="connsiteX995" fmla="*/ 17812 w 904875"/>
                  <a:gd name="connsiteY995" fmla="*/ 336804 h 742950"/>
                  <a:gd name="connsiteX996" fmla="*/ 17812 w 904875"/>
                  <a:gd name="connsiteY996" fmla="*/ 337661 h 742950"/>
                  <a:gd name="connsiteX997" fmla="*/ 17812 w 904875"/>
                  <a:gd name="connsiteY997" fmla="*/ 338519 h 742950"/>
                  <a:gd name="connsiteX998" fmla="*/ 18669 w 904875"/>
                  <a:gd name="connsiteY998" fmla="*/ 340233 h 742950"/>
                  <a:gd name="connsiteX999" fmla="*/ 18669 w 904875"/>
                  <a:gd name="connsiteY999" fmla="*/ 341852 h 742950"/>
                  <a:gd name="connsiteX1000" fmla="*/ 18669 w 904875"/>
                  <a:gd name="connsiteY1000" fmla="*/ 342709 h 742950"/>
                  <a:gd name="connsiteX1001" fmla="*/ 17812 w 904875"/>
                  <a:gd name="connsiteY1001" fmla="*/ 346996 h 742950"/>
                  <a:gd name="connsiteX1002" fmla="*/ 18669 w 904875"/>
                  <a:gd name="connsiteY1002" fmla="*/ 346996 h 742950"/>
                  <a:gd name="connsiteX1003" fmla="*/ 18669 w 904875"/>
                  <a:gd name="connsiteY1003" fmla="*/ 347853 h 742950"/>
                  <a:gd name="connsiteX1004" fmla="*/ 18669 w 904875"/>
                  <a:gd name="connsiteY1004" fmla="*/ 349472 h 742950"/>
                  <a:gd name="connsiteX1005" fmla="*/ 17812 w 904875"/>
                  <a:gd name="connsiteY1005" fmla="*/ 350330 h 742950"/>
                  <a:gd name="connsiteX1006" fmla="*/ 17812 w 904875"/>
                  <a:gd name="connsiteY1006" fmla="*/ 350330 h 742950"/>
                  <a:gd name="connsiteX1007" fmla="*/ 16955 w 904875"/>
                  <a:gd name="connsiteY1007" fmla="*/ 349472 h 742950"/>
                  <a:gd name="connsiteX1008" fmla="*/ 16955 w 904875"/>
                  <a:gd name="connsiteY1008" fmla="*/ 352901 h 742950"/>
                  <a:gd name="connsiteX1009" fmla="*/ 16955 w 904875"/>
                  <a:gd name="connsiteY1009" fmla="*/ 354616 h 742950"/>
                  <a:gd name="connsiteX1010" fmla="*/ 16097 w 904875"/>
                  <a:gd name="connsiteY1010" fmla="*/ 356330 h 742950"/>
                  <a:gd name="connsiteX1011" fmla="*/ 13526 w 904875"/>
                  <a:gd name="connsiteY1011" fmla="*/ 358807 h 742950"/>
                  <a:gd name="connsiteX1012" fmla="*/ 12668 w 904875"/>
                  <a:gd name="connsiteY1012" fmla="*/ 360521 h 742950"/>
                  <a:gd name="connsiteX1013" fmla="*/ 13526 w 904875"/>
                  <a:gd name="connsiteY1013" fmla="*/ 362236 h 742950"/>
                  <a:gd name="connsiteX1014" fmla="*/ 15240 w 904875"/>
                  <a:gd name="connsiteY1014" fmla="*/ 360521 h 742950"/>
                  <a:gd name="connsiteX1015" fmla="*/ 15240 w 904875"/>
                  <a:gd name="connsiteY1015" fmla="*/ 359664 h 742950"/>
                  <a:gd name="connsiteX1016" fmla="*/ 16097 w 904875"/>
                  <a:gd name="connsiteY1016" fmla="*/ 359664 h 742950"/>
                  <a:gd name="connsiteX1017" fmla="*/ 16955 w 904875"/>
                  <a:gd name="connsiteY1017" fmla="*/ 359664 h 742950"/>
                  <a:gd name="connsiteX1018" fmla="*/ 16955 w 904875"/>
                  <a:gd name="connsiteY1018" fmla="*/ 361379 h 742950"/>
                  <a:gd name="connsiteX1019" fmla="*/ 16955 w 904875"/>
                  <a:gd name="connsiteY1019" fmla="*/ 362236 h 742950"/>
                  <a:gd name="connsiteX1020" fmla="*/ 16955 w 904875"/>
                  <a:gd name="connsiteY1020" fmla="*/ 363855 h 742950"/>
                  <a:gd name="connsiteX1021" fmla="*/ 16955 w 904875"/>
                  <a:gd name="connsiteY1021" fmla="*/ 364712 h 742950"/>
                  <a:gd name="connsiteX1022" fmla="*/ 17812 w 904875"/>
                  <a:gd name="connsiteY1022" fmla="*/ 366427 h 742950"/>
                  <a:gd name="connsiteX1023" fmla="*/ 18669 w 904875"/>
                  <a:gd name="connsiteY1023" fmla="*/ 365570 h 742950"/>
                  <a:gd name="connsiteX1024" fmla="*/ 19431 w 904875"/>
                  <a:gd name="connsiteY1024" fmla="*/ 363855 h 742950"/>
                  <a:gd name="connsiteX1025" fmla="*/ 20288 w 904875"/>
                  <a:gd name="connsiteY1025" fmla="*/ 358807 h 742950"/>
                  <a:gd name="connsiteX1026" fmla="*/ 22003 w 904875"/>
                  <a:gd name="connsiteY1026" fmla="*/ 356330 h 742950"/>
                  <a:gd name="connsiteX1027" fmla="*/ 23717 w 904875"/>
                  <a:gd name="connsiteY1027" fmla="*/ 352901 h 742950"/>
                  <a:gd name="connsiteX1028" fmla="*/ 25432 w 904875"/>
                  <a:gd name="connsiteY1028" fmla="*/ 351187 h 742950"/>
                  <a:gd name="connsiteX1029" fmla="*/ 26289 w 904875"/>
                  <a:gd name="connsiteY1029" fmla="*/ 354616 h 742950"/>
                  <a:gd name="connsiteX1030" fmla="*/ 26289 w 904875"/>
                  <a:gd name="connsiteY1030" fmla="*/ 355473 h 742950"/>
                  <a:gd name="connsiteX1031" fmla="*/ 31337 w 904875"/>
                  <a:gd name="connsiteY1031" fmla="*/ 350330 h 742950"/>
                  <a:gd name="connsiteX1032" fmla="*/ 32195 w 904875"/>
                  <a:gd name="connsiteY1032" fmla="*/ 347853 h 742950"/>
                  <a:gd name="connsiteX1033" fmla="*/ 30480 w 904875"/>
                  <a:gd name="connsiteY1033" fmla="*/ 346996 h 742950"/>
                  <a:gd name="connsiteX1034" fmla="*/ 31337 w 904875"/>
                  <a:gd name="connsiteY1034" fmla="*/ 345281 h 742950"/>
                  <a:gd name="connsiteX1035" fmla="*/ 31337 w 904875"/>
                  <a:gd name="connsiteY1035" fmla="*/ 341090 h 742950"/>
                  <a:gd name="connsiteX1036" fmla="*/ 33052 w 904875"/>
                  <a:gd name="connsiteY1036" fmla="*/ 339376 h 742950"/>
                  <a:gd name="connsiteX1037" fmla="*/ 34671 w 904875"/>
                  <a:gd name="connsiteY1037" fmla="*/ 335947 h 742950"/>
                  <a:gd name="connsiteX1038" fmla="*/ 35528 w 904875"/>
                  <a:gd name="connsiteY1038" fmla="*/ 335947 h 742950"/>
                  <a:gd name="connsiteX1039" fmla="*/ 34671 w 904875"/>
                  <a:gd name="connsiteY1039" fmla="*/ 343567 h 742950"/>
                  <a:gd name="connsiteX1040" fmla="*/ 35528 w 904875"/>
                  <a:gd name="connsiteY1040" fmla="*/ 345281 h 742950"/>
                  <a:gd name="connsiteX1041" fmla="*/ 37243 w 904875"/>
                  <a:gd name="connsiteY1041" fmla="*/ 346138 h 742950"/>
                  <a:gd name="connsiteX1042" fmla="*/ 37243 w 904875"/>
                  <a:gd name="connsiteY1042" fmla="*/ 346996 h 742950"/>
                  <a:gd name="connsiteX1043" fmla="*/ 36385 w 904875"/>
                  <a:gd name="connsiteY1043" fmla="*/ 349472 h 742950"/>
                  <a:gd name="connsiteX1044" fmla="*/ 37243 w 904875"/>
                  <a:gd name="connsiteY1044" fmla="*/ 350330 h 742950"/>
                  <a:gd name="connsiteX1045" fmla="*/ 36385 w 904875"/>
                  <a:gd name="connsiteY1045" fmla="*/ 352901 h 742950"/>
                  <a:gd name="connsiteX1046" fmla="*/ 37243 w 904875"/>
                  <a:gd name="connsiteY1046" fmla="*/ 354616 h 742950"/>
                  <a:gd name="connsiteX1047" fmla="*/ 39815 w 904875"/>
                  <a:gd name="connsiteY1047" fmla="*/ 353759 h 742950"/>
                  <a:gd name="connsiteX1048" fmla="*/ 42291 w 904875"/>
                  <a:gd name="connsiteY1048" fmla="*/ 352044 h 742950"/>
                  <a:gd name="connsiteX1049" fmla="*/ 44863 w 904875"/>
                  <a:gd name="connsiteY1049" fmla="*/ 352901 h 742950"/>
                  <a:gd name="connsiteX1050" fmla="*/ 43148 w 904875"/>
                  <a:gd name="connsiteY1050" fmla="*/ 354616 h 742950"/>
                  <a:gd name="connsiteX1051" fmla="*/ 43148 w 904875"/>
                  <a:gd name="connsiteY1051" fmla="*/ 354616 h 742950"/>
                  <a:gd name="connsiteX1052" fmla="*/ 37243 w 904875"/>
                  <a:gd name="connsiteY1052" fmla="*/ 356330 h 742950"/>
                  <a:gd name="connsiteX1053" fmla="*/ 34671 w 904875"/>
                  <a:gd name="connsiteY1053" fmla="*/ 357950 h 742950"/>
                  <a:gd name="connsiteX1054" fmla="*/ 33052 w 904875"/>
                  <a:gd name="connsiteY1054" fmla="*/ 357950 h 742950"/>
                  <a:gd name="connsiteX1055" fmla="*/ 33052 w 904875"/>
                  <a:gd name="connsiteY1055" fmla="*/ 358807 h 742950"/>
                  <a:gd name="connsiteX1056" fmla="*/ 37243 w 904875"/>
                  <a:gd name="connsiteY1056" fmla="*/ 358807 h 742950"/>
                  <a:gd name="connsiteX1057" fmla="*/ 35528 w 904875"/>
                  <a:gd name="connsiteY1057" fmla="*/ 360521 h 742950"/>
                  <a:gd name="connsiteX1058" fmla="*/ 34671 w 904875"/>
                  <a:gd name="connsiteY1058" fmla="*/ 360521 h 742950"/>
                  <a:gd name="connsiteX1059" fmla="*/ 33052 w 904875"/>
                  <a:gd name="connsiteY1059" fmla="*/ 359664 h 742950"/>
                  <a:gd name="connsiteX1060" fmla="*/ 31337 w 904875"/>
                  <a:gd name="connsiteY1060" fmla="*/ 360521 h 742950"/>
                  <a:gd name="connsiteX1061" fmla="*/ 31337 w 904875"/>
                  <a:gd name="connsiteY1061" fmla="*/ 363855 h 742950"/>
                  <a:gd name="connsiteX1062" fmla="*/ 30480 w 904875"/>
                  <a:gd name="connsiteY1062" fmla="*/ 364712 h 742950"/>
                  <a:gd name="connsiteX1063" fmla="*/ 28766 w 904875"/>
                  <a:gd name="connsiteY1063" fmla="*/ 363093 h 742950"/>
                  <a:gd name="connsiteX1064" fmla="*/ 27051 w 904875"/>
                  <a:gd name="connsiteY1064" fmla="*/ 366427 h 742950"/>
                  <a:gd name="connsiteX1065" fmla="*/ 28766 w 904875"/>
                  <a:gd name="connsiteY1065" fmla="*/ 369856 h 742950"/>
                  <a:gd name="connsiteX1066" fmla="*/ 32195 w 904875"/>
                  <a:gd name="connsiteY1066" fmla="*/ 370713 h 742950"/>
                  <a:gd name="connsiteX1067" fmla="*/ 33814 w 904875"/>
                  <a:gd name="connsiteY1067" fmla="*/ 369856 h 742950"/>
                  <a:gd name="connsiteX1068" fmla="*/ 34671 w 904875"/>
                  <a:gd name="connsiteY1068" fmla="*/ 369856 h 742950"/>
                  <a:gd name="connsiteX1069" fmla="*/ 34671 w 904875"/>
                  <a:gd name="connsiteY1069" fmla="*/ 368999 h 742950"/>
                  <a:gd name="connsiteX1070" fmla="*/ 35528 w 904875"/>
                  <a:gd name="connsiteY1070" fmla="*/ 368999 h 742950"/>
                  <a:gd name="connsiteX1071" fmla="*/ 36385 w 904875"/>
                  <a:gd name="connsiteY1071" fmla="*/ 368999 h 742950"/>
                  <a:gd name="connsiteX1072" fmla="*/ 36385 w 904875"/>
                  <a:gd name="connsiteY1072" fmla="*/ 368999 h 742950"/>
                  <a:gd name="connsiteX1073" fmla="*/ 36385 w 904875"/>
                  <a:gd name="connsiteY1073" fmla="*/ 370713 h 742950"/>
                  <a:gd name="connsiteX1074" fmla="*/ 35528 w 904875"/>
                  <a:gd name="connsiteY1074" fmla="*/ 371475 h 742950"/>
                  <a:gd name="connsiteX1075" fmla="*/ 35528 w 904875"/>
                  <a:gd name="connsiteY1075" fmla="*/ 372332 h 742950"/>
                  <a:gd name="connsiteX1076" fmla="*/ 36385 w 904875"/>
                  <a:gd name="connsiteY1076" fmla="*/ 374047 h 742950"/>
                  <a:gd name="connsiteX1077" fmla="*/ 37243 w 904875"/>
                  <a:gd name="connsiteY1077" fmla="*/ 374904 h 742950"/>
                  <a:gd name="connsiteX1078" fmla="*/ 39815 w 904875"/>
                  <a:gd name="connsiteY1078" fmla="*/ 375761 h 742950"/>
                  <a:gd name="connsiteX1079" fmla="*/ 38957 w 904875"/>
                  <a:gd name="connsiteY1079" fmla="*/ 377476 h 742950"/>
                  <a:gd name="connsiteX1080" fmla="*/ 37243 w 904875"/>
                  <a:gd name="connsiteY1080" fmla="*/ 379952 h 742950"/>
                  <a:gd name="connsiteX1081" fmla="*/ 37243 w 904875"/>
                  <a:gd name="connsiteY1081" fmla="*/ 383381 h 742950"/>
                  <a:gd name="connsiteX1082" fmla="*/ 38100 w 904875"/>
                  <a:gd name="connsiteY1082" fmla="*/ 385858 h 742950"/>
                  <a:gd name="connsiteX1083" fmla="*/ 36385 w 904875"/>
                  <a:gd name="connsiteY1083" fmla="*/ 385096 h 742950"/>
                  <a:gd name="connsiteX1084" fmla="*/ 34671 w 904875"/>
                  <a:gd name="connsiteY1084" fmla="*/ 383381 h 742950"/>
                  <a:gd name="connsiteX1085" fmla="*/ 34671 w 904875"/>
                  <a:gd name="connsiteY1085" fmla="*/ 382524 h 742950"/>
                  <a:gd name="connsiteX1086" fmla="*/ 35528 w 904875"/>
                  <a:gd name="connsiteY1086" fmla="*/ 379952 h 742950"/>
                  <a:gd name="connsiteX1087" fmla="*/ 31337 w 904875"/>
                  <a:gd name="connsiteY1087" fmla="*/ 375761 h 742950"/>
                  <a:gd name="connsiteX1088" fmla="*/ 30480 w 904875"/>
                  <a:gd name="connsiteY1088" fmla="*/ 374047 h 742950"/>
                  <a:gd name="connsiteX1089" fmla="*/ 28766 w 904875"/>
                  <a:gd name="connsiteY1089" fmla="*/ 377476 h 742950"/>
                  <a:gd name="connsiteX1090" fmla="*/ 27908 w 904875"/>
                  <a:gd name="connsiteY1090" fmla="*/ 377476 h 742950"/>
                  <a:gd name="connsiteX1091" fmla="*/ 26289 w 904875"/>
                  <a:gd name="connsiteY1091" fmla="*/ 376619 h 742950"/>
                  <a:gd name="connsiteX1092" fmla="*/ 25432 w 904875"/>
                  <a:gd name="connsiteY1092" fmla="*/ 376619 h 742950"/>
                  <a:gd name="connsiteX1093" fmla="*/ 23717 w 904875"/>
                  <a:gd name="connsiteY1093" fmla="*/ 377476 h 742950"/>
                  <a:gd name="connsiteX1094" fmla="*/ 22860 w 904875"/>
                  <a:gd name="connsiteY1094" fmla="*/ 379095 h 742950"/>
                  <a:gd name="connsiteX1095" fmla="*/ 22003 w 904875"/>
                  <a:gd name="connsiteY1095" fmla="*/ 380809 h 742950"/>
                  <a:gd name="connsiteX1096" fmla="*/ 22003 w 904875"/>
                  <a:gd name="connsiteY1096" fmla="*/ 386715 h 742950"/>
                  <a:gd name="connsiteX1097" fmla="*/ 22003 w 904875"/>
                  <a:gd name="connsiteY1097" fmla="*/ 391859 h 742950"/>
                  <a:gd name="connsiteX1098" fmla="*/ 23717 w 904875"/>
                  <a:gd name="connsiteY1098" fmla="*/ 395192 h 742950"/>
                  <a:gd name="connsiteX1099" fmla="*/ 25432 w 904875"/>
                  <a:gd name="connsiteY1099" fmla="*/ 396907 h 742950"/>
                  <a:gd name="connsiteX1100" fmla="*/ 27908 w 904875"/>
                  <a:gd name="connsiteY1100" fmla="*/ 403670 h 742950"/>
                  <a:gd name="connsiteX1101" fmla="*/ 28766 w 904875"/>
                  <a:gd name="connsiteY1101" fmla="*/ 405384 h 742950"/>
                  <a:gd name="connsiteX1102" fmla="*/ 29623 w 904875"/>
                  <a:gd name="connsiteY1102" fmla="*/ 406241 h 742950"/>
                  <a:gd name="connsiteX1103" fmla="*/ 33052 w 904875"/>
                  <a:gd name="connsiteY1103" fmla="*/ 405384 h 742950"/>
                  <a:gd name="connsiteX1104" fmla="*/ 33814 w 904875"/>
                  <a:gd name="connsiteY1104" fmla="*/ 406241 h 742950"/>
                  <a:gd name="connsiteX1105" fmla="*/ 35528 w 904875"/>
                  <a:gd name="connsiteY1105" fmla="*/ 407861 h 742950"/>
                  <a:gd name="connsiteX1106" fmla="*/ 36385 w 904875"/>
                  <a:gd name="connsiteY1106" fmla="*/ 409575 h 742950"/>
                  <a:gd name="connsiteX1107" fmla="*/ 36385 w 904875"/>
                  <a:gd name="connsiteY1107" fmla="*/ 411290 h 742950"/>
                  <a:gd name="connsiteX1108" fmla="*/ 37243 w 904875"/>
                  <a:gd name="connsiteY1108" fmla="*/ 413861 h 742950"/>
                  <a:gd name="connsiteX1109" fmla="*/ 38957 w 904875"/>
                  <a:gd name="connsiteY1109" fmla="*/ 414719 h 742950"/>
                  <a:gd name="connsiteX1110" fmla="*/ 39815 w 904875"/>
                  <a:gd name="connsiteY1110" fmla="*/ 415480 h 742950"/>
                  <a:gd name="connsiteX1111" fmla="*/ 38957 w 904875"/>
                  <a:gd name="connsiteY1111" fmla="*/ 418052 h 742950"/>
                  <a:gd name="connsiteX1112" fmla="*/ 37243 w 904875"/>
                  <a:gd name="connsiteY1112" fmla="*/ 415480 h 742950"/>
                  <a:gd name="connsiteX1113" fmla="*/ 33814 w 904875"/>
                  <a:gd name="connsiteY1113" fmla="*/ 410432 h 742950"/>
                  <a:gd name="connsiteX1114" fmla="*/ 32195 w 904875"/>
                  <a:gd name="connsiteY1114" fmla="*/ 408718 h 742950"/>
                  <a:gd name="connsiteX1115" fmla="*/ 29623 w 904875"/>
                  <a:gd name="connsiteY1115" fmla="*/ 407861 h 742950"/>
                  <a:gd name="connsiteX1116" fmla="*/ 27908 w 904875"/>
                  <a:gd name="connsiteY1116" fmla="*/ 409575 h 742950"/>
                  <a:gd name="connsiteX1117" fmla="*/ 27051 w 904875"/>
                  <a:gd name="connsiteY1117" fmla="*/ 412147 h 742950"/>
                  <a:gd name="connsiteX1118" fmla="*/ 26289 w 904875"/>
                  <a:gd name="connsiteY1118" fmla="*/ 414719 h 742950"/>
                  <a:gd name="connsiteX1119" fmla="*/ 26289 w 904875"/>
                  <a:gd name="connsiteY1119" fmla="*/ 418909 h 742950"/>
                  <a:gd name="connsiteX1120" fmla="*/ 26289 w 904875"/>
                  <a:gd name="connsiteY1120" fmla="*/ 420624 h 742950"/>
                  <a:gd name="connsiteX1121" fmla="*/ 27051 w 904875"/>
                  <a:gd name="connsiteY1121" fmla="*/ 422243 h 742950"/>
                  <a:gd name="connsiteX1122" fmla="*/ 27908 w 904875"/>
                  <a:gd name="connsiteY1122" fmla="*/ 423100 h 742950"/>
                  <a:gd name="connsiteX1123" fmla="*/ 28766 w 904875"/>
                  <a:gd name="connsiteY1123" fmla="*/ 423958 h 742950"/>
                  <a:gd name="connsiteX1124" fmla="*/ 28766 w 904875"/>
                  <a:gd name="connsiteY1124" fmla="*/ 425672 h 742950"/>
                  <a:gd name="connsiteX1125" fmla="*/ 28766 w 904875"/>
                  <a:gd name="connsiteY1125" fmla="*/ 426530 h 742950"/>
                  <a:gd name="connsiteX1126" fmla="*/ 28766 w 904875"/>
                  <a:gd name="connsiteY1126" fmla="*/ 427387 h 742950"/>
                  <a:gd name="connsiteX1127" fmla="*/ 28766 w 904875"/>
                  <a:gd name="connsiteY1127" fmla="*/ 427387 h 742950"/>
                  <a:gd name="connsiteX1128" fmla="*/ 28766 w 904875"/>
                  <a:gd name="connsiteY1128" fmla="*/ 428244 h 742950"/>
                  <a:gd name="connsiteX1129" fmla="*/ 29623 w 904875"/>
                  <a:gd name="connsiteY1129" fmla="*/ 429101 h 742950"/>
                  <a:gd name="connsiteX1130" fmla="*/ 29623 w 904875"/>
                  <a:gd name="connsiteY1130" fmla="*/ 429101 h 742950"/>
                  <a:gd name="connsiteX1131" fmla="*/ 30480 w 904875"/>
                  <a:gd name="connsiteY1131" fmla="*/ 429101 h 742950"/>
                  <a:gd name="connsiteX1132" fmla="*/ 31337 w 904875"/>
                  <a:gd name="connsiteY1132" fmla="*/ 429101 h 742950"/>
                  <a:gd name="connsiteX1133" fmla="*/ 33052 w 904875"/>
                  <a:gd name="connsiteY1133" fmla="*/ 431578 h 742950"/>
                  <a:gd name="connsiteX1134" fmla="*/ 33814 w 904875"/>
                  <a:gd name="connsiteY1134" fmla="*/ 432435 h 742950"/>
                  <a:gd name="connsiteX1135" fmla="*/ 35528 w 904875"/>
                  <a:gd name="connsiteY1135" fmla="*/ 432435 h 742950"/>
                  <a:gd name="connsiteX1136" fmla="*/ 34671 w 904875"/>
                  <a:gd name="connsiteY1136" fmla="*/ 434150 h 742950"/>
                  <a:gd name="connsiteX1137" fmla="*/ 35528 w 904875"/>
                  <a:gd name="connsiteY1137" fmla="*/ 435864 h 742950"/>
                  <a:gd name="connsiteX1138" fmla="*/ 38100 w 904875"/>
                  <a:gd name="connsiteY1138" fmla="*/ 437483 h 742950"/>
                  <a:gd name="connsiteX1139" fmla="*/ 39815 w 904875"/>
                  <a:gd name="connsiteY1139" fmla="*/ 437483 h 742950"/>
                  <a:gd name="connsiteX1140" fmla="*/ 43148 w 904875"/>
                  <a:gd name="connsiteY1140" fmla="*/ 437483 h 742950"/>
                  <a:gd name="connsiteX1141" fmla="*/ 44863 w 904875"/>
                  <a:gd name="connsiteY1141" fmla="*/ 437483 h 742950"/>
                  <a:gd name="connsiteX1142" fmla="*/ 46577 w 904875"/>
                  <a:gd name="connsiteY1142" fmla="*/ 438341 h 742950"/>
                  <a:gd name="connsiteX1143" fmla="*/ 45720 w 904875"/>
                  <a:gd name="connsiteY1143" fmla="*/ 440055 h 742950"/>
                  <a:gd name="connsiteX1144" fmla="*/ 46577 w 904875"/>
                  <a:gd name="connsiteY1144" fmla="*/ 444246 h 742950"/>
                  <a:gd name="connsiteX1145" fmla="*/ 46577 w 904875"/>
                  <a:gd name="connsiteY1145" fmla="*/ 446818 h 742950"/>
                  <a:gd name="connsiteX1146" fmla="*/ 44863 w 904875"/>
                  <a:gd name="connsiteY1146" fmla="*/ 448532 h 742950"/>
                  <a:gd name="connsiteX1147" fmla="*/ 43148 w 904875"/>
                  <a:gd name="connsiteY1147" fmla="*/ 448532 h 742950"/>
                  <a:gd name="connsiteX1148" fmla="*/ 43148 w 904875"/>
                  <a:gd name="connsiteY1148" fmla="*/ 446818 h 742950"/>
                  <a:gd name="connsiteX1149" fmla="*/ 45720 w 904875"/>
                  <a:gd name="connsiteY1149" fmla="*/ 445961 h 742950"/>
                  <a:gd name="connsiteX1150" fmla="*/ 44006 w 904875"/>
                  <a:gd name="connsiteY1150" fmla="*/ 444246 h 742950"/>
                  <a:gd name="connsiteX1151" fmla="*/ 41434 w 904875"/>
                  <a:gd name="connsiteY1151" fmla="*/ 442627 h 742950"/>
                  <a:gd name="connsiteX1152" fmla="*/ 39815 w 904875"/>
                  <a:gd name="connsiteY1152" fmla="*/ 441770 h 742950"/>
                  <a:gd name="connsiteX1153" fmla="*/ 38100 w 904875"/>
                  <a:gd name="connsiteY1153" fmla="*/ 441770 h 742950"/>
                  <a:gd name="connsiteX1154" fmla="*/ 36385 w 904875"/>
                  <a:gd name="connsiteY1154" fmla="*/ 441770 h 742950"/>
                  <a:gd name="connsiteX1155" fmla="*/ 35528 w 904875"/>
                  <a:gd name="connsiteY1155" fmla="*/ 442627 h 742950"/>
                  <a:gd name="connsiteX1156" fmla="*/ 35528 w 904875"/>
                  <a:gd name="connsiteY1156" fmla="*/ 441770 h 742950"/>
                  <a:gd name="connsiteX1157" fmla="*/ 34671 w 904875"/>
                  <a:gd name="connsiteY1157" fmla="*/ 440912 h 742950"/>
                  <a:gd name="connsiteX1158" fmla="*/ 33814 w 904875"/>
                  <a:gd name="connsiteY1158" fmla="*/ 439198 h 742950"/>
                  <a:gd name="connsiteX1159" fmla="*/ 33814 w 904875"/>
                  <a:gd name="connsiteY1159" fmla="*/ 438341 h 742950"/>
                  <a:gd name="connsiteX1160" fmla="*/ 33052 w 904875"/>
                  <a:gd name="connsiteY1160" fmla="*/ 437483 h 742950"/>
                  <a:gd name="connsiteX1161" fmla="*/ 31337 w 904875"/>
                  <a:gd name="connsiteY1161" fmla="*/ 436721 h 742950"/>
                  <a:gd name="connsiteX1162" fmla="*/ 31337 w 904875"/>
                  <a:gd name="connsiteY1162" fmla="*/ 438341 h 742950"/>
                  <a:gd name="connsiteX1163" fmla="*/ 31337 w 904875"/>
                  <a:gd name="connsiteY1163" fmla="*/ 439198 h 742950"/>
                  <a:gd name="connsiteX1164" fmla="*/ 31337 w 904875"/>
                  <a:gd name="connsiteY1164" fmla="*/ 440055 h 742950"/>
                  <a:gd name="connsiteX1165" fmla="*/ 31337 w 904875"/>
                  <a:gd name="connsiteY1165" fmla="*/ 440912 h 742950"/>
                  <a:gd name="connsiteX1166" fmla="*/ 31337 w 904875"/>
                  <a:gd name="connsiteY1166" fmla="*/ 441770 h 742950"/>
                  <a:gd name="connsiteX1167" fmla="*/ 30480 w 904875"/>
                  <a:gd name="connsiteY1167" fmla="*/ 444246 h 742950"/>
                  <a:gd name="connsiteX1168" fmla="*/ 33052 w 904875"/>
                  <a:gd name="connsiteY1168" fmla="*/ 445103 h 742950"/>
                  <a:gd name="connsiteX1169" fmla="*/ 34671 w 904875"/>
                  <a:gd name="connsiteY1169" fmla="*/ 447675 h 742950"/>
                  <a:gd name="connsiteX1170" fmla="*/ 35528 w 904875"/>
                  <a:gd name="connsiteY1170" fmla="*/ 456152 h 742950"/>
                  <a:gd name="connsiteX1171" fmla="*/ 36385 w 904875"/>
                  <a:gd name="connsiteY1171" fmla="*/ 457009 h 742950"/>
                  <a:gd name="connsiteX1172" fmla="*/ 36385 w 904875"/>
                  <a:gd name="connsiteY1172" fmla="*/ 457867 h 742950"/>
                  <a:gd name="connsiteX1173" fmla="*/ 37243 w 904875"/>
                  <a:gd name="connsiteY1173" fmla="*/ 458724 h 742950"/>
                  <a:gd name="connsiteX1174" fmla="*/ 37243 w 904875"/>
                  <a:gd name="connsiteY1174" fmla="*/ 460343 h 742950"/>
                  <a:gd name="connsiteX1175" fmla="*/ 36385 w 904875"/>
                  <a:gd name="connsiteY1175" fmla="*/ 460343 h 742950"/>
                  <a:gd name="connsiteX1176" fmla="*/ 36385 w 904875"/>
                  <a:gd name="connsiteY1176" fmla="*/ 461200 h 742950"/>
                  <a:gd name="connsiteX1177" fmla="*/ 37243 w 904875"/>
                  <a:gd name="connsiteY1177" fmla="*/ 462058 h 742950"/>
                  <a:gd name="connsiteX1178" fmla="*/ 38100 w 904875"/>
                  <a:gd name="connsiteY1178" fmla="*/ 463772 h 742950"/>
                  <a:gd name="connsiteX1179" fmla="*/ 38957 w 904875"/>
                  <a:gd name="connsiteY1179" fmla="*/ 465487 h 742950"/>
                  <a:gd name="connsiteX1180" fmla="*/ 39815 w 904875"/>
                  <a:gd name="connsiteY1180" fmla="*/ 464630 h 742950"/>
                  <a:gd name="connsiteX1181" fmla="*/ 40577 w 904875"/>
                  <a:gd name="connsiteY1181" fmla="*/ 463772 h 742950"/>
                  <a:gd name="connsiteX1182" fmla="*/ 41434 w 904875"/>
                  <a:gd name="connsiteY1182" fmla="*/ 462915 h 742950"/>
                  <a:gd name="connsiteX1183" fmla="*/ 43148 w 904875"/>
                  <a:gd name="connsiteY1183" fmla="*/ 462058 h 742950"/>
                  <a:gd name="connsiteX1184" fmla="*/ 43148 w 904875"/>
                  <a:gd name="connsiteY1184" fmla="*/ 464630 h 742950"/>
                  <a:gd name="connsiteX1185" fmla="*/ 41434 w 904875"/>
                  <a:gd name="connsiteY1185" fmla="*/ 465487 h 742950"/>
                  <a:gd name="connsiteX1186" fmla="*/ 40577 w 904875"/>
                  <a:gd name="connsiteY1186" fmla="*/ 466249 h 742950"/>
                  <a:gd name="connsiteX1187" fmla="*/ 38957 w 904875"/>
                  <a:gd name="connsiteY1187" fmla="*/ 467106 h 742950"/>
                  <a:gd name="connsiteX1188" fmla="*/ 38957 w 904875"/>
                  <a:gd name="connsiteY1188" fmla="*/ 468821 h 742950"/>
                  <a:gd name="connsiteX1189" fmla="*/ 38957 w 904875"/>
                  <a:gd name="connsiteY1189" fmla="*/ 470535 h 742950"/>
                  <a:gd name="connsiteX1190" fmla="*/ 40577 w 904875"/>
                  <a:gd name="connsiteY1190" fmla="*/ 471392 h 742950"/>
                  <a:gd name="connsiteX1191" fmla="*/ 42291 w 904875"/>
                  <a:gd name="connsiteY1191" fmla="*/ 471392 h 742950"/>
                  <a:gd name="connsiteX1192" fmla="*/ 40577 w 904875"/>
                  <a:gd name="connsiteY1192" fmla="*/ 473107 h 742950"/>
                  <a:gd name="connsiteX1193" fmla="*/ 40577 w 904875"/>
                  <a:gd name="connsiteY1193" fmla="*/ 475583 h 742950"/>
                  <a:gd name="connsiteX1194" fmla="*/ 45720 w 904875"/>
                  <a:gd name="connsiteY1194" fmla="*/ 484061 h 742950"/>
                  <a:gd name="connsiteX1195" fmla="*/ 46577 w 904875"/>
                  <a:gd name="connsiteY1195" fmla="*/ 486632 h 742950"/>
                  <a:gd name="connsiteX1196" fmla="*/ 47339 w 904875"/>
                  <a:gd name="connsiteY1196" fmla="*/ 489966 h 742950"/>
                  <a:gd name="connsiteX1197" fmla="*/ 47339 w 904875"/>
                  <a:gd name="connsiteY1197" fmla="*/ 491680 h 742950"/>
                  <a:gd name="connsiteX1198" fmla="*/ 49911 w 904875"/>
                  <a:gd name="connsiteY1198" fmla="*/ 493395 h 742950"/>
                  <a:gd name="connsiteX1199" fmla="*/ 49911 w 904875"/>
                  <a:gd name="connsiteY1199" fmla="*/ 495109 h 742950"/>
                  <a:gd name="connsiteX1200" fmla="*/ 50768 w 904875"/>
                  <a:gd name="connsiteY1200" fmla="*/ 498443 h 742950"/>
                  <a:gd name="connsiteX1201" fmla="*/ 50768 w 904875"/>
                  <a:gd name="connsiteY1201" fmla="*/ 499300 h 742950"/>
                  <a:gd name="connsiteX1202" fmla="*/ 51626 w 904875"/>
                  <a:gd name="connsiteY1202" fmla="*/ 501015 h 742950"/>
                  <a:gd name="connsiteX1203" fmla="*/ 51626 w 904875"/>
                  <a:gd name="connsiteY1203" fmla="*/ 501872 h 742950"/>
                  <a:gd name="connsiteX1204" fmla="*/ 51626 w 904875"/>
                  <a:gd name="connsiteY1204" fmla="*/ 503492 h 742950"/>
                  <a:gd name="connsiteX1205" fmla="*/ 49911 w 904875"/>
                  <a:gd name="connsiteY1205" fmla="*/ 504349 h 742950"/>
                  <a:gd name="connsiteX1206" fmla="*/ 49911 w 904875"/>
                  <a:gd name="connsiteY1206" fmla="*/ 506063 h 742950"/>
                  <a:gd name="connsiteX1207" fmla="*/ 50768 w 904875"/>
                  <a:gd name="connsiteY1207" fmla="*/ 507778 h 742950"/>
                  <a:gd name="connsiteX1208" fmla="*/ 51626 w 904875"/>
                  <a:gd name="connsiteY1208" fmla="*/ 508635 h 742950"/>
                  <a:gd name="connsiteX1209" fmla="*/ 52483 w 904875"/>
                  <a:gd name="connsiteY1209" fmla="*/ 510254 h 742950"/>
                  <a:gd name="connsiteX1210" fmla="*/ 51626 w 904875"/>
                  <a:gd name="connsiteY1210" fmla="*/ 511112 h 742950"/>
                  <a:gd name="connsiteX1211" fmla="*/ 51626 w 904875"/>
                  <a:gd name="connsiteY1211" fmla="*/ 512826 h 742950"/>
                  <a:gd name="connsiteX1212" fmla="*/ 52483 w 904875"/>
                  <a:gd name="connsiteY1212" fmla="*/ 514541 h 742950"/>
                  <a:gd name="connsiteX1213" fmla="*/ 53340 w 904875"/>
                  <a:gd name="connsiteY1213" fmla="*/ 516255 h 742950"/>
                  <a:gd name="connsiteX1214" fmla="*/ 54959 w 904875"/>
                  <a:gd name="connsiteY1214" fmla="*/ 517112 h 742950"/>
                  <a:gd name="connsiteX1215" fmla="*/ 59246 w 904875"/>
                  <a:gd name="connsiteY1215" fmla="*/ 517112 h 742950"/>
                  <a:gd name="connsiteX1216" fmla="*/ 60103 w 904875"/>
                  <a:gd name="connsiteY1216" fmla="*/ 517874 h 742950"/>
                  <a:gd name="connsiteX1217" fmla="*/ 56674 w 904875"/>
                  <a:gd name="connsiteY1217" fmla="*/ 519589 h 742950"/>
                  <a:gd name="connsiteX1218" fmla="*/ 54959 w 904875"/>
                  <a:gd name="connsiteY1218" fmla="*/ 519589 h 742950"/>
                  <a:gd name="connsiteX1219" fmla="*/ 53340 w 904875"/>
                  <a:gd name="connsiteY1219" fmla="*/ 519589 h 742950"/>
                  <a:gd name="connsiteX1220" fmla="*/ 52483 w 904875"/>
                  <a:gd name="connsiteY1220" fmla="*/ 520446 h 742950"/>
                  <a:gd name="connsiteX1221" fmla="*/ 52483 w 904875"/>
                  <a:gd name="connsiteY1221" fmla="*/ 521303 h 742950"/>
                  <a:gd name="connsiteX1222" fmla="*/ 52483 w 904875"/>
                  <a:gd name="connsiteY1222" fmla="*/ 523018 h 742950"/>
                  <a:gd name="connsiteX1223" fmla="*/ 56674 w 904875"/>
                  <a:gd name="connsiteY1223" fmla="*/ 527209 h 742950"/>
                  <a:gd name="connsiteX1224" fmla="*/ 58388 w 904875"/>
                  <a:gd name="connsiteY1224" fmla="*/ 530638 h 742950"/>
                  <a:gd name="connsiteX1225" fmla="*/ 57531 w 904875"/>
                  <a:gd name="connsiteY1225" fmla="*/ 532257 h 742950"/>
                  <a:gd name="connsiteX1226" fmla="*/ 58388 w 904875"/>
                  <a:gd name="connsiteY1226" fmla="*/ 534829 h 742950"/>
                  <a:gd name="connsiteX1227" fmla="*/ 57531 w 904875"/>
                  <a:gd name="connsiteY1227" fmla="*/ 536543 h 742950"/>
                  <a:gd name="connsiteX1228" fmla="*/ 56674 w 904875"/>
                  <a:gd name="connsiteY1228" fmla="*/ 537401 h 742950"/>
                  <a:gd name="connsiteX1229" fmla="*/ 56674 w 904875"/>
                  <a:gd name="connsiteY1229" fmla="*/ 539115 h 742950"/>
                  <a:gd name="connsiteX1230" fmla="*/ 57531 w 904875"/>
                  <a:gd name="connsiteY1230" fmla="*/ 540734 h 742950"/>
                  <a:gd name="connsiteX1231" fmla="*/ 60103 w 904875"/>
                  <a:gd name="connsiteY1231" fmla="*/ 542449 h 742950"/>
                  <a:gd name="connsiteX1232" fmla="*/ 60865 w 904875"/>
                  <a:gd name="connsiteY1232" fmla="*/ 544163 h 742950"/>
                  <a:gd name="connsiteX1233" fmla="*/ 64294 w 904875"/>
                  <a:gd name="connsiteY1233" fmla="*/ 550926 h 742950"/>
                  <a:gd name="connsiteX1234" fmla="*/ 66008 w 904875"/>
                  <a:gd name="connsiteY1234" fmla="*/ 552640 h 742950"/>
                  <a:gd name="connsiteX1235" fmla="*/ 63437 w 904875"/>
                  <a:gd name="connsiteY1235" fmla="*/ 553498 h 742950"/>
                  <a:gd name="connsiteX1236" fmla="*/ 62579 w 904875"/>
                  <a:gd name="connsiteY1236" fmla="*/ 552640 h 742950"/>
                  <a:gd name="connsiteX1237" fmla="*/ 60865 w 904875"/>
                  <a:gd name="connsiteY1237" fmla="*/ 550926 h 742950"/>
                  <a:gd name="connsiteX1238" fmla="*/ 59246 w 904875"/>
                  <a:gd name="connsiteY1238" fmla="*/ 550069 h 742950"/>
                  <a:gd name="connsiteX1239" fmla="*/ 59246 w 904875"/>
                  <a:gd name="connsiteY1239" fmla="*/ 551783 h 742950"/>
                  <a:gd name="connsiteX1240" fmla="*/ 61722 w 904875"/>
                  <a:gd name="connsiteY1240" fmla="*/ 553498 h 742950"/>
                  <a:gd name="connsiteX1241" fmla="*/ 61722 w 904875"/>
                  <a:gd name="connsiteY1241" fmla="*/ 554260 h 742950"/>
                  <a:gd name="connsiteX1242" fmla="*/ 62579 w 904875"/>
                  <a:gd name="connsiteY1242" fmla="*/ 555974 h 742950"/>
                  <a:gd name="connsiteX1243" fmla="*/ 64294 w 904875"/>
                  <a:gd name="connsiteY1243" fmla="*/ 559403 h 742950"/>
                  <a:gd name="connsiteX1244" fmla="*/ 64294 w 904875"/>
                  <a:gd name="connsiteY1244" fmla="*/ 562737 h 742950"/>
                  <a:gd name="connsiteX1245" fmla="*/ 66866 w 904875"/>
                  <a:gd name="connsiteY1245" fmla="*/ 566166 h 742950"/>
                  <a:gd name="connsiteX1246" fmla="*/ 66866 w 904875"/>
                  <a:gd name="connsiteY1246" fmla="*/ 567880 h 742950"/>
                  <a:gd name="connsiteX1247" fmla="*/ 67723 w 904875"/>
                  <a:gd name="connsiteY1247" fmla="*/ 569500 h 742950"/>
                  <a:gd name="connsiteX1248" fmla="*/ 66866 w 904875"/>
                  <a:gd name="connsiteY1248" fmla="*/ 571214 h 742950"/>
                  <a:gd name="connsiteX1249" fmla="*/ 67723 w 904875"/>
                  <a:gd name="connsiteY1249" fmla="*/ 573786 h 742950"/>
                  <a:gd name="connsiteX1250" fmla="*/ 68485 w 904875"/>
                  <a:gd name="connsiteY1250" fmla="*/ 576263 h 742950"/>
                  <a:gd name="connsiteX1251" fmla="*/ 68485 w 904875"/>
                  <a:gd name="connsiteY1251" fmla="*/ 578834 h 742950"/>
                  <a:gd name="connsiteX1252" fmla="*/ 67723 w 904875"/>
                  <a:gd name="connsiteY1252" fmla="*/ 581406 h 742950"/>
                  <a:gd name="connsiteX1253" fmla="*/ 66866 w 904875"/>
                  <a:gd name="connsiteY1253" fmla="*/ 580549 h 742950"/>
                  <a:gd name="connsiteX1254" fmla="*/ 66008 w 904875"/>
                  <a:gd name="connsiteY1254" fmla="*/ 580549 h 742950"/>
                  <a:gd name="connsiteX1255" fmla="*/ 66008 w 904875"/>
                  <a:gd name="connsiteY1255" fmla="*/ 581406 h 742950"/>
                  <a:gd name="connsiteX1256" fmla="*/ 67723 w 904875"/>
                  <a:gd name="connsiteY1256" fmla="*/ 583121 h 742950"/>
                  <a:gd name="connsiteX1257" fmla="*/ 66866 w 904875"/>
                  <a:gd name="connsiteY1257" fmla="*/ 584740 h 742950"/>
                  <a:gd name="connsiteX1258" fmla="*/ 67723 w 904875"/>
                  <a:gd name="connsiteY1258" fmla="*/ 585597 h 742950"/>
                  <a:gd name="connsiteX1259" fmla="*/ 70199 w 904875"/>
                  <a:gd name="connsiteY1259" fmla="*/ 587312 h 742950"/>
                  <a:gd name="connsiteX1260" fmla="*/ 68485 w 904875"/>
                  <a:gd name="connsiteY1260" fmla="*/ 589883 h 742950"/>
                  <a:gd name="connsiteX1261" fmla="*/ 68485 w 904875"/>
                  <a:gd name="connsiteY1261" fmla="*/ 591503 h 742950"/>
                  <a:gd name="connsiteX1262" fmla="*/ 67723 w 904875"/>
                  <a:gd name="connsiteY1262" fmla="*/ 593217 h 742950"/>
                  <a:gd name="connsiteX1263" fmla="*/ 69342 w 904875"/>
                  <a:gd name="connsiteY1263" fmla="*/ 597503 h 742950"/>
                  <a:gd name="connsiteX1264" fmla="*/ 69342 w 904875"/>
                  <a:gd name="connsiteY1264" fmla="*/ 598265 h 742950"/>
                  <a:gd name="connsiteX1265" fmla="*/ 67723 w 904875"/>
                  <a:gd name="connsiteY1265" fmla="*/ 599122 h 742950"/>
                  <a:gd name="connsiteX1266" fmla="*/ 68485 w 904875"/>
                  <a:gd name="connsiteY1266" fmla="*/ 602552 h 742950"/>
                  <a:gd name="connsiteX1267" fmla="*/ 70199 w 904875"/>
                  <a:gd name="connsiteY1267" fmla="*/ 605885 h 742950"/>
                  <a:gd name="connsiteX1268" fmla="*/ 71056 w 904875"/>
                  <a:gd name="connsiteY1268" fmla="*/ 607600 h 742950"/>
                  <a:gd name="connsiteX1269" fmla="*/ 71914 w 904875"/>
                  <a:gd name="connsiteY1269" fmla="*/ 606743 h 742950"/>
                  <a:gd name="connsiteX1270" fmla="*/ 71914 w 904875"/>
                  <a:gd name="connsiteY1270" fmla="*/ 608457 h 742950"/>
                  <a:gd name="connsiteX1271" fmla="*/ 71056 w 904875"/>
                  <a:gd name="connsiteY1271" fmla="*/ 611886 h 742950"/>
                  <a:gd name="connsiteX1272" fmla="*/ 70199 w 904875"/>
                  <a:gd name="connsiteY1272" fmla="*/ 615220 h 742950"/>
                  <a:gd name="connsiteX1273" fmla="*/ 71056 w 904875"/>
                  <a:gd name="connsiteY1273" fmla="*/ 617792 h 742950"/>
                  <a:gd name="connsiteX1274" fmla="*/ 72771 w 904875"/>
                  <a:gd name="connsiteY1274" fmla="*/ 619506 h 742950"/>
                  <a:gd name="connsiteX1275" fmla="*/ 73628 w 904875"/>
                  <a:gd name="connsiteY1275" fmla="*/ 620268 h 742950"/>
                  <a:gd name="connsiteX1276" fmla="*/ 73628 w 904875"/>
                  <a:gd name="connsiteY1276" fmla="*/ 621982 h 742950"/>
                  <a:gd name="connsiteX1277" fmla="*/ 73628 w 904875"/>
                  <a:gd name="connsiteY1277" fmla="*/ 622840 h 742950"/>
                  <a:gd name="connsiteX1278" fmla="*/ 72771 w 904875"/>
                  <a:gd name="connsiteY1278" fmla="*/ 624554 h 742950"/>
                  <a:gd name="connsiteX1279" fmla="*/ 72771 w 904875"/>
                  <a:gd name="connsiteY1279" fmla="*/ 625412 h 742950"/>
                  <a:gd name="connsiteX1280" fmla="*/ 72771 w 904875"/>
                  <a:gd name="connsiteY1280" fmla="*/ 626269 h 742950"/>
                  <a:gd name="connsiteX1281" fmla="*/ 73628 w 904875"/>
                  <a:gd name="connsiteY1281" fmla="*/ 628745 h 742950"/>
                  <a:gd name="connsiteX1282" fmla="*/ 76105 w 904875"/>
                  <a:gd name="connsiteY1282" fmla="*/ 627888 h 742950"/>
                  <a:gd name="connsiteX1283" fmla="*/ 77819 w 904875"/>
                  <a:gd name="connsiteY1283" fmla="*/ 627126 h 742950"/>
                  <a:gd name="connsiteX1284" fmla="*/ 78677 w 904875"/>
                  <a:gd name="connsiteY1284" fmla="*/ 627888 h 742950"/>
                  <a:gd name="connsiteX1285" fmla="*/ 79534 w 904875"/>
                  <a:gd name="connsiteY1285" fmla="*/ 629603 h 742950"/>
                  <a:gd name="connsiteX1286" fmla="*/ 78677 w 904875"/>
                  <a:gd name="connsiteY1286" fmla="*/ 631317 h 742950"/>
                  <a:gd name="connsiteX1287" fmla="*/ 78677 w 904875"/>
                  <a:gd name="connsiteY1287" fmla="*/ 631317 h 742950"/>
                  <a:gd name="connsiteX1288" fmla="*/ 77819 w 904875"/>
                  <a:gd name="connsiteY1288" fmla="*/ 630460 h 742950"/>
                  <a:gd name="connsiteX1289" fmla="*/ 77819 w 904875"/>
                  <a:gd name="connsiteY1289" fmla="*/ 628745 h 742950"/>
                  <a:gd name="connsiteX1290" fmla="*/ 74486 w 904875"/>
                  <a:gd name="connsiteY1290" fmla="*/ 630460 h 742950"/>
                  <a:gd name="connsiteX1291" fmla="*/ 73628 w 904875"/>
                  <a:gd name="connsiteY1291" fmla="*/ 630460 h 742950"/>
                  <a:gd name="connsiteX1292" fmla="*/ 72771 w 904875"/>
                  <a:gd name="connsiteY1292" fmla="*/ 631317 h 742950"/>
                  <a:gd name="connsiteX1293" fmla="*/ 72771 w 904875"/>
                  <a:gd name="connsiteY1293" fmla="*/ 631317 h 742950"/>
                  <a:gd name="connsiteX1294" fmla="*/ 72771 w 904875"/>
                  <a:gd name="connsiteY1294" fmla="*/ 631317 h 742950"/>
                  <a:gd name="connsiteX1295" fmla="*/ 73628 w 904875"/>
                  <a:gd name="connsiteY1295" fmla="*/ 632174 h 742950"/>
                  <a:gd name="connsiteX1296" fmla="*/ 73628 w 904875"/>
                  <a:gd name="connsiteY1296" fmla="*/ 633889 h 742950"/>
                  <a:gd name="connsiteX1297" fmla="*/ 75248 w 904875"/>
                  <a:gd name="connsiteY1297" fmla="*/ 634746 h 742950"/>
                  <a:gd name="connsiteX1298" fmla="*/ 77819 w 904875"/>
                  <a:gd name="connsiteY1298" fmla="*/ 635508 h 742950"/>
                  <a:gd name="connsiteX1299" fmla="*/ 79534 w 904875"/>
                  <a:gd name="connsiteY1299" fmla="*/ 635508 h 742950"/>
                  <a:gd name="connsiteX1300" fmla="*/ 78677 w 904875"/>
                  <a:gd name="connsiteY1300" fmla="*/ 636365 h 742950"/>
                  <a:gd name="connsiteX1301" fmla="*/ 77819 w 904875"/>
                  <a:gd name="connsiteY1301" fmla="*/ 637222 h 742950"/>
                  <a:gd name="connsiteX1302" fmla="*/ 76962 w 904875"/>
                  <a:gd name="connsiteY1302" fmla="*/ 638080 h 742950"/>
                  <a:gd name="connsiteX1303" fmla="*/ 77819 w 904875"/>
                  <a:gd name="connsiteY1303" fmla="*/ 638937 h 742950"/>
                  <a:gd name="connsiteX1304" fmla="*/ 78677 w 904875"/>
                  <a:gd name="connsiteY1304" fmla="*/ 639794 h 742950"/>
                  <a:gd name="connsiteX1305" fmla="*/ 78677 w 904875"/>
                  <a:gd name="connsiteY1305" fmla="*/ 639794 h 742950"/>
                  <a:gd name="connsiteX1306" fmla="*/ 80391 w 904875"/>
                  <a:gd name="connsiteY1306" fmla="*/ 640652 h 742950"/>
                  <a:gd name="connsiteX1307" fmla="*/ 77819 w 904875"/>
                  <a:gd name="connsiteY1307" fmla="*/ 640652 h 742950"/>
                  <a:gd name="connsiteX1308" fmla="*/ 76105 w 904875"/>
                  <a:gd name="connsiteY1308" fmla="*/ 639794 h 742950"/>
                  <a:gd name="connsiteX1309" fmla="*/ 73628 w 904875"/>
                  <a:gd name="connsiteY1309" fmla="*/ 637222 h 742950"/>
                  <a:gd name="connsiteX1310" fmla="*/ 73628 w 904875"/>
                  <a:gd name="connsiteY1310" fmla="*/ 637222 h 742950"/>
                  <a:gd name="connsiteX1311" fmla="*/ 72771 w 904875"/>
                  <a:gd name="connsiteY1311" fmla="*/ 635508 h 742950"/>
                  <a:gd name="connsiteX1312" fmla="*/ 71914 w 904875"/>
                  <a:gd name="connsiteY1312" fmla="*/ 635508 h 742950"/>
                  <a:gd name="connsiteX1313" fmla="*/ 71914 w 904875"/>
                  <a:gd name="connsiteY1313" fmla="*/ 636365 h 742950"/>
                  <a:gd name="connsiteX1314" fmla="*/ 71914 w 904875"/>
                  <a:gd name="connsiteY1314" fmla="*/ 638937 h 742950"/>
                  <a:gd name="connsiteX1315" fmla="*/ 71914 w 904875"/>
                  <a:gd name="connsiteY1315" fmla="*/ 639794 h 742950"/>
                  <a:gd name="connsiteX1316" fmla="*/ 72771 w 904875"/>
                  <a:gd name="connsiteY1316" fmla="*/ 640652 h 742950"/>
                  <a:gd name="connsiteX1317" fmla="*/ 73628 w 904875"/>
                  <a:gd name="connsiteY1317" fmla="*/ 641509 h 742950"/>
                  <a:gd name="connsiteX1318" fmla="*/ 75248 w 904875"/>
                  <a:gd name="connsiteY1318" fmla="*/ 646557 h 742950"/>
                  <a:gd name="connsiteX1319" fmla="*/ 76105 w 904875"/>
                  <a:gd name="connsiteY1319" fmla="*/ 649891 h 742950"/>
                  <a:gd name="connsiteX1320" fmla="*/ 76962 w 904875"/>
                  <a:gd name="connsiteY1320" fmla="*/ 651605 h 742950"/>
                  <a:gd name="connsiteX1321" fmla="*/ 78677 w 904875"/>
                  <a:gd name="connsiteY1321" fmla="*/ 652463 h 742950"/>
                  <a:gd name="connsiteX1322" fmla="*/ 80391 w 904875"/>
                  <a:gd name="connsiteY1322" fmla="*/ 654177 h 742950"/>
                  <a:gd name="connsiteX1323" fmla="*/ 79534 w 904875"/>
                  <a:gd name="connsiteY1323" fmla="*/ 654177 h 742950"/>
                  <a:gd name="connsiteX1324" fmla="*/ 78677 w 904875"/>
                  <a:gd name="connsiteY1324" fmla="*/ 655034 h 742950"/>
                  <a:gd name="connsiteX1325" fmla="*/ 77819 w 904875"/>
                  <a:gd name="connsiteY1325" fmla="*/ 655892 h 742950"/>
                  <a:gd name="connsiteX1326" fmla="*/ 77819 w 904875"/>
                  <a:gd name="connsiteY1326" fmla="*/ 657511 h 742950"/>
                  <a:gd name="connsiteX1327" fmla="*/ 79534 w 904875"/>
                  <a:gd name="connsiteY1327" fmla="*/ 658368 h 742950"/>
                  <a:gd name="connsiteX1328" fmla="*/ 80391 w 904875"/>
                  <a:gd name="connsiteY1328" fmla="*/ 659225 h 742950"/>
                  <a:gd name="connsiteX1329" fmla="*/ 80391 w 904875"/>
                  <a:gd name="connsiteY1329" fmla="*/ 660940 h 742950"/>
                  <a:gd name="connsiteX1330" fmla="*/ 80391 w 904875"/>
                  <a:gd name="connsiteY1330" fmla="*/ 661797 h 742950"/>
                  <a:gd name="connsiteX1331" fmla="*/ 82868 w 904875"/>
                  <a:gd name="connsiteY1331" fmla="*/ 671131 h 742950"/>
                  <a:gd name="connsiteX1332" fmla="*/ 83725 w 904875"/>
                  <a:gd name="connsiteY1332" fmla="*/ 673608 h 742950"/>
                  <a:gd name="connsiteX1333" fmla="*/ 83725 w 904875"/>
                  <a:gd name="connsiteY1333" fmla="*/ 673608 h 742950"/>
                  <a:gd name="connsiteX1334" fmla="*/ 84582 w 904875"/>
                  <a:gd name="connsiteY1334" fmla="*/ 674465 h 742950"/>
                  <a:gd name="connsiteX1335" fmla="*/ 85439 w 904875"/>
                  <a:gd name="connsiteY1335" fmla="*/ 675322 h 742950"/>
                  <a:gd name="connsiteX1336" fmla="*/ 86297 w 904875"/>
                  <a:gd name="connsiteY1336" fmla="*/ 674465 h 742950"/>
                  <a:gd name="connsiteX1337" fmla="*/ 86297 w 904875"/>
                  <a:gd name="connsiteY1337" fmla="*/ 674465 h 742950"/>
                  <a:gd name="connsiteX1338" fmla="*/ 87154 w 904875"/>
                  <a:gd name="connsiteY1338" fmla="*/ 676180 h 742950"/>
                  <a:gd name="connsiteX1339" fmla="*/ 87154 w 904875"/>
                  <a:gd name="connsiteY1339" fmla="*/ 681228 h 742950"/>
                  <a:gd name="connsiteX1340" fmla="*/ 88011 w 904875"/>
                  <a:gd name="connsiteY1340" fmla="*/ 686276 h 742950"/>
                  <a:gd name="connsiteX1341" fmla="*/ 88011 w 904875"/>
                  <a:gd name="connsiteY1341" fmla="*/ 682943 h 742950"/>
                  <a:gd name="connsiteX1342" fmla="*/ 88011 w 904875"/>
                  <a:gd name="connsiteY1342" fmla="*/ 680371 h 742950"/>
                  <a:gd name="connsiteX1343" fmla="*/ 89630 w 904875"/>
                  <a:gd name="connsiteY1343" fmla="*/ 678656 h 742950"/>
                  <a:gd name="connsiteX1344" fmla="*/ 92202 w 904875"/>
                  <a:gd name="connsiteY1344" fmla="*/ 677894 h 742950"/>
                  <a:gd name="connsiteX1345" fmla="*/ 91345 w 904875"/>
                  <a:gd name="connsiteY1345" fmla="*/ 679513 h 742950"/>
                  <a:gd name="connsiteX1346" fmla="*/ 90488 w 904875"/>
                  <a:gd name="connsiteY1346" fmla="*/ 680371 h 742950"/>
                  <a:gd name="connsiteX1347" fmla="*/ 89630 w 904875"/>
                  <a:gd name="connsiteY1347" fmla="*/ 681228 h 742950"/>
                  <a:gd name="connsiteX1348" fmla="*/ 88773 w 904875"/>
                  <a:gd name="connsiteY1348" fmla="*/ 682943 h 742950"/>
                  <a:gd name="connsiteX1349" fmla="*/ 88773 w 904875"/>
                  <a:gd name="connsiteY1349" fmla="*/ 689705 h 742950"/>
                  <a:gd name="connsiteX1350" fmla="*/ 88773 w 904875"/>
                  <a:gd name="connsiteY1350" fmla="*/ 690563 h 742950"/>
                  <a:gd name="connsiteX1351" fmla="*/ 88011 w 904875"/>
                  <a:gd name="connsiteY1351" fmla="*/ 691420 h 742950"/>
                  <a:gd name="connsiteX1352" fmla="*/ 88011 w 904875"/>
                  <a:gd name="connsiteY1352" fmla="*/ 691420 h 742950"/>
                  <a:gd name="connsiteX1353" fmla="*/ 88011 w 904875"/>
                  <a:gd name="connsiteY1353" fmla="*/ 693134 h 742950"/>
                  <a:gd name="connsiteX1354" fmla="*/ 88773 w 904875"/>
                  <a:gd name="connsiteY1354" fmla="*/ 693896 h 742950"/>
                  <a:gd name="connsiteX1355" fmla="*/ 89630 w 904875"/>
                  <a:gd name="connsiteY1355" fmla="*/ 693896 h 742950"/>
                  <a:gd name="connsiteX1356" fmla="*/ 89630 w 904875"/>
                  <a:gd name="connsiteY1356" fmla="*/ 693896 h 742950"/>
                  <a:gd name="connsiteX1357" fmla="*/ 90488 w 904875"/>
                  <a:gd name="connsiteY1357" fmla="*/ 695611 h 742950"/>
                  <a:gd name="connsiteX1358" fmla="*/ 91345 w 904875"/>
                  <a:gd name="connsiteY1358" fmla="*/ 696468 h 742950"/>
                  <a:gd name="connsiteX1359" fmla="*/ 93059 w 904875"/>
                  <a:gd name="connsiteY1359" fmla="*/ 697325 h 742950"/>
                  <a:gd name="connsiteX1360" fmla="*/ 95536 w 904875"/>
                  <a:gd name="connsiteY1360" fmla="*/ 696468 h 742950"/>
                  <a:gd name="connsiteX1361" fmla="*/ 95536 w 904875"/>
                  <a:gd name="connsiteY1361" fmla="*/ 697325 h 742950"/>
                  <a:gd name="connsiteX1362" fmla="*/ 92202 w 904875"/>
                  <a:gd name="connsiteY1362" fmla="*/ 698182 h 742950"/>
                  <a:gd name="connsiteX1363" fmla="*/ 92202 w 904875"/>
                  <a:gd name="connsiteY1363" fmla="*/ 700659 h 742950"/>
                  <a:gd name="connsiteX1364" fmla="*/ 94774 w 904875"/>
                  <a:gd name="connsiteY1364" fmla="*/ 703231 h 742950"/>
                  <a:gd name="connsiteX1365" fmla="*/ 96393 w 904875"/>
                  <a:gd name="connsiteY1365" fmla="*/ 704945 h 742950"/>
                  <a:gd name="connsiteX1366" fmla="*/ 103156 w 904875"/>
                  <a:gd name="connsiteY1366" fmla="*/ 710851 h 742950"/>
                  <a:gd name="connsiteX1367" fmla="*/ 104870 w 904875"/>
                  <a:gd name="connsiteY1367" fmla="*/ 713422 h 742950"/>
                  <a:gd name="connsiteX1368" fmla="*/ 109156 w 904875"/>
                  <a:gd name="connsiteY1368" fmla="*/ 720185 h 742950"/>
                  <a:gd name="connsiteX1369" fmla="*/ 109919 w 904875"/>
                  <a:gd name="connsiteY1369" fmla="*/ 723519 h 742950"/>
                  <a:gd name="connsiteX1370" fmla="*/ 109156 w 904875"/>
                  <a:gd name="connsiteY1370" fmla="*/ 728663 h 742950"/>
                  <a:gd name="connsiteX1371" fmla="*/ 109919 w 904875"/>
                  <a:gd name="connsiteY1371" fmla="*/ 729520 h 742950"/>
                  <a:gd name="connsiteX1372" fmla="*/ 110776 w 904875"/>
                  <a:gd name="connsiteY1372" fmla="*/ 730282 h 742950"/>
                  <a:gd name="connsiteX1373" fmla="*/ 112490 w 904875"/>
                  <a:gd name="connsiteY1373" fmla="*/ 731139 h 742950"/>
                  <a:gd name="connsiteX1374" fmla="*/ 114205 w 904875"/>
                  <a:gd name="connsiteY1374" fmla="*/ 731139 h 742950"/>
                  <a:gd name="connsiteX1375" fmla="*/ 115919 w 904875"/>
                  <a:gd name="connsiteY1375" fmla="*/ 731139 h 742950"/>
                  <a:gd name="connsiteX1376" fmla="*/ 117539 w 904875"/>
                  <a:gd name="connsiteY1376" fmla="*/ 729520 h 742950"/>
                  <a:gd name="connsiteX1377" fmla="*/ 123444 w 904875"/>
                  <a:gd name="connsiteY1377" fmla="*/ 729520 h 742950"/>
                  <a:gd name="connsiteX1378" fmla="*/ 124301 w 904875"/>
                  <a:gd name="connsiteY1378" fmla="*/ 729520 h 742950"/>
                  <a:gd name="connsiteX1379" fmla="*/ 125158 w 904875"/>
                  <a:gd name="connsiteY1379" fmla="*/ 729520 h 742950"/>
                  <a:gd name="connsiteX1380" fmla="*/ 126873 w 904875"/>
                  <a:gd name="connsiteY1380" fmla="*/ 727805 h 742950"/>
                  <a:gd name="connsiteX1381" fmla="*/ 127730 w 904875"/>
                  <a:gd name="connsiteY1381" fmla="*/ 726091 h 742950"/>
                  <a:gd name="connsiteX1382" fmla="*/ 128588 w 904875"/>
                  <a:gd name="connsiteY1382" fmla="*/ 725234 h 742950"/>
                  <a:gd name="connsiteX1383" fmla="*/ 129445 w 904875"/>
                  <a:gd name="connsiteY1383" fmla="*/ 724376 h 742950"/>
                  <a:gd name="connsiteX1384" fmla="*/ 130207 w 904875"/>
                  <a:gd name="connsiteY1384" fmla="*/ 724376 h 742950"/>
                  <a:gd name="connsiteX1385" fmla="*/ 130207 w 904875"/>
                  <a:gd name="connsiteY1385" fmla="*/ 725234 h 742950"/>
                  <a:gd name="connsiteX1386" fmla="*/ 131064 w 904875"/>
                  <a:gd name="connsiteY1386" fmla="*/ 726948 h 742950"/>
                  <a:gd name="connsiteX1387" fmla="*/ 131064 w 904875"/>
                  <a:gd name="connsiteY1387" fmla="*/ 727805 h 742950"/>
                  <a:gd name="connsiteX1388" fmla="*/ 131064 w 904875"/>
                  <a:gd name="connsiteY1388" fmla="*/ 728663 h 742950"/>
                  <a:gd name="connsiteX1389" fmla="*/ 131921 w 904875"/>
                  <a:gd name="connsiteY1389" fmla="*/ 728663 h 742950"/>
                  <a:gd name="connsiteX1390" fmla="*/ 132779 w 904875"/>
                  <a:gd name="connsiteY1390" fmla="*/ 728663 h 742950"/>
                  <a:gd name="connsiteX1391" fmla="*/ 134493 w 904875"/>
                  <a:gd name="connsiteY1391" fmla="*/ 729520 h 742950"/>
                  <a:gd name="connsiteX1392" fmla="*/ 136969 w 904875"/>
                  <a:gd name="connsiteY1392" fmla="*/ 729520 h 742950"/>
                  <a:gd name="connsiteX1393" fmla="*/ 137827 w 904875"/>
                  <a:gd name="connsiteY1393" fmla="*/ 730282 h 742950"/>
                  <a:gd name="connsiteX1394" fmla="*/ 138684 w 904875"/>
                  <a:gd name="connsiteY1394" fmla="*/ 731139 h 742950"/>
                  <a:gd name="connsiteX1395" fmla="*/ 138684 w 904875"/>
                  <a:gd name="connsiteY1395" fmla="*/ 732854 h 742950"/>
                  <a:gd name="connsiteX1396" fmla="*/ 140398 w 904875"/>
                  <a:gd name="connsiteY1396" fmla="*/ 738759 h 742950"/>
                  <a:gd name="connsiteX1397" fmla="*/ 141256 w 904875"/>
                  <a:gd name="connsiteY1397" fmla="*/ 740473 h 742950"/>
                  <a:gd name="connsiteX1398" fmla="*/ 142113 w 904875"/>
                  <a:gd name="connsiteY1398" fmla="*/ 741331 h 742950"/>
                  <a:gd name="connsiteX1399" fmla="*/ 144590 w 904875"/>
                  <a:gd name="connsiteY1399" fmla="*/ 743045 h 742950"/>
                  <a:gd name="connsiteX1400" fmla="*/ 146304 w 904875"/>
                  <a:gd name="connsiteY1400" fmla="*/ 743903 h 742950"/>
                  <a:gd name="connsiteX1401" fmla="*/ 147161 w 904875"/>
                  <a:gd name="connsiteY1401" fmla="*/ 743903 h 742950"/>
                  <a:gd name="connsiteX1402" fmla="*/ 148876 w 904875"/>
                  <a:gd name="connsiteY1402" fmla="*/ 743045 h 742950"/>
                  <a:gd name="connsiteX1403" fmla="*/ 155639 w 904875"/>
                  <a:gd name="connsiteY1403" fmla="*/ 740473 h 742950"/>
                  <a:gd name="connsiteX1404" fmla="*/ 159829 w 904875"/>
                  <a:gd name="connsiteY1404" fmla="*/ 740473 h 742950"/>
                  <a:gd name="connsiteX1405" fmla="*/ 159829 w 904875"/>
                  <a:gd name="connsiteY1405" fmla="*/ 738759 h 742950"/>
                  <a:gd name="connsiteX1406" fmla="*/ 158972 w 904875"/>
                  <a:gd name="connsiteY1406" fmla="*/ 737902 h 742950"/>
                  <a:gd name="connsiteX1407" fmla="*/ 158972 w 904875"/>
                  <a:gd name="connsiteY1407" fmla="*/ 737140 h 742950"/>
                  <a:gd name="connsiteX1408" fmla="*/ 158972 w 904875"/>
                  <a:gd name="connsiteY1408" fmla="*/ 737140 h 742950"/>
                  <a:gd name="connsiteX1409" fmla="*/ 160687 w 904875"/>
                  <a:gd name="connsiteY1409" fmla="*/ 736282 h 742950"/>
                  <a:gd name="connsiteX1410" fmla="*/ 160687 w 904875"/>
                  <a:gd name="connsiteY1410" fmla="*/ 736282 h 742950"/>
                  <a:gd name="connsiteX1411" fmla="*/ 161544 w 904875"/>
                  <a:gd name="connsiteY1411" fmla="*/ 735425 h 742950"/>
                  <a:gd name="connsiteX1412" fmla="*/ 162401 w 904875"/>
                  <a:gd name="connsiteY1412" fmla="*/ 731996 h 742950"/>
                  <a:gd name="connsiteX1413" fmla="*/ 164116 w 904875"/>
                  <a:gd name="connsiteY1413" fmla="*/ 730282 h 742950"/>
                  <a:gd name="connsiteX1414" fmla="*/ 169164 w 904875"/>
                  <a:gd name="connsiteY1414" fmla="*/ 726091 h 742950"/>
                  <a:gd name="connsiteX1415" fmla="*/ 170021 w 904875"/>
                  <a:gd name="connsiteY1415" fmla="*/ 726091 h 742950"/>
                  <a:gd name="connsiteX1416" fmla="*/ 170879 w 904875"/>
                  <a:gd name="connsiteY1416" fmla="*/ 726091 h 742950"/>
                  <a:gd name="connsiteX1417" fmla="*/ 171641 w 904875"/>
                  <a:gd name="connsiteY1417" fmla="*/ 726091 h 742950"/>
                  <a:gd name="connsiteX1418" fmla="*/ 171641 w 904875"/>
                  <a:gd name="connsiteY1418" fmla="*/ 726091 h 742950"/>
                  <a:gd name="connsiteX1419" fmla="*/ 172498 w 904875"/>
                  <a:gd name="connsiteY1419" fmla="*/ 726948 h 742950"/>
                  <a:gd name="connsiteX1420" fmla="*/ 172498 w 904875"/>
                  <a:gd name="connsiteY1420" fmla="*/ 727805 h 742950"/>
                  <a:gd name="connsiteX1421" fmla="*/ 172498 w 904875"/>
                  <a:gd name="connsiteY1421" fmla="*/ 729520 h 742950"/>
                  <a:gd name="connsiteX1422" fmla="*/ 172498 w 904875"/>
                  <a:gd name="connsiteY1422" fmla="*/ 729520 h 742950"/>
                  <a:gd name="connsiteX1423" fmla="*/ 171641 w 904875"/>
                  <a:gd name="connsiteY1423" fmla="*/ 730282 h 742950"/>
                  <a:gd name="connsiteX1424" fmla="*/ 172498 w 904875"/>
                  <a:gd name="connsiteY1424" fmla="*/ 730282 h 742950"/>
                  <a:gd name="connsiteX1425" fmla="*/ 172498 w 904875"/>
                  <a:gd name="connsiteY1425" fmla="*/ 730282 h 742950"/>
                  <a:gd name="connsiteX1426" fmla="*/ 173355 w 904875"/>
                  <a:gd name="connsiteY1426" fmla="*/ 731139 h 742950"/>
                  <a:gd name="connsiteX1427" fmla="*/ 176784 w 904875"/>
                  <a:gd name="connsiteY1427" fmla="*/ 731139 h 742950"/>
                  <a:gd name="connsiteX1428" fmla="*/ 179261 w 904875"/>
                  <a:gd name="connsiteY1428" fmla="*/ 730282 h 742950"/>
                  <a:gd name="connsiteX1429" fmla="*/ 180975 w 904875"/>
                  <a:gd name="connsiteY1429" fmla="*/ 729520 h 742950"/>
                  <a:gd name="connsiteX1430" fmla="*/ 181832 w 904875"/>
                  <a:gd name="connsiteY1430" fmla="*/ 729520 h 742950"/>
                  <a:gd name="connsiteX1431" fmla="*/ 183547 w 904875"/>
                  <a:gd name="connsiteY1431" fmla="*/ 727805 h 742950"/>
                  <a:gd name="connsiteX1432" fmla="*/ 185261 w 904875"/>
                  <a:gd name="connsiteY1432" fmla="*/ 726948 h 742950"/>
                  <a:gd name="connsiteX1433" fmla="*/ 186881 w 904875"/>
                  <a:gd name="connsiteY1433" fmla="*/ 723519 h 742950"/>
                  <a:gd name="connsiteX1434" fmla="*/ 189452 w 904875"/>
                  <a:gd name="connsiteY1434" fmla="*/ 719328 h 742950"/>
                  <a:gd name="connsiteX1435" fmla="*/ 189452 w 904875"/>
                  <a:gd name="connsiteY1435" fmla="*/ 718471 h 742950"/>
                  <a:gd name="connsiteX1436" fmla="*/ 189452 w 904875"/>
                  <a:gd name="connsiteY1436" fmla="*/ 717613 h 742950"/>
                  <a:gd name="connsiteX1437" fmla="*/ 188595 w 904875"/>
                  <a:gd name="connsiteY1437" fmla="*/ 716756 h 742950"/>
                  <a:gd name="connsiteX1438" fmla="*/ 187738 w 904875"/>
                  <a:gd name="connsiteY1438" fmla="*/ 715137 h 742950"/>
                  <a:gd name="connsiteX1439" fmla="*/ 187738 w 904875"/>
                  <a:gd name="connsiteY1439" fmla="*/ 715137 h 742950"/>
                  <a:gd name="connsiteX1440" fmla="*/ 187738 w 904875"/>
                  <a:gd name="connsiteY1440" fmla="*/ 714280 h 742950"/>
                  <a:gd name="connsiteX1441" fmla="*/ 190310 w 904875"/>
                  <a:gd name="connsiteY1441" fmla="*/ 709994 h 742950"/>
                  <a:gd name="connsiteX1442" fmla="*/ 192786 w 904875"/>
                  <a:gd name="connsiteY1442" fmla="*/ 705803 h 742950"/>
                  <a:gd name="connsiteX1443" fmla="*/ 193643 w 904875"/>
                  <a:gd name="connsiteY1443" fmla="*/ 704088 h 742950"/>
                  <a:gd name="connsiteX1444" fmla="*/ 195358 w 904875"/>
                  <a:gd name="connsiteY1444" fmla="*/ 702373 h 742950"/>
                  <a:gd name="connsiteX1445" fmla="*/ 195358 w 904875"/>
                  <a:gd name="connsiteY1445" fmla="*/ 700659 h 742950"/>
                  <a:gd name="connsiteX1446" fmla="*/ 196215 w 904875"/>
                  <a:gd name="connsiteY1446" fmla="*/ 697325 h 742950"/>
                  <a:gd name="connsiteX1447" fmla="*/ 196215 w 904875"/>
                  <a:gd name="connsiteY1447" fmla="*/ 696468 h 742950"/>
                  <a:gd name="connsiteX1448" fmla="*/ 196215 w 904875"/>
                  <a:gd name="connsiteY1448" fmla="*/ 694754 h 742950"/>
                  <a:gd name="connsiteX1449" fmla="*/ 195358 w 904875"/>
                  <a:gd name="connsiteY1449" fmla="*/ 694754 h 742950"/>
                  <a:gd name="connsiteX1450" fmla="*/ 195358 w 904875"/>
                  <a:gd name="connsiteY1450" fmla="*/ 693896 h 742950"/>
                  <a:gd name="connsiteX1451" fmla="*/ 194500 w 904875"/>
                  <a:gd name="connsiteY1451" fmla="*/ 693896 h 742950"/>
                  <a:gd name="connsiteX1452" fmla="*/ 192024 w 904875"/>
                  <a:gd name="connsiteY1452" fmla="*/ 693134 h 742950"/>
                  <a:gd name="connsiteX1453" fmla="*/ 191167 w 904875"/>
                  <a:gd name="connsiteY1453" fmla="*/ 693134 h 742950"/>
                  <a:gd name="connsiteX1454" fmla="*/ 191167 w 904875"/>
                  <a:gd name="connsiteY1454" fmla="*/ 692277 h 742950"/>
                  <a:gd name="connsiteX1455" fmla="*/ 191167 w 904875"/>
                  <a:gd name="connsiteY1455" fmla="*/ 691420 h 742950"/>
                  <a:gd name="connsiteX1456" fmla="*/ 191167 w 904875"/>
                  <a:gd name="connsiteY1456" fmla="*/ 690563 h 742950"/>
                  <a:gd name="connsiteX1457" fmla="*/ 192024 w 904875"/>
                  <a:gd name="connsiteY1457" fmla="*/ 689705 h 742950"/>
                  <a:gd name="connsiteX1458" fmla="*/ 193643 w 904875"/>
                  <a:gd name="connsiteY1458" fmla="*/ 688848 h 742950"/>
                  <a:gd name="connsiteX1459" fmla="*/ 194500 w 904875"/>
                  <a:gd name="connsiteY1459" fmla="*/ 688848 h 742950"/>
                  <a:gd name="connsiteX1460" fmla="*/ 198787 w 904875"/>
                  <a:gd name="connsiteY1460" fmla="*/ 688848 h 742950"/>
                  <a:gd name="connsiteX1461" fmla="*/ 199549 w 904875"/>
                  <a:gd name="connsiteY1461" fmla="*/ 687991 h 742950"/>
                  <a:gd name="connsiteX1462" fmla="*/ 200406 w 904875"/>
                  <a:gd name="connsiteY1462" fmla="*/ 687134 h 742950"/>
                  <a:gd name="connsiteX1463" fmla="*/ 200406 w 904875"/>
                  <a:gd name="connsiteY1463" fmla="*/ 685514 h 742950"/>
                  <a:gd name="connsiteX1464" fmla="*/ 200406 w 904875"/>
                  <a:gd name="connsiteY1464" fmla="*/ 681228 h 742950"/>
                  <a:gd name="connsiteX1465" fmla="*/ 201263 w 904875"/>
                  <a:gd name="connsiteY1465" fmla="*/ 676180 h 742950"/>
                  <a:gd name="connsiteX1466" fmla="*/ 201263 w 904875"/>
                  <a:gd name="connsiteY1466" fmla="*/ 674465 h 742950"/>
                  <a:gd name="connsiteX1467" fmla="*/ 200406 w 904875"/>
                  <a:gd name="connsiteY1467" fmla="*/ 673608 h 742950"/>
                  <a:gd name="connsiteX1468" fmla="*/ 200406 w 904875"/>
                  <a:gd name="connsiteY1468" fmla="*/ 672751 h 742950"/>
                  <a:gd name="connsiteX1469" fmla="*/ 199549 w 904875"/>
                  <a:gd name="connsiteY1469" fmla="*/ 671894 h 742950"/>
                  <a:gd name="connsiteX1470" fmla="*/ 198787 w 904875"/>
                  <a:gd name="connsiteY1470" fmla="*/ 671131 h 742950"/>
                  <a:gd name="connsiteX1471" fmla="*/ 198787 w 904875"/>
                  <a:gd name="connsiteY1471" fmla="*/ 671131 h 742950"/>
                  <a:gd name="connsiteX1472" fmla="*/ 188595 w 904875"/>
                  <a:gd name="connsiteY1472" fmla="*/ 665988 h 742950"/>
                  <a:gd name="connsiteX1473" fmla="*/ 188595 w 904875"/>
                  <a:gd name="connsiteY1473" fmla="*/ 665988 h 742950"/>
                  <a:gd name="connsiteX1474" fmla="*/ 187738 w 904875"/>
                  <a:gd name="connsiteY1474" fmla="*/ 665988 h 742950"/>
                  <a:gd name="connsiteX1475" fmla="*/ 186881 w 904875"/>
                  <a:gd name="connsiteY1475" fmla="*/ 666845 h 742950"/>
                  <a:gd name="connsiteX1476" fmla="*/ 186023 w 904875"/>
                  <a:gd name="connsiteY1476" fmla="*/ 666845 h 742950"/>
                  <a:gd name="connsiteX1477" fmla="*/ 185261 w 904875"/>
                  <a:gd name="connsiteY1477" fmla="*/ 667703 h 742950"/>
                  <a:gd name="connsiteX1478" fmla="*/ 185261 w 904875"/>
                  <a:gd name="connsiteY1478" fmla="*/ 667703 h 742950"/>
                  <a:gd name="connsiteX1479" fmla="*/ 184404 w 904875"/>
                  <a:gd name="connsiteY1479" fmla="*/ 667703 h 742950"/>
                  <a:gd name="connsiteX1480" fmla="*/ 184404 w 904875"/>
                  <a:gd name="connsiteY1480" fmla="*/ 667703 h 742950"/>
                  <a:gd name="connsiteX1481" fmla="*/ 183547 w 904875"/>
                  <a:gd name="connsiteY1481" fmla="*/ 666845 h 742950"/>
                  <a:gd name="connsiteX1482" fmla="*/ 183547 w 904875"/>
                  <a:gd name="connsiteY1482" fmla="*/ 665131 h 742950"/>
                  <a:gd name="connsiteX1483" fmla="*/ 183547 w 904875"/>
                  <a:gd name="connsiteY1483" fmla="*/ 663512 h 742950"/>
                  <a:gd name="connsiteX1484" fmla="*/ 183547 w 904875"/>
                  <a:gd name="connsiteY1484" fmla="*/ 662654 h 742950"/>
                  <a:gd name="connsiteX1485" fmla="*/ 183547 w 904875"/>
                  <a:gd name="connsiteY1485" fmla="*/ 662654 h 742950"/>
                  <a:gd name="connsiteX1486" fmla="*/ 182690 w 904875"/>
                  <a:gd name="connsiteY1486" fmla="*/ 660940 h 742950"/>
                  <a:gd name="connsiteX1487" fmla="*/ 182690 w 904875"/>
                  <a:gd name="connsiteY1487" fmla="*/ 660082 h 742950"/>
                  <a:gd name="connsiteX1488" fmla="*/ 181832 w 904875"/>
                  <a:gd name="connsiteY1488" fmla="*/ 659225 h 742950"/>
                  <a:gd name="connsiteX1489" fmla="*/ 181832 w 904875"/>
                  <a:gd name="connsiteY1489" fmla="*/ 657511 h 742950"/>
                  <a:gd name="connsiteX1490" fmla="*/ 181832 w 904875"/>
                  <a:gd name="connsiteY1490" fmla="*/ 656654 h 742950"/>
                  <a:gd name="connsiteX1491" fmla="*/ 182690 w 904875"/>
                  <a:gd name="connsiteY1491" fmla="*/ 655892 h 742950"/>
                  <a:gd name="connsiteX1492" fmla="*/ 184404 w 904875"/>
                  <a:gd name="connsiteY1492" fmla="*/ 655892 h 742950"/>
                  <a:gd name="connsiteX1493" fmla="*/ 186023 w 904875"/>
                  <a:gd name="connsiteY1493" fmla="*/ 655892 h 742950"/>
                  <a:gd name="connsiteX1494" fmla="*/ 186881 w 904875"/>
                  <a:gd name="connsiteY1494" fmla="*/ 655034 h 742950"/>
                  <a:gd name="connsiteX1495" fmla="*/ 187738 w 904875"/>
                  <a:gd name="connsiteY1495" fmla="*/ 655034 h 742950"/>
                  <a:gd name="connsiteX1496" fmla="*/ 187738 w 904875"/>
                  <a:gd name="connsiteY1496" fmla="*/ 654177 h 742950"/>
                  <a:gd name="connsiteX1497" fmla="*/ 187738 w 904875"/>
                  <a:gd name="connsiteY1497" fmla="*/ 654177 h 742950"/>
                  <a:gd name="connsiteX1498" fmla="*/ 187738 w 904875"/>
                  <a:gd name="connsiteY1498" fmla="*/ 653320 h 742950"/>
                  <a:gd name="connsiteX1499" fmla="*/ 187738 w 904875"/>
                  <a:gd name="connsiteY1499" fmla="*/ 653320 h 742950"/>
                  <a:gd name="connsiteX1500" fmla="*/ 186023 w 904875"/>
                  <a:gd name="connsiteY1500" fmla="*/ 652463 h 742950"/>
                  <a:gd name="connsiteX1501" fmla="*/ 185261 w 904875"/>
                  <a:gd name="connsiteY1501" fmla="*/ 651605 h 742950"/>
                  <a:gd name="connsiteX1502" fmla="*/ 184404 w 904875"/>
                  <a:gd name="connsiteY1502" fmla="*/ 651605 h 742950"/>
                  <a:gd name="connsiteX1503" fmla="*/ 184404 w 904875"/>
                  <a:gd name="connsiteY1503" fmla="*/ 650748 h 742950"/>
                  <a:gd name="connsiteX1504" fmla="*/ 183547 w 904875"/>
                  <a:gd name="connsiteY1504" fmla="*/ 650748 h 742950"/>
                  <a:gd name="connsiteX1505" fmla="*/ 183547 w 904875"/>
                  <a:gd name="connsiteY1505" fmla="*/ 649891 h 742950"/>
                  <a:gd name="connsiteX1506" fmla="*/ 183547 w 904875"/>
                  <a:gd name="connsiteY1506" fmla="*/ 649129 h 742950"/>
                  <a:gd name="connsiteX1507" fmla="*/ 183547 w 904875"/>
                  <a:gd name="connsiteY1507" fmla="*/ 648272 h 742950"/>
                  <a:gd name="connsiteX1508" fmla="*/ 183547 w 904875"/>
                  <a:gd name="connsiteY1508" fmla="*/ 647414 h 742950"/>
                  <a:gd name="connsiteX1509" fmla="*/ 182690 w 904875"/>
                  <a:gd name="connsiteY1509" fmla="*/ 647414 h 742950"/>
                  <a:gd name="connsiteX1510" fmla="*/ 182690 w 904875"/>
                  <a:gd name="connsiteY1510" fmla="*/ 647414 h 742950"/>
                  <a:gd name="connsiteX1511" fmla="*/ 180975 w 904875"/>
                  <a:gd name="connsiteY1511" fmla="*/ 647414 h 742950"/>
                  <a:gd name="connsiteX1512" fmla="*/ 180118 w 904875"/>
                  <a:gd name="connsiteY1512" fmla="*/ 647414 h 742950"/>
                  <a:gd name="connsiteX1513" fmla="*/ 180118 w 904875"/>
                  <a:gd name="connsiteY1513" fmla="*/ 647414 h 742950"/>
                  <a:gd name="connsiteX1514" fmla="*/ 179261 w 904875"/>
                  <a:gd name="connsiteY1514" fmla="*/ 646557 h 742950"/>
                  <a:gd name="connsiteX1515" fmla="*/ 179261 w 904875"/>
                  <a:gd name="connsiteY1515" fmla="*/ 646557 h 742950"/>
                  <a:gd name="connsiteX1516" fmla="*/ 179261 w 904875"/>
                  <a:gd name="connsiteY1516" fmla="*/ 645700 h 742950"/>
                  <a:gd name="connsiteX1517" fmla="*/ 178403 w 904875"/>
                  <a:gd name="connsiteY1517" fmla="*/ 645700 h 742950"/>
                  <a:gd name="connsiteX1518" fmla="*/ 178403 w 904875"/>
                  <a:gd name="connsiteY1518" fmla="*/ 644843 h 742950"/>
                  <a:gd name="connsiteX1519" fmla="*/ 178403 w 904875"/>
                  <a:gd name="connsiteY1519" fmla="*/ 643985 h 742950"/>
                  <a:gd name="connsiteX1520" fmla="*/ 178403 w 904875"/>
                  <a:gd name="connsiteY1520" fmla="*/ 643128 h 742950"/>
                  <a:gd name="connsiteX1521" fmla="*/ 177641 w 904875"/>
                  <a:gd name="connsiteY1521" fmla="*/ 643128 h 742950"/>
                  <a:gd name="connsiteX1522" fmla="*/ 177641 w 904875"/>
                  <a:gd name="connsiteY1522" fmla="*/ 643128 h 742950"/>
                  <a:gd name="connsiteX1523" fmla="*/ 177641 w 904875"/>
                  <a:gd name="connsiteY1523" fmla="*/ 643128 h 742950"/>
                  <a:gd name="connsiteX1524" fmla="*/ 175927 w 904875"/>
                  <a:gd name="connsiteY1524" fmla="*/ 643128 h 742950"/>
                  <a:gd name="connsiteX1525" fmla="*/ 175069 w 904875"/>
                  <a:gd name="connsiteY1525" fmla="*/ 643985 h 742950"/>
                  <a:gd name="connsiteX1526" fmla="*/ 175069 w 904875"/>
                  <a:gd name="connsiteY1526" fmla="*/ 644843 h 742950"/>
                  <a:gd name="connsiteX1527" fmla="*/ 174212 w 904875"/>
                  <a:gd name="connsiteY1527" fmla="*/ 644843 h 742950"/>
                  <a:gd name="connsiteX1528" fmla="*/ 174212 w 904875"/>
                  <a:gd name="connsiteY1528" fmla="*/ 644843 h 742950"/>
                  <a:gd name="connsiteX1529" fmla="*/ 173355 w 904875"/>
                  <a:gd name="connsiteY1529" fmla="*/ 643985 h 742950"/>
                  <a:gd name="connsiteX1530" fmla="*/ 173355 w 904875"/>
                  <a:gd name="connsiteY1530" fmla="*/ 643985 h 742950"/>
                  <a:gd name="connsiteX1531" fmla="*/ 173355 w 904875"/>
                  <a:gd name="connsiteY1531" fmla="*/ 643985 h 742950"/>
                  <a:gd name="connsiteX1532" fmla="*/ 173355 w 904875"/>
                  <a:gd name="connsiteY1532" fmla="*/ 643128 h 742950"/>
                  <a:gd name="connsiteX1533" fmla="*/ 175069 w 904875"/>
                  <a:gd name="connsiteY1533" fmla="*/ 640652 h 742950"/>
                  <a:gd name="connsiteX1534" fmla="*/ 175069 w 904875"/>
                  <a:gd name="connsiteY1534" fmla="*/ 638080 h 742950"/>
                  <a:gd name="connsiteX1535" fmla="*/ 175927 w 904875"/>
                  <a:gd name="connsiteY1535" fmla="*/ 637222 h 742950"/>
                  <a:gd name="connsiteX1536" fmla="*/ 176784 w 904875"/>
                  <a:gd name="connsiteY1536" fmla="*/ 637222 h 742950"/>
                  <a:gd name="connsiteX1537" fmla="*/ 177641 w 904875"/>
                  <a:gd name="connsiteY1537" fmla="*/ 638080 h 742950"/>
                  <a:gd name="connsiteX1538" fmla="*/ 178403 w 904875"/>
                  <a:gd name="connsiteY1538" fmla="*/ 638937 h 742950"/>
                  <a:gd name="connsiteX1539" fmla="*/ 179261 w 904875"/>
                  <a:gd name="connsiteY1539" fmla="*/ 638937 h 742950"/>
                  <a:gd name="connsiteX1540" fmla="*/ 180118 w 904875"/>
                  <a:gd name="connsiteY1540" fmla="*/ 639794 h 742950"/>
                  <a:gd name="connsiteX1541" fmla="*/ 180975 w 904875"/>
                  <a:gd name="connsiteY1541" fmla="*/ 638937 h 742950"/>
                  <a:gd name="connsiteX1542" fmla="*/ 180975 w 904875"/>
                  <a:gd name="connsiteY1542" fmla="*/ 638937 h 742950"/>
                  <a:gd name="connsiteX1543" fmla="*/ 181832 w 904875"/>
                  <a:gd name="connsiteY1543" fmla="*/ 638080 h 742950"/>
                  <a:gd name="connsiteX1544" fmla="*/ 182690 w 904875"/>
                  <a:gd name="connsiteY1544" fmla="*/ 635508 h 742950"/>
                  <a:gd name="connsiteX1545" fmla="*/ 182690 w 904875"/>
                  <a:gd name="connsiteY1545" fmla="*/ 635508 h 742950"/>
                  <a:gd name="connsiteX1546" fmla="*/ 183547 w 904875"/>
                  <a:gd name="connsiteY1546" fmla="*/ 634746 h 742950"/>
                  <a:gd name="connsiteX1547" fmla="*/ 183547 w 904875"/>
                  <a:gd name="connsiteY1547" fmla="*/ 635508 h 742950"/>
                  <a:gd name="connsiteX1548" fmla="*/ 184404 w 904875"/>
                  <a:gd name="connsiteY1548" fmla="*/ 635508 h 742950"/>
                  <a:gd name="connsiteX1549" fmla="*/ 185261 w 904875"/>
                  <a:gd name="connsiteY1549" fmla="*/ 636365 h 742950"/>
                  <a:gd name="connsiteX1550" fmla="*/ 185261 w 904875"/>
                  <a:gd name="connsiteY1550" fmla="*/ 636365 h 742950"/>
                  <a:gd name="connsiteX1551" fmla="*/ 186023 w 904875"/>
                  <a:gd name="connsiteY1551" fmla="*/ 637222 h 742950"/>
                  <a:gd name="connsiteX1552" fmla="*/ 186881 w 904875"/>
                  <a:gd name="connsiteY1552" fmla="*/ 637222 h 742950"/>
                  <a:gd name="connsiteX1553" fmla="*/ 187738 w 904875"/>
                  <a:gd name="connsiteY1553" fmla="*/ 637222 h 742950"/>
                  <a:gd name="connsiteX1554" fmla="*/ 188595 w 904875"/>
                  <a:gd name="connsiteY1554" fmla="*/ 636365 h 742950"/>
                  <a:gd name="connsiteX1555" fmla="*/ 190310 w 904875"/>
                  <a:gd name="connsiteY1555" fmla="*/ 634746 h 742950"/>
                  <a:gd name="connsiteX1556" fmla="*/ 190310 w 904875"/>
                  <a:gd name="connsiteY1556" fmla="*/ 633889 h 742950"/>
                  <a:gd name="connsiteX1557" fmla="*/ 191167 w 904875"/>
                  <a:gd name="connsiteY1557" fmla="*/ 633889 h 742950"/>
                  <a:gd name="connsiteX1558" fmla="*/ 192786 w 904875"/>
                  <a:gd name="connsiteY1558" fmla="*/ 633031 h 742950"/>
                  <a:gd name="connsiteX1559" fmla="*/ 193643 w 904875"/>
                  <a:gd name="connsiteY1559" fmla="*/ 632174 h 742950"/>
                  <a:gd name="connsiteX1560" fmla="*/ 193643 w 904875"/>
                  <a:gd name="connsiteY1560" fmla="*/ 632174 h 742950"/>
                  <a:gd name="connsiteX1561" fmla="*/ 194500 w 904875"/>
                  <a:gd name="connsiteY1561" fmla="*/ 631317 h 742950"/>
                  <a:gd name="connsiteX1562" fmla="*/ 194500 w 904875"/>
                  <a:gd name="connsiteY1562" fmla="*/ 630460 h 742950"/>
                  <a:gd name="connsiteX1563" fmla="*/ 195358 w 904875"/>
                  <a:gd name="connsiteY1563" fmla="*/ 627126 h 742950"/>
                  <a:gd name="connsiteX1564" fmla="*/ 196215 w 904875"/>
                  <a:gd name="connsiteY1564" fmla="*/ 626269 h 742950"/>
                  <a:gd name="connsiteX1565" fmla="*/ 196215 w 904875"/>
                  <a:gd name="connsiteY1565" fmla="*/ 625412 h 742950"/>
                  <a:gd name="connsiteX1566" fmla="*/ 197072 w 904875"/>
                  <a:gd name="connsiteY1566" fmla="*/ 625412 h 742950"/>
                  <a:gd name="connsiteX1567" fmla="*/ 198787 w 904875"/>
                  <a:gd name="connsiteY1567" fmla="*/ 626269 h 742950"/>
                  <a:gd name="connsiteX1568" fmla="*/ 200406 w 904875"/>
                  <a:gd name="connsiteY1568" fmla="*/ 627126 h 742950"/>
                  <a:gd name="connsiteX1569" fmla="*/ 201263 w 904875"/>
                  <a:gd name="connsiteY1569" fmla="*/ 627888 h 742950"/>
                  <a:gd name="connsiteX1570" fmla="*/ 204692 w 904875"/>
                  <a:gd name="connsiteY1570" fmla="*/ 627888 h 742950"/>
                  <a:gd name="connsiteX1571" fmla="*/ 205550 w 904875"/>
                  <a:gd name="connsiteY1571" fmla="*/ 627888 h 742950"/>
                  <a:gd name="connsiteX1572" fmla="*/ 206312 w 904875"/>
                  <a:gd name="connsiteY1572" fmla="*/ 628745 h 742950"/>
                  <a:gd name="connsiteX1573" fmla="*/ 206312 w 904875"/>
                  <a:gd name="connsiteY1573" fmla="*/ 629603 h 742950"/>
                  <a:gd name="connsiteX1574" fmla="*/ 206312 w 904875"/>
                  <a:gd name="connsiteY1574" fmla="*/ 631317 h 742950"/>
                  <a:gd name="connsiteX1575" fmla="*/ 207169 w 904875"/>
                  <a:gd name="connsiteY1575" fmla="*/ 632174 h 742950"/>
                  <a:gd name="connsiteX1576" fmla="*/ 208026 w 904875"/>
                  <a:gd name="connsiteY1576" fmla="*/ 633031 h 742950"/>
                  <a:gd name="connsiteX1577" fmla="*/ 208883 w 904875"/>
                  <a:gd name="connsiteY1577" fmla="*/ 633889 h 742950"/>
                  <a:gd name="connsiteX1578" fmla="*/ 208883 w 904875"/>
                  <a:gd name="connsiteY1578" fmla="*/ 634746 h 742950"/>
                  <a:gd name="connsiteX1579" fmla="*/ 208883 w 904875"/>
                  <a:gd name="connsiteY1579" fmla="*/ 634746 h 742950"/>
                  <a:gd name="connsiteX1580" fmla="*/ 208883 w 904875"/>
                  <a:gd name="connsiteY1580" fmla="*/ 635508 h 742950"/>
                  <a:gd name="connsiteX1581" fmla="*/ 208883 w 904875"/>
                  <a:gd name="connsiteY1581" fmla="*/ 635508 h 742950"/>
                  <a:gd name="connsiteX1582" fmla="*/ 208883 w 904875"/>
                  <a:gd name="connsiteY1582" fmla="*/ 636365 h 742950"/>
                  <a:gd name="connsiteX1583" fmla="*/ 208883 w 904875"/>
                  <a:gd name="connsiteY1583" fmla="*/ 636365 h 742950"/>
                  <a:gd name="connsiteX1584" fmla="*/ 209741 w 904875"/>
                  <a:gd name="connsiteY1584" fmla="*/ 636365 h 742950"/>
                  <a:gd name="connsiteX1585" fmla="*/ 209741 w 904875"/>
                  <a:gd name="connsiteY1585" fmla="*/ 636365 h 742950"/>
                  <a:gd name="connsiteX1586" fmla="*/ 210598 w 904875"/>
                  <a:gd name="connsiteY1586" fmla="*/ 636365 h 742950"/>
                  <a:gd name="connsiteX1587" fmla="*/ 211455 w 904875"/>
                  <a:gd name="connsiteY1587" fmla="*/ 635508 h 742950"/>
                  <a:gd name="connsiteX1588" fmla="*/ 212312 w 904875"/>
                  <a:gd name="connsiteY1588" fmla="*/ 635508 h 742950"/>
                  <a:gd name="connsiteX1589" fmla="*/ 216503 w 904875"/>
                  <a:gd name="connsiteY1589" fmla="*/ 632174 h 742950"/>
                  <a:gd name="connsiteX1590" fmla="*/ 217361 w 904875"/>
                  <a:gd name="connsiteY1590" fmla="*/ 631317 h 742950"/>
                  <a:gd name="connsiteX1591" fmla="*/ 218218 w 904875"/>
                  <a:gd name="connsiteY1591" fmla="*/ 631317 h 742950"/>
                  <a:gd name="connsiteX1592" fmla="*/ 219075 w 904875"/>
                  <a:gd name="connsiteY1592" fmla="*/ 631317 h 742950"/>
                  <a:gd name="connsiteX1593" fmla="*/ 220694 w 904875"/>
                  <a:gd name="connsiteY1593" fmla="*/ 630460 h 742950"/>
                  <a:gd name="connsiteX1594" fmla="*/ 221552 w 904875"/>
                  <a:gd name="connsiteY1594" fmla="*/ 630460 h 742950"/>
                  <a:gd name="connsiteX1595" fmla="*/ 222409 w 904875"/>
                  <a:gd name="connsiteY1595" fmla="*/ 629603 h 742950"/>
                  <a:gd name="connsiteX1596" fmla="*/ 222409 w 904875"/>
                  <a:gd name="connsiteY1596" fmla="*/ 627888 h 742950"/>
                  <a:gd name="connsiteX1597" fmla="*/ 219837 w 904875"/>
                  <a:gd name="connsiteY1597" fmla="*/ 625412 h 742950"/>
                  <a:gd name="connsiteX1598" fmla="*/ 221552 w 904875"/>
                  <a:gd name="connsiteY1598" fmla="*/ 623697 h 742950"/>
                  <a:gd name="connsiteX1599" fmla="*/ 222409 w 904875"/>
                  <a:gd name="connsiteY1599" fmla="*/ 622840 h 742950"/>
                  <a:gd name="connsiteX1600" fmla="*/ 222409 w 904875"/>
                  <a:gd name="connsiteY1600" fmla="*/ 622840 h 742950"/>
                  <a:gd name="connsiteX1601" fmla="*/ 223266 w 904875"/>
                  <a:gd name="connsiteY1601" fmla="*/ 621982 h 742950"/>
                  <a:gd name="connsiteX1602" fmla="*/ 224123 w 904875"/>
                  <a:gd name="connsiteY1602" fmla="*/ 618649 h 742950"/>
                  <a:gd name="connsiteX1603" fmla="*/ 224123 w 904875"/>
                  <a:gd name="connsiteY1603" fmla="*/ 617792 h 742950"/>
                  <a:gd name="connsiteX1604" fmla="*/ 224981 w 904875"/>
                  <a:gd name="connsiteY1604" fmla="*/ 617792 h 742950"/>
                  <a:gd name="connsiteX1605" fmla="*/ 225838 w 904875"/>
                  <a:gd name="connsiteY1605" fmla="*/ 617792 h 742950"/>
                  <a:gd name="connsiteX1606" fmla="*/ 226695 w 904875"/>
                  <a:gd name="connsiteY1606" fmla="*/ 617792 h 742950"/>
                  <a:gd name="connsiteX1607" fmla="*/ 228314 w 904875"/>
                  <a:gd name="connsiteY1607" fmla="*/ 617792 h 742950"/>
                  <a:gd name="connsiteX1608" fmla="*/ 229171 w 904875"/>
                  <a:gd name="connsiteY1608" fmla="*/ 616934 h 742950"/>
                  <a:gd name="connsiteX1609" fmla="*/ 230029 w 904875"/>
                  <a:gd name="connsiteY1609" fmla="*/ 615220 h 742950"/>
                  <a:gd name="connsiteX1610" fmla="*/ 230029 w 904875"/>
                  <a:gd name="connsiteY1610" fmla="*/ 615220 h 742950"/>
                  <a:gd name="connsiteX1611" fmla="*/ 230886 w 904875"/>
                  <a:gd name="connsiteY1611" fmla="*/ 614363 h 742950"/>
                  <a:gd name="connsiteX1612" fmla="*/ 231743 w 904875"/>
                  <a:gd name="connsiteY1612" fmla="*/ 614363 h 742950"/>
                  <a:gd name="connsiteX1613" fmla="*/ 234220 w 904875"/>
                  <a:gd name="connsiteY1613" fmla="*/ 612743 h 742950"/>
                  <a:gd name="connsiteX1614" fmla="*/ 235077 w 904875"/>
                  <a:gd name="connsiteY1614" fmla="*/ 612743 h 742950"/>
                  <a:gd name="connsiteX1615" fmla="*/ 235934 w 904875"/>
                  <a:gd name="connsiteY1615" fmla="*/ 611886 h 742950"/>
                  <a:gd name="connsiteX1616" fmla="*/ 237649 w 904875"/>
                  <a:gd name="connsiteY1616" fmla="*/ 611886 h 742950"/>
                  <a:gd name="connsiteX1617" fmla="*/ 239363 w 904875"/>
                  <a:gd name="connsiteY1617" fmla="*/ 611886 h 742950"/>
                  <a:gd name="connsiteX1618" fmla="*/ 240983 w 904875"/>
                  <a:gd name="connsiteY1618" fmla="*/ 612743 h 742950"/>
                  <a:gd name="connsiteX1619" fmla="*/ 241840 w 904875"/>
                  <a:gd name="connsiteY1619" fmla="*/ 612743 h 742950"/>
                  <a:gd name="connsiteX1620" fmla="*/ 242697 w 904875"/>
                  <a:gd name="connsiteY1620" fmla="*/ 612743 h 742950"/>
                  <a:gd name="connsiteX1621" fmla="*/ 243554 w 904875"/>
                  <a:gd name="connsiteY1621" fmla="*/ 612743 h 742950"/>
                  <a:gd name="connsiteX1622" fmla="*/ 243554 w 904875"/>
                  <a:gd name="connsiteY1622" fmla="*/ 611886 h 742950"/>
                  <a:gd name="connsiteX1623" fmla="*/ 244412 w 904875"/>
                  <a:gd name="connsiteY1623" fmla="*/ 611029 h 742950"/>
                  <a:gd name="connsiteX1624" fmla="*/ 244412 w 904875"/>
                  <a:gd name="connsiteY1624" fmla="*/ 611029 h 742950"/>
                  <a:gd name="connsiteX1625" fmla="*/ 243554 w 904875"/>
                  <a:gd name="connsiteY1625" fmla="*/ 605885 h 742950"/>
                  <a:gd name="connsiteX1626" fmla="*/ 242697 w 904875"/>
                  <a:gd name="connsiteY1626" fmla="*/ 605123 h 742950"/>
                  <a:gd name="connsiteX1627" fmla="*/ 242697 w 904875"/>
                  <a:gd name="connsiteY1627" fmla="*/ 603409 h 742950"/>
                  <a:gd name="connsiteX1628" fmla="*/ 241840 w 904875"/>
                  <a:gd name="connsiteY1628" fmla="*/ 602552 h 742950"/>
                  <a:gd name="connsiteX1629" fmla="*/ 241840 w 904875"/>
                  <a:gd name="connsiteY1629" fmla="*/ 601694 h 742950"/>
                  <a:gd name="connsiteX1630" fmla="*/ 241840 w 904875"/>
                  <a:gd name="connsiteY1630" fmla="*/ 601694 h 742950"/>
                  <a:gd name="connsiteX1631" fmla="*/ 241840 w 904875"/>
                  <a:gd name="connsiteY1631" fmla="*/ 600837 h 742950"/>
                  <a:gd name="connsiteX1632" fmla="*/ 242697 w 904875"/>
                  <a:gd name="connsiteY1632" fmla="*/ 600837 h 742950"/>
                  <a:gd name="connsiteX1633" fmla="*/ 247745 w 904875"/>
                  <a:gd name="connsiteY1633" fmla="*/ 599122 h 742950"/>
                  <a:gd name="connsiteX1634" fmla="*/ 249460 w 904875"/>
                  <a:gd name="connsiteY1634" fmla="*/ 598265 h 742950"/>
                  <a:gd name="connsiteX1635" fmla="*/ 250317 w 904875"/>
                  <a:gd name="connsiteY1635" fmla="*/ 597503 h 742950"/>
                  <a:gd name="connsiteX1636" fmla="*/ 251174 w 904875"/>
                  <a:gd name="connsiteY1636" fmla="*/ 596646 h 742950"/>
                  <a:gd name="connsiteX1637" fmla="*/ 251174 w 904875"/>
                  <a:gd name="connsiteY1637" fmla="*/ 596646 h 742950"/>
                  <a:gd name="connsiteX1638" fmla="*/ 252889 w 904875"/>
                  <a:gd name="connsiteY1638" fmla="*/ 594931 h 742950"/>
                  <a:gd name="connsiteX1639" fmla="*/ 253746 w 904875"/>
                  <a:gd name="connsiteY1639" fmla="*/ 594074 h 742950"/>
                  <a:gd name="connsiteX1640" fmla="*/ 254508 w 904875"/>
                  <a:gd name="connsiteY1640" fmla="*/ 590740 h 742950"/>
                  <a:gd name="connsiteX1641" fmla="*/ 254508 w 904875"/>
                  <a:gd name="connsiteY1641" fmla="*/ 590740 h 742950"/>
                  <a:gd name="connsiteX1642" fmla="*/ 255365 w 904875"/>
                  <a:gd name="connsiteY1642" fmla="*/ 590740 h 742950"/>
                  <a:gd name="connsiteX1643" fmla="*/ 258794 w 904875"/>
                  <a:gd name="connsiteY1643" fmla="*/ 591503 h 742950"/>
                  <a:gd name="connsiteX1644" fmla="*/ 263843 w 904875"/>
                  <a:gd name="connsiteY1644" fmla="*/ 590740 h 742950"/>
                  <a:gd name="connsiteX1645" fmla="*/ 263843 w 904875"/>
                  <a:gd name="connsiteY1645" fmla="*/ 590740 h 742950"/>
                  <a:gd name="connsiteX1646" fmla="*/ 264700 w 904875"/>
                  <a:gd name="connsiteY1646" fmla="*/ 590740 h 742950"/>
                  <a:gd name="connsiteX1647" fmla="*/ 264700 w 904875"/>
                  <a:gd name="connsiteY1647" fmla="*/ 591503 h 742950"/>
                  <a:gd name="connsiteX1648" fmla="*/ 265557 w 904875"/>
                  <a:gd name="connsiteY1648" fmla="*/ 593217 h 742950"/>
                  <a:gd name="connsiteX1649" fmla="*/ 266414 w 904875"/>
                  <a:gd name="connsiteY1649" fmla="*/ 594074 h 742950"/>
                  <a:gd name="connsiteX1650" fmla="*/ 267271 w 904875"/>
                  <a:gd name="connsiteY1650" fmla="*/ 594931 h 742950"/>
                  <a:gd name="connsiteX1651" fmla="*/ 268891 w 904875"/>
                  <a:gd name="connsiteY1651" fmla="*/ 595789 h 742950"/>
                  <a:gd name="connsiteX1652" fmla="*/ 269748 w 904875"/>
                  <a:gd name="connsiteY1652" fmla="*/ 595789 h 742950"/>
                  <a:gd name="connsiteX1653" fmla="*/ 269748 w 904875"/>
                  <a:gd name="connsiteY1653" fmla="*/ 596646 h 742950"/>
                  <a:gd name="connsiteX1654" fmla="*/ 270605 w 904875"/>
                  <a:gd name="connsiteY1654" fmla="*/ 597503 h 742950"/>
                  <a:gd name="connsiteX1655" fmla="*/ 271463 w 904875"/>
                  <a:gd name="connsiteY1655" fmla="*/ 598265 h 742950"/>
                  <a:gd name="connsiteX1656" fmla="*/ 273177 w 904875"/>
                  <a:gd name="connsiteY1656" fmla="*/ 599122 h 742950"/>
                  <a:gd name="connsiteX1657" fmla="*/ 274892 w 904875"/>
                  <a:gd name="connsiteY1657" fmla="*/ 599980 h 742950"/>
                  <a:gd name="connsiteX1658" fmla="*/ 275654 w 904875"/>
                  <a:gd name="connsiteY1658" fmla="*/ 599980 h 742950"/>
                  <a:gd name="connsiteX1659" fmla="*/ 277368 w 904875"/>
                  <a:gd name="connsiteY1659" fmla="*/ 600837 h 742950"/>
                  <a:gd name="connsiteX1660" fmla="*/ 280797 w 904875"/>
                  <a:gd name="connsiteY1660" fmla="*/ 599122 h 742950"/>
                  <a:gd name="connsiteX1661" fmla="*/ 284988 w 904875"/>
                  <a:gd name="connsiteY1661" fmla="*/ 596646 h 742950"/>
                  <a:gd name="connsiteX1662" fmla="*/ 285845 w 904875"/>
                  <a:gd name="connsiteY1662" fmla="*/ 594931 h 742950"/>
                  <a:gd name="connsiteX1663" fmla="*/ 284988 w 904875"/>
                  <a:gd name="connsiteY1663" fmla="*/ 592360 h 742950"/>
                  <a:gd name="connsiteX1664" fmla="*/ 284988 w 904875"/>
                  <a:gd name="connsiteY1664" fmla="*/ 591503 h 742950"/>
                  <a:gd name="connsiteX1665" fmla="*/ 285845 w 904875"/>
                  <a:gd name="connsiteY1665" fmla="*/ 590740 h 742950"/>
                  <a:gd name="connsiteX1666" fmla="*/ 286703 w 904875"/>
                  <a:gd name="connsiteY1666" fmla="*/ 589883 h 742950"/>
                  <a:gd name="connsiteX1667" fmla="*/ 292608 w 904875"/>
                  <a:gd name="connsiteY1667" fmla="*/ 589883 h 742950"/>
                  <a:gd name="connsiteX1668" fmla="*/ 294323 w 904875"/>
                  <a:gd name="connsiteY1668" fmla="*/ 589883 h 742950"/>
                  <a:gd name="connsiteX1669" fmla="*/ 295942 w 904875"/>
                  <a:gd name="connsiteY1669" fmla="*/ 589026 h 742950"/>
                  <a:gd name="connsiteX1670" fmla="*/ 298514 w 904875"/>
                  <a:gd name="connsiteY1670" fmla="*/ 587312 h 742950"/>
                  <a:gd name="connsiteX1671" fmla="*/ 299371 w 904875"/>
                  <a:gd name="connsiteY1671" fmla="*/ 587312 h 742950"/>
                  <a:gd name="connsiteX1672" fmla="*/ 305276 w 904875"/>
                  <a:gd name="connsiteY1672" fmla="*/ 587312 h 742950"/>
                  <a:gd name="connsiteX1673" fmla="*/ 306991 w 904875"/>
                  <a:gd name="connsiteY1673" fmla="*/ 587312 h 742950"/>
                  <a:gd name="connsiteX1674" fmla="*/ 306991 w 904875"/>
                  <a:gd name="connsiteY1674" fmla="*/ 588169 h 742950"/>
                  <a:gd name="connsiteX1675" fmla="*/ 307848 w 904875"/>
                  <a:gd name="connsiteY1675" fmla="*/ 589026 h 742950"/>
                  <a:gd name="connsiteX1676" fmla="*/ 308705 w 904875"/>
                  <a:gd name="connsiteY1676" fmla="*/ 589026 h 742950"/>
                  <a:gd name="connsiteX1677" fmla="*/ 309563 w 904875"/>
                  <a:gd name="connsiteY1677" fmla="*/ 589883 h 742950"/>
                  <a:gd name="connsiteX1678" fmla="*/ 310325 w 904875"/>
                  <a:gd name="connsiteY1678" fmla="*/ 589883 h 742950"/>
                  <a:gd name="connsiteX1679" fmla="*/ 314611 w 904875"/>
                  <a:gd name="connsiteY1679" fmla="*/ 588169 h 742950"/>
                  <a:gd name="connsiteX1680" fmla="*/ 315468 w 904875"/>
                  <a:gd name="connsiteY1680" fmla="*/ 587312 h 742950"/>
                  <a:gd name="connsiteX1681" fmla="*/ 316325 w 904875"/>
                  <a:gd name="connsiteY1681" fmla="*/ 586454 h 742950"/>
                  <a:gd name="connsiteX1682" fmla="*/ 317087 w 904875"/>
                  <a:gd name="connsiteY1682" fmla="*/ 585597 h 742950"/>
                  <a:gd name="connsiteX1683" fmla="*/ 318802 w 904875"/>
                  <a:gd name="connsiteY1683" fmla="*/ 583882 h 742950"/>
                  <a:gd name="connsiteX1684" fmla="*/ 319659 w 904875"/>
                  <a:gd name="connsiteY1684" fmla="*/ 583121 h 742950"/>
                  <a:gd name="connsiteX1685" fmla="*/ 319659 w 904875"/>
                  <a:gd name="connsiteY1685" fmla="*/ 583121 h 742950"/>
                  <a:gd name="connsiteX1686" fmla="*/ 320516 w 904875"/>
                  <a:gd name="connsiteY1686" fmla="*/ 583882 h 742950"/>
                  <a:gd name="connsiteX1687" fmla="*/ 323850 w 904875"/>
                  <a:gd name="connsiteY1687" fmla="*/ 586454 h 742950"/>
                  <a:gd name="connsiteX1688" fmla="*/ 324707 w 904875"/>
                  <a:gd name="connsiteY1688" fmla="*/ 588169 h 742950"/>
                  <a:gd name="connsiteX1689" fmla="*/ 326422 w 904875"/>
                  <a:gd name="connsiteY1689" fmla="*/ 588169 h 742950"/>
                  <a:gd name="connsiteX1690" fmla="*/ 328136 w 904875"/>
                  <a:gd name="connsiteY1690" fmla="*/ 588169 h 742950"/>
                  <a:gd name="connsiteX1691" fmla="*/ 328136 w 904875"/>
                  <a:gd name="connsiteY1691" fmla="*/ 587312 h 742950"/>
                  <a:gd name="connsiteX1692" fmla="*/ 328994 w 904875"/>
                  <a:gd name="connsiteY1692" fmla="*/ 586454 h 742950"/>
                  <a:gd name="connsiteX1693" fmla="*/ 328994 w 904875"/>
                  <a:gd name="connsiteY1693" fmla="*/ 585597 h 742950"/>
                  <a:gd name="connsiteX1694" fmla="*/ 328994 w 904875"/>
                  <a:gd name="connsiteY1694" fmla="*/ 583882 h 742950"/>
                  <a:gd name="connsiteX1695" fmla="*/ 328994 w 904875"/>
                  <a:gd name="connsiteY1695" fmla="*/ 583121 h 742950"/>
                  <a:gd name="connsiteX1696" fmla="*/ 328994 w 904875"/>
                  <a:gd name="connsiteY1696" fmla="*/ 582263 h 742950"/>
                  <a:gd name="connsiteX1697" fmla="*/ 327279 w 904875"/>
                  <a:gd name="connsiteY1697" fmla="*/ 579692 h 742950"/>
                  <a:gd name="connsiteX1698" fmla="*/ 327279 w 904875"/>
                  <a:gd name="connsiteY1698" fmla="*/ 578834 h 742950"/>
                  <a:gd name="connsiteX1699" fmla="*/ 327279 w 904875"/>
                  <a:gd name="connsiteY1699" fmla="*/ 577977 h 742950"/>
                  <a:gd name="connsiteX1700" fmla="*/ 328136 w 904875"/>
                  <a:gd name="connsiteY1700" fmla="*/ 577977 h 742950"/>
                  <a:gd name="connsiteX1701" fmla="*/ 328994 w 904875"/>
                  <a:gd name="connsiteY1701" fmla="*/ 576263 h 742950"/>
                  <a:gd name="connsiteX1702" fmla="*/ 329851 w 904875"/>
                  <a:gd name="connsiteY1702" fmla="*/ 576263 h 742950"/>
                  <a:gd name="connsiteX1703" fmla="*/ 329851 w 904875"/>
                  <a:gd name="connsiteY1703" fmla="*/ 574643 h 742950"/>
                  <a:gd name="connsiteX1704" fmla="*/ 329851 w 904875"/>
                  <a:gd name="connsiteY1704" fmla="*/ 572929 h 742950"/>
                  <a:gd name="connsiteX1705" fmla="*/ 328136 w 904875"/>
                  <a:gd name="connsiteY1705" fmla="*/ 571214 h 742950"/>
                  <a:gd name="connsiteX1706" fmla="*/ 327279 w 904875"/>
                  <a:gd name="connsiteY1706" fmla="*/ 570357 h 742950"/>
                  <a:gd name="connsiteX1707" fmla="*/ 326422 w 904875"/>
                  <a:gd name="connsiteY1707" fmla="*/ 569500 h 742950"/>
                  <a:gd name="connsiteX1708" fmla="*/ 325565 w 904875"/>
                  <a:gd name="connsiteY1708" fmla="*/ 568738 h 742950"/>
                  <a:gd name="connsiteX1709" fmla="*/ 325565 w 904875"/>
                  <a:gd name="connsiteY1709" fmla="*/ 567023 h 742950"/>
                  <a:gd name="connsiteX1710" fmla="*/ 325565 w 904875"/>
                  <a:gd name="connsiteY1710" fmla="*/ 564452 h 742950"/>
                  <a:gd name="connsiteX1711" fmla="*/ 325565 w 904875"/>
                  <a:gd name="connsiteY1711" fmla="*/ 562737 h 742950"/>
                  <a:gd name="connsiteX1712" fmla="*/ 326422 w 904875"/>
                  <a:gd name="connsiteY1712" fmla="*/ 561880 h 742950"/>
                  <a:gd name="connsiteX1713" fmla="*/ 326422 w 904875"/>
                  <a:gd name="connsiteY1713" fmla="*/ 561118 h 742950"/>
                  <a:gd name="connsiteX1714" fmla="*/ 327279 w 904875"/>
                  <a:gd name="connsiteY1714" fmla="*/ 559403 h 742950"/>
                  <a:gd name="connsiteX1715" fmla="*/ 327279 w 904875"/>
                  <a:gd name="connsiteY1715" fmla="*/ 558546 h 742950"/>
                  <a:gd name="connsiteX1716" fmla="*/ 327279 w 904875"/>
                  <a:gd name="connsiteY1716" fmla="*/ 557689 h 742950"/>
                  <a:gd name="connsiteX1717" fmla="*/ 326422 w 904875"/>
                  <a:gd name="connsiteY1717" fmla="*/ 555117 h 742950"/>
                  <a:gd name="connsiteX1718" fmla="*/ 326422 w 904875"/>
                  <a:gd name="connsiteY1718" fmla="*/ 554260 h 742950"/>
                  <a:gd name="connsiteX1719" fmla="*/ 324707 w 904875"/>
                  <a:gd name="connsiteY1719" fmla="*/ 553498 h 742950"/>
                  <a:gd name="connsiteX1720" fmla="*/ 323088 w 904875"/>
                  <a:gd name="connsiteY1720" fmla="*/ 552640 h 742950"/>
                  <a:gd name="connsiteX1721" fmla="*/ 323088 w 904875"/>
                  <a:gd name="connsiteY1721" fmla="*/ 551783 h 742950"/>
                  <a:gd name="connsiteX1722" fmla="*/ 322231 w 904875"/>
                  <a:gd name="connsiteY1722" fmla="*/ 550926 h 742950"/>
                  <a:gd name="connsiteX1723" fmla="*/ 322231 w 904875"/>
                  <a:gd name="connsiteY1723" fmla="*/ 548354 h 742950"/>
                  <a:gd name="connsiteX1724" fmla="*/ 321373 w 904875"/>
                  <a:gd name="connsiteY1724" fmla="*/ 546735 h 742950"/>
                  <a:gd name="connsiteX1725" fmla="*/ 319659 w 904875"/>
                  <a:gd name="connsiteY1725" fmla="*/ 543306 h 742950"/>
                  <a:gd name="connsiteX1726" fmla="*/ 319659 w 904875"/>
                  <a:gd name="connsiteY1726" fmla="*/ 540734 h 742950"/>
                  <a:gd name="connsiteX1727" fmla="*/ 320516 w 904875"/>
                  <a:gd name="connsiteY1727" fmla="*/ 539115 h 742950"/>
                  <a:gd name="connsiteX1728" fmla="*/ 322231 w 904875"/>
                  <a:gd name="connsiteY1728" fmla="*/ 538258 h 742950"/>
                  <a:gd name="connsiteX1729" fmla="*/ 323088 w 904875"/>
                  <a:gd name="connsiteY1729" fmla="*/ 537401 h 742950"/>
                  <a:gd name="connsiteX1730" fmla="*/ 323850 w 904875"/>
                  <a:gd name="connsiteY1730" fmla="*/ 536543 h 742950"/>
                  <a:gd name="connsiteX1731" fmla="*/ 324707 w 904875"/>
                  <a:gd name="connsiteY1731" fmla="*/ 533114 h 742950"/>
                  <a:gd name="connsiteX1732" fmla="*/ 325565 w 904875"/>
                  <a:gd name="connsiteY1732" fmla="*/ 531495 h 742950"/>
                  <a:gd name="connsiteX1733" fmla="*/ 326422 w 904875"/>
                  <a:gd name="connsiteY1733" fmla="*/ 530638 h 742950"/>
                  <a:gd name="connsiteX1734" fmla="*/ 327279 w 904875"/>
                  <a:gd name="connsiteY1734" fmla="*/ 530638 h 742950"/>
                  <a:gd name="connsiteX1735" fmla="*/ 328136 w 904875"/>
                  <a:gd name="connsiteY1735" fmla="*/ 529780 h 742950"/>
                  <a:gd name="connsiteX1736" fmla="*/ 329851 w 904875"/>
                  <a:gd name="connsiteY1736" fmla="*/ 530638 h 742950"/>
                  <a:gd name="connsiteX1737" fmla="*/ 331470 w 904875"/>
                  <a:gd name="connsiteY1737" fmla="*/ 531495 h 742950"/>
                  <a:gd name="connsiteX1738" fmla="*/ 332327 w 904875"/>
                  <a:gd name="connsiteY1738" fmla="*/ 533972 h 742950"/>
                  <a:gd name="connsiteX1739" fmla="*/ 333185 w 904875"/>
                  <a:gd name="connsiteY1739" fmla="*/ 536543 h 742950"/>
                  <a:gd name="connsiteX1740" fmla="*/ 336614 w 904875"/>
                  <a:gd name="connsiteY1740" fmla="*/ 537401 h 742950"/>
                  <a:gd name="connsiteX1741" fmla="*/ 339090 w 904875"/>
                  <a:gd name="connsiteY1741" fmla="*/ 537401 h 742950"/>
                  <a:gd name="connsiteX1742" fmla="*/ 340805 w 904875"/>
                  <a:gd name="connsiteY1742" fmla="*/ 537401 h 742950"/>
                  <a:gd name="connsiteX1743" fmla="*/ 341662 w 904875"/>
                  <a:gd name="connsiteY1743" fmla="*/ 539115 h 742950"/>
                  <a:gd name="connsiteX1744" fmla="*/ 342519 w 904875"/>
                  <a:gd name="connsiteY1744" fmla="*/ 539877 h 742950"/>
                  <a:gd name="connsiteX1745" fmla="*/ 342519 w 904875"/>
                  <a:gd name="connsiteY1745" fmla="*/ 540734 h 742950"/>
                  <a:gd name="connsiteX1746" fmla="*/ 343376 w 904875"/>
                  <a:gd name="connsiteY1746" fmla="*/ 541592 h 742950"/>
                  <a:gd name="connsiteX1747" fmla="*/ 344996 w 904875"/>
                  <a:gd name="connsiteY1747" fmla="*/ 542449 h 742950"/>
                  <a:gd name="connsiteX1748" fmla="*/ 346710 w 904875"/>
                  <a:gd name="connsiteY1748" fmla="*/ 540734 h 742950"/>
                  <a:gd name="connsiteX1749" fmla="*/ 348425 w 904875"/>
                  <a:gd name="connsiteY1749" fmla="*/ 538258 h 742950"/>
                  <a:gd name="connsiteX1750" fmla="*/ 350139 w 904875"/>
                  <a:gd name="connsiteY1750" fmla="*/ 537401 h 742950"/>
                  <a:gd name="connsiteX1751" fmla="*/ 351758 w 904875"/>
                  <a:gd name="connsiteY1751" fmla="*/ 539115 h 742950"/>
                  <a:gd name="connsiteX1752" fmla="*/ 354330 w 904875"/>
                  <a:gd name="connsiteY1752" fmla="*/ 537401 h 742950"/>
                  <a:gd name="connsiteX1753" fmla="*/ 355187 w 904875"/>
                  <a:gd name="connsiteY1753" fmla="*/ 538258 h 742950"/>
                  <a:gd name="connsiteX1754" fmla="*/ 356044 w 904875"/>
                  <a:gd name="connsiteY1754" fmla="*/ 539877 h 742950"/>
                  <a:gd name="connsiteX1755" fmla="*/ 356902 w 904875"/>
                  <a:gd name="connsiteY1755" fmla="*/ 541592 h 742950"/>
                  <a:gd name="connsiteX1756" fmla="*/ 356902 w 904875"/>
                  <a:gd name="connsiteY1756" fmla="*/ 543306 h 742950"/>
                  <a:gd name="connsiteX1757" fmla="*/ 357759 w 904875"/>
                  <a:gd name="connsiteY1757" fmla="*/ 545021 h 742950"/>
                  <a:gd name="connsiteX1758" fmla="*/ 358521 w 904875"/>
                  <a:gd name="connsiteY1758" fmla="*/ 545021 h 742950"/>
                  <a:gd name="connsiteX1759" fmla="*/ 360236 w 904875"/>
                  <a:gd name="connsiteY1759" fmla="*/ 545878 h 742950"/>
                  <a:gd name="connsiteX1760" fmla="*/ 361093 w 904875"/>
                  <a:gd name="connsiteY1760" fmla="*/ 546735 h 742950"/>
                  <a:gd name="connsiteX1761" fmla="*/ 361950 w 904875"/>
                  <a:gd name="connsiteY1761" fmla="*/ 547497 h 742950"/>
                  <a:gd name="connsiteX1762" fmla="*/ 363665 w 904875"/>
                  <a:gd name="connsiteY1762" fmla="*/ 546735 h 742950"/>
                  <a:gd name="connsiteX1763" fmla="*/ 364522 w 904875"/>
                  <a:gd name="connsiteY1763" fmla="*/ 545878 h 742950"/>
                  <a:gd name="connsiteX1764" fmla="*/ 368713 w 904875"/>
                  <a:gd name="connsiteY1764" fmla="*/ 545021 h 742950"/>
                  <a:gd name="connsiteX1765" fmla="*/ 369570 w 904875"/>
                  <a:gd name="connsiteY1765" fmla="*/ 544163 h 742950"/>
                  <a:gd name="connsiteX1766" fmla="*/ 371285 w 904875"/>
                  <a:gd name="connsiteY1766" fmla="*/ 545021 h 742950"/>
                  <a:gd name="connsiteX1767" fmla="*/ 372046 w 904875"/>
                  <a:gd name="connsiteY1767" fmla="*/ 545021 h 742950"/>
                  <a:gd name="connsiteX1768" fmla="*/ 373761 w 904875"/>
                  <a:gd name="connsiteY1768" fmla="*/ 545021 h 742950"/>
                  <a:gd name="connsiteX1769" fmla="*/ 375475 w 904875"/>
                  <a:gd name="connsiteY1769" fmla="*/ 544163 h 742950"/>
                  <a:gd name="connsiteX1770" fmla="*/ 378809 w 904875"/>
                  <a:gd name="connsiteY1770" fmla="*/ 541592 h 742950"/>
                  <a:gd name="connsiteX1771" fmla="*/ 381381 w 904875"/>
                  <a:gd name="connsiteY1771" fmla="*/ 541592 h 742950"/>
                  <a:gd name="connsiteX1772" fmla="*/ 383096 w 904875"/>
                  <a:gd name="connsiteY1772" fmla="*/ 541592 h 742950"/>
                  <a:gd name="connsiteX1773" fmla="*/ 384810 w 904875"/>
                  <a:gd name="connsiteY1773" fmla="*/ 542449 h 742950"/>
                  <a:gd name="connsiteX1774" fmla="*/ 386429 w 904875"/>
                  <a:gd name="connsiteY1774" fmla="*/ 542449 h 742950"/>
                  <a:gd name="connsiteX1775" fmla="*/ 387287 w 904875"/>
                  <a:gd name="connsiteY1775" fmla="*/ 542449 h 742950"/>
                  <a:gd name="connsiteX1776" fmla="*/ 389001 w 904875"/>
                  <a:gd name="connsiteY1776" fmla="*/ 540734 h 742950"/>
                  <a:gd name="connsiteX1777" fmla="*/ 390716 w 904875"/>
                  <a:gd name="connsiteY1777" fmla="*/ 540734 h 742950"/>
                  <a:gd name="connsiteX1778" fmla="*/ 392430 w 904875"/>
                  <a:gd name="connsiteY1778" fmla="*/ 540734 h 742950"/>
                  <a:gd name="connsiteX1779" fmla="*/ 393192 w 904875"/>
                  <a:gd name="connsiteY1779" fmla="*/ 540734 h 742950"/>
                  <a:gd name="connsiteX1780" fmla="*/ 394049 w 904875"/>
                  <a:gd name="connsiteY1780" fmla="*/ 541592 h 742950"/>
                  <a:gd name="connsiteX1781" fmla="*/ 395764 w 904875"/>
                  <a:gd name="connsiteY1781" fmla="*/ 543306 h 742950"/>
                  <a:gd name="connsiteX1782" fmla="*/ 396621 w 904875"/>
                  <a:gd name="connsiteY1782" fmla="*/ 544163 h 742950"/>
                  <a:gd name="connsiteX1783" fmla="*/ 398336 w 904875"/>
                  <a:gd name="connsiteY1783" fmla="*/ 544163 h 742950"/>
                  <a:gd name="connsiteX1784" fmla="*/ 400812 w 904875"/>
                  <a:gd name="connsiteY1784" fmla="*/ 544163 h 742950"/>
                  <a:gd name="connsiteX1785" fmla="*/ 402527 w 904875"/>
                  <a:gd name="connsiteY1785" fmla="*/ 544163 h 742950"/>
                  <a:gd name="connsiteX1786" fmla="*/ 405098 w 904875"/>
                  <a:gd name="connsiteY1786" fmla="*/ 545021 h 742950"/>
                  <a:gd name="connsiteX1787" fmla="*/ 406718 w 904875"/>
                  <a:gd name="connsiteY1787" fmla="*/ 545021 h 742950"/>
                  <a:gd name="connsiteX1788" fmla="*/ 407575 w 904875"/>
                  <a:gd name="connsiteY1788" fmla="*/ 544163 h 742950"/>
                  <a:gd name="connsiteX1789" fmla="*/ 410146 w 904875"/>
                  <a:gd name="connsiteY1789" fmla="*/ 542449 h 742950"/>
                  <a:gd name="connsiteX1790" fmla="*/ 411004 w 904875"/>
                  <a:gd name="connsiteY1790" fmla="*/ 541592 h 742950"/>
                  <a:gd name="connsiteX1791" fmla="*/ 410146 w 904875"/>
                  <a:gd name="connsiteY1791" fmla="*/ 540734 h 742950"/>
                  <a:gd name="connsiteX1792" fmla="*/ 409289 w 904875"/>
                  <a:gd name="connsiteY1792" fmla="*/ 539115 h 742950"/>
                  <a:gd name="connsiteX1793" fmla="*/ 406718 w 904875"/>
                  <a:gd name="connsiteY1793" fmla="*/ 537401 h 742950"/>
                  <a:gd name="connsiteX1794" fmla="*/ 406718 w 904875"/>
                  <a:gd name="connsiteY1794" fmla="*/ 536543 h 742950"/>
                  <a:gd name="connsiteX1795" fmla="*/ 405956 w 904875"/>
                  <a:gd name="connsiteY1795" fmla="*/ 533972 h 742950"/>
                  <a:gd name="connsiteX1796" fmla="*/ 405956 w 904875"/>
                  <a:gd name="connsiteY1796" fmla="*/ 533114 h 742950"/>
                  <a:gd name="connsiteX1797" fmla="*/ 404241 w 904875"/>
                  <a:gd name="connsiteY1797" fmla="*/ 531495 h 742950"/>
                  <a:gd name="connsiteX1798" fmla="*/ 403384 w 904875"/>
                  <a:gd name="connsiteY1798" fmla="*/ 530638 h 742950"/>
                  <a:gd name="connsiteX1799" fmla="*/ 404241 w 904875"/>
                  <a:gd name="connsiteY1799" fmla="*/ 528923 h 742950"/>
                  <a:gd name="connsiteX1800" fmla="*/ 405098 w 904875"/>
                  <a:gd name="connsiteY1800" fmla="*/ 528066 h 742950"/>
                  <a:gd name="connsiteX1801" fmla="*/ 405956 w 904875"/>
                  <a:gd name="connsiteY1801" fmla="*/ 526351 h 742950"/>
                  <a:gd name="connsiteX1802" fmla="*/ 406718 w 904875"/>
                  <a:gd name="connsiteY1802" fmla="*/ 526351 h 742950"/>
                  <a:gd name="connsiteX1803" fmla="*/ 405956 w 904875"/>
                  <a:gd name="connsiteY1803" fmla="*/ 525494 h 742950"/>
                  <a:gd name="connsiteX1804" fmla="*/ 405956 w 904875"/>
                  <a:gd name="connsiteY1804" fmla="*/ 523875 h 742950"/>
                  <a:gd name="connsiteX1805" fmla="*/ 405098 w 904875"/>
                  <a:gd name="connsiteY1805" fmla="*/ 523875 h 742950"/>
                  <a:gd name="connsiteX1806" fmla="*/ 405956 w 904875"/>
                  <a:gd name="connsiteY1806" fmla="*/ 522161 h 742950"/>
                  <a:gd name="connsiteX1807" fmla="*/ 405956 w 904875"/>
                  <a:gd name="connsiteY1807" fmla="*/ 521303 h 742950"/>
                  <a:gd name="connsiteX1808" fmla="*/ 405956 w 904875"/>
                  <a:gd name="connsiteY1808" fmla="*/ 519589 h 742950"/>
                  <a:gd name="connsiteX1809" fmla="*/ 405098 w 904875"/>
                  <a:gd name="connsiteY1809" fmla="*/ 518732 h 742950"/>
                  <a:gd name="connsiteX1810" fmla="*/ 404241 w 904875"/>
                  <a:gd name="connsiteY1810" fmla="*/ 517112 h 742950"/>
                  <a:gd name="connsiteX1811" fmla="*/ 403384 w 904875"/>
                  <a:gd name="connsiteY1811" fmla="*/ 516255 h 742950"/>
                  <a:gd name="connsiteX1812" fmla="*/ 403384 w 904875"/>
                  <a:gd name="connsiteY1812" fmla="*/ 515398 h 742950"/>
                  <a:gd name="connsiteX1813" fmla="*/ 404241 w 904875"/>
                  <a:gd name="connsiteY1813" fmla="*/ 514541 h 742950"/>
                  <a:gd name="connsiteX1814" fmla="*/ 411861 w 904875"/>
                  <a:gd name="connsiteY1814" fmla="*/ 511969 h 742950"/>
                  <a:gd name="connsiteX1815" fmla="*/ 414338 w 904875"/>
                  <a:gd name="connsiteY1815" fmla="*/ 510254 h 742950"/>
                  <a:gd name="connsiteX1816" fmla="*/ 414338 w 904875"/>
                  <a:gd name="connsiteY1816" fmla="*/ 508635 h 742950"/>
                  <a:gd name="connsiteX1817" fmla="*/ 415195 w 904875"/>
                  <a:gd name="connsiteY1817" fmla="*/ 507778 h 742950"/>
                  <a:gd name="connsiteX1818" fmla="*/ 415195 w 904875"/>
                  <a:gd name="connsiteY1818" fmla="*/ 506921 h 742950"/>
                  <a:gd name="connsiteX1819" fmla="*/ 416052 w 904875"/>
                  <a:gd name="connsiteY1819" fmla="*/ 506921 h 742950"/>
                  <a:gd name="connsiteX1820" fmla="*/ 418624 w 904875"/>
                  <a:gd name="connsiteY1820" fmla="*/ 505206 h 742950"/>
                  <a:gd name="connsiteX1821" fmla="*/ 419481 w 904875"/>
                  <a:gd name="connsiteY1821" fmla="*/ 505206 h 742950"/>
                  <a:gd name="connsiteX1822" fmla="*/ 420338 w 904875"/>
                  <a:gd name="connsiteY1822" fmla="*/ 504349 h 742950"/>
                  <a:gd name="connsiteX1823" fmla="*/ 420338 w 904875"/>
                  <a:gd name="connsiteY1823" fmla="*/ 503492 h 742950"/>
                  <a:gd name="connsiteX1824" fmla="*/ 420338 w 904875"/>
                  <a:gd name="connsiteY1824" fmla="*/ 502730 h 742950"/>
                  <a:gd name="connsiteX1825" fmla="*/ 420338 w 904875"/>
                  <a:gd name="connsiteY1825" fmla="*/ 501872 h 742950"/>
                  <a:gd name="connsiteX1826" fmla="*/ 420338 w 904875"/>
                  <a:gd name="connsiteY1826" fmla="*/ 501015 h 742950"/>
                  <a:gd name="connsiteX1827" fmla="*/ 421100 w 904875"/>
                  <a:gd name="connsiteY1827" fmla="*/ 500158 h 742950"/>
                  <a:gd name="connsiteX1828" fmla="*/ 422815 w 904875"/>
                  <a:gd name="connsiteY1828" fmla="*/ 500158 h 742950"/>
                  <a:gd name="connsiteX1829" fmla="*/ 423672 w 904875"/>
                  <a:gd name="connsiteY1829" fmla="*/ 499300 h 742950"/>
                  <a:gd name="connsiteX1830" fmla="*/ 424529 w 904875"/>
                  <a:gd name="connsiteY1830" fmla="*/ 499300 h 742950"/>
                  <a:gd name="connsiteX1831" fmla="*/ 425387 w 904875"/>
                  <a:gd name="connsiteY1831" fmla="*/ 496729 h 742950"/>
                  <a:gd name="connsiteX1832" fmla="*/ 425387 w 904875"/>
                  <a:gd name="connsiteY1832" fmla="*/ 496729 h 742950"/>
                  <a:gd name="connsiteX1833" fmla="*/ 426244 w 904875"/>
                  <a:gd name="connsiteY1833" fmla="*/ 495871 h 742950"/>
                  <a:gd name="connsiteX1834" fmla="*/ 427863 w 904875"/>
                  <a:gd name="connsiteY1834" fmla="*/ 495871 h 742950"/>
                  <a:gd name="connsiteX1835" fmla="*/ 429578 w 904875"/>
                  <a:gd name="connsiteY1835" fmla="*/ 496729 h 742950"/>
                  <a:gd name="connsiteX1836" fmla="*/ 432149 w 904875"/>
                  <a:gd name="connsiteY1836" fmla="*/ 496729 h 742950"/>
                  <a:gd name="connsiteX1837" fmla="*/ 433007 w 904875"/>
                  <a:gd name="connsiteY1837" fmla="*/ 496729 h 742950"/>
                  <a:gd name="connsiteX1838" fmla="*/ 433864 w 904875"/>
                  <a:gd name="connsiteY1838" fmla="*/ 496729 h 742950"/>
                  <a:gd name="connsiteX1839" fmla="*/ 435483 w 904875"/>
                  <a:gd name="connsiteY1839" fmla="*/ 497586 h 742950"/>
                  <a:gd name="connsiteX1840" fmla="*/ 437198 w 904875"/>
                  <a:gd name="connsiteY1840" fmla="*/ 499300 h 742950"/>
                  <a:gd name="connsiteX1841" fmla="*/ 438055 w 904875"/>
                  <a:gd name="connsiteY1841" fmla="*/ 500158 h 742950"/>
                  <a:gd name="connsiteX1842" fmla="*/ 438912 w 904875"/>
                  <a:gd name="connsiteY1842" fmla="*/ 501015 h 742950"/>
                  <a:gd name="connsiteX1843" fmla="*/ 441389 w 904875"/>
                  <a:gd name="connsiteY1843" fmla="*/ 503492 h 742950"/>
                  <a:gd name="connsiteX1844" fmla="*/ 443103 w 904875"/>
                  <a:gd name="connsiteY1844" fmla="*/ 503492 h 742950"/>
                  <a:gd name="connsiteX1845" fmla="*/ 444818 w 904875"/>
                  <a:gd name="connsiteY1845" fmla="*/ 498443 h 742950"/>
                  <a:gd name="connsiteX1846" fmla="*/ 445675 w 904875"/>
                  <a:gd name="connsiteY1846" fmla="*/ 495871 h 742950"/>
                  <a:gd name="connsiteX1847" fmla="*/ 446532 w 904875"/>
                  <a:gd name="connsiteY1847" fmla="*/ 494252 h 742950"/>
                  <a:gd name="connsiteX1848" fmla="*/ 447389 w 904875"/>
                  <a:gd name="connsiteY1848" fmla="*/ 493395 h 742950"/>
                  <a:gd name="connsiteX1849" fmla="*/ 449866 w 904875"/>
                  <a:gd name="connsiteY1849" fmla="*/ 492538 h 742950"/>
                  <a:gd name="connsiteX1850" fmla="*/ 450723 w 904875"/>
                  <a:gd name="connsiteY1850" fmla="*/ 491680 h 742950"/>
                  <a:gd name="connsiteX1851" fmla="*/ 451580 w 904875"/>
                  <a:gd name="connsiteY1851" fmla="*/ 490823 h 742950"/>
                  <a:gd name="connsiteX1852" fmla="*/ 452438 w 904875"/>
                  <a:gd name="connsiteY1852" fmla="*/ 489966 h 742950"/>
                  <a:gd name="connsiteX1853" fmla="*/ 452438 w 904875"/>
                  <a:gd name="connsiteY1853" fmla="*/ 489109 h 742950"/>
                  <a:gd name="connsiteX1854" fmla="*/ 452438 w 904875"/>
                  <a:gd name="connsiteY1854" fmla="*/ 487490 h 742950"/>
                  <a:gd name="connsiteX1855" fmla="*/ 450723 w 904875"/>
                  <a:gd name="connsiteY1855" fmla="*/ 484061 h 742950"/>
                  <a:gd name="connsiteX1856" fmla="*/ 450723 w 904875"/>
                  <a:gd name="connsiteY1856" fmla="*/ 482346 h 742950"/>
                  <a:gd name="connsiteX1857" fmla="*/ 452438 w 904875"/>
                  <a:gd name="connsiteY1857" fmla="*/ 481489 h 742950"/>
                  <a:gd name="connsiteX1858" fmla="*/ 453295 w 904875"/>
                  <a:gd name="connsiteY1858" fmla="*/ 481489 h 742950"/>
                  <a:gd name="connsiteX1859" fmla="*/ 454152 w 904875"/>
                  <a:gd name="connsiteY1859" fmla="*/ 481489 h 742950"/>
                  <a:gd name="connsiteX1860" fmla="*/ 460058 w 904875"/>
                  <a:gd name="connsiteY1860" fmla="*/ 483203 h 742950"/>
                  <a:gd name="connsiteX1861" fmla="*/ 460915 w 904875"/>
                  <a:gd name="connsiteY1861" fmla="*/ 483203 h 742950"/>
                  <a:gd name="connsiteX1862" fmla="*/ 462534 w 904875"/>
                  <a:gd name="connsiteY1862" fmla="*/ 483203 h 742950"/>
                  <a:gd name="connsiteX1863" fmla="*/ 464248 w 904875"/>
                  <a:gd name="connsiteY1863" fmla="*/ 481489 h 742950"/>
                  <a:gd name="connsiteX1864" fmla="*/ 465963 w 904875"/>
                  <a:gd name="connsiteY1864" fmla="*/ 478155 h 742950"/>
                  <a:gd name="connsiteX1865" fmla="*/ 465963 w 904875"/>
                  <a:gd name="connsiteY1865" fmla="*/ 475583 h 742950"/>
                  <a:gd name="connsiteX1866" fmla="*/ 466820 w 904875"/>
                  <a:gd name="connsiteY1866" fmla="*/ 473107 h 742950"/>
                  <a:gd name="connsiteX1867" fmla="*/ 465963 w 904875"/>
                  <a:gd name="connsiteY1867" fmla="*/ 469678 h 742950"/>
                  <a:gd name="connsiteX1868" fmla="*/ 465963 w 904875"/>
                  <a:gd name="connsiteY1868" fmla="*/ 467963 h 742950"/>
                  <a:gd name="connsiteX1869" fmla="*/ 465963 w 904875"/>
                  <a:gd name="connsiteY1869" fmla="*/ 466249 h 742950"/>
                  <a:gd name="connsiteX1870" fmla="*/ 467678 w 904875"/>
                  <a:gd name="connsiteY1870" fmla="*/ 461200 h 742950"/>
                  <a:gd name="connsiteX1871" fmla="*/ 467678 w 904875"/>
                  <a:gd name="connsiteY1871" fmla="*/ 459486 h 742950"/>
                  <a:gd name="connsiteX1872" fmla="*/ 467678 w 904875"/>
                  <a:gd name="connsiteY1872" fmla="*/ 457867 h 742950"/>
                  <a:gd name="connsiteX1873" fmla="*/ 467678 w 904875"/>
                  <a:gd name="connsiteY1873" fmla="*/ 453580 h 742950"/>
                  <a:gd name="connsiteX1874" fmla="*/ 467678 w 904875"/>
                  <a:gd name="connsiteY1874" fmla="*/ 451866 h 742950"/>
                  <a:gd name="connsiteX1875" fmla="*/ 469297 w 904875"/>
                  <a:gd name="connsiteY1875" fmla="*/ 451104 h 742950"/>
                  <a:gd name="connsiteX1876" fmla="*/ 473583 w 904875"/>
                  <a:gd name="connsiteY1876" fmla="*/ 449390 h 742950"/>
                  <a:gd name="connsiteX1877" fmla="*/ 476060 w 904875"/>
                  <a:gd name="connsiteY1877" fmla="*/ 449390 h 742950"/>
                  <a:gd name="connsiteX1878" fmla="*/ 478631 w 904875"/>
                  <a:gd name="connsiteY1878" fmla="*/ 449390 h 742950"/>
                  <a:gd name="connsiteX1879" fmla="*/ 479489 w 904875"/>
                  <a:gd name="connsiteY1879" fmla="*/ 449390 h 742950"/>
                  <a:gd name="connsiteX1880" fmla="*/ 480346 w 904875"/>
                  <a:gd name="connsiteY1880" fmla="*/ 449390 h 742950"/>
                  <a:gd name="connsiteX1881" fmla="*/ 482060 w 904875"/>
                  <a:gd name="connsiteY1881" fmla="*/ 448532 h 742950"/>
                  <a:gd name="connsiteX1882" fmla="*/ 483680 w 904875"/>
                  <a:gd name="connsiteY1882" fmla="*/ 447675 h 742950"/>
                  <a:gd name="connsiteX1883" fmla="*/ 484537 w 904875"/>
                  <a:gd name="connsiteY1883" fmla="*/ 447675 h 742950"/>
                  <a:gd name="connsiteX1884" fmla="*/ 487109 w 904875"/>
                  <a:gd name="connsiteY1884" fmla="*/ 448532 h 742950"/>
                  <a:gd name="connsiteX1885" fmla="*/ 487966 w 904875"/>
                  <a:gd name="connsiteY1885" fmla="*/ 447675 h 742950"/>
                  <a:gd name="connsiteX1886" fmla="*/ 488823 w 904875"/>
                  <a:gd name="connsiteY1886" fmla="*/ 447675 h 742950"/>
                  <a:gd name="connsiteX1887" fmla="*/ 488823 w 904875"/>
                  <a:gd name="connsiteY1887" fmla="*/ 445961 h 742950"/>
                  <a:gd name="connsiteX1888" fmla="*/ 489585 w 904875"/>
                  <a:gd name="connsiteY1888" fmla="*/ 445103 h 742950"/>
                  <a:gd name="connsiteX1889" fmla="*/ 489585 w 904875"/>
                  <a:gd name="connsiteY1889" fmla="*/ 443484 h 742950"/>
                  <a:gd name="connsiteX1890" fmla="*/ 490442 w 904875"/>
                  <a:gd name="connsiteY1890" fmla="*/ 442627 h 742950"/>
                  <a:gd name="connsiteX1891" fmla="*/ 492157 w 904875"/>
                  <a:gd name="connsiteY1891" fmla="*/ 440912 h 742950"/>
                  <a:gd name="connsiteX1892" fmla="*/ 498919 w 904875"/>
                  <a:gd name="connsiteY1892" fmla="*/ 435864 h 742950"/>
                  <a:gd name="connsiteX1893" fmla="*/ 501491 w 904875"/>
                  <a:gd name="connsiteY1893" fmla="*/ 435007 h 742950"/>
                  <a:gd name="connsiteX1894" fmla="*/ 502348 w 904875"/>
                  <a:gd name="connsiteY1894" fmla="*/ 434150 h 742950"/>
                  <a:gd name="connsiteX1895" fmla="*/ 503206 w 904875"/>
                  <a:gd name="connsiteY1895" fmla="*/ 434150 h 742950"/>
                  <a:gd name="connsiteX1896" fmla="*/ 503968 w 904875"/>
                  <a:gd name="connsiteY1896" fmla="*/ 433292 h 742950"/>
                  <a:gd name="connsiteX1897" fmla="*/ 504825 w 904875"/>
                  <a:gd name="connsiteY1897" fmla="*/ 431578 h 742950"/>
                  <a:gd name="connsiteX1898" fmla="*/ 504825 w 904875"/>
                  <a:gd name="connsiteY1898" fmla="*/ 429101 h 742950"/>
                  <a:gd name="connsiteX1899" fmla="*/ 503968 w 904875"/>
                  <a:gd name="connsiteY1899" fmla="*/ 425672 h 742950"/>
                  <a:gd name="connsiteX1900" fmla="*/ 503968 w 904875"/>
                  <a:gd name="connsiteY1900" fmla="*/ 423958 h 742950"/>
                  <a:gd name="connsiteX1901" fmla="*/ 504825 w 904875"/>
                  <a:gd name="connsiteY1901" fmla="*/ 422243 h 742950"/>
                  <a:gd name="connsiteX1902" fmla="*/ 508254 w 904875"/>
                  <a:gd name="connsiteY1902" fmla="*/ 418052 h 742950"/>
                  <a:gd name="connsiteX1903" fmla="*/ 509969 w 904875"/>
                  <a:gd name="connsiteY1903" fmla="*/ 417195 h 742950"/>
                  <a:gd name="connsiteX1904" fmla="*/ 510731 w 904875"/>
                  <a:gd name="connsiteY1904" fmla="*/ 417195 h 742950"/>
                  <a:gd name="connsiteX1905" fmla="*/ 512445 w 904875"/>
                  <a:gd name="connsiteY1905" fmla="*/ 417195 h 742950"/>
                  <a:gd name="connsiteX1906" fmla="*/ 513302 w 904875"/>
                  <a:gd name="connsiteY1906" fmla="*/ 417195 h 742950"/>
                  <a:gd name="connsiteX1907" fmla="*/ 515017 w 904875"/>
                  <a:gd name="connsiteY1907" fmla="*/ 418052 h 742950"/>
                  <a:gd name="connsiteX1908" fmla="*/ 515874 w 904875"/>
                  <a:gd name="connsiteY1908" fmla="*/ 419767 h 742950"/>
                  <a:gd name="connsiteX1909" fmla="*/ 516731 w 904875"/>
                  <a:gd name="connsiteY1909" fmla="*/ 420624 h 742950"/>
                  <a:gd name="connsiteX1910" fmla="*/ 516731 w 904875"/>
                  <a:gd name="connsiteY1910" fmla="*/ 422243 h 742950"/>
                  <a:gd name="connsiteX1911" fmla="*/ 516731 w 904875"/>
                  <a:gd name="connsiteY1911" fmla="*/ 427387 h 742950"/>
                  <a:gd name="connsiteX1912" fmla="*/ 516731 w 904875"/>
                  <a:gd name="connsiteY1912" fmla="*/ 428244 h 742950"/>
                  <a:gd name="connsiteX1913" fmla="*/ 517493 w 904875"/>
                  <a:gd name="connsiteY1913" fmla="*/ 429863 h 742950"/>
                  <a:gd name="connsiteX1914" fmla="*/ 518350 w 904875"/>
                  <a:gd name="connsiteY1914" fmla="*/ 429863 h 742950"/>
                  <a:gd name="connsiteX1915" fmla="*/ 520065 w 904875"/>
                  <a:gd name="connsiteY1915" fmla="*/ 430721 h 742950"/>
                  <a:gd name="connsiteX1916" fmla="*/ 524256 w 904875"/>
                  <a:gd name="connsiteY1916" fmla="*/ 432435 h 742950"/>
                  <a:gd name="connsiteX1917" fmla="*/ 525113 w 904875"/>
                  <a:gd name="connsiteY1917" fmla="*/ 433292 h 742950"/>
                  <a:gd name="connsiteX1918" fmla="*/ 525971 w 904875"/>
                  <a:gd name="connsiteY1918" fmla="*/ 433292 h 742950"/>
                  <a:gd name="connsiteX1919" fmla="*/ 525971 w 904875"/>
                  <a:gd name="connsiteY1919" fmla="*/ 435864 h 742950"/>
                  <a:gd name="connsiteX1920" fmla="*/ 526828 w 904875"/>
                  <a:gd name="connsiteY1920" fmla="*/ 436721 h 742950"/>
                  <a:gd name="connsiteX1921" fmla="*/ 527685 w 904875"/>
                  <a:gd name="connsiteY1921" fmla="*/ 437483 h 742950"/>
                  <a:gd name="connsiteX1922" fmla="*/ 528542 w 904875"/>
                  <a:gd name="connsiteY1922" fmla="*/ 437483 h 742950"/>
                  <a:gd name="connsiteX1923" fmla="*/ 530257 w 904875"/>
                  <a:gd name="connsiteY1923" fmla="*/ 437483 h 742950"/>
                  <a:gd name="connsiteX1924" fmla="*/ 531876 w 904875"/>
                  <a:gd name="connsiteY1924" fmla="*/ 436721 h 742950"/>
                  <a:gd name="connsiteX1925" fmla="*/ 533591 w 904875"/>
                  <a:gd name="connsiteY1925" fmla="*/ 434150 h 742950"/>
                  <a:gd name="connsiteX1926" fmla="*/ 534448 w 904875"/>
                  <a:gd name="connsiteY1926" fmla="*/ 434150 h 742950"/>
                  <a:gd name="connsiteX1927" fmla="*/ 535305 w 904875"/>
                  <a:gd name="connsiteY1927" fmla="*/ 434150 h 742950"/>
                  <a:gd name="connsiteX1928" fmla="*/ 539496 w 904875"/>
                  <a:gd name="connsiteY1928" fmla="*/ 435007 h 742950"/>
                  <a:gd name="connsiteX1929" fmla="*/ 540353 w 904875"/>
                  <a:gd name="connsiteY1929" fmla="*/ 432435 h 742950"/>
                  <a:gd name="connsiteX1930" fmla="*/ 540353 w 904875"/>
                  <a:gd name="connsiteY1930" fmla="*/ 431578 h 742950"/>
                  <a:gd name="connsiteX1931" fmla="*/ 539496 w 904875"/>
                  <a:gd name="connsiteY1931" fmla="*/ 429863 h 742950"/>
                  <a:gd name="connsiteX1932" fmla="*/ 539496 w 904875"/>
                  <a:gd name="connsiteY1932" fmla="*/ 429863 h 742950"/>
                  <a:gd name="connsiteX1933" fmla="*/ 534448 w 904875"/>
                  <a:gd name="connsiteY1933" fmla="*/ 425672 h 742950"/>
                  <a:gd name="connsiteX1934" fmla="*/ 534448 w 904875"/>
                  <a:gd name="connsiteY1934" fmla="*/ 424815 h 742950"/>
                  <a:gd name="connsiteX1935" fmla="*/ 535305 w 904875"/>
                  <a:gd name="connsiteY1935" fmla="*/ 424815 h 742950"/>
                  <a:gd name="connsiteX1936" fmla="*/ 536162 w 904875"/>
                  <a:gd name="connsiteY1936" fmla="*/ 423100 h 742950"/>
                  <a:gd name="connsiteX1937" fmla="*/ 537782 w 904875"/>
                  <a:gd name="connsiteY1937" fmla="*/ 423100 h 742950"/>
                  <a:gd name="connsiteX1938" fmla="*/ 538639 w 904875"/>
                  <a:gd name="connsiteY1938" fmla="*/ 422243 h 742950"/>
                  <a:gd name="connsiteX1939" fmla="*/ 538639 w 904875"/>
                  <a:gd name="connsiteY1939" fmla="*/ 420624 h 742950"/>
                  <a:gd name="connsiteX1940" fmla="*/ 539496 w 904875"/>
                  <a:gd name="connsiteY1940" fmla="*/ 418909 h 742950"/>
                  <a:gd name="connsiteX1941" fmla="*/ 539496 w 904875"/>
                  <a:gd name="connsiteY1941" fmla="*/ 416338 h 742950"/>
                  <a:gd name="connsiteX1942" fmla="*/ 539496 w 904875"/>
                  <a:gd name="connsiteY1942" fmla="*/ 415480 h 742950"/>
                  <a:gd name="connsiteX1943" fmla="*/ 540353 w 904875"/>
                  <a:gd name="connsiteY1943" fmla="*/ 414719 h 742950"/>
                  <a:gd name="connsiteX1944" fmla="*/ 540353 w 904875"/>
                  <a:gd name="connsiteY1944" fmla="*/ 413861 h 742950"/>
                  <a:gd name="connsiteX1945" fmla="*/ 540353 w 904875"/>
                  <a:gd name="connsiteY1945" fmla="*/ 413004 h 742950"/>
                  <a:gd name="connsiteX1946" fmla="*/ 540353 w 904875"/>
                  <a:gd name="connsiteY1946" fmla="*/ 412147 h 742950"/>
                  <a:gd name="connsiteX1947" fmla="*/ 540353 w 904875"/>
                  <a:gd name="connsiteY1947" fmla="*/ 411290 h 742950"/>
                  <a:gd name="connsiteX1948" fmla="*/ 542068 w 904875"/>
                  <a:gd name="connsiteY1948" fmla="*/ 409575 h 742950"/>
                  <a:gd name="connsiteX1949" fmla="*/ 542925 w 904875"/>
                  <a:gd name="connsiteY1949" fmla="*/ 408718 h 742950"/>
                  <a:gd name="connsiteX1950" fmla="*/ 543782 w 904875"/>
                  <a:gd name="connsiteY1950" fmla="*/ 407861 h 742950"/>
                  <a:gd name="connsiteX1951" fmla="*/ 544640 w 904875"/>
                  <a:gd name="connsiteY1951" fmla="*/ 407099 h 742950"/>
                  <a:gd name="connsiteX1952" fmla="*/ 545402 w 904875"/>
                  <a:gd name="connsiteY1952" fmla="*/ 406241 h 742950"/>
                  <a:gd name="connsiteX1953" fmla="*/ 546259 w 904875"/>
                  <a:gd name="connsiteY1953" fmla="*/ 405384 h 742950"/>
                  <a:gd name="connsiteX1954" fmla="*/ 547116 w 904875"/>
                  <a:gd name="connsiteY1954" fmla="*/ 405384 h 742950"/>
                  <a:gd name="connsiteX1955" fmla="*/ 551402 w 904875"/>
                  <a:gd name="connsiteY1955" fmla="*/ 404527 h 742950"/>
                  <a:gd name="connsiteX1956" fmla="*/ 553022 w 904875"/>
                  <a:gd name="connsiteY1956" fmla="*/ 404527 h 742950"/>
                  <a:gd name="connsiteX1957" fmla="*/ 553879 w 904875"/>
                  <a:gd name="connsiteY1957" fmla="*/ 404527 h 742950"/>
                  <a:gd name="connsiteX1958" fmla="*/ 554736 w 904875"/>
                  <a:gd name="connsiteY1958" fmla="*/ 403670 h 742950"/>
                  <a:gd name="connsiteX1959" fmla="*/ 555593 w 904875"/>
                  <a:gd name="connsiteY1959" fmla="*/ 402812 h 742950"/>
                  <a:gd name="connsiteX1960" fmla="*/ 556451 w 904875"/>
                  <a:gd name="connsiteY1960" fmla="*/ 401098 h 742950"/>
                  <a:gd name="connsiteX1961" fmla="*/ 557308 w 904875"/>
                  <a:gd name="connsiteY1961" fmla="*/ 397764 h 742950"/>
                  <a:gd name="connsiteX1962" fmla="*/ 557308 w 904875"/>
                  <a:gd name="connsiteY1962" fmla="*/ 396050 h 742950"/>
                  <a:gd name="connsiteX1963" fmla="*/ 557308 w 904875"/>
                  <a:gd name="connsiteY1963" fmla="*/ 395192 h 742950"/>
                  <a:gd name="connsiteX1964" fmla="*/ 556451 w 904875"/>
                  <a:gd name="connsiteY1964" fmla="*/ 394335 h 742950"/>
                  <a:gd name="connsiteX1965" fmla="*/ 556451 w 904875"/>
                  <a:gd name="connsiteY1965" fmla="*/ 392716 h 742950"/>
                  <a:gd name="connsiteX1966" fmla="*/ 557308 w 904875"/>
                  <a:gd name="connsiteY1966" fmla="*/ 391859 h 742950"/>
                  <a:gd name="connsiteX1967" fmla="*/ 557308 w 904875"/>
                  <a:gd name="connsiteY1967" fmla="*/ 390144 h 742950"/>
                  <a:gd name="connsiteX1968" fmla="*/ 558927 w 904875"/>
                  <a:gd name="connsiteY1968" fmla="*/ 389287 h 742950"/>
                  <a:gd name="connsiteX1969" fmla="*/ 559784 w 904875"/>
                  <a:gd name="connsiteY1969" fmla="*/ 388430 h 742950"/>
                  <a:gd name="connsiteX1970" fmla="*/ 561499 w 904875"/>
                  <a:gd name="connsiteY1970" fmla="*/ 388430 h 742950"/>
                  <a:gd name="connsiteX1971" fmla="*/ 564071 w 904875"/>
                  <a:gd name="connsiteY1971" fmla="*/ 389287 h 742950"/>
                  <a:gd name="connsiteX1972" fmla="*/ 564928 w 904875"/>
                  <a:gd name="connsiteY1972" fmla="*/ 389287 h 742950"/>
                  <a:gd name="connsiteX1973" fmla="*/ 564928 w 904875"/>
                  <a:gd name="connsiteY1973" fmla="*/ 389287 h 742950"/>
                  <a:gd name="connsiteX1974" fmla="*/ 565690 w 904875"/>
                  <a:gd name="connsiteY1974" fmla="*/ 387572 h 742950"/>
                  <a:gd name="connsiteX1975" fmla="*/ 569119 w 904875"/>
                  <a:gd name="connsiteY1975" fmla="*/ 379952 h 742950"/>
                  <a:gd name="connsiteX1976" fmla="*/ 570833 w 904875"/>
                  <a:gd name="connsiteY1976" fmla="*/ 378333 h 742950"/>
                  <a:gd name="connsiteX1977" fmla="*/ 571691 w 904875"/>
                  <a:gd name="connsiteY1977" fmla="*/ 376619 h 742950"/>
                  <a:gd name="connsiteX1978" fmla="*/ 572453 w 904875"/>
                  <a:gd name="connsiteY1978" fmla="*/ 375761 h 742950"/>
                  <a:gd name="connsiteX1979" fmla="*/ 574167 w 904875"/>
                  <a:gd name="connsiteY1979" fmla="*/ 374904 h 742950"/>
                  <a:gd name="connsiteX1980" fmla="*/ 575024 w 904875"/>
                  <a:gd name="connsiteY1980" fmla="*/ 374047 h 742950"/>
                  <a:gd name="connsiteX1981" fmla="*/ 576739 w 904875"/>
                  <a:gd name="connsiteY1981" fmla="*/ 374047 h 742950"/>
                  <a:gd name="connsiteX1982" fmla="*/ 579215 w 904875"/>
                  <a:gd name="connsiteY1982" fmla="*/ 374047 h 742950"/>
                  <a:gd name="connsiteX1983" fmla="*/ 579215 w 904875"/>
                  <a:gd name="connsiteY1983" fmla="*/ 373190 h 742950"/>
                  <a:gd name="connsiteX1984" fmla="*/ 579215 w 904875"/>
                  <a:gd name="connsiteY1984" fmla="*/ 372332 h 742950"/>
                  <a:gd name="connsiteX1985" fmla="*/ 579215 w 904875"/>
                  <a:gd name="connsiteY1985" fmla="*/ 371475 h 742950"/>
                  <a:gd name="connsiteX1986" fmla="*/ 578453 w 904875"/>
                  <a:gd name="connsiteY1986" fmla="*/ 370713 h 742950"/>
                  <a:gd name="connsiteX1987" fmla="*/ 577596 w 904875"/>
                  <a:gd name="connsiteY1987" fmla="*/ 369856 h 742950"/>
                  <a:gd name="connsiteX1988" fmla="*/ 573310 w 904875"/>
                  <a:gd name="connsiteY1988" fmla="*/ 366427 h 742950"/>
                  <a:gd name="connsiteX1989" fmla="*/ 571691 w 904875"/>
                  <a:gd name="connsiteY1989" fmla="*/ 364712 h 742950"/>
                  <a:gd name="connsiteX1990" fmla="*/ 571691 w 904875"/>
                  <a:gd name="connsiteY1990" fmla="*/ 363855 h 742950"/>
                  <a:gd name="connsiteX1991" fmla="*/ 571691 w 904875"/>
                  <a:gd name="connsiteY1991" fmla="*/ 363093 h 742950"/>
                  <a:gd name="connsiteX1992" fmla="*/ 571691 w 904875"/>
                  <a:gd name="connsiteY1992" fmla="*/ 361379 h 742950"/>
                  <a:gd name="connsiteX1993" fmla="*/ 571691 w 904875"/>
                  <a:gd name="connsiteY1993" fmla="*/ 360521 h 742950"/>
                  <a:gd name="connsiteX1994" fmla="*/ 570833 w 904875"/>
                  <a:gd name="connsiteY1994" fmla="*/ 359664 h 742950"/>
                  <a:gd name="connsiteX1995" fmla="*/ 569976 w 904875"/>
                  <a:gd name="connsiteY1995" fmla="*/ 359664 h 742950"/>
                  <a:gd name="connsiteX1996" fmla="*/ 569119 w 904875"/>
                  <a:gd name="connsiteY1996" fmla="*/ 359664 h 742950"/>
                  <a:gd name="connsiteX1997" fmla="*/ 568262 w 904875"/>
                  <a:gd name="connsiteY1997" fmla="*/ 359664 h 742950"/>
                  <a:gd name="connsiteX1998" fmla="*/ 568262 w 904875"/>
                  <a:gd name="connsiteY1998" fmla="*/ 359664 h 742950"/>
                  <a:gd name="connsiteX1999" fmla="*/ 567404 w 904875"/>
                  <a:gd name="connsiteY1999" fmla="*/ 358807 h 742950"/>
                  <a:gd name="connsiteX2000" fmla="*/ 567404 w 904875"/>
                  <a:gd name="connsiteY2000" fmla="*/ 358807 h 742950"/>
                  <a:gd name="connsiteX2001" fmla="*/ 567404 w 904875"/>
                  <a:gd name="connsiteY2001" fmla="*/ 357092 h 742950"/>
                  <a:gd name="connsiteX2002" fmla="*/ 567404 w 904875"/>
                  <a:gd name="connsiteY2002" fmla="*/ 357092 h 742950"/>
                  <a:gd name="connsiteX2003" fmla="*/ 567404 w 904875"/>
                  <a:gd name="connsiteY2003" fmla="*/ 356330 h 742950"/>
                  <a:gd name="connsiteX2004" fmla="*/ 566547 w 904875"/>
                  <a:gd name="connsiteY2004" fmla="*/ 356330 h 742950"/>
                  <a:gd name="connsiteX2005" fmla="*/ 565690 w 904875"/>
                  <a:gd name="connsiteY2005" fmla="*/ 355473 h 742950"/>
                  <a:gd name="connsiteX2006" fmla="*/ 564928 w 904875"/>
                  <a:gd name="connsiteY2006" fmla="*/ 356330 h 742950"/>
                  <a:gd name="connsiteX2007" fmla="*/ 564071 w 904875"/>
                  <a:gd name="connsiteY2007" fmla="*/ 356330 h 742950"/>
                  <a:gd name="connsiteX2008" fmla="*/ 563213 w 904875"/>
                  <a:gd name="connsiteY2008" fmla="*/ 355473 h 742950"/>
                  <a:gd name="connsiteX2009" fmla="*/ 563213 w 904875"/>
                  <a:gd name="connsiteY2009" fmla="*/ 355473 h 742950"/>
                  <a:gd name="connsiteX2010" fmla="*/ 563213 w 904875"/>
                  <a:gd name="connsiteY2010" fmla="*/ 354616 h 742950"/>
                  <a:gd name="connsiteX2011" fmla="*/ 563213 w 904875"/>
                  <a:gd name="connsiteY2011" fmla="*/ 353759 h 742950"/>
                  <a:gd name="connsiteX2012" fmla="*/ 563213 w 904875"/>
                  <a:gd name="connsiteY2012" fmla="*/ 352044 h 742950"/>
                  <a:gd name="connsiteX2013" fmla="*/ 562356 w 904875"/>
                  <a:gd name="connsiteY2013" fmla="*/ 351187 h 742950"/>
                  <a:gd name="connsiteX2014" fmla="*/ 561499 w 904875"/>
                  <a:gd name="connsiteY2014" fmla="*/ 349472 h 742950"/>
                  <a:gd name="connsiteX2015" fmla="*/ 561499 w 904875"/>
                  <a:gd name="connsiteY2015" fmla="*/ 347853 h 742950"/>
                  <a:gd name="connsiteX2016" fmla="*/ 562356 w 904875"/>
                  <a:gd name="connsiteY2016" fmla="*/ 347853 h 742950"/>
                  <a:gd name="connsiteX2017" fmla="*/ 563213 w 904875"/>
                  <a:gd name="connsiteY2017" fmla="*/ 346996 h 742950"/>
                  <a:gd name="connsiteX2018" fmla="*/ 564928 w 904875"/>
                  <a:gd name="connsiteY2018" fmla="*/ 346138 h 742950"/>
                  <a:gd name="connsiteX2019" fmla="*/ 565690 w 904875"/>
                  <a:gd name="connsiteY2019" fmla="*/ 344424 h 742950"/>
                  <a:gd name="connsiteX2020" fmla="*/ 567404 w 904875"/>
                  <a:gd name="connsiteY2020" fmla="*/ 342709 h 742950"/>
                  <a:gd name="connsiteX2021" fmla="*/ 568262 w 904875"/>
                  <a:gd name="connsiteY2021" fmla="*/ 341852 h 742950"/>
                  <a:gd name="connsiteX2022" fmla="*/ 569119 w 904875"/>
                  <a:gd name="connsiteY2022" fmla="*/ 341090 h 742950"/>
                  <a:gd name="connsiteX2023" fmla="*/ 569976 w 904875"/>
                  <a:gd name="connsiteY2023" fmla="*/ 341090 h 742950"/>
                  <a:gd name="connsiteX2024" fmla="*/ 570833 w 904875"/>
                  <a:gd name="connsiteY2024" fmla="*/ 340233 h 742950"/>
                  <a:gd name="connsiteX2025" fmla="*/ 570833 w 904875"/>
                  <a:gd name="connsiteY2025" fmla="*/ 339376 h 742950"/>
                  <a:gd name="connsiteX2026" fmla="*/ 570833 w 904875"/>
                  <a:gd name="connsiteY2026" fmla="*/ 338519 h 742950"/>
                  <a:gd name="connsiteX2027" fmla="*/ 570833 w 904875"/>
                  <a:gd name="connsiteY2027" fmla="*/ 337661 h 742950"/>
                  <a:gd name="connsiteX2028" fmla="*/ 570833 w 904875"/>
                  <a:gd name="connsiteY2028" fmla="*/ 336804 h 742950"/>
                  <a:gd name="connsiteX2029" fmla="*/ 570833 w 904875"/>
                  <a:gd name="connsiteY2029" fmla="*/ 335947 h 742950"/>
                  <a:gd name="connsiteX2030" fmla="*/ 570833 w 904875"/>
                  <a:gd name="connsiteY2030" fmla="*/ 334328 h 742950"/>
                  <a:gd name="connsiteX2031" fmla="*/ 572453 w 904875"/>
                  <a:gd name="connsiteY2031" fmla="*/ 331756 h 742950"/>
                  <a:gd name="connsiteX2032" fmla="*/ 573310 w 904875"/>
                  <a:gd name="connsiteY2032" fmla="*/ 327470 h 742950"/>
                  <a:gd name="connsiteX2033" fmla="*/ 574167 w 904875"/>
                  <a:gd name="connsiteY2033" fmla="*/ 326708 h 742950"/>
                  <a:gd name="connsiteX2034" fmla="*/ 575024 w 904875"/>
                  <a:gd name="connsiteY2034" fmla="*/ 325850 h 742950"/>
                  <a:gd name="connsiteX2035" fmla="*/ 577596 w 904875"/>
                  <a:gd name="connsiteY2035" fmla="*/ 323279 h 742950"/>
                  <a:gd name="connsiteX2036" fmla="*/ 577596 w 904875"/>
                  <a:gd name="connsiteY2036" fmla="*/ 322421 h 742950"/>
                  <a:gd name="connsiteX2037" fmla="*/ 576739 w 904875"/>
                  <a:gd name="connsiteY2037" fmla="*/ 321564 h 742950"/>
                  <a:gd name="connsiteX2038" fmla="*/ 575024 w 904875"/>
                  <a:gd name="connsiteY2038" fmla="*/ 320707 h 742950"/>
                  <a:gd name="connsiteX2039" fmla="*/ 574167 w 904875"/>
                  <a:gd name="connsiteY2039" fmla="*/ 320707 h 742950"/>
                  <a:gd name="connsiteX2040" fmla="*/ 574167 w 904875"/>
                  <a:gd name="connsiteY2040" fmla="*/ 319850 h 742950"/>
                  <a:gd name="connsiteX2041" fmla="*/ 575024 w 904875"/>
                  <a:gd name="connsiteY2041" fmla="*/ 319088 h 742950"/>
                  <a:gd name="connsiteX2042" fmla="*/ 576739 w 904875"/>
                  <a:gd name="connsiteY2042" fmla="*/ 317373 h 742950"/>
                  <a:gd name="connsiteX2043" fmla="*/ 577596 w 904875"/>
                  <a:gd name="connsiteY2043" fmla="*/ 317373 h 742950"/>
                  <a:gd name="connsiteX2044" fmla="*/ 578453 w 904875"/>
                  <a:gd name="connsiteY2044" fmla="*/ 316516 h 742950"/>
                  <a:gd name="connsiteX2045" fmla="*/ 579215 w 904875"/>
                  <a:gd name="connsiteY2045" fmla="*/ 315659 h 742950"/>
                  <a:gd name="connsiteX2046" fmla="*/ 580073 w 904875"/>
                  <a:gd name="connsiteY2046" fmla="*/ 315659 h 742950"/>
                  <a:gd name="connsiteX2047" fmla="*/ 580930 w 904875"/>
                  <a:gd name="connsiteY2047" fmla="*/ 315659 h 742950"/>
                  <a:gd name="connsiteX2048" fmla="*/ 581787 w 904875"/>
                  <a:gd name="connsiteY2048" fmla="*/ 316516 h 742950"/>
                  <a:gd name="connsiteX2049" fmla="*/ 584359 w 904875"/>
                  <a:gd name="connsiteY2049" fmla="*/ 316516 h 742950"/>
                  <a:gd name="connsiteX2050" fmla="*/ 585216 w 904875"/>
                  <a:gd name="connsiteY2050" fmla="*/ 317373 h 742950"/>
                  <a:gd name="connsiteX2051" fmla="*/ 587693 w 904875"/>
                  <a:gd name="connsiteY2051" fmla="*/ 316516 h 742950"/>
                  <a:gd name="connsiteX2052" fmla="*/ 587693 w 904875"/>
                  <a:gd name="connsiteY2052" fmla="*/ 316516 h 742950"/>
                  <a:gd name="connsiteX2053" fmla="*/ 588550 w 904875"/>
                  <a:gd name="connsiteY2053" fmla="*/ 316516 h 742950"/>
                  <a:gd name="connsiteX2054" fmla="*/ 591122 w 904875"/>
                  <a:gd name="connsiteY2054" fmla="*/ 320707 h 742950"/>
                  <a:gd name="connsiteX2055" fmla="*/ 591979 w 904875"/>
                  <a:gd name="connsiteY2055" fmla="*/ 322421 h 742950"/>
                  <a:gd name="connsiteX2056" fmla="*/ 593598 w 904875"/>
                  <a:gd name="connsiteY2056" fmla="*/ 323279 h 742950"/>
                  <a:gd name="connsiteX2057" fmla="*/ 595313 w 904875"/>
                  <a:gd name="connsiteY2057" fmla="*/ 323279 h 742950"/>
                  <a:gd name="connsiteX2058" fmla="*/ 596170 w 904875"/>
                  <a:gd name="connsiteY2058" fmla="*/ 324136 h 742950"/>
                  <a:gd name="connsiteX2059" fmla="*/ 597884 w 904875"/>
                  <a:gd name="connsiteY2059" fmla="*/ 323279 h 742950"/>
                  <a:gd name="connsiteX2060" fmla="*/ 599599 w 904875"/>
                  <a:gd name="connsiteY2060" fmla="*/ 323279 h 742950"/>
                  <a:gd name="connsiteX2061" fmla="*/ 600361 w 904875"/>
                  <a:gd name="connsiteY2061" fmla="*/ 323279 h 742950"/>
                  <a:gd name="connsiteX2062" fmla="*/ 601218 w 904875"/>
                  <a:gd name="connsiteY2062" fmla="*/ 323279 h 742950"/>
                  <a:gd name="connsiteX2063" fmla="*/ 602075 w 904875"/>
                  <a:gd name="connsiteY2063" fmla="*/ 324136 h 742950"/>
                  <a:gd name="connsiteX2064" fmla="*/ 603790 w 904875"/>
                  <a:gd name="connsiteY2064" fmla="*/ 324136 h 742950"/>
                  <a:gd name="connsiteX2065" fmla="*/ 606362 w 904875"/>
                  <a:gd name="connsiteY2065" fmla="*/ 324136 h 742950"/>
                  <a:gd name="connsiteX2066" fmla="*/ 607981 w 904875"/>
                  <a:gd name="connsiteY2066" fmla="*/ 324136 h 742950"/>
                  <a:gd name="connsiteX2067" fmla="*/ 608838 w 904875"/>
                  <a:gd name="connsiteY2067" fmla="*/ 323279 h 742950"/>
                  <a:gd name="connsiteX2068" fmla="*/ 608838 w 904875"/>
                  <a:gd name="connsiteY2068" fmla="*/ 322421 h 742950"/>
                  <a:gd name="connsiteX2069" fmla="*/ 608838 w 904875"/>
                  <a:gd name="connsiteY2069" fmla="*/ 319850 h 742950"/>
                  <a:gd name="connsiteX2070" fmla="*/ 608838 w 904875"/>
                  <a:gd name="connsiteY2070" fmla="*/ 318230 h 742950"/>
                  <a:gd name="connsiteX2071" fmla="*/ 607981 w 904875"/>
                  <a:gd name="connsiteY2071" fmla="*/ 313087 h 742950"/>
                  <a:gd name="connsiteX2072" fmla="*/ 607981 w 904875"/>
                  <a:gd name="connsiteY2072" fmla="*/ 312325 h 742950"/>
                  <a:gd name="connsiteX2073" fmla="*/ 608838 w 904875"/>
                  <a:gd name="connsiteY2073" fmla="*/ 310610 h 742950"/>
                  <a:gd name="connsiteX2074" fmla="*/ 608838 w 904875"/>
                  <a:gd name="connsiteY2074" fmla="*/ 309753 h 742950"/>
                  <a:gd name="connsiteX2075" fmla="*/ 609695 w 904875"/>
                  <a:gd name="connsiteY2075" fmla="*/ 308896 h 742950"/>
                  <a:gd name="connsiteX2076" fmla="*/ 610553 w 904875"/>
                  <a:gd name="connsiteY2076" fmla="*/ 308038 h 742950"/>
                  <a:gd name="connsiteX2077" fmla="*/ 611410 w 904875"/>
                  <a:gd name="connsiteY2077" fmla="*/ 304705 h 742950"/>
                  <a:gd name="connsiteX2078" fmla="*/ 612267 w 904875"/>
                  <a:gd name="connsiteY2078" fmla="*/ 302990 h 742950"/>
                  <a:gd name="connsiteX2079" fmla="*/ 613886 w 904875"/>
                  <a:gd name="connsiteY2079" fmla="*/ 302133 h 742950"/>
                  <a:gd name="connsiteX2080" fmla="*/ 614744 w 904875"/>
                  <a:gd name="connsiteY2080" fmla="*/ 301276 h 742950"/>
                  <a:gd name="connsiteX2081" fmla="*/ 615601 w 904875"/>
                  <a:gd name="connsiteY2081" fmla="*/ 301276 h 742950"/>
                  <a:gd name="connsiteX2082" fmla="*/ 619887 w 904875"/>
                  <a:gd name="connsiteY2082" fmla="*/ 300419 h 742950"/>
                  <a:gd name="connsiteX2083" fmla="*/ 621506 w 904875"/>
                  <a:gd name="connsiteY2083" fmla="*/ 299561 h 742950"/>
                  <a:gd name="connsiteX2084" fmla="*/ 622364 w 904875"/>
                  <a:gd name="connsiteY2084" fmla="*/ 299561 h 742950"/>
                  <a:gd name="connsiteX2085" fmla="*/ 622364 w 904875"/>
                  <a:gd name="connsiteY2085" fmla="*/ 298704 h 742950"/>
                  <a:gd name="connsiteX2086" fmla="*/ 623221 w 904875"/>
                  <a:gd name="connsiteY2086" fmla="*/ 297085 h 742950"/>
                  <a:gd name="connsiteX2087" fmla="*/ 623221 w 904875"/>
                  <a:gd name="connsiteY2087" fmla="*/ 296228 h 742950"/>
                  <a:gd name="connsiteX2088" fmla="*/ 622364 w 904875"/>
                  <a:gd name="connsiteY2088" fmla="*/ 290322 h 742950"/>
                  <a:gd name="connsiteX2089" fmla="*/ 623221 w 904875"/>
                  <a:gd name="connsiteY2089" fmla="*/ 287750 h 742950"/>
                  <a:gd name="connsiteX2090" fmla="*/ 623221 w 904875"/>
                  <a:gd name="connsiteY2090" fmla="*/ 286036 h 742950"/>
                  <a:gd name="connsiteX2091" fmla="*/ 625793 w 904875"/>
                  <a:gd name="connsiteY2091" fmla="*/ 282702 h 742950"/>
                  <a:gd name="connsiteX2092" fmla="*/ 625793 w 904875"/>
                  <a:gd name="connsiteY2092" fmla="*/ 279273 h 742950"/>
                  <a:gd name="connsiteX2093" fmla="*/ 626650 w 904875"/>
                  <a:gd name="connsiteY2093" fmla="*/ 278416 h 742950"/>
                  <a:gd name="connsiteX2094" fmla="*/ 628269 w 904875"/>
                  <a:gd name="connsiteY2094" fmla="*/ 276701 h 742950"/>
                  <a:gd name="connsiteX2095" fmla="*/ 631698 w 904875"/>
                  <a:gd name="connsiteY2095" fmla="*/ 275082 h 742950"/>
                  <a:gd name="connsiteX2096" fmla="*/ 632555 w 904875"/>
                  <a:gd name="connsiteY2096" fmla="*/ 274225 h 742950"/>
                  <a:gd name="connsiteX2097" fmla="*/ 632555 w 904875"/>
                  <a:gd name="connsiteY2097" fmla="*/ 273367 h 742950"/>
                  <a:gd name="connsiteX2098" fmla="*/ 633413 w 904875"/>
                  <a:gd name="connsiteY2098" fmla="*/ 271653 h 742950"/>
                  <a:gd name="connsiteX2099" fmla="*/ 633413 w 904875"/>
                  <a:gd name="connsiteY2099" fmla="*/ 270796 h 742950"/>
                  <a:gd name="connsiteX2100" fmla="*/ 633413 w 904875"/>
                  <a:gd name="connsiteY2100" fmla="*/ 269938 h 742950"/>
                  <a:gd name="connsiteX2101" fmla="*/ 633413 w 904875"/>
                  <a:gd name="connsiteY2101" fmla="*/ 269081 h 742950"/>
                  <a:gd name="connsiteX2102" fmla="*/ 632555 w 904875"/>
                  <a:gd name="connsiteY2102" fmla="*/ 267462 h 742950"/>
                  <a:gd name="connsiteX2103" fmla="*/ 631698 w 904875"/>
                  <a:gd name="connsiteY2103" fmla="*/ 267462 h 742950"/>
                  <a:gd name="connsiteX2104" fmla="*/ 629984 w 904875"/>
                  <a:gd name="connsiteY2104" fmla="*/ 267462 h 742950"/>
                  <a:gd name="connsiteX2105" fmla="*/ 629126 w 904875"/>
                  <a:gd name="connsiteY2105" fmla="*/ 265747 h 742950"/>
                  <a:gd name="connsiteX2106" fmla="*/ 625793 w 904875"/>
                  <a:gd name="connsiteY2106" fmla="*/ 257270 h 742950"/>
                  <a:gd name="connsiteX2107" fmla="*/ 624935 w 904875"/>
                  <a:gd name="connsiteY2107" fmla="*/ 253841 h 742950"/>
                  <a:gd name="connsiteX2108" fmla="*/ 625793 w 904875"/>
                  <a:gd name="connsiteY2108" fmla="*/ 250508 h 742950"/>
                  <a:gd name="connsiteX2109" fmla="*/ 629984 w 904875"/>
                  <a:gd name="connsiteY2109" fmla="*/ 252222 h 742950"/>
                  <a:gd name="connsiteX2110" fmla="*/ 631698 w 904875"/>
                  <a:gd name="connsiteY2110" fmla="*/ 253841 h 742950"/>
                  <a:gd name="connsiteX2111" fmla="*/ 631698 w 904875"/>
                  <a:gd name="connsiteY2111" fmla="*/ 253841 h 742950"/>
                  <a:gd name="connsiteX2112" fmla="*/ 632555 w 904875"/>
                  <a:gd name="connsiteY2112" fmla="*/ 254699 h 742950"/>
                  <a:gd name="connsiteX2113" fmla="*/ 633413 w 904875"/>
                  <a:gd name="connsiteY2113" fmla="*/ 257270 h 742950"/>
                  <a:gd name="connsiteX2114" fmla="*/ 634270 w 904875"/>
                  <a:gd name="connsiteY2114" fmla="*/ 258128 h 742950"/>
                  <a:gd name="connsiteX2115" fmla="*/ 634270 w 904875"/>
                  <a:gd name="connsiteY2115" fmla="*/ 258128 h 742950"/>
                  <a:gd name="connsiteX2116" fmla="*/ 635032 w 904875"/>
                  <a:gd name="connsiteY2116" fmla="*/ 258985 h 742950"/>
                  <a:gd name="connsiteX2117" fmla="*/ 641795 w 904875"/>
                  <a:gd name="connsiteY2117" fmla="*/ 261461 h 742950"/>
                  <a:gd name="connsiteX2118" fmla="*/ 642652 w 904875"/>
                  <a:gd name="connsiteY2118" fmla="*/ 261461 h 742950"/>
                  <a:gd name="connsiteX2119" fmla="*/ 643509 w 904875"/>
                  <a:gd name="connsiteY2119" fmla="*/ 261461 h 742950"/>
                  <a:gd name="connsiteX2120" fmla="*/ 643509 w 904875"/>
                  <a:gd name="connsiteY2120" fmla="*/ 260699 h 742950"/>
                  <a:gd name="connsiteX2121" fmla="*/ 644366 w 904875"/>
                  <a:gd name="connsiteY2121" fmla="*/ 259842 h 742950"/>
                  <a:gd name="connsiteX2122" fmla="*/ 644366 w 904875"/>
                  <a:gd name="connsiteY2122" fmla="*/ 259842 h 742950"/>
                  <a:gd name="connsiteX2123" fmla="*/ 644366 w 904875"/>
                  <a:gd name="connsiteY2123" fmla="*/ 259842 h 742950"/>
                  <a:gd name="connsiteX2124" fmla="*/ 645224 w 904875"/>
                  <a:gd name="connsiteY2124" fmla="*/ 258985 h 742950"/>
                  <a:gd name="connsiteX2125" fmla="*/ 646081 w 904875"/>
                  <a:gd name="connsiteY2125" fmla="*/ 258985 h 742950"/>
                  <a:gd name="connsiteX2126" fmla="*/ 646938 w 904875"/>
                  <a:gd name="connsiteY2126" fmla="*/ 258985 h 742950"/>
                  <a:gd name="connsiteX2127" fmla="*/ 646938 w 904875"/>
                  <a:gd name="connsiteY2127" fmla="*/ 258985 h 742950"/>
                  <a:gd name="connsiteX2128" fmla="*/ 647795 w 904875"/>
                  <a:gd name="connsiteY2128" fmla="*/ 258985 h 742950"/>
                  <a:gd name="connsiteX2129" fmla="*/ 648557 w 904875"/>
                  <a:gd name="connsiteY2129" fmla="*/ 258985 h 742950"/>
                  <a:gd name="connsiteX2130" fmla="*/ 650272 w 904875"/>
                  <a:gd name="connsiteY2130" fmla="*/ 258985 h 742950"/>
                  <a:gd name="connsiteX2131" fmla="*/ 651129 w 904875"/>
                  <a:gd name="connsiteY2131" fmla="*/ 259842 h 742950"/>
                  <a:gd name="connsiteX2132" fmla="*/ 651986 w 904875"/>
                  <a:gd name="connsiteY2132" fmla="*/ 259842 h 742950"/>
                  <a:gd name="connsiteX2133" fmla="*/ 653701 w 904875"/>
                  <a:gd name="connsiteY2133" fmla="*/ 259842 h 742950"/>
                  <a:gd name="connsiteX2134" fmla="*/ 655320 w 904875"/>
                  <a:gd name="connsiteY2134" fmla="*/ 258985 h 742950"/>
                  <a:gd name="connsiteX2135" fmla="*/ 657035 w 904875"/>
                  <a:gd name="connsiteY2135" fmla="*/ 259842 h 742950"/>
                  <a:gd name="connsiteX2136" fmla="*/ 663797 w 904875"/>
                  <a:gd name="connsiteY2136" fmla="*/ 262319 h 742950"/>
                  <a:gd name="connsiteX2137" fmla="*/ 668084 w 904875"/>
                  <a:gd name="connsiteY2137" fmla="*/ 264033 h 742950"/>
                  <a:gd name="connsiteX2138" fmla="*/ 668084 w 904875"/>
                  <a:gd name="connsiteY2138" fmla="*/ 264033 h 742950"/>
                  <a:gd name="connsiteX2139" fmla="*/ 670560 w 904875"/>
                  <a:gd name="connsiteY2139" fmla="*/ 264033 h 742950"/>
                  <a:gd name="connsiteX2140" fmla="*/ 674846 w 904875"/>
                  <a:gd name="connsiteY2140" fmla="*/ 264033 h 742950"/>
                  <a:gd name="connsiteX2141" fmla="*/ 678180 w 904875"/>
                  <a:gd name="connsiteY2141" fmla="*/ 265747 h 742950"/>
                  <a:gd name="connsiteX2142" fmla="*/ 679037 w 904875"/>
                  <a:gd name="connsiteY2142" fmla="*/ 266605 h 742950"/>
                  <a:gd name="connsiteX2143" fmla="*/ 680752 w 904875"/>
                  <a:gd name="connsiteY2143" fmla="*/ 267462 h 742950"/>
                  <a:gd name="connsiteX2144" fmla="*/ 680752 w 904875"/>
                  <a:gd name="connsiteY2144" fmla="*/ 268319 h 742950"/>
                  <a:gd name="connsiteX2145" fmla="*/ 681609 w 904875"/>
                  <a:gd name="connsiteY2145" fmla="*/ 268319 h 742950"/>
                  <a:gd name="connsiteX2146" fmla="*/ 682466 w 904875"/>
                  <a:gd name="connsiteY2146" fmla="*/ 269081 h 742950"/>
                  <a:gd name="connsiteX2147" fmla="*/ 682466 w 904875"/>
                  <a:gd name="connsiteY2147" fmla="*/ 269938 h 742950"/>
                  <a:gd name="connsiteX2148" fmla="*/ 682466 w 904875"/>
                  <a:gd name="connsiteY2148" fmla="*/ 269938 h 742950"/>
                  <a:gd name="connsiteX2149" fmla="*/ 684943 w 904875"/>
                  <a:gd name="connsiteY2149" fmla="*/ 278416 h 742950"/>
                  <a:gd name="connsiteX2150" fmla="*/ 685800 w 904875"/>
                  <a:gd name="connsiteY2150" fmla="*/ 279273 h 742950"/>
                  <a:gd name="connsiteX2151" fmla="*/ 686657 w 904875"/>
                  <a:gd name="connsiteY2151" fmla="*/ 280130 h 742950"/>
                  <a:gd name="connsiteX2152" fmla="*/ 687515 w 904875"/>
                  <a:gd name="connsiteY2152" fmla="*/ 280130 h 742950"/>
                  <a:gd name="connsiteX2153" fmla="*/ 689991 w 904875"/>
                  <a:gd name="connsiteY2153" fmla="*/ 280988 h 742950"/>
                  <a:gd name="connsiteX2154" fmla="*/ 690848 w 904875"/>
                  <a:gd name="connsiteY2154" fmla="*/ 281845 h 742950"/>
                  <a:gd name="connsiteX2155" fmla="*/ 690848 w 904875"/>
                  <a:gd name="connsiteY2155" fmla="*/ 282702 h 742950"/>
                  <a:gd name="connsiteX2156" fmla="*/ 690848 w 904875"/>
                  <a:gd name="connsiteY2156" fmla="*/ 283464 h 742950"/>
                  <a:gd name="connsiteX2157" fmla="*/ 691706 w 904875"/>
                  <a:gd name="connsiteY2157" fmla="*/ 284321 h 742950"/>
                  <a:gd name="connsiteX2158" fmla="*/ 692563 w 904875"/>
                  <a:gd name="connsiteY2158" fmla="*/ 285179 h 742950"/>
                  <a:gd name="connsiteX2159" fmla="*/ 693420 w 904875"/>
                  <a:gd name="connsiteY2159" fmla="*/ 285179 h 742950"/>
                  <a:gd name="connsiteX2160" fmla="*/ 695135 w 904875"/>
                  <a:gd name="connsiteY2160" fmla="*/ 286036 h 742950"/>
                  <a:gd name="connsiteX2161" fmla="*/ 696754 w 904875"/>
                  <a:gd name="connsiteY2161" fmla="*/ 286893 h 742950"/>
                  <a:gd name="connsiteX2162" fmla="*/ 696754 w 904875"/>
                  <a:gd name="connsiteY2162" fmla="*/ 286893 h 742950"/>
                  <a:gd name="connsiteX2163" fmla="*/ 696754 w 904875"/>
                  <a:gd name="connsiteY2163" fmla="*/ 287750 h 742950"/>
                  <a:gd name="connsiteX2164" fmla="*/ 697611 w 904875"/>
                  <a:gd name="connsiteY2164" fmla="*/ 287750 h 742950"/>
                  <a:gd name="connsiteX2165" fmla="*/ 698468 w 904875"/>
                  <a:gd name="connsiteY2165" fmla="*/ 287750 h 742950"/>
                  <a:gd name="connsiteX2166" fmla="*/ 699326 w 904875"/>
                  <a:gd name="connsiteY2166" fmla="*/ 287750 h 742950"/>
                  <a:gd name="connsiteX2167" fmla="*/ 701897 w 904875"/>
                  <a:gd name="connsiteY2167" fmla="*/ 287750 h 742950"/>
                  <a:gd name="connsiteX2168" fmla="*/ 703612 w 904875"/>
                  <a:gd name="connsiteY2168" fmla="*/ 286893 h 742950"/>
                  <a:gd name="connsiteX2169" fmla="*/ 704374 w 904875"/>
                  <a:gd name="connsiteY2169" fmla="*/ 286036 h 742950"/>
                  <a:gd name="connsiteX2170" fmla="*/ 705231 w 904875"/>
                  <a:gd name="connsiteY2170" fmla="*/ 283464 h 742950"/>
                  <a:gd name="connsiteX2171" fmla="*/ 706088 w 904875"/>
                  <a:gd name="connsiteY2171" fmla="*/ 283464 h 742950"/>
                  <a:gd name="connsiteX2172" fmla="*/ 706946 w 904875"/>
                  <a:gd name="connsiteY2172" fmla="*/ 282702 h 742950"/>
                  <a:gd name="connsiteX2173" fmla="*/ 711137 w 904875"/>
                  <a:gd name="connsiteY2173" fmla="*/ 280130 h 742950"/>
                  <a:gd name="connsiteX2174" fmla="*/ 717899 w 904875"/>
                  <a:gd name="connsiteY2174" fmla="*/ 279273 h 742950"/>
                  <a:gd name="connsiteX2175" fmla="*/ 719614 w 904875"/>
                  <a:gd name="connsiteY2175" fmla="*/ 279273 h 742950"/>
                  <a:gd name="connsiteX2176" fmla="*/ 720471 w 904875"/>
                  <a:gd name="connsiteY2176" fmla="*/ 279273 h 742950"/>
                  <a:gd name="connsiteX2177" fmla="*/ 723043 w 904875"/>
                  <a:gd name="connsiteY2177" fmla="*/ 280130 h 742950"/>
                  <a:gd name="connsiteX2178" fmla="*/ 723900 w 904875"/>
                  <a:gd name="connsiteY2178" fmla="*/ 280988 h 742950"/>
                  <a:gd name="connsiteX2179" fmla="*/ 724662 w 904875"/>
                  <a:gd name="connsiteY2179" fmla="*/ 281845 h 742950"/>
                  <a:gd name="connsiteX2180" fmla="*/ 725519 w 904875"/>
                  <a:gd name="connsiteY2180" fmla="*/ 284321 h 742950"/>
                  <a:gd name="connsiteX2181" fmla="*/ 726377 w 904875"/>
                  <a:gd name="connsiteY2181" fmla="*/ 285179 h 742950"/>
                  <a:gd name="connsiteX2182" fmla="*/ 727234 w 904875"/>
                  <a:gd name="connsiteY2182" fmla="*/ 285179 h 742950"/>
                  <a:gd name="connsiteX2183" fmla="*/ 728948 w 904875"/>
                  <a:gd name="connsiteY2183" fmla="*/ 286036 h 742950"/>
                  <a:gd name="connsiteX2184" fmla="*/ 738188 w 904875"/>
                  <a:gd name="connsiteY2184" fmla="*/ 286893 h 742950"/>
                  <a:gd name="connsiteX2185" fmla="*/ 739902 w 904875"/>
                  <a:gd name="connsiteY2185" fmla="*/ 287750 h 742950"/>
                  <a:gd name="connsiteX2186" fmla="*/ 739902 w 904875"/>
                  <a:gd name="connsiteY2186" fmla="*/ 288608 h 742950"/>
                  <a:gd name="connsiteX2187" fmla="*/ 741617 w 904875"/>
                  <a:gd name="connsiteY2187" fmla="*/ 290322 h 742950"/>
                  <a:gd name="connsiteX2188" fmla="*/ 742474 w 904875"/>
                  <a:gd name="connsiteY2188" fmla="*/ 291084 h 742950"/>
                  <a:gd name="connsiteX2189" fmla="*/ 743331 w 904875"/>
                  <a:gd name="connsiteY2189" fmla="*/ 291941 h 742950"/>
                  <a:gd name="connsiteX2190" fmla="*/ 744188 w 904875"/>
                  <a:gd name="connsiteY2190" fmla="*/ 291941 h 742950"/>
                  <a:gd name="connsiteX2191" fmla="*/ 745807 w 904875"/>
                  <a:gd name="connsiteY2191" fmla="*/ 291941 h 742950"/>
                  <a:gd name="connsiteX2192" fmla="*/ 754285 w 904875"/>
                  <a:gd name="connsiteY2192" fmla="*/ 291941 h 742950"/>
                  <a:gd name="connsiteX2193" fmla="*/ 755142 w 904875"/>
                  <a:gd name="connsiteY2193" fmla="*/ 291941 h 742950"/>
                  <a:gd name="connsiteX2194" fmla="*/ 755999 w 904875"/>
                  <a:gd name="connsiteY2194" fmla="*/ 291941 h 742950"/>
                  <a:gd name="connsiteX2195" fmla="*/ 758571 w 904875"/>
                  <a:gd name="connsiteY2195" fmla="*/ 291941 h 742950"/>
                  <a:gd name="connsiteX2196" fmla="*/ 759333 w 904875"/>
                  <a:gd name="connsiteY2196" fmla="*/ 292799 h 742950"/>
                  <a:gd name="connsiteX2197" fmla="*/ 760190 w 904875"/>
                  <a:gd name="connsiteY2197" fmla="*/ 292799 h 742950"/>
                  <a:gd name="connsiteX2198" fmla="*/ 760190 w 904875"/>
                  <a:gd name="connsiteY2198" fmla="*/ 293656 h 742950"/>
                  <a:gd name="connsiteX2199" fmla="*/ 761048 w 904875"/>
                  <a:gd name="connsiteY2199" fmla="*/ 294513 h 742950"/>
                  <a:gd name="connsiteX2200" fmla="*/ 761048 w 904875"/>
                  <a:gd name="connsiteY2200" fmla="*/ 294513 h 742950"/>
                  <a:gd name="connsiteX2201" fmla="*/ 762762 w 904875"/>
                  <a:gd name="connsiteY2201" fmla="*/ 295370 h 742950"/>
                  <a:gd name="connsiteX2202" fmla="*/ 762762 w 904875"/>
                  <a:gd name="connsiteY2202" fmla="*/ 295370 h 742950"/>
                  <a:gd name="connsiteX2203" fmla="*/ 763619 w 904875"/>
                  <a:gd name="connsiteY2203" fmla="*/ 295370 h 742950"/>
                  <a:gd name="connsiteX2204" fmla="*/ 764477 w 904875"/>
                  <a:gd name="connsiteY2204" fmla="*/ 295370 h 742950"/>
                  <a:gd name="connsiteX2205" fmla="*/ 765334 w 904875"/>
                  <a:gd name="connsiteY2205" fmla="*/ 293656 h 742950"/>
                  <a:gd name="connsiteX2206" fmla="*/ 766096 w 904875"/>
                  <a:gd name="connsiteY2206" fmla="*/ 293656 h 742950"/>
                  <a:gd name="connsiteX2207" fmla="*/ 766096 w 904875"/>
                  <a:gd name="connsiteY2207" fmla="*/ 292799 h 742950"/>
                  <a:gd name="connsiteX2208" fmla="*/ 766096 w 904875"/>
                  <a:gd name="connsiteY2208" fmla="*/ 291084 h 742950"/>
                  <a:gd name="connsiteX2209" fmla="*/ 766096 w 904875"/>
                  <a:gd name="connsiteY2209" fmla="*/ 290322 h 742950"/>
                  <a:gd name="connsiteX2210" fmla="*/ 766953 w 904875"/>
                  <a:gd name="connsiteY2210" fmla="*/ 289465 h 742950"/>
                  <a:gd name="connsiteX2211" fmla="*/ 767810 w 904875"/>
                  <a:gd name="connsiteY2211" fmla="*/ 289465 h 742950"/>
                  <a:gd name="connsiteX2212" fmla="*/ 769525 w 904875"/>
                  <a:gd name="connsiteY2212" fmla="*/ 288608 h 742950"/>
                  <a:gd name="connsiteX2213" fmla="*/ 777145 w 904875"/>
                  <a:gd name="connsiteY2213" fmla="*/ 286036 h 742950"/>
                  <a:gd name="connsiteX2214" fmla="*/ 778002 w 904875"/>
                  <a:gd name="connsiteY2214" fmla="*/ 285179 h 742950"/>
                  <a:gd name="connsiteX2215" fmla="*/ 778859 w 904875"/>
                  <a:gd name="connsiteY2215" fmla="*/ 285179 h 742950"/>
                  <a:gd name="connsiteX2216" fmla="*/ 780478 w 904875"/>
                  <a:gd name="connsiteY2216" fmla="*/ 284321 h 742950"/>
                  <a:gd name="connsiteX2217" fmla="*/ 787241 w 904875"/>
                  <a:gd name="connsiteY2217" fmla="*/ 285179 h 742950"/>
                  <a:gd name="connsiteX2218" fmla="*/ 788099 w 904875"/>
                  <a:gd name="connsiteY2218" fmla="*/ 286893 h 742950"/>
                  <a:gd name="connsiteX2219" fmla="*/ 788956 w 904875"/>
                  <a:gd name="connsiteY2219" fmla="*/ 287750 h 742950"/>
                  <a:gd name="connsiteX2220" fmla="*/ 791528 w 904875"/>
                  <a:gd name="connsiteY2220" fmla="*/ 290322 h 742950"/>
                  <a:gd name="connsiteX2221" fmla="*/ 792385 w 904875"/>
                  <a:gd name="connsiteY2221" fmla="*/ 291084 h 742950"/>
                  <a:gd name="connsiteX2222" fmla="*/ 793242 w 904875"/>
                  <a:gd name="connsiteY2222" fmla="*/ 293656 h 742950"/>
                  <a:gd name="connsiteX2223" fmla="*/ 794004 w 904875"/>
                  <a:gd name="connsiteY2223" fmla="*/ 294513 h 742950"/>
                  <a:gd name="connsiteX2224" fmla="*/ 794861 w 904875"/>
                  <a:gd name="connsiteY2224" fmla="*/ 295370 h 742950"/>
                  <a:gd name="connsiteX2225" fmla="*/ 794861 w 904875"/>
                  <a:gd name="connsiteY2225" fmla="*/ 295370 h 742950"/>
                  <a:gd name="connsiteX2226" fmla="*/ 795719 w 904875"/>
                  <a:gd name="connsiteY2226" fmla="*/ 296228 h 742950"/>
                  <a:gd name="connsiteX2227" fmla="*/ 797433 w 904875"/>
                  <a:gd name="connsiteY2227" fmla="*/ 296228 h 742950"/>
                  <a:gd name="connsiteX2228" fmla="*/ 800005 w 904875"/>
                  <a:gd name="connsiteY2228" fmla="*/ 297085 h 742950"/>
                  <a:gd name="connsiteX2229" fmla="*/ 800767 w 904875"/>
                  <a:gd name="connsiteY2229" fmla="*/ 297847 h 742950"/>
                  <a:gd name="connsiteX2230" fmla="*/ 800767 w 904875"/>
                  <a:gd name="connsiteY2230" fmla="*/ 297847 h 742950"/>
                  <a:gd name="connsiteX2231" fmla="*/ 801624 w 904875"/>
                  <a:gd name="connsiteY2231" fmla="*/ 297847 h 742950"/>
                  <a:gd name="connsiteX2232" fmla="*/ 801624 w 904875"/>
                  <a:gd name="connsiteY2232" fmla="*/ 298704 h 742950"/>
                  <a:gd name="connsiteX2233" fmla="*/ 803339 w 904875"/>
                  <a:gd name="connsiteY2233" fmla="*/ 300419 h 742950"/>
                  <a:gd name="connsiteX2234" fmla="*/ 804196 w 904875"/>
                  <a:gd name="connsiteY2234" fmla="*/ 301276 h 742950"/>
                  <a:gd name="connsiteX2235" fmla="*/ 804196 w 904875"/>
                  <a:gd name="connsiteY2235" fmla="*/ 302133 h 742950"/>
                  <a:gd name="connsiteX2236" fmla="*/ 805053 w 904875"/>
                  <a:gd name="connsiteY2236" fmla="*/ 302990 h 742950"/>
                  <a:gd name="connsiteX2237" fmla="*/ 805910 w 904875"/>
                  <a:gd name="connsiteY2237" fmla="*/ 304705 h 742950"/>
                  <a:gd name="connsiteX2238" fmla="*/ 805910 w 904875"/>
                  <a:gd name="connsiteY2238" fmla="*/ 306324 h 742950"/>
                  <a:gd name="connsiteX2239" fmla="*/ 805910 w 904875"/>
                  <a:gd name="connsiteY2239" fmla="*/ 308038 h 742950"/>
                  <a:gd name="connsiteX2240" fmla="*/ 805053 w 904875"/>
                  <a:gd name="connsiteY2240" fmla="*/ 312325 h 742950"/>
                  <a:gd name="connsiteX2241" fmla="*/ 805053 w 904875"/>
                  <a:gd name="connsiteY2241" fmla="*/ 313944 h 742950"/>
                  <a:gd name="connsiteX2242" fmla="*/ 805053 w 904875"/>
                  <a:gd name="connsiteY2242" fmla="*/ 315659 h 742950"/>
                  <a:gd name="connsiteX2243" fmla="*/ 805053 w 904875"/>
                  <a:gd name="connsiteY2243" fmla="*/ 318230 h 742950"/>
                  <a:gd name="connsiteX2244" fmla="*/ 804196 w 904875"/>
                  <a:gd name="connsiteY2244" fmla="*/ 319850 h 742950"/>
                  <a:gd name="connsiteX2245" fmla="*/ 804196 w 904875"/>
                  <a:gd name="connsiteY2245" fmla="*/ 320707 h 742950"/>
                  <a:gd name="connsiteX2246" fmla="*/ 803339 w 904875"/>
                  <a:gd name="connsiteY2246" fmla="*/ 321564 h 742950"/>
                  <a:gd name="connsiteX2247" fmla="*/ 802481 w 904875"/>
                  <a:gd name="connsiteY2247" fmla="*/ 322421 h 742950"/>
                  <a:gd name="connsiteX2248" fmla="*/ 801624 w 904875"/>
                  <a:gd name="connsiteY2248" fmla="*/ 323279 h 742950"/>
                  <a:gd name="connsiteX2249" fmla="*/ 801624 w 904875"/>
                  <a:gd name="connsiteY2249" fmla="*/ 324136 h 742950"/>
                  <a:gd name="connsiteX2250" fmla="*/ 801624 w 904875"/>
                  <a:gd name="connsiteY2250" fmla="*/ 324136 h 742950"/>
                  <a:gd name="connsiteX2251" fmla="*/ 801624 w 904875"/>
                  <a:gd name="connsiteY2251" fmla="*/ 325850 h 742950"/>
                  <a:gd name="connsiteX2252" fmla="*/ 801624 w 904875"/>
                  <a:gd name="connsiteY2252" fmla="*/ 327470 h 742950"/>
                  <a:gd name="connsiteX2253" fmla="*/ 801624 w 904875"/>
                  <a:gd name="connsiteY2253" fmla="*/ 330041 h 742950"/>
                  <a:gd name="connsiteX2254" fmla="*/ 802481 w 904875"/>
                  <a:gd name="connsiteY2254" fmla="*/ 331756 h 742950"/>
                  <a:gd name="connsiteX2255" fmla="*/ 803339 w 904875"/>
                  <a:gd name="connsiteY2255" fmla="*/ 334328 h 742950"/>
                  <a:gd name="connsiteX2256" fmla="*/ 800767 w 904875"/>
                  <a:gd name="connsiteY2256" fmla="*/ 335947 h 742950"/>
                  <a:gd name="connsiteX2257" fmla="*/ 797433 w 904875"/>
                  <a:gd name="connsiteY2257" fmla="*/ 338519 h 742950"/>
                  <a:gd name="connsiteX2258" fmla="*/ 795719 w 904875"/>
                  <a:gd name="connsiteY2258" fmla="*/ 341852 h 742950"/>
                  <a:gd name="connsiteX2259" fmla="*/ 794004 w 904875"/>
                  <a:gd name="connsiteY2259" fmla="*/ 345281 h 742950"/>
                  <a:gd name="connsiteX2260" fmla="*/ 794861 w 904875"/>
                  <a:gd name="connsiteY2260" fmla="*/ 348710 h 742950"/>
                  <a:gd name="connsiteX2261" fmla="*/ 796576 w 904875"/>
                  <a:gd name="connsiteY2261" fmla="*/ 349472 h 742950"/>
                  <a:gd name="connsiteX2262" fmla="*/ 802481 w 904875"/>
                  <a:gd name="connsiteY2262" fmla="*/ 347853 h 742950"/>
                  <a:gd name="connsiteX2263" fmla="*/ 803339 w 904875"/>
                  <a:gd name="connsiteY2263" fmla="*/ 350330 h 742950"/>
                  <a:gd name="connsiteX2264" fmla="*/ 804196 w 904875"/>
                  <a:gd name="connsiteY2264" fmla="*/ 357950 h 742950"/>
                  <a:gd name="connsiteX2265" fmla="*/ 805910 w 904875"/>
                  <a:gd name="connsiteY2265" fmla="*/ 362236 h 742950"/>
                  <a:gd name="connsiteX2266" fmla="*/ 805910 w 904875"/>
                  <a:gd name="connsiteY2266" fmla="*/ 368141 h 742950"/>
                  <a:gd name="connsiteX2267" fmla="*/ 805053 w 904875"/>
                  <a:gd name="connsiteY2267" fmla="*/ 369856 h 742950"/>
                  <a:gd name="connsiteX2268" fmla="*/ 804196 w 904875"/>
                  <a:gd name="connsiteY2268" fmla="*/ 371475 h 742950"/>
                  <a:gd name="connsiteX2269" fmla="*/ 800767 w 904875"/>
                  <a:gd name="connsiteY2269" fmla="*/ 374047 h 742950"/>
                  <a:gd name="connsiteX2270" fmla="*/ 800767 w 904875"/>
                  <a:gd name="connsiteY2270" fmla="*/ 374904 h 742950"/>
                  <a:gd name="connsiteX2271" fmla="*/ 805910 w 904875"/>
                  <a:gd name="connsiteY2271" fmla="*/ 378333 h 742950"/>
                  <a:gd name="connsiteX2272" fmla="*/ 810101 w 904875"/>
                  <a:gd name="connsiteY2272" fmla="*/ 379095 h 742950"/>
                  <a:gd name="connsiteX2273" fmla="*/ 814292 w 904875"/>
                  <a:gd name="connsiteY2273" fmla="*/ 383381 h 742950"/>
                  <a:gd name="connsiteX2274" fmla="*/ 816007 w 904875"/>
                  <a:gd name="connsiteY2274" fmla="*/ 385096 h 742950"/>
                  <a:gd name="connsiteX2275" fmla="*/ 816864 w 904875"/>
                  <a:gd name="connsiteY2275" fmla="*/ 385858 h 742950"/>
                  <a:gd name="connsiteX2276" fmla="*/ 818578 w 904875"/>
                  <a:gd name="connsiteY2276" fmla="*/ 389287 h 742950"/>
                  <a:gd name="connsiteX2277" fmla="*/ 819436 w 904875"/>
                  <a:gd name="connsiteY2277" fmla="*/ 389287 h 742950"/>
                  <a:gd name="connsiteX2278" fmla="*/ 827913 w 904875"/>
                  <a:gd name="connsiteY2278" fmla="*/ 390144 h 742950"/>
                  <a:gd name="connsiteX2279" fmla="*/ 836295 w 904875"/>
                  <a:gd name="connsiteY2279" fmla="*/ 389287 h 742950"/>
                  <a:gd name="connsiteX2280" fmla="*/ 837152 w 904875"/>
                  <a:gd name="connsiteY2280" fmla="*/ 389287 h 742950"/>
                  <a:gd name="connsiteX2281" fmla="*/ 839724 w 904875"/>
                  <a:gd name="connsiteY2281" fmla="*/ 387572 h 742950"/>
                  <a:gd name="connsiteX2282" fmla="*/ 838867 w 904875"/>
                  <a:gd name="connsiteY2282" fmla="*/ 385858 h 742950"/>
                  <a:gd name="connsiteX2283" fmla="*/ 838010 w 904875"/>
                  <a:gd name="connsiteY2283" fmla="*/ 384238 h 742950"/>
                  <a:gd name="connsiteX2284" fmla="*/ 838010 w 904875"/>
                  <a:gd name="connsiteY2284" fmla="*/ 382524 h 742950"/>
                  <a:gd name="connsiteX2285" fmla="*/ 838867 w 904875"/>
                  <a:gd name="connsiteY2285" fmla="*/ 381667 h 742950"/>
                  <a:gd name="connsiteX2286" fmla="*/ 839724 w 904875"/>
                  <a:gd name="connsiteY2286" fmla="*/ 379952 h 742950"/>
                  <a:gd name="connsiteX2287" fmla="*/ 846487 w 904875"/>
                  <a:gd name="connsiteY2287" fmla="*/ 376619 h 742950"/>
                  <a:gd name="connsiteX2288" fmla="*/ 848201 w 904875"/>
                  <a:gd name="connsiteY2288" fmla="*/ 374047 h 742950"/>
                  <a:gd name="connsiteX2289" fmla="*/ 847344 w 904875"/>
                  <a:gd name="connsiteY2289" fmla="*/ 371475 h 742950"/>
                  <a:gd name="connsiteX2290" fmla="*/ 840581 w 904875"/>
                  <a:gd name="connsiteY2290" fmla="*/ 363855 h 742950"/>
                  <a:gd name="connsiteX2291" fmla="*/ 839724 w 904875"/>
                  <a:gd name="connsiteY2291" fmla="*/ 360521 h 742950"/>
                  <a:gd name="connsiteX2292" fmla="*/ 839724 w 904875"/>
                  <a:gd name="connsiteY2292" fmla="*/ 357092 h 742950"/>
                  <a:gd name="connsiteX2293" fmla="*/ 841439 w 904875"/>
                  <a:gd name="connsiteY2293" fmla="*/ 352044 h 742950"/>
                  <a:gd name="connsiteX2294" fmla="*/ 847344 w 904875"/>
                  <a:gd name="connsiteY2294" fmla="*/ 345281 h 742950"/>
                  <a:gd name="connsiteX2295" fmla="*/ 849820 w 904875"/>
                  <a:gd name="connsiteY2295" fmla="*/ 341090 h 742950"/>
                  <a:gd name="connsiteX2296" fmla="*/ 850678 w 904875"/>
                  <a:gd name="connsiteY2296" fmla="*/ 338519 h 742950"/>
                  <a:gd name="connsiteX2297" fmla="*/ 850678 w 904875"/>
                  <a:gd name="connsiteY2297" fmla="*/ 336804 h 742950"/>
                  <a:gd name="connsiteX2298" fmla="*/ 853249 w 904875"/>
                  <a:gd name="connsiteY2298" fmla="*/ 327470 h 742950"/>
                  <a:gd name="connsiteX2299" fmla="*/ 854107 w 904875"/>
                  <a:gd name="connsiteY2299" fmla="*/ 325850 h 742950"/>
                  <a:gd name="connsiteX2300" fmla="*/ 854964 w 904875"/>
                  <a:gd name="connsiteY2300" fmla="*/ 324993 h 742950"/>
                  <a:gd name="connsiteX2301" fmla="*/ 857440 w 904875"/>
                  <a:gd name="connsiteY2301" fmla="*/ 324136 h 742950"/>
                  <a:gd name="connsiteX2302" fmla="*/ 859155 w 904875"/>
                  <a:gd name="connsiteY2302" fmla="*/ 323279 h 742950"/>
                  <a:gd name="connsiteX2303" fmla="*/ 860012 w 904875"/>
                  <a:gd name="connsiteY2303" fmla="*/ 321564 h 742950"/>
                  <a:gd name="connsiteX2304" fmla="*/ 861727 w 904875"/>
                  <a:gd name="connsiteY2304" fmla="*/ 317373 h 742950"/>
                  <a:gd name="connsiteX2305" fmla="*/ 862584 w 904875"/>
                  <a:gd name="connsiteY2305" fmla="*/ 316516 h 742950"/>
                  <a:gd name="connsiteX2306" fmla="*/ 863346 w 904875"/>
                  <a:gd name="connsiteY2306" fmla="*/ 315659 h 742950"/>
                  <a:gd name="connsiteX2307" fmla="*/ 865918 w 904875"/>
                  <a:gd name="connsiteY2307" fmla="*/ 314801 h 742950"/>
                  <a:gd name="connsiteX2308" fmla="*/ 866775 w 904875"/>
                  <a:gd name="connsiteY2308" fmla="*/ 313944 h 742950"/>
                  <a:gd name="connsiteX2309" fmla="*/ 867632 w 904875"/>
                  <a:gd name="connsiteY2309" fmla="*/ 313087 h 742950"/>
                  <a:gd name="connsiteX2310" fmla="*/ 869347 w 904875"/>
                  <a:gd name="connsiteY2310" fmla="*/ 310610 h 742950"/>
                  <a:gd name="connsiteX2311" fmla="*/ 870966 w 904875"/>
                  <a:gd name="connsiteY2311" fmla="*/ 309753 h 742950"/>
                  <a:gd name="connsiteX2312" fmla="*/ 872681 w 904875"/>
                  <a:gd name="connsiteY2312" fmla="*/ 308896 h 742950"/>
                  <a:gd name="connsiteX2313" fmla="*/ 874395 w 904875"/>
                  <a:gd name="connsiteY2313" fmla="*/ 309753 h 742950"/>
                  <a:gd name="connsiteX2314" fmla="*/ 876110 w 904875"/>
                  <a:gd name="connsiteY2314" fmla="*/ 314801 h 742950"/>
                  <a:gd name="connsiteX2315" fmla="*/ 877729 w 904875"/>
                  <a:gd name="connsiteY2315" fmla="*/ 317373 h 742950"/>
                  <a:gd name="connsiteX2316" fmla="*/ 879443 w 904875"/>
                  <a:gd name="connsiteY2316" fmla="*/ 317373 h 742950"/>
                  <a:gd name="connsiteX2317" fmla="*/ 882015 w 904875"/>
                  <a:gd name="connsiteY2317" fmla="*/ 317373 h 742950"/>
                  <a:gd name="connsiteX2318" fmla="*/ 884492 w 904875"/>
                  <a:gd name="connsiteY2318" fmla="*/ 317373 h 742950"/>
                  <a:gd name="connsiteX2319" fmla="*/ 885349 w 904875"/>
                  <a:gd name="connsiteY2319" fmla="*/ 318230 h 742950"/>
                  <a:gd name="connsiteX2320" fmla="*/ 887920 w 904875"/>
                  <a:gd name="connsiteY2320" fmla="*/ 322421 h 742950"/>
                  <a:gd name="connsiteX2321" fmla="*/ 888778 w 904875"/>
                  <a:gd name="connsiteY2321" fmla="*/ 324136 h 742950"/>
                  <a:gd name="connsiteX2322" fmla="*/ 888778 w 904875"/>
                  <a:gd name="connsiteY2322" fmla="*/ 324136 h 742950"/>
                  <a:gd name="connsiteX2323" fmla="*/ 889635 w 904875"/>
                  <a:gd name="connsiteY2323" fmla="*/ 324136 h 742950"/>
                  <a:gd name="connsiteX2324" fmla="*/ 891254 w 904875"/>
                  <a:gd name="connsiteY2324" fmla="*/ 322421 h 742950"/>
                  <a:gd name="connsiteX2325" fmla="*/ 892111 w 904875"/>
                  <a:gd name="connsiteY2325" fmla="*/ 320707 h 742950"/>
                  <a:gd name="connsiteX2326" fmla="*/ 893826 w 904875"/>
                  <a:gd name="connsiteY2326" fmla="*/ 319850 h 742950"/>
                  <a:gd name="connsiteX2327" fmla="*/ 896398 w 904875"/>
                  <a:gd name="connsiteY2327" fmla="*/ 318230 h 742950"/>
                  <a:gd name="connsiteX2328" fmla="*/ 900589 w 904875"/>
                  <a:gd name="connsiteY2328" fmla="*/ 316516 h 742950"/>
                  <a:gd name="connsiteX2329" fmla="*/ 901446 w 904875"/>
                  <a:gd name="connsiteY2329" fmla="*/ 315659 h 742950"/>
                  <a:gd name="connsiteX2330" fmla="*/ 901446 w 904875"/>
                  <a:gd name="connsiteY2330" fmla="*/ 313944 h 742950"/>
                  <a:gd name="connsiteX2331" fmla="*/ 900589 w 904875"/>
                  <a:gd name="connsiteY2331" fmla="*/ 312325 h 742950"/>
                  <a:gd name="connsiteX2332" fmla="*/ 898017 w 904875"/>
                  <a:gd name="connsiteY2332" fmla="*/ 309753 h 742950"/>
                  <a:gd name="connsiteX2333" fmla="*/ 898017 w 904875"/>
                  <a:gd name="connsiteY2333" fmla="*/ 308896 h 742950"/>
                  <a:gd name="connsiteX2334" fmla="*/ 898017 w 904875"/>
                  <a:gd name="connsiteY2334" fmla="*/ 307181 h 742950"/>
                  <a:gd name="connsiteX2335" fmla="*/ 898874 w 904875"/>
                  <a:gd name="connsiteY2335" fmla="*/ 307181 h 742950"/>
                  <a:gd name="connsiteX2336" fmla="*/ 900589 w 904875"/>
                  <a:gd name="connsiteY2336" fmla="*/ 306324 h 742950"/>
                  <a:gd name="connsiteX2337" fmla="*/ 904018 w 904875"/>
                  <a:gd name="connsiteY2337" fmla="*/ 306324 h 742950"/>
                  <a:gd name="connsiteX2338" fmla="*/ 905637 w 904875"/>
                  <a:gd name="connsiteY2338" fmla="*/ 305467 h 742950"/>
                  <a:gd name="connsiteX2339" fmla="*/ 906494 w 904875"/>
                  <a:gd name="connsiteY2339" fmla="*/ 304705 h 742950"/>
                  <a:gd name="connsiteX2340" fmla="*/ 907352 w 904875"/>
                  <a:gd name="connsiteY2340" fmla="*/ 303847 h 742950"/>
                  <a:gd name="connsiteX2341" fmla="*/ 908209 w 904875"/>
                  <a:gd name="connsiteY2341" fmla="*/ 302133 h 742950"/>
                  <a:gd name="connsiteX2342" fmla="*/ 908209 w 904875"/>
                  <a:gd name="connsiteY2342" fmla="*/ 300419 h 742950"/>
                  <a:gd name="connsiteX2343" fmla="*/ 908209 w 904875"/>
                  <a:gd name="connsiteY2343" fmla="*/ 297847 h 742950"/>
                  <a:gd name="connsiteX2344" fmla="*/ 908209 w 904875"/>
                  <a:gd name="connsiteY2344" fmla="*/ 297847 h 742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</a:cxnLst>
                <a:rect l="l" t="t" r="r" b="b"/>
                <a:pathLst>
                  <a:path w="904875" h="742950">
                    <a:moveTo>
                      <a:pt x="908209" y="297847"/>
                    </a:moveTo>
                    <a:lnTo>
                      <a:pt x="906494" y="295370"/>
                    </a:lnTo>
                    <a:lnTo>
                      <a:pt x="904018" y="292799"/>
                    </a:lnTo>
                    <a:lnTo>
                      <a:pt x="902303" y="291084"/>
                    </a:lnTo>
                    <a:lnTo>
                      <a:pt x="901446" y="291084"/>
                    </a:lnTo>
                    <a:lnTo>
                      <a:pt x="900589" y="290322"/>
                    </a:lnTo>
                    <a:lnTo>
                      <a:pt x="898874" y="290322"/>
                    </a:lnTo>
                    <a:lnTo>
                      <a:pt x="898017" y="290322"/>
                    </a:lnTo>
                    <a:lnTo>
                      <a:pt x="895540" y="287750"/>
                    </a:lnTo>
                    <a:lnTo>
                      <a:pt x="893826" y="286893"/>
                    </a:lnTo>
                    <a:lnTo>
                      <a:pt x="887920" y="285179"/>
                    </a:lnTo>
                    <a:lnTo>
                      <a:pt x="887063" y="285179"/>
                    </a:lnTo>
                    <a:lnTo>
                      <a:pt x="885349" y="283464"/>
                    </a:lnTo>
                    <a:lnTo>
                      <a:pt x="885349" y="281845"/>
                    </a:lnTo>
                    <a:lnTo>
                      <a:pt x="883634" y="275844"/>
                    </a:lnTo>
                    <a:lnTo>
                      <a:pt x="882872" y="274225"/>
                    </a:lnTo>
                    <a:lnTo>
                      <a:pt x="882015" y="273367"/>
                    </a:lnTo>
                    <a:lnTo>
                      <a:pt x="881158" y="272510"/>
                    </a:lnTo>
                    <a:lnTo>
                      <a:pt x="880301" y="272510"/>
                    </a:lnTo>
                    <a:lnTo>
                      <a:pt x="876110" y="271653"/>
                    </a:lnTo>
                    <a:lnTo>
                      <a:pt x="874395" y="270796"/>
                    </a:lnTo>
                    <a:lnTo>
                      <a:pt x="872681" y="269938"/>
                    </a:lnTo>
                    <a:lnTo>
                      <a:pt x="871823" y="268319"/>
                    </a:lnTo>
                    <a:lnTo>
                      <a:pt x="870966" y="266605"/>
                    </a:lnTo>
                    <a:lnTo>
                      <a:pt x="870109" y="262319"/>
                    </a:lnTo>
                    <a:lnTo>
                      <a:pt x="869347" y="261461"/>
                    </a:lnTo>
                    <a:lnTo>
                      <a:pt x="868490" y="259842"/>
                    </a:lnTo>
                    <a:lnTo>
                      <a:pt x="867632" y="259842"/>
                    </a:lnTo>
                    <a:lnTo>
                      <a:pt x="866775" y="259842"/>
                    </a:lnTo>
                    <a:lnTo>
                      <a:pt x="865918" y="259842"/>
                    </a:lnTo>
                    <a:lnTo>
                      <a:pt x="865061" y="259842"/>
                    </a:lnTo>
                    <a:lnTo>
                      <a:pt x="864203" y="260699"/>
                    </a:lnTo>
                    <a:lnTo>
                      <a:pt x="863346" y="261461"/>
                    </a:lnTo>
                    <a:lnTo>
                      <a:pt x="863346" y="262319"/>
                    </a:lnTo>
                    <a:lnTo>
                      <a:pt x="863346" y="262319"/>
                    </a:lnTo>
                    <a:lnTo>
                      <a:pt x="863346" y="263176"/>
                    </a:lnTo>
                    <a:lnTo>
                      <a:pt x="863346" y="264033"/>
                    </a:lnTo>
                    <a:lnTo>
                      <a:pt x="863346" y="264033"/>
                    </a:lnTo>
                    <a:lnTo>
                      <a:pt x="863346" y="264890"/>
                    </a:lnTo>
                    <a:lnTo>
                      <a:pt x="863346" y="264890"/>
                    </a:lnTo>
                    <a:lnTo>
                      <a:pt x="862584" y="264890"/>
                    </a:lnTo>
                    <a:lnTo>
                      <a:pt x="861727" y="264890"/>
                    </a:lnTo>
                    <a:lnTo>
                      <a:pt x="860012" y="264890"/>
                    </a:lnTo>
                    <a:lnTo>
                      <a:pt x="857440" y="264033"/>
                    </a:lnTo>
                    <a:lnTo>
                      <a:pt x="855726" y="264033"/>
                    </a:lnTo>
                    <a:lnTo>
                      <a:pt x="854964" y="263176"/>
                    </a:lnTo>
                    <a:lnTo>
                      <a:pt x="854964" y="262319"/>
                    </a:lnTo>
                    <a:lnTo>
                      <a:pt x="854964" y="261461"/>
                    </a:lnTo>
                    <a:lnTo>
                      <a:pt x="855726" y="260699"/>
                    </a:lnTo>
                    <a:lnTo>
                      <a:pt x="856583" y="259842"/>
                    </a:lnTo>
                    <a:lnTo>
                      <a:pt x="859155" y="259842"/>
                    </a:lnTo>
                    <a:lnTo>
                      <a:pt x="860870" y="258985"/>
                    </a:lnTo>
                    <a:lnTo>
                      <a:pt x="861727" y="258128"/>
                    </a:lnTo>
                    <a:lnTo>
                      <a:pt x="861727" y="257270"/>
                    </a:lnTo>
                    <a:lnTo>
                      <a:pt x="862584" y="257270"/>
                    </a:lnTo>
                    <a:lnTo>
                      <a:pt x="862584" y="256413"/>
                    </a:lnTo>
                    <a:lnTo>
                      <a:pt x="863346" y="254699"/>
                    </a:lnTo>
                    <a:lnTo>
                      <a:pt x="863346" y="253841"/>
                    </a:lnTo>
                    <a:lnTo>
                      <a:pt x="862584" y="253079"/>
                    </a:lnTo>
                    <a:lnTo>
                      <a:pt x="861727" y="253079"/>
                    </a:lnTo>
                    <a:lnTo>
                      <a:pt x="858298" y="252222"/>
                    </a:lnTo>
                    <a:lnTo>
                      <a:pt x="857440" y="252222"/>
                    </a:lnTo>
                    <a:lnTo>
                      <a:pt x="857440" y="251365"/>
                    </a:lnTo>
                    <a:lnTo>
                      <a:pt x="856583" y="251365"/>
                    </a:lnTo>
                    <a:lnTo>
                      <a:pt x="856583" y="250508"/>
                    </a:lnTo>
                    <a:lnTo>
                      <a:pt x="856583" y="249650"/>
                    </a:lnTo>
                    <a:lnTo>
                      <a:pt x="857440" y="247936"/>
                    </a:lnTo>
                    <a:lnTo>
                      <a:pt x="858298" y="246317"/>
                    </a:lnTo>
                    <a:lnTo>
                      <a:pt x="859155" y="245459"/>
                    </a:lnTo>
                    <a:lnTo>
                      <a:pt x="860012" y="244602"/>
                    </a:lnTo>
                    <a:lnTo>
                      <a:pt x="860870" y="245459"/>
                    </a:lnTo>
                    <a:lnTo>
                      <a:pt x="864203" y="247079"/>
                    </a:lnTo>
                    <a:lnTo>
                      <a:pt x="865918" y="247079"/>
                    </a:lnTo>
                    <a:lnTo>
                      <a:pt x="866775" y="247936"/>
                    </a:lnTo>
                    <a:lnTo>
                      <a:pt x="867632" y="247936"/>
                    </a:lnTo>
                    <a:lnTo>
                      <a:pt x="868490" y="247079"/>
                    </a:lnTo>
                    <a:lnTo>
                      <a:pt x="868490" y="246317"/>
                    </a:lnTo>
                    <a:lnTo>
                      <a:pt x="868490" y="244602"/>
                    </a:lnTo>
                    <a:lnTo>
                      <a:pt x="869347" y="237839"/>
                    </a:lnTo>
                    <a:lnTo>
                      <a:pt x="870109" y="235267"/>
                    </a:lnTo>
                    <a:lnTo>
                      <a:pt x="870966" y="234410"/>
                    </a:lnTo>
                    <a:lnTo>
                      <a:pt x="870966" y="233553"/>
                    </a:lnTo>
                    <a:lnTo>
                      <a:pt x="870966" y="232696"/>
                    </a:lnTo>
                    <a:lnTo>
                      <a:pt x="870966" y="229362"/>
                    </a:lnTo>
                    <a:lnTo>
                      <a:pt x="867632" y="222599"/>
                    </a:lnTo>
                    <a:lnTo>
                      <a:pt x="866775" y="221742"/>
                    </a:lnTo>
                    <a:lnTo>
                      <a:pt x="865918" y="221742"/>
                    </a:lnTo>
                    <a:lnTo>
                      <a:pt x="865061" y="221742"/>
                    </a:lnTo>
                    <a:lnTo>
                      <a:pt x="856583" y="220885"/>
                    </a:lnTo>
                    <a:lnTo>
                      <a:pt x="855726" y="220885"/>
                    </a:lnTo>
                    <a:lnTo>
                      <a:pt x="854964" y="220028"/>
                    </a:lnTo>
                    <a:lnTo>
                      <a:pt x="854964" y="219170"/>
                    </a:lnTo>
                    <a:lnTo>
                      <a:pt x="856583" y="214979"/>
                    </a:lnTo>
                    <a:lnTo>
                      <a:pt x="856583" y="213265"/>
                    </a:lnTo>
                    <a:lnTo>
                      <a:pt x="855726" y="212408"/>
                    </a:lnTo>
                    <a:lnTo>
                      <a:pt x="856583" y="210693"/>
                    </a:lnTo>
                    <a:lnTo>
                      <a:pt x="857440" y="209074"/>
                    </a:lnTo>
                    <a:lnTo>
                      <a:pt x="858298" y="208217"/>
                    </a:lnTo>
                    <a:lnTo>
                      <a:pt x="860012" y="208217"/>
                    </a:lnTo>
                    <a:lnTo>
                      <a:pt x="865918" y="207359"/>
                    </a:lnTo>
                    <a:lnTo>
                      <a:pt x="866775" y="207359"/>
                    </a:lnTo>
                    <a:lnTo>
                      <a:pt x="868490" y="206502"/>
                    </a:lnTo>
                    <a:lnTo>
                      <a:pt x="870109" y="205645"/>
                    </a:lnTo>
                    <a:lnTo>
                      <a:pt x="872681" y="202311"/>
                    </a:lnTo>
                    <a:lnTo>
                      <a:pt x="874395" y="201454"/>
                    </a:lnTo>
                    <a:lnTo>
                      <a:pt x="875252" y="201454"/>
                    </a:lnTo>
                    <a:lnTo>
                      <a:pt x="877729" y="200596"/>
                    </a:lnTo>
                    <a:lnTo>
                      <a:pt x="877729" y="199739"/>
                    </a:lnTo>
                    <a:lnTo>
                      <a:pt x="878586" y="198882"/>
                    </a:lnTo>
                    <a:lnTo>
                      <a:pt x="878586" y="198025"/>
                    </a:lnTo>
                    <a:lnTo>
                      <a:pt x="877729" y="195453"/>
                    </a:lnTo>
                    <a:lnTo>
                      <a:pt x="877729" y="194691"/>
                    </a:lnTo>
                    <a:lnTo>
                      <a:pt x="876872" y="192976"/>
                    </a:lnTo>
                    <a:lnTo>
                      <a:pt x="876872" y="191262"/>
                    </a:lnTo>
                    <a:lnTo>
                      <a:pt x="876872" y="183642"/>
                    </a:lnTo>
                    <a:lnTo>
                      <a:pt x="877729" y="182785"/>
                    </a:lnTo>
                    <a:lnTo>
                      <a:pt x="878586" y="181070"/>
                    </a:lnTo>
                    <a:lnTo>
                      <a:pt x="878586" y="179451"/>
                    </a:lnTo>
                    <a:lnTo>
                      <a:pt x="879443" y="178594"/>
                    </a:lnTo>
                    <a:lnTo>
                      <a:pt x="878586" y="176879"/>
                    </a:lnTo>
                    <a:lnTo>
                      <a:pt x="878586" y="176022"/>
                    </a:lnTo>
                    <a:lnTo>
                      <a:pt x="877729" y="175165"/>
                    </a:lnTo>
                    <a:lnTo>
                      <a:pt x="877729" y="174308"/>
                    </a:lnTo>
                    <a:lnTo>
                      <a:pt x="877729" y="169259"/>
                    </a:lnTo>
                    <a:lnTo>
                      <a:pt x="878586" y="169259"/>
                    </a:lnTo>
                    <a:lnTo>
                      <a:pt x="878586" y="168402"/>
                    </a:lnTo>
                    <a:lnTo>
                      <a:pt x="877729" y="167545"/>
                    </a:lnTo>
                    <a:lnTo>
                      <a:pt x="876872" y="167545"/>
                    </a:lnTo>
                    <a:lnTo>
                      <a:pt x="876872" y="166688"/>
                    </a:lnTo>
                    <a:lnTo>
                      <a:pt x="876110" y="166688"/>
                    </a:lnTo>
                    <a:lnTo>
                      <a:pt x="874395" y="165925"/>
                    </a:lnTo>
                    <a:lnTo>
                      <a:pt x="873538" y="165925"/>
                    </a:lnTo>
                    <a:lnTo>
                      <a:pt x="872681" y="165925"/>
                    </a:lnTo>
                    <a:lnTo>
                      <a:pt x="871823" y="165925"/>
                    </a:lnTo>
                    <a:lnTo>
                      <a:pt x="870109" y="167545"/>
                    </a:lnTo>
                    <a:lnTo>
                      <a:pt x="868490" y="168402"/>
                    </a:lnTo>
                    <a:lnTo>
                      <a:pt x="867632" y="169259"/>
                    </a:lnTo>
                    <a:lnTo>
                      <a:pt x="865918" y="169259"/>
                    </a:lnTo>
                    <a:lnTo>
                      <a:pt x="865061" y="169259"/>
                    </a:lnTo>
                    <a:lnTo>
                      <a:pt x="865061" y="168402"/>
                    </a:lnTo>
                    <a:lnTo>
                      <a:pt x="864203" y="168402"/>
                    </a:lnTo>
                    <a:lnTo>
                      <a:pt x="864203" y="167545"/>
                    </a:lnTo>
                    <a:lnTo>
                      <a:pt x="864203" y="166688"/>
                    </a:lnTo>
                    <a:lnTo>
                      <a:pt x="864203" y="165925"/>
                    </a:lnTo>
                    <a:lnTo>
                      <a:pt x="865061" y="164211"/>
                    </a:lnTo>
                    <a:lnTo>
                      <a:pt x="865918" y="162496"/>
                    </a:lnTo>
                    <a:lnTo>
                      <a:pt x="866775" y="162496"/>
                    </a:lnTo>
                    <a:lnTo>
                      <a:pt x="870966" y="159925"/>
                    </a:lnTo>
                    <a:lnTo>
                      <a:pt x="871823" y="159067"/>
                    </a:lnTo>
                    <a:lnTo>
                      <a:pt x="872681" y="158305"/>
                    </a:lnTo>
                    <a:lnTo>
                      <a:pt x="872681" y="156591"/>
                    </a:lnTo>
                    <a:lnTo>
                      <a:pt x="870966" y="146399"/>
                    </a:lnTo>
                    <a:lnTo>
                      <a:pt x="870966" y="135446"/>
                    </a:lnTo>
                    <a:lnTo>
                      <a:pt x="870966" y="132874"/>
                    </a:lnTo>
                    <a:lnTo>
                      <a:pt x="870966" y="132017"/>
                    </a:lnTo>
                    <a:lnTo>
                      <a:pt x="870109" y="130302"/>
                    </a:lnTo>
                    <a:lnTo>
                      <a:pt x="870109" y="129445"/>
                    </a:lnTo>
                    <a:lnTo>
                      <a:pt x="869347" y="128683"/>
                    </a:lnTo>
                    <a:lnTo>
                      <a:pt x="868490" y="128683"/>
                    </a:lnTo>
                    <a:lnTo>
                      <a:pt x="867632" y="127825"/>
                    </a:lnTo>
                    <a:lnTo>
                      <a:pt x="866775" y="128683"/>
                    </a:lnTo>
                    <a:lnTo>
                      <a:pt x="865061" y="128683"/>
                    </a:lnTo>
                    <a:lnTo>
                      <a:pt x="864203" y="129445"/>
                    </a:lnTo>
                    <a:lnTo>
                      <a:pt x="863346" y="129445"/>
                    </a:lnTo>
                    <a:lnTo>
                      <a:pt x="862584" y="128683"/>
                    </a:lnTo>
                    <a:lnTo>
                      <a:pt x="861727" y="128683"/>
                    </a:lnTo>
                    <a:lnTo>
                      <a:pt x="860870" y="127825"/>
                    </a:lnTo>
                    <a:lnTo>
                      <a:pt x="860012" y="126968"/>
                    </a:lnTo>
                    <a:lnTo>
                      <a:pt x="859155" y="126111"/>
                    </a:lnTo>
                    <a:lnTo>
                      <a:pt x="858298" y="123539"/>
                    </a:lnTo>
                    <a:lnTo>
                      <a:pt x="857440" y="121063"/>
                    </a:lnTo>
                    <a:lnTo>
                      <a:pt x="857440" y="119348"/>
                    </a:lnTo>
                    <a:lnTo>
                      <a:pt x="857440" y="117634"/>
                    </a:lnTo>
                    <a:lnTo>
                      <a:pt x="859155" y="113443"/>
                    </a:lnTo>
                    <a:lnTo>
                      <a:pt x="860012" y="105823"/>
                    </a:lnTo>
                    <a:lnTo>
                      <a:pt x="860012" y="104966"/>
                    </a:lnTo>
                    <a:lnTo>
                      <a:pt x="860870" y="103251"/>
                    </a:lnTo>
                    <a:lnTo>
                      <a:pt x="861727" y="102394"/>
                    </a:lnTo>
                    <a:lnTo>
                      <a:pt x="863346" y="101537"/>
                    </a:lnTo>
                    <a:lnTo>
                      <a:pt x="870109" y="96488"/>
                    </a:lnTo>
                    <a:lnTo>
                      <a:pt x="878586" y="92297"/>
                    </a:lnTo>
                    <a:lnTo>
                      <a:pt x="880301" y="91440"/>
                    </a:lnTo>
                    <a:lnTo>
                      <a:pt x="882872" y="88011"/>
                    </a:lnTo>
                    <a:lnTo>
                      <a:pt x="884492" y="85439"/>
                    </a:lnTo>
                    <a:lnTo>
                      <a:pt x="884492" y="79534"/>
                    </a:lnTo>
                    <a:lnTo>
                      <a:pt x="882872" y="80391"/>
                    </a:lnTo>
                    <a:lnTo>
                      <a:pt x="880301" y="82105"/>
                    </a:lnTo>
                    <a:lnTo>
                      <a:pt x="880301" y="82105"/>
                    </a:lnTo>
                    <a:lnTo>
                      <a:pt x="879443" y="82105"/>
                    </a:lnTo>
                    <a:lnTo>
                      <a:pt x="878586" y="82105"/>
                    </a:lnTo>
                    <a:lnTo>
                      <a:pt x="876872" y="82105"/>
                    </a:lnTo>
                    <a:lnTo>
                      <a:pt x="865061" y="74486"/>
                    </a:lnTo>
                    <a:lnTo>
                      <a:pt x="863346" y="73628"/>
                    </a:lnTo>
                    <a:lnTo>
                      <a:pt x="861727" y="73628"/>
                    </a:lnTo>
                    <a:lnTo>
                      <a:pt x="860870" y="73628"/>
                    </a:lnTo>
                    <a:lnTo>
                      <a:pt x="860012" y="73628"/>
                    </a:lnTo>
                    <a:lnTo>
                      <a:pt x="856583" y="74486"/>
                    </a:lnTo>
                    <a:lnTo>
                      <a:pt x="855726" y="74486"/>
                    </a:lnTo>
                    <a:lnTo>
                      <a:pt x="854964" y="74486"/>
                    </a:lnTo>
                    <a:lnTo>
                      <a:pt x="854107" y="74486"/>
                    </a:lnTo>
                    <a:lnTo>
                      <a:pt x="853249" y="73628"/>
                    </a:lnTo>
                    <a:lnTo>
                      <a:pt x="853249" y="72771"/>
                    </a:lnTo>
                    <a:lnTo>
                      <a:pt x="853249" y="71914"/>
                    </a:lnTo>
                    <a:lnTo>
                      <a:pt x="854964" y="69437"/>
                    </a:lnTo>
                    <a:lnTo>
                      <a:pt x="855726" y="69437"/>
                    </a:lnTo>
                    <a:lnTo>
                      <a:pt x="855726" y="68580"/>
                    </a:lnTo>
                    <a:lnTo>
                      <a:pt x="855726" y="68580"/>
                    </a:lnTo>
                    <a:lnTo>
                      <a:pt x="854964" y="66866"/>
                    </a:lnTo>
                    <a:lnTo>
                      <a:pt x="854964" y="66008"/>
                    </a:lnTo>
                    <a:lnTo>
                      <a:pt x="854107" y="64294"/>
                    </a:lnTo>
                    <a:lnTo>
                      <a:pt x="852392" y="62675"/>
                    </a:lnTo>
                    <a:lnTo>
                      <a:pt x="846487" y="59246"/>
                    </a:lnTo>
                    <a:lnTo>
                      <a:pt x="845630" y="57531"/>
                    </a:lnTo>
                    <a:lnTo>
                      <a:pt x="844772" y="55912"/>
                    </a:lnTo>
                    <a:lnTo>
                      <a:pt x="844772" y="55054"/>
                    </a:lnTo>
                    <a:lnTo>
                      <a:pt x="844772" y="54197"/>
                    </a:lnTo>
                    <a:lnTo>
                      <a:pt x="844772" y="53340"/>
                    </a:lnTo>
                    <a:lnTo>
                      <a:pt x="843915" y="52483"/>
                    </a:lnTo>
                    <a:lnTo>
                      <a:pt x="839724" y="51625"/>
                    </a:lnTo>
                    <a:lnTo>
                      <a:pt x="837152" y="50768"/>
                    </a:lnTo>
                    <a:lnTo>
                      <a:pt x="832104" y="47434"/>
                    </a:lnTo>
                    <a:lnTo>
                      <a:pt x="830390" y="45720"/>
                    </a:lnTo>
                    <a:lnTo>
                      <a:pt x="829532" y="46577"/>
                    </a:lnTo>
                    <a:lnTo>
                      <a:pt x="828675" y="47434"/>
                    </a:lnTo>
                    <a:lnTo>
                      <a:pt x="827913" y="47434"/>
                    </a:lnTo>
                    <a:lnTo>
                      <a:pt x="821912" y="49911"/>
                    </a:lnTo>
                    <a:lnTo>
                      <a:pt x="819436" y="50768"/>
                    </a:lnTo>
                    <a:lnTo>
                      <a:pt x="818578" y="53340"/>
                    </a:lnTo>
                    <a:lnTo>
                      <a:pt x="810101" y="55912"/>
                    </a:lnTo>
                    <a:lnTo>
                      <a:pt x="808387" y="55912"/>
                    </a:lnTo>
                    <a:lnTo>
                      <a:pt x="807530" y="55912"/>
                    </a:lnTo>
                    <a:lnTo>
                      <a:pt x="807530" y="55912"/>
                    </a:lnTo>
                    <a:lnTo>
                      <a:pt x="807530" y="55054"/>
                    </a:lnTo>
                    <a:lnTo>
                      <a:pt x="807530" y="55054"/>
                    </a:lnTo>
                    <a:lnTo>
                      <a:pt x="806768" y="55054"/>
                    </a:lnTo>
                    <a:lnTo>
                      <a:pt x="805910" y="54197"/>
                    </a:lnTo>
                    <a:lnTo>
                      <a:pt x="803339" y="55054"/>
                    </a:lnTo>
                    <a:lnTo>
                      <a:pt x="802481" y="55912"/>
                    </a:lnTo>
                    <a:lnTo>
                      <a:pt x="800767" y="56674"/>
                    </a:lnTo>
                    <a:lnTo>
                      <a:pt x="800005" y="57531"/>
                    </a:lnTo>
                    <a:lnTo>
                      <a:pt x="798290" y="58388"/>
                    </a:lnTo>
                    <a:lnTo>
                      <a:pt x="796576" y="58388"/>
                    </a:lnTo>
                    <a:lnTo>
                      <a:pt x="794004" y="58388"/>
                    </a:lnTo>
                    <a:lnTo>
                      <a:pt x="793242" y="58388"/>
                    </a:lnTo>
                    <a:lnTo>
                      <a:pt x="792385" y="58388"/>
                    </a:lnTo>
                    <a:lnTo>
                      <a:pt x="791528" y="56674"/>
                    </a:lnTo>
                    <a:lnTo>
                      <a:pt x="790670" y="55054"/>
                    </a:lnTo>
                    <a:lnTo>
                      <a:pt x="789813" y="54197"/>
                    </a:lnTo>
                    <a:lnTo>
                      <a:pt x="788956" y="52483"/>
                    </a:lnTo>
                    <a:lnTo>
                      <a:pt x="787241" y="51625"/>
                    </a:lnTo>
                    <a:lnTo>
                      <a:pt x="785622" y="50768"/>
                    </a:lnTo>
                    <a:lnTo>
                      <a:pt x="783050" y="50768"/>
                    </a:lnTo>
                    <a:lnTo>
                      <a:pt x="777145" y="52483"/>
                    </a:lnTo>
                    <a:lnTo>
                      <a:pt x="773716" y="51625"/>
                    </a:lnTo>
                    <a:lnTo>
                      <a:pt x="772097" y="51625"/>
                    </a:lnTo>
                    <a:lnTo>
                      <a:pt x="771239" y="52483"/>
                    </a:lnTo>
                    <a:lnTo>
                      <a:pt x="769525" y="53340"/>
                    </a:lnTo>
                    <a:lnTo>
                      <a:pt x="766953" y="55054"/>
                    </a:lnTo>
                    <a:lnTo>
                      <a:pt x="765334" y="56674"/>
                    </a:lnTo>
                    <a:lnTo>
                      <a:pt x="762762" y="57531"/>
                    </a:lnTo>
                    <a:lnTo>
                      <a:pt x="761905" y="57531"/>
                    </a:lnTo>
                    <a:lnTo>
                      <a:pt x="761048" y="56674"/>
                    </a:lnTo>
                    <a:lnTo>
                      <a:pt x="760190" y="55912"/>
                    </a:lnTo>
                    <a:lnTo>
                      <a:pt x="760190" y="53340"/>
                    </a:lnTo>
                    <a:lnTo>
                      <a:pt x="759333" y="52483"/>
                    </a:lnTo>
                    <a:lnTo>
                      <a:pt x="759333" y="51625"/>
                    </a:lnTo>
                    <a:lnTo>
                      <a:pt x="759333" y="51625"/>
                    </a:lnTo>
                    <a:lnTo>
                      <a:pt x="758571" y="50768"/>
                    </a:lnTo>
                    <a:lnTo>
                      <a:pt x="758571" y="48292"/>
                    </a:lnTo>
                    <a:lnTo>
                      <a:pt x="754285" y="45720"/>
                    </a:lnTo>
                    <a:lnTo>
                      <a:pt x="752570" y="42291"/>
                    </a:lnTo>
                    <a:lnTo>
                      <a:pt x="750951" y="41434"/>
                    </a:lnTo>
                    <a:lnTo>
                      <a:pt x="746665" y="39815"/>
                    </a:lnTo>
                    <a:lnTo>
                      <a:pt x="745045" y="39815"/>
                    </a:lnTo>
                    <a:lnTo>
                      <a:pt x="743331" y="39815"/>
                    </a:lnTo>
                    <a:lnTo>
                      <a:pt x="741617" y="39815"/>
                    </a:lnTo>
                    <a:lnTo>
                      <a:pt x="739902" y="39815"/>
                    </a:lnTo>
                    <a:lnTo>
                      <a:pt x="735711" y="39815"/>
                    </a:lnTo>
                    <a:lnTo>
                      <a:pt x="733139" y="38957"/>
                    </a:lnTo>
                    <a:lnTo>
                      <a:pt x="732282" y="38957"/>
                    </a:lnTo>
                    <a:lnTo>
                      <a:pt x="728091" y="36386"/>
                    </a:lnTo>
                    <a:lnTo>
                      <a:pt x="725519" y="37243"/>
                    </a:lnTo>
                    <a:lnTo>
                      <a:pt x="725519" y="37243"/>
                    </a:lnTo>
                    <a:lnTo>
                      <a:pt x="725519" y="38100"/>
                    </a:lnTo>
                    <a:lnTo>
                      <a:pt x="725519" y="38957"/>
                    </a:lnTo>
                    <a:lnTo>
                      <a:pt x="725519" y="40672"/>
                    </a:lnTo>
                    <a:lnTo>
                      <a:pt x="724662" y="42291"/>
                    </a:lnTo>
                    <a:lnTo>
                      <a:pt x="723043" y="44005"/>
                    </a:lnTo>
                    <a:lnTo>
                      <a:pt x="720471" y="44863"/>
                    </a:lnTo>
                    <a:lnTo>
                      <a:pt x="717899" y="45720"/>
                    </a:lnTo>
                    <a:lnTo>
                      <a:pt x="711994" y="47434"/>
                    </a:lnTo>
                    <a:lnTo>
                      <a:pt x="708660" y="49054"/>
                    </a:lnTo>
                    <a:lnTo>
                      <a:pt x="699326" y="49911"/>
                    </a:lnTo>
                    <a:lnTo>
                      <a:pt x="694277" y="51625"/>
                    </a:lnTo>
                    <a:lnTo>
                      <a:pt x="691706" y="52483"/>
                    </a:lnTo>
                    <a:lnTo>
                      <a:pt x="690848" y="53340"/>
                    </a:lnTo>
                    <a:lnTo>
                      <a:pt x="690848" y="54197"/>
                    </a:lnTo>
                    <a:lnTo>
                      <a:pt x="691706" y="55912"/>
                    </a:lnTo>
                    <a:lnTo>
                      <a:pt x="691706" y="56674"/>
                    </a:lnTo>
                    <a:lnTo>
                      <a:pt x="691706" y="58388"/>
                    </a:lnTo>
                    <a:lnTo>
                      <a:pt x="691706" y="59246"/>
                    </a:lnTo>
                    <a:lnTo>
                      <a:pt x="689991" y="60103"/>
                    </a:lnTo>
                    <a:lnTo>
                      <a:pt x="689229" y="60960"/>
                    </a:lnTo>
                    <a:lnTo>
                      <a:pt x="684086" y="60960"/>
                    </a:lnTo>
                    <a:lnTo>
                      <a:pt x="681609" y="61817"/>
                    </a:lnTo>
                    <a:lnTo>
                      <a:pt x="677323" y="63437"/>
                    </a:lnTo>
                    <a:lnTo>
                      <a:pt x="670560" y="64294"/>
                    </a:lnTo>
                    <a:lnTo>
                      <a:pt x="668084" y="65151"/>
                    </a:lnTo>
                    <a:lnTo>
                      <a:pt x="666369" y="65151"/>
                    </a:lnTo>
                    <a:lnTo>
                      <a:pt x="658749" y="64294"/>
                    </a:lnTo>
                    <a:lnTo>
                      <a:pt x="651129" y="62675"/>
                    </a:lnTo>
                    <a:lnTo>
                      <a:pt x="650272" y="61817"/>
                    </a:lnTo>
                    <a:lnTo>
                      <a:pt x="648557" y="60103"/>
                    </a:lnTo>
                    <a:lnTo>
                      <a:pt x="646938" y="59246"/>
                    </a:lnTo>
                    <a:lnTo>
                      <a:pt x="646081" y="59246"/>
                    </a:lnTo>
                    <a:lnTo>
                      <a:pt x="643509" y="58388"/>
                    </a:lnTo>
                    <a:lnTo>
                      <a:pt x="642652" y="59246"/>
                    </a:lnTo>
                    <a:lnTo>
                      <a:pt x="641795" y="59246"/>
                    </a:lnTo>
                    <a:lnTo>
                      <a:pt x="641033" y="60103"/>
                    </a:lnTo>
                    <a:lnTo>
                      <a:pt x="639318" y="60960"/>
                    </a:lnTo>
                    <a:lnTo>
                      <a:pt x="638461" y="60960"/>
                    </a:lnTo>
                    <a:lnTo>
                      <a:pt x="637604" y="60960"/>
                    </a:lnTo>
                    <a:lnTo>
                      <a:pt x="636746" y="60960"/>
                    </a:lnTo>
                    <a:lnTo>
                      <a:pt x="636746" y="60960"/>
                    </a:lnTo>
                    <a:lnTo>
                      <a:pt x="636746" y="60960"/>
                    </a:lnTo>
                    <a:lnTo>
                      <a:pt x="636746" y="60960"/>
                    </a:lnTo>
                    <a:lnTo>
                      <a:pt x="636746" y="60103"/>
                    </a:lnTo>
                    <a:lnTo>
                      <a:pt x="636746" y="59246"/>
                    </a:lnTo>
                    <a:lnTo>
                      <a:pt x="635889" y="55912"/>
                    </a:lnTo>
                    <a:lnTo>
                      <a:pt x="635889" y="54197"/>
                    </a:lnTo>
                    <a:lnTo>
                      <a:pt x="635032" y="52483"/>
                    </a:lnTo>
                    <a:lnTo>
                      <a:pt x="635032" y="49054"/>
                    </a:lnTo>
                    <a:lnTo>
                      <a:pt x="634270" y="48292"/>
                    </a:lnTo>
                    <a:lnTo>
                      <a:pt x="632555" y="47434"/>
                    </a:lnTo>
                    <a:lnTo>
                      <a:pt x="631698" y="47434"/>
                    </a:lnTo>
                    <a:lnTo>
                      <a:pt x="629126" y="47434"/>
                    </a:lnTo>
                    <a:lnTo>
                      <a:pt x="628269" y="47434"/>
                    </a:lnTo>
                    <a:lnTo>
                      <a:pt x="627507" y="47434"/>
                    </a:lnTo>
                    <a:lnTo>
                      <a:pt x="626650" y="48292"/>
                    </a:lnTo>
                    <a:lnTo>
                      <a:pt x="625793" y="48292"/>
                    </a:lnTo>
                    <a:lnTo>
                      <a:pt x="623221" y="51625"/>
                    </a:lnTo>
                    <a:lnTo>
                      <a:pt x="618173" y="53340"/>
                    </a:lnTo>
                    <a:lnTo>
                      <a:pt x="612267" y="55054"/>
                    </a:lnTo>
                    <a:lnTo>
                      <a:pt x="610553" y="55912"/>
                    </a:lnTo>
                    <a:lnTo>
                      <a:pt x="608838" y="57531"/>
                    </a:lnTo>
                    <a:lnTo>
                      <a:pt x="607981" y="59246"/>
                    </a:lnTo>
                    <a:lnTo>
                      <a:pt x="605504" y="61817"/>
                    </a:lnTo>
                    <a:lnTo>
                      <a:pt x="602933" y="63437"/>
                    </a:lnTo>
                    <a:lnTo>
                      <a:pt x="598742" y="66008"/>
                    </a:lnTo>
                    <a:lnTo>
                      <a:pt x="592836" y="69437"/>
                    </a:lnTo>
                    <a:lnTo>
                      <a:pt x="579215" y="73628"/>
                    </a:lnTo>
                    <a:lnTo>
                      <a:pt x="577596" y="74486"/>
                    </a:lnTo>
                    <a:lnTo>
                      <a:pt x="575024" y="74486"/>
                    </a:lnTo>
                    <a:lnTo>
                      <a:pt x="573310" y="73628"/>
                    </a:lnTo>
                    <a:lnTo>
                      <a:pt x="567404" y="71057"/>
                    </a:lnTo>
                    <a:lnTo>
                      <a:pt x="566547" y="71057"/>
                    </a:lnTo>
                    <a:lnTo>
                      <a:pt x="565690" y="71057"/>
                    </a:lnTo>
                    <a:lnTo>
                      <a:pt x="563213" y="72771"/>
                    </a:lnTo>
                    <a:lnTo>
                      <a:pt x="560642" y="73628"/>
                    </a:lnTo>
                    <a:lnTo>
                      <a:pt x="557308" y="76200"/>
                    </a:lnTo>
                    <a:lnTo>
                      <a:pt x="556451" y="76200"/>
                    </a:lnTo>
                    <a:lnTo>
                      <a:pt x="555593" y="76200"/>
                    </a:lnTo>
                    <a:lnTo>
                      <a:pt x="555593" y="75343"/>
                    </a:lnTo>
                    <a:lnTo>
                      <a:pt x="554736" y="74486"/>
                    </a:lnTo>
                    <a:lnTo>
                      <a:pt x="553022" y="74486"/>
                    </a:lnTo>
                    <a:lnTo>
                      <a:pt x="550545" y="74486"/>
                    </a:lnTo>
                    <a:lnTo>
                      <a:pt x="549688" y="73628"/>
                    </a:lnTo>
                    <a:lnTo>
                      <a:pt x="547973" y="73628"/>
                    </a:lnTo>
                    <a:lnTo>
                      <a:pt x="547116" y="74486"/>
                    </a:lnTo>
                    <a:lnTo>
                      <a:pt x="545402" y="75343"/>
                    </a:lnTo>
                    <a:lnTo>
                      <a:pt x="544640" y="75343"/>
                    </a:lnTo>
                    <a:lnTo>
                      <a:pt x="542925" y="75343"/>
                    </a:lnTo>
                    <a:lnTo>
                      <a:pt x="541211" y="75343"/>
                    </a:lnTo>
                    <a:lnTo>
                      <a:pt x="540353" y="75343"/>
                    </a:lnTo>
                    <a:lnTo>
                      <a:pt x="540353" y="74486"/>
                    </a:lnTo>
                    <a:lnTo>
                      <a:pt x="539496" y="72771"/>
                    </a:lnTo>
                    <a:lnTo>
                      <a:pt x="538639" y="72771"/>
                    </a:lnTo>
                    <a:lnTo>
                      <a:pt x="537782" y="71914"/>
                    </a:lnTo>
                    <a:lnTo>
                      <a:pt x="536162" y="71914"/>
                    </a:lnTo>
                    <a:lnTo>
                      <a:pt x="536162" y="71914"/>
                    </a:lnTo>
                    <a:lnTo>
                      <a:pt x="535305" y="72771"/>
                    </a:lnTo>
                    <a:lnTo>
                      <a:pt x="534448" y="74486"/>
                    </a:lnTo>
                    <a:lnTo>
                      <a:pt x="533591" y="74486"/>
                    </a:lnTo>
                    <a:lnTo>
                      <a:pt x="532733" y="74486"/>
                    </a:lnTo>
                    <a:lnTo>
                      <a:pt x="532733" y="73628"/>
                    </a:lnTo>
                    <a:lnTo>
                      <a:pt x="532733" y="72771"/>
                    </a:lnTo>
                    <a:lnTo>
                      <a:pt x="531876" y="71057"/>
                    </a:lnTo>
                    <a:lnTo>
                      <a:pt x="529400" y="66866"/>
                    </a:lnTo>
                    <a:lnTo>
                      <a:pt x="526828" y="61817"/>
                    </a:lnTo>
                    <a:lnTo>
                      <a:pt x="526828" y="61817"/>
                    </a:lnTo>
                    <a:lnTo>
                      <a:pt x="526828" y="60960"/>
                    </a:lnTo>
                    <a:lnTo>
                      <a:pt x="526828" y="59246"/>
                    </a:lnTo>
                    <a:lnTo>
                      <a:pt x="526828" y="58388"/>
                    </a:lnTo>
                    <a:lnTo>
                      <a:pt x="526828" y="56674"/>
                    </a:lnTo>
                    <a:lnTo>
                      <a:pt x="527685" y="56674"/>
                    </a:lnTo>
                    <a:lnTo>
                      <a:pt x="529400" y="55912"/>
                    </a:lnTo>
                    <a:lnTo>
                      <a:pt x="540353" y="56674"/>
                    </a:lnTo>
                    <a:lnTo>
                      <a:pt x="541211" y="56674"/>
                    </a:lnTo>
                    <a:lnTo>
                      <a:pt x="542068" y="55912"/>
                    </a:lnTo>
                    <a:lnTo>
                      <a:pt x="542925" y="55054"/>
                    </a:lnTo>
                    <a:lnTo>
                      <a:pt x="542068" y="54197"/>
                    </a:lnTo>
                    <a:lnTo>
                      <a:pt x="541211" y="53340"/>
                    </a:lnTo>
                    <a:lnTo>
                      <a:pt x="541211" y="52483"/>
                    </a:lnTo>
                    <a:lnTo>
                      <a:pt x="540353" y="50768"/>
                    </a:lnTo>
                    <a:lnTo>
                      <a:pt x="541211" y="49054"/>
                    </a:lnTo>
                    <a:lnTo>
                      <a:pt x="541211" y="47434"/>
                    </a:lnTo>
                    <a:lnTo>
                      <a:pt x="539496" y="38957"/>
                    </a:lnTo>
                    <a:lnTo>
                      <a:pt x="539496" y="37243"/>
                    </a:lnTo>
                    <a:lnTo>
                      <a:pt x="538639" y="36386"/>
                    </a:lnTo>
                    <a:lnTo>
                      <a:pt x="537782" y="35528"/>
                    </a:lnTo>
                    <a:lnTo>
                      <a:pt x="535305" y="34671"/>
                    </a:lnTo>
                    <a:lnTo>
                      <a:pt x="534448" y="34671"/>
                    </a:lnTo>
                    <a:lnTo>
                      <a:pt x="534448" y="33909"/>
                    </a:lnTo>
                    <a:lnTo>
                      <a:pt x="534448" y="33909"/>
                    </a:lnTo>
                    <a:lnTo>
                      <a:pt x="533591" y="33052"/>
                    </a:lnTo>
                    <a:lnTo>
                      <a:pt x="533591" y="32195"/>
                    </a:lnTo>
                    <a:lnTo>
                      <a:pt x="532733" y="31337"/>
                    </a:lnTo>
                    <a:lnTo>
                      <a:pt x="531019" y="30480"/>
                    </a:lnTo>
                    <a:lnTo>
                      <a:pt x="529400" y="29623"/>
                    </a:lnTo>
                    <a:lnTo>
                      <a:pt x="515874" y="29623"/>
                    </a:lnTo>
                    <a:lnTo>
                      <a:pt x="514160" y="30480"/>
                    </a:lnTo>
                    <a:lnTo>
                      <a:pt x="512445" y="31337"/>
                    </a:lnTo>
                    <a:lnTo>
                      <a:pt x="511588" y="33052"/>
                    </a:lnTo>
                    <a:lnTo>
                      <a:pt x="510731" y="33909"/>
                    </a:lnTo>
                    <a:lnTo>
                      <a:pt x="507397" y="34671"/>
                    </a:lnTo>
                    <a:lnTo>
                      <a:pt x="506540" y="34671"/>
                    </a:lnTo>
                    <a:lnTo>
                      <a:pt x="505682" y="36386"/>
                    </a:lnTo>
                    <a:lnTo>
                      <a:pt x="504825" y="37243"/>
                    </a:lnTo>
                    <a:lnTo>
                      <a:pt x="504825" y="38100"/>
                    </a:lnTo>
                    <a:lnTo>
                      <a:pt x="503206" y="38100"/>
                    </a:lnTo>
                    <a:lnTo>
                      <a:pt x="502348" y="38100"/>
                    </a:lnTo>
                    <a:lnTo>
                      <a:pt x="501491" y="38100"/>
                    </a:lnTo>
                    <a:lnTo>
                      <a:pt x="500634" y="37243"/>
                    </a:lnTo>
                    <a:lnTo>
                      <a:pt x="500634" y="37243"/>
                    </a:lnTo>
                    <a:lnTo>
                      <a:pt x="499777" y="36386"/>
                    </a:lnTo>
                    <a:lnTo>
                      <a:pt x="499777" y="35528"/>
                    </a:lnTo>
                    <a:lnTo>
                      <a:pt x="498919" y="35528"/>
                    </a:lnTo>
                    <a:lnTo>
                      <a:pt x="497205" y="34671"/>
                    </a:lnTo>
                    <a:lnTo>
                      <a:pt x="491300" y="35528"/>
                    </a:lnTo>
                    <a:lnTo>
                      <a:pt x="487109" y="37243"/>
                    </a:lnTo>
                    <a:lnTo>
                      <a:pt x="482060" y="38957"/>
                    </a:lnTo>
                    <a:lnTo>
                      <a:pt x="470154" y="48292"/>
                    </a:lnTo>
                    <a:lnTo>
                      <a:pt x="467678" y="49054"/>
                    </a:lnTo>
                    <a:lnTo>
                      <a:pt x="461772" y="49054"/>
                    </a:lnTo>
                    <a:lnTo>
                      <a:pt x="458343" y="49911"/>
                    </a:lnTo>
                    <a:lnTo>
                      <a:pt x="456629" y="52483"/>
                    </a:lnTo>
                    <a:lnTo>
                      <a:pt x="455771" y="55912"/>
                    </a:lnTo>
                    <a:lnTo>
                      <a:pt x="455771" y="57531"/>
                    </a:lnTo>
                    <a:lnTo>
                      <a:pt x="455771" y="58388"/>
                    </a:lnTo>
                    <a:lnTo>
                      <a:pt x="455771" y="60960"/>
                    </a:lnTo>
                    <a:lnTo>
                      <a:pt x="455771" y="61817"/>
                    </a:lnTo>
                    <a:lnTo>
                      <a:pt x="455771" y="61817"/>
                    </a:lnTo>
                    <a:lnTo>
                      <a:pt x="455771" y="62675"/>
                    </a:lnTo>
                    <a:lnTo>
                      <a:pt x="454914" y="62675"/>
                    </a:lnTo>
                    <a:lnTo>
                      <a:pt x="454914" y="64294"/>
                    </a:lnTo>
                    <a:lnTo>
                      <a:pt x="453295" y="65151"/>
                    </a:lnTo>
                    <a:lnTo>
                      <a:pt x="452438" y="66866"/>
                    </a:lnTo>
                    <a:lnTo>
                      <a:pt x="451580" y="67723"/>
                    </a:lnTo>
                    <a:lnTo>
                      <a:pt x="449009" y="71914"/>
                    </a:lnTo>
                    <a:lnTo>
                      <a:pt x="448151" y="73628"/>
                    </a:lnTo>
                    <a:lnTo>
                      <a:pt x="447389" y="74486"/>
                    </a:lnTo>
                    <a:lnTo>
                      <a:pt x="443103" y="77057"/>
                    </a:lnTo>
                    <a:lnTo>
                      <a:pt x="439769" y="78676"/>
                    </a:lnTo>
                    <a:lnTo>
                      <a:pt x="438912" y="79534"/>
                    </a:lnTo>
                    <a:lnTo>
                      <a:pt x="438912" y="80391"/>
                    </a:lnTo>
                    <a:lnTo>
                      <a:pt x="438912" y="82105"/>
                    </a:lnTo>
                    <a:lnTo>
                      <a:pt x="438912" y="82963"/>
                    </a:lnTo>
                    <a:lnTo>
                      <a:pt x="440627" y="86296"/>
                    </a:lnTo>
                    <a:lnTo>
                      <a:pt x="440627" y="91440"/>
                    </a:lnTo>
                    <a:lnTo>
                      <a:pt x="439769" y="93059"/>
                    </a:lnTo>
                    <a:lnTo>
                      <a:pt x="438912" y="94774"/>
                    </a:lnTo>
                    <a:lnTo>
                      <a:pt x="438055" y="96488"/>
                    </a:lnTo>
                    <a:lnTo>
                      <a:pt x="436340" y="97346"/>
                    </a:lnTo>
                    <a:lnTo>
                      <a:pt x="428720" y="98203"/>
                    </a:lnTo>
                    <a:lnTo>
                      <a:pt x="426244" y="98203"/>
                    </a:lnTo>
                    <a:lnTo>
                      <a:pt x="423672" y="99917"/>
                    </a:lnTo>
                    <a:lnTo>
                      <a:pt x="421958" y="101537"/>
                    </a:lnTo>
                    <a:lnTo>
                      <a:pt x="420338" y="103251"/>
                    </a:lnTo>
                    <a:lnTo>
                      <a:pt x="418624" y="106680"/>
                    </a:lnTo>
                    <a:lnTo>
                      <a:pt x="416909" y="108299"/>
                    </a:lnTo>
                    <a:lnTo>
                      <a:pt x="414338" y="109157"/>
                    </a:lnTo>
                    <a:lnTo>
                      <a:pt x="410146" y="110871"/>
                    </a:lnTo>
                    <a:lnTo>
                      <a:pt x="404241" y="111728"/>
                    </a:lnTo>
                    <a:lnTo>
                      <a:pt x="399955" y="112586"/>
                    </a:lnTo>
                    <a:lnTo>
                      <a:pt x="389001" y="110871"/>
                    </a:lnTo>
                    <a:lnTo>
                      <a:pt x="387287" y="110014"/>
                    </a:lnTo>
                    <a:lnTo>
                      <a:pt x="384810" y="108299"/>
                    </a:lnTo>
                    <a:lnTo>
                      <a:pt x="380524" y="103251"/>
                    </a:lnTo>
                    <a:lnTo>
                      <a:pt x="380524" y="102394"/>
                    </a:lnTo>
                    <a:lnTo>
                      <a:pt x="380524" y="101537"/>
                    </a:lnTo>
                    <a:lnTo>
                      <a:pt x="380524" y="101537"/>
                    </a:lnTo>
                    <a:lnTo>
                      <a:pt x="380524" y="100679"/>
                    </a:lnTo>
                    <a:lnTo>
                      <a:pt x="380524" y="100679"/>
                    </a:lnTo>
                    <a:lnTo>
                      <a:pt x="381381" y="100679"/>
                    </a:lnTo>
                    <a:lnTo>
                      <a:pt x="381381" y="100679"/>
                    </a:lnTo>
                    <a:lnTo>
                      <a:pt x="382238" y="100679"/>
                    </a:lnTo>
                    <a:lnTo>
                      <a:pt x="383096" y="99917"/>
                    </a:lnTo>
                    <a:lnTo>
                      <a:pt x="383953" y="99917"/>
                    </a:lnTo>
                    <a:lnTo>
                      <a:pt x="384810" y="98203"/>
                    </a:lnTo>
                    <a:lnTo>
                      <a:pt x="383953" y="93059"/>
                    </a:lnTo>
                    <a:lnTo>
                      <a:pt x="383096" y="88011"/>
                    </a:lnTo>
                    <a:lnTo>
                      <a:pt x="380524" y="82105"/>
                    </a:lnTo>
                    <a:lnTo>
                      <a:pt x="378809" y="78676"/>
                    </a:lnTo>
                    <a:lnTo>
                      <a:pt x="378047" y="77915"/>
                    </a:lnTo>
                    <a:lnTo>
                      <a:pt x="376333" y="77057"/>
                    </a:lnTo>
                    <a:lnTo>
                      <a:pt x="375475" y="77915"/>
                    </a:lnTo>
                    <a:lnTo>
                      <a:pt x="374618" y="77915"/>
                    </a:lnTo>
                    <a:lnTo>
                      <a:pt x="372904" y="77915"/>
                    </a:lnTo>
                    <a:lnTo>
                      <a:pt x="366998" y="76200"/>
                    </a:lnTo>
                    <a:lnTo>
                      <a:pt x="363665" y="75343"/>
                    </a:lnTo>
                    <a:lnTo>
                      <a:pt x="361950" y="74486"/>
                    </a:lnTo>
                    <a:lnTo>
                      <a:pt x="358521" y="74486"/>
                    </a:lnTo>
                    <a:lnTo>
                      <a:pt x="355187" y="73628"/>
                    </a:lnTo>
                    <a:lnTo>
                      <a:pt x="348425" y="76200"/>
                    </a:lnTo>
                    <a:lnTo>
                      <a:pt x="336614" y="76200"/>
                    </a:lnTo>
                    <a:lnTo>
                      <a:pt x="331470" y="76200"/>
                    </a:lnTo>
                    <a:lnTo>
                      <a:pt x="327279" y="75343"/>
                    </a:lnTo>
                    <a:lnTo>
                      <a:pt x="325565" y="75343"/>
                    </a:lnTo>
                    <a:lnTo>
                      <a:pt x="323850" y="76200"/>
                    </a:lnTo>
                    <a:lnTo>
                      <a:pt x="321373" y="76200"/>
                    </a:lnTo>
                    <a:lnTo>
                      <a:pt x="317944" y="77057"/>
                    </a:lnTo>
                    <a:lnTo>
                      <a:pt x="316325" y="77057"/>
                    </a:lnTo>
                    <a:lnTo>
                      <a:pt x="312039" y="77057"/>
                    </a:lnTo>
                    <a:lnTo>
                      <a:pt x="301085" y="77057"/>
                    </a:lnTo>
                    <a:lnTo>
                      <a:pt x="299371" y="76200"/>
                    </a:lnTo>
                    <a:lnTo>
                      <a:pt x="298514" y="76200"/>
                    </a:lnTo>
                    <a:lnTo>
                      <a:pt x="296799" y="75343"/>
                    </a:lnTo>
                    <a:lnTo>
                      <a:pt x="293465" y="76200"/>
                    </a:lnTo>
                    <a:lnTo>
                      <a:pt x="281654" y="73628"/>
                    </a:lnTo>
                    <a:lnTo>
                      <a:pt x="275654" y="71057"/>
                    </a:lnTo>
                    <a:lnTo>
                      <a:pt x="274034" y="70295"/>
                    </a:lnTo>
                    <a:lnTo>
                      <a:pt x="273177" y="69437"/>
                    </a:lnTo>
                    <a:lnTo>
                      <a:pt x="272320" y="67723"/>
                    </a:lnTo>
                    <a:lnTo>
                      <a:pt x="271463" y="66866"/>
                    </a:lnTo>
                    <a:lnTo>
                      <a:pt x="270605" y="64294"/>
                    </a:lnTo>
                    <a:lnTo>
                      <a:pt x="266414" y="58388"/>
                    </a:lnTo>
                    <a:lnTo>
                      <a:pt x="263843" y="55912"/>
                    </a:lnTo>
                    <a:lnTo>
                      <a:pt x="262985" y="55054"/>
                    </a:lnTo>
                    <a:lnTo>
                      <a:pt x="259652" y="53340"/>
                    </a:lnTo>
                    <a:lnTo>
                      <a:pt x="259652" y="53340"/>
                    </a:lnTo>
                    <a:lnTo>
                      <a:pt x="253746" y="52483"/>
                    </a:lnTo>
                    <a:lnTo>
                      <a:pt x="252031" y="52483"/>
                    </a:lnTo>
                    <a:lnTo>
                      <a:pt x="251174" y="51625"/>
                    </a:lnTo>
                    <a:lnTo>
                      <a:pt x="249460" y="49911"/>
                    </a:lnTo>
                    <a:lnTo>
                      <a:pt x="247745" y="49054"/>
                    </a:lnTo>
                    <a:lnTo>
                      <a:pt x="246983" y="49054"/>
                    </a:lnTo>
                    <a:lnTo>
                      <a:pt x="243554" y="48292"/>
                    </a:lnTo>
                    <a:lnTo>
                      <a:pt x="242697" y="48292"/>
                    </a:lnTo>
                    <a:lnTo>
                      <a:pt x="232600" y="49054"/>
                    </a:lnTo>
                    <a:lnTo>
                      <a:pt x="229171" y="49054"/>
                    </a:lnTo>
                    <a:lnTo>
                      <a:pt x="226695" y="49054"/>
                    </a:lnTo>
                    <a:lnTo>
                      <a:pt x="224981" y="48292"/>
                    </a:lnTo>
                    <a:lnTo>
                      <a:pt x="224123" y="47434"/>
                    </a:lnTo>
                    <a:lnTo>
                      <a:pt x="222409" y="45720"/>
                    </a:lnTo>
                    <a:lnTo>
                      <a:pt x="221552" y="44863"/>
                    </a:lnTo>
                    <a:lnTo>
                      <a:pt x="215646" y="43148"/>
                    </a:lnTo>
                    <a:lnTo>
                      <a:pt x="213931" y="42291"/>
                    </a:lnTo>
                    <a:lnTo>
                      <a:pt x="210598" y="38957"/>
                    </a:lnTo>
                    <a:lnTo>
                      <a:pt x="207169" y="37243"/>
                    </a:lnTo>
                    <a:lnTo>
                      <a:pt x="205550" y="36386"/>
                    </a:lnTo>
                    <a:lnTo>
                      <a:pt x="204692" y="35528"/>
                    </a:lnTo>
                    <a:lnTo>
                      <a:pt x="204692" y="33909"/>
                    </a:lnTo>
                    <a:lnTo>
                      <a:pt x="204692" y="31337"/>
                    </a:lnTo>
                    <a:lnTo>
                      <a:pt x="203835" y="29623"/>
                    </a:lnTo>
                    <a:lnTo>
                      <a:pt x="202978" y="27051"/>
                    </a:lnTo>
                    <a:lnTo>
                      <a:pt x="202121" y="26289"/>
                    </a:lnTo>
                    <a:lnTo>
                      <a:pt x="202121" y="24575"/>
                    </a:lnTo>
                    <a:lnTo>
                      <a:pt x="202978" y="14383"/>
                    </a:lnTo>
                    <a:lnTo>
                      <a:pt x="202978" y="12668"/>
                    </a:lnTo>
                    <a:lnTo>
                      <a:pt x="202121" y="9334"/>
                    </a:lnTo>
                    <a:lnTo>
                      <a:pt x="195358" y="2572"/>
                    </a:lnTo>
                    <a:lnTo>
                      <a:pt x="193643" y="0"/>
                    </a:lnTo>
                    <a:lnTo>
                      <a:pt x="192024" y="0"/>
                    </a:lnTo>
                    <a:lnTo>
                      <a:pt x="187738" y="4286"/>
                    </a:lnTo>
                    <a:lnTo>
                      <a:pt x="186023" y="5048"/>
                    </a:lnTo>
                    <a:lnTo>
                      <a:pt x="183547" y="5905"/>
                    </a:lnTo>
                    <a:lnTo>
                      <a:pt x="181832" y="6763"/>
                    </a:lnTo>
                    <a:lnTo>
                      <a:pt x="180975" y="6763"/>
                    </a:lnTo>
                    <a:lnTo>
                      <a:pt x="180118" y="6763"/>
                    </a:lnTo>
                    <a:lnTo>
                      <a:pt x="180118" y="7620"/>
                    </a:lnTo>
                    <a:lnTo>
                      <a:pt x="180118" y="8477"/>
                    </a:lnTo>
                    <a:lnTo>
                      <a:pt x="180118" y="8477"/>
                    </a:lnTo>
                    <a:lnTo>
                      <a:pt x="180118" y="9334"/>
                    </a:lnTo>
                    <a:lnTo>
                      <a:pt x="178403" y="10192"/>
                    </a:lnTo>
                    <a:lnTo>
                      <a:pt x="175927" y="11049"/>
                    </a:lnTo>
                    <a:lnTo>
                      <a:pt x="173355" y="11906"/>
                    </a:lnTo>
                    <a:lnTo>
                      <a:pt x="170879" y="11906"/>
                    </a:lnTo>
                    <a:lnTo>
                      <a:pt x="169164" y="11049"/>
                    </a:lnTo>
                    <a:lnTo>
                      <a:pt x="164878" y="9334"/>
                    </a:lnTo>
                    <a:lnTo>
                      <a:pt x="162401" y="8477"/>
                    </a:lnTo>
                    <a:lnTo>
                      <a:pt x="154781" y="10192"/>
                    </a:lnTo>
                    <a:lnTo>
                      <a:pt x="145447" y="14383"/>
                    </a:lnTo>
                    <a:lnTo>
                      <a:pt x="144590" y="16097"/>
                    </a:lnTo>
                    <a:lnTo>
                      <a:pt x="142113" y="17812"/>
                    </a:lnTo>
                    <a:lnTo>
                      <a:pt x="139541" y="18669"/>
                    </a:lnTo>
                    <a:lnTo>
                      <a:pt x="137827" y="18669"/>
                    </a:lnTo>
                    <a:lnTo>
                      <a:pt x="134493" y="20288"/>
                    </a:lnTo>
                    <a:lnTo>
                      <a:pt x="130207" y="21146"/>
                    </a:lnTo>
                    <a:lnTo>
                      <a:pt x="129445" y="22003"/>
                    </a:lnTo>
                    <a:lnTo>
                      <a:pt x="127730" y="22003"/>
                    </a:lnTo>
                    <a:lnTo>
                      <a:pt x="126016" y="25432"/>
                    </a:lnTo>
                    <a:lnTo>
                      <a:pt x="126016" y="26289"/>
                    </a:lnTo>
                    <a:lnTo>
                      <a:pt x="126016" y="27051"/>
                    </a:lnTo>
                    <a:lnTo>
                      <a:pt x="126873" y="30480"/>
                    </a:lnTo>
                    <a:lnTo>
                      <a:pt x="126873" y="32195"/>
                    </a:lnTo>
                    <a:lnTo>
                      <a:pt x="126873" y="33909"/>
                    </a:lnTo>
                    <a:lnTo>
                      <a:pt x="127730" y="35528"/>
                    </a:lnTo>
                    <a:lnTo>
                      <a:pt x="128588" y="36386"/>
                    </a:lnTo>
                    <a:lnTo>
                      <a:pt x="129445" y="37243"/>
                    </a:lnTo>
                    <a:lnTo>
                      <a:pt x="130207" y="38957"/>
                    </a:lnTo>
                    <a:lnTo>
                      <a:pt x="131064" y="40672"/>
                    </a:lnTo>
                    <a:lnTo>
                      <a:pt x="129445" y="44005"/>
                    </a:lnTo>
                    <a:lnTo>
                      <a:pt x="127730" y="46577"/>
                    </a:lnTo>
                    <a:lnTo>
                      <a:pt x="125158" y="47434"/>
                    </a:lnTo>
                    <a:lnTo>
                      <a:pt x="122682" y="47434"/>
                    </a:lnTo>
                    <a:lnTo>
                      <a:pt x="121825" y="48292"/>
                    </a:lnTo>
                    <a:lnTo>
                      <a:pt x="120968" y="49054"/>
                    </a:lnTo>
                    <a:lnTo>
                      <a:pt x="121825" y="50768"/>
                    </a:lnTo>
                    <a:lnTo>
                      <a:pt x="122682" y="51625"/>
                    </a:lnTo>
                    <a:lnTo>
                      <a:pt x="125158" y="55912"/>
                    </a:lnTo>
                    <a:lnTo>
                      <a:pt x="126873" y="57531"/>
                    </a:lnTo>
                    <a:lnTo>
                      <a:pt x="127730" y="60103"/>
                    </a:lnTo>
                    <a:lnTo>
                      <a:pt x="128588" y="60960"/>
                    </a:lnTo>
                    <a:lnTo>
                      <a:pt x="128588" y="60960"/>
                    </a:lnTo>
                    <a:lnTo>
                      <a:pt x="129445" y="60960"/>
                    </a:lnTo>
                    <a:lnTo>
                      <a:pt x="132779" y="59246"/>
                    </a:lnTo>
                    <a:lnTo>
                      <a:pt x="140398" y="58388"/>
                    </a:lnTo>
                    <a:lnTo>
                      <a:pt x="143827" y="56674"/>
                    </a:lnTo>
                    <a:lnTo>
                      <a:pt x="148019" y="55054"/>
                    </a:lnTo>
                    <a:lnTo>
                      <a:pt x="150590" y="55054"/>
                    </a:lnTo>
                    <a:lnTo>
                      <a:pt x="153067" y="55054"/>
                    </a:lnTo>
                    <a:lnTo>
                      <a:pt x="160687" y="55912"/>
                    </a:lnTo>
                    <a:lnTo>
                      <a:pt x="161544" y="55912"/>
                    </a:lnTo>
                    <a:lnTo>
                      <a:pt x="162401" y="55054"/>
                    </a:lnTo>
                    <a:lnTo>
                      <a:pt x="162401" y="54197"/>
                    </a:lnTo>
                    <a:lnTo>
                      <a:pt x="163259" y="54197"/>
                    </a:lnTo>
                    <a:lnTo>
                      <a:pt x="163259" y="53340"/>
                    </a:lnTo>
                    <a:lnTo>
                      <a:pt x="164878" y="53340"/>
                    </a:lnTo>
                    <a:lnTo>
                      <a:pt x="165735" y="54197"/>
                    </a:lnTo>
                    <a:lnTo>
                      <a:pt x="166592" y="54197"/>
                    </a:lnTo>
                    <a:lnTo>
                      <a:pt x="167450" y="55054"/>
                    </a:lnTo>
                    <a:lnTo>
                      <a:pt x="168307" y="55912"/>
                    </a:lnTo>
                    <a:lnTo>
                      <a:pt x="168307" y="56674"/>
                    </a:lnTo>
                    <a:lnTo>
                      <a:pt x="170021" y="56674"/>
                    </a:lnTo>
                    <a:lnTo>
                      <a:pt x="173355" y="55912"/>
                    </a:lnTo>
                    <a:lnTo>
                      <a:pt x="175069" y="55054"/>
                    </a:lnTo>
                    <a:lnTo>
                      <a:pt x="175927" y="55054"/>
                    </a:lnTo>
                    <a:lnTo>
                      <a:pt x="177641" y="54197"/>
                    </a:lnTo>
                    <a:lnTo>
                      <a:pt x="178403" y="53340"/>
                    </a:lnTo>
                    <a:lnTo>
                      <a:pt x="179261" y="53340"/>
                    </a:lnTo>
                    <a:lnTo>
                      <a:pt x="180118" y="53340"/>
                    </a:lnTo>
                    <a:lnTo>
                      <a:pt x="180118" y="53340"/>
                    </a:lnTo>
                    <a:lnTo>
                      <a:pt x="180975" y="54197"/>
                    </a:lnTo>
                    <a:lnTo>
                      <a:pt x="180975" y="55912"/>
                    </a:lnTo>
                    <a:lnTo>
                      <a:pt x="181832" y="56674"/>
                    </a:lnTo>
                    <a:lnTo>
                      <a:pt x="181832" y="57531"/>
                    </a:lnTo>
                    <a:lnTo>
                      <a:pt x="181832" y="58388"/>
                    </a:lnTo>
                    <a:lnTo>
                      <a:pt x="180975" y="60103"/>
                    </a:lnTo>
                    <a:lnTo>
                      <a:pt x="180975" y="60103"/>
                    </a:lnTo>
                    <a:lnTo>
                      <a:pt x="179261" y="61817"/>
                    </a:lnTo>
                    <a:lnTo>
                      <a:pt x="177641" y="62675"/>
                    </a:lnTo>
                    <a:lnTo>
                      <a:pt x="175069" y="63437"/>
                    </a:lnTo>
                    <a:lnTo>
                      <a:pt x="160687" y="67723"/>
                    </a:lnTo>
                    <a:lnTo>
                      <a:pt x="158972" y="67723"/>
                    </a:lnTo>
                    <a:lnTo>
                      <a:pt x="158115" y="67723"/>
                    </a:lnTo>
                    <a:lnTo>
                      <a:pt x="155639" y="66008"/>
                    </a:lnTo>
                    <a:lnTo>
                      <a:pt x="154781" y="66008"/>
                    </a:lnTo>
                    <a:lnTo>
                      <a:pt x="153067" y="66866"/>
                    </a:lnTo>
                    <a:lnTo>
                      <a:pt x="152210" y="67723"/>
                    </a:lnTo>
                    <a:lnTo>
                      <a:pt x="149733" y="71057"/>
                    </a:lnTo>
                    <a:lnTo>
                      <a:pt x="148019" y="71914"/>
                    </a:lnTo>
                    <a:lnTo>
                      <a:pt x="145447" y="72771"/>
                    </a:lnTo>
                    <a:lnTo>
                      <a:pt x="143827" y="74486"/>
                    </a:lnTo>
                    <a:lnTo>
                      <a:pt x="142970" y="77057"/>
                    </a:lnTo>
                    <a:lnTo>
                      <a:pt x="140398" y="84677"/>
                    </a:lnTo>
                    <a:lnTo>
                      <a:pt x="139541" y="86296"/>
                    </a:lnTo>
                    <a:lnTo>
                      <a:pt x="138684" y="87154"/>
                    </a:lnTo>
                    <a:lnTo>
                      <a:pt x="132779" y="89725"/>
                    </a:lnTo>
                    <a:lnTo>
                      <a:pt x="131064" y="89725"/>
                    </a:lnTo>
                    <a:lnTo>
                      <a:pt x="130207" y="89725"/>
                    </a:lnTo>
                    <a:lnTo>
                      <a:pt x="128588" y="87154"/>
                    </a:lnTo>
                    <a:lnTo>
                      <a:pt x="127730" y="87154"/>
                    </a:lnTo>
                    <a:lnTo>
                      <a:pt x="126873" y="88011"/>
                    </a:lnTo>
                    <a:lnTo>
                      <a:pt x="125158" y="89725"/>
                    </a:lnTo>
                    <a:lnTo>
                      <a:pt x="124301" y="95631"/>
                    </a:lnTo>
                    <a:lnTo>
                      <a:pt x="122682" y="97346"/>
                    </a:lnTo>
                    <a:lnTo>
                      <a:pt x="121825" y="98203"/>
                    </a:lnTo>
                    <a:lnTo>
                      <a:pt x="120110" y="98203"/>
                    </a:lnTo>
                    <a:lnTo>
                      <a:pt x="119253" y="98203"/>
                    </a:lnTo>
                    <a:lnTo>
                      <a:pt x="118396" y="99060"/>
                    </a:lnTo>
                    <a:lnTo>
                      <a:pt x="117539" y="99917"/>
                    </a:lnTo>
                    <a:lnTo>
                      <a:pt x="115062" y="101537"/>
                    </a:lnTo>
                    <a:lnTo>
                      <a:pt x="115062" y="101537"/>
                    </a:lnTo>
                    <a:lnTo>
                      <a:pt x="115062" y="101537"/>
                    </a:lnTo>
                    <a:lnTo>
                      <a:pt x="114205" y="101537"/>
                    </a:lnTo>
                    <a:lnTo>
                      <a:pt x="113348" y="100679"/>
                    </a:lnTo>
                    <a:lnTo>
                      <a:pt x="112490" y="100679"/>
                    </a:lnTo>
                    <a:lnTo>
                      <a:pt x="111633" y="100679"/>
                    </a:lnTo>
                    <a:lnTo>
                      <a:pt x="110776" y="100679"/>
                    </a:lnTo>
                    <a:lnTo>
                      <a:pt x="109919" y="101537"/>
                    </a:lnTo>
                    <a:lnTo>
                      <a:pt x="109156" y="101537"/>
                    </a:lnTo>
                    <a:lnTo>
                      <a:pt x="108299" y="101537"/>
                    </a:lnTo>
                    <a:lnTo>
                      <a:pt x="101537" y="98203"/>
                    </a:lnTo>
                    <a:lnTo>
                      <a:pt x="100679" y="97346"/>
                    </a:lnTo>
                    <a:lnTo>
                      <a:pt x="99822" y="97346"/>
                    </a:lnTo>
                    <a:lnTo>
                      <a:pt x="98965" y="98203"/>
                    </a:lnTo>
                    <a:lnTo>
                      <a:pt x="98965" y="98203"/>
                    </a:lnTo>
                    <a:lnTo>
                      <a:pt x="98965" y="99060"/>
                    </a:lnTo>
                    <a:lnTo>
                      <a:pt x="99822" y="100679"/>
                    </a:lnTo>
                    <a:lnTo>
                      <a:pt x="104013" y="104108"/>
                    </a:lnTo>
                    <a:lnTo>
                      <a:pt x="108299" y="106680"/>
                    </a:lnTo>
                    <a:lnTo>
                      <a:pt x="109919" y="106680"/>
                    </a:lnTo>
                    <a:lnTo>
                      <a:pt x="111633" y="106680"/>
                    </a:lnTo>
                    <a:lnTo>
                      <a:pt x="112490" y="106680"/>
                    </a:lnTo>
                    <a:lnTo>
                      <a:pt x="113348" y="106680"/>
                    </a:lnTo>
                    <a:lnTo>
                      <a:pt x="115062" y="106680"/>
                    </a:lnTo>
                    <a:lnTo>
                      <a:pt x="115919" y="106680"/>
                    </a:lnTo>
                    <a:lnTo>
                      <a:pt x="116681" y="107442"/>
                    </a:lnTo>
                    <a:lnTo>
                      <a:pt x="118396" y="109157"/>
                    </a:lnTo>
                    <a:lnTo>
                      <a:pt x="119253" y="110871"/>
                    </a:lnTo>
                    <a:lnTo>
                      <a:pt x="120110" y="112586"/>
                    </a:lnTo>
                    <a:lnTo>
                      <a:pt x="123444" y="113443"/>
                    </a:lnTo>
                    <a:lnTo>
                      <a:pt x="125158" y="114300"/>
                    </a:lnTo>
                    <a:lnTo>
                      <a:pt x="126016" y="115062"/>
                    </a:lnTo>
                    <a:lnTo>
                      <a:pt x="127730" y="117634"/>
                    </a:lnTo>
                    <a:lnTo>
                      <a:pt x="130207" y="120205"/>
                    </a:lnTo>
                    <a:lnTo>
                      <a:pt x="131921" y="121920"/>
                    </a:lnTo>
                    <a:lnTo>
                      <a:pt x="132779" y="122682"/>
                    </a:lnTo>
                    <a:lnTo>
                      <a:pt x="133636" y="123539"/>
                    </a:lnTo>
                    <a:lnTo>
                      <a:pt x="134493" y="125254"/>
                    </a:lnTo>
                    <a:lnTo>
                      <a:pt x="135350" y="129445"/>
                    </a:lnTo>
                    <a:lnTo>
                      <a:pt x="136969" y="132017"/>
                    </a:lnTo>
                    <a:lnTo>
                      <a:pt x="137827" y="134588"/>
                    </a:lnTo>
                    <a:lnTo>
                      <a:pt x="138684" y="143923"/>
                    </a:lnTo>
                    <a:lnTo>
                      <a:pt x="138684" y="145542"/>
                    </a:lnTo>
                    <a:lnTo>
                      <a:pt x="138684" y="147257"/>
                    </a:lnTo>
                    <a:lnTo>
                      <a:pt x="137827" y="148971"/>
                    </a:lnTo>
                    <a:lnTo>
                      <a:pt x="137827" y="150686"/>
                    </a:lnTo>
                    <a:lnTo>
                      <a:pt x="136208" y="151447"/>
                    </a:lnTo>
                    <a:lnTo>
                      <a:pt x="131064" y="155734"/>
                    </a:lnTo>
                    <a:lnTo>
                      <a:pt x="127730" y="159067"/>
                    </a:lnTo>
                    <a:lnTo>
                      <a:pt x="127730" y="159925"/>
                    </a:lnTo>
                    <a:lnTo>
                      <a:pt x="127730" y="161639"/>
                    </a:lnTo>
                    <a:lnTo>
                      <a:pt x="127730" y="163354"/>
                    </a:lnTo>
                    <a:lnTo>
                      <a:pt x="126873" y="165068"/>
                    </a:lnTo>
                    <a:lnTo>
                      <a:pt x="126873" y="165925"/>
                    </a:lnTo>
                    <a:lnTo>
                      <a:pt x="125158" y="167545"/>
                    </a:lnTo>
                    <a:lnTo>
                      <a:pt x="124301" y="167545"/>
                    </a:lnTo>
                    <a:lnTo>
                      <a:pt x="122682" y="168402"/>
                    </a:lnTo>
                    <a:lnTo>
                      <a:pt x="119253" y="170117"/>
                    </a:lnTo>
                    <a:lnTo>
                      <a:pt x="116681" y="171831"/>
                    </a:lnTo>
                    <a:lnTo>
                      <a:pt x="115919" y="171831"/>
                    </a:lnTo>
                    <a:lnTo>
                      <a:pt x="109919" y="172688"/>
                    </a:lnTo>
                    <a:lnTo>
                      <a:pt x="108299" y="172688"/>
                    </a:lnTo>
                    <a:lnTo>
                      <a:pt x="107442" y="171831"/>
                    </a:lnTo>
                    <a:lnTo>
                      <a:pt x="107442" y="170974"/>
                    </a:lnTo>
                    <a:lnTo>
                      <a:pt x="104013" y="167545"/>
                    </a:lnTo>
                    <a:lnTo>
                      <a:pt x="103156" y="165925"/>
                    </a:lnTo>
                    <a:lnTo>
                      <a:pt x="101537" y="165068"/>
                    </a:lnTo>
                    <a:lnTo>
                      <a:pt x="98107" y="163354"/>
                    </a:lnTo>
                    <a:lnTo>
                      <a:pt x="93917" y="159925"/>
                    </a:lnTo>
                    <a:lnTo>
                      <a:pt x="93059" y="159925"/>
                    </a:lnTo>
                    <a:lnTo>
                      <a:pt x="92202" y="159067"/>
                    </a:lnTo>
                    <a:lnTo>
                      <a:pt x="91345" y="159067"/>
                    </a:lnTo>
                    <a:lnTo>
                      <a:pt x="90488" y="158305"/>
                    </a:lnTo>
                    <a:lnTo>
                      <a:pt x="89630" y="155734"/>
                    </a:lnTo>
                    <a:lnTo>
                      <a:pt x="88773" y="154876"/>
                    </a:lnTo>
                    <a:lnTo>
                      <a:pt x="88011" y="154019"/>
                    </a:lnTo>
                    <a:lnTo>
                      <a:pt x="88011" y="154019"/>
                    </a:lnTo>
                    <a:lnTo>
                      <a:pt x="87154" y="154019"/>
                    </a:lnTo>
                    <a:lnTo>
                      <a:pt x="86297" y="154019"/>
                    </a:lnTo>
                    <a:lnTo>
                      <a:pt x="85439" y="154876"/>
                    </a:lnTo>
                    <a:lnTo>
                      <a:pt x="84582" y="158305"/>
                    </a:lnTo>
                    <a:lnTo>
                      <a:pt x="82868" y="159925"/>
                    </a:lnTo>
                    <a:lnTo>
                      <a:pt x="79534" y="160782"/>
                    </a:lnTo>
                    <a:lnTo>
                      <a:pt x="78677" y="161639"/>
                    </a:lnTo>
                    <a:lnTo>
                      <a:pt x="78677" y="161639"/>
                    </a:lnTo>
                    <a:lnTo>
                      <a:pt x="78677" y="162496"/>
                    </a:lnTo>
                    <a:lnTo>
                      <a:pt x="79534" y="163354"/>
                    </a:lnTo>
                    <a:lnTo>
                      <a:pt x="80391" y="163354"/>
                    </a:lnTo>
                    <a:lnTo>
                      <a:pt x="81248" y="163354"/>
                    </a:lnTo>
                    <a:lnTo>
                      <a:pt x="82010" y="163354"/>
                    </a:lnTo>
                    <a:lnTo>
                      <a:pt x="82868" y="164211"/>
                    </a:lnTo>
                    <a:lnTo>
                      <a:pt x="82868" y="164211"/>
                    </a:lnTo>
                    <a:lnTo>
                      <a:pt x="83725" y="165068"/>
                    </a:lnTo>
                    <a:lnTo>
                      <a:pt x="83725" y="167545"/>
                    </a:lnTo>
                    <a:lnTo>
                      <a:pt x="83725" y="168402"/>
                    </a:lnTo>
                    <a:lnTo>
                      <a:pt x="84582" y="168402"/>
                    </a:lnTo>
                    <a:lnTo>
                      <a:pt x="84582" y="169259"/>
                    </a:lnTo>
                    <a:lnTo>
                      <a:pt x="85439" y="169259"/>
                    </a:lnTo>
                    <a:lnTo>
                      <a:pt x="87154" y="169259"/>
                    </a:lnTo>
                    <a:lnTo>
                      <a:pt x="87154" y="169259"/>
                    </a:lnTo>
                    <a:lnTo>
                      <a:pt x="88011" y="170117"/>
                    </a:lnTo>
                    <a:lnTo>
                      <a:pt x="88011" y="170117"/>
                    </a:lnTo>
                    <a:lnTo>
                      <a:pt x="88011" y="170974"/>
                    </a:lnTo>
                    <a:lnTo>
                      <a:pt x="88773" y="175165"/>
                    </a:lnTo>
                    <a:lnTo>
                      <a:pt x="88011" y="176879"/>
                    </a:lnTo>
                    <a:lnTo>
                      <a:pt x="87154" y="180308"/>
                    </a:lnTo>
                    <a:lnTo>
                      <a:pt x="81248" y="188690"/>
                    </a:lnTo>
                    <a:lnTo>
                      <a:pt x="78677" y="193834"/>
                    </a:lnTo>
                    <a:lnTo>
                      <a:pt x="77819" y="194691"/>
                    </a:lnTo>
                    <a:lnTo>
                      <a:pt x="78677" y="195453"/>
                    </a:lnTo>
                    <a:lnTo>
                      <a:pt x="78677" y="196310"/>
                    </a:lnTo>
                    <a:lnTo>
                      <a:pt x="79534" y="196310"/>
                    </a:lnTo>
                    <a:lnTo>
                      <a:pt x="80391" y="196310"/>
                    </a:lnTo>
                    <a:lnTo>
                      <a:pt x="80391" y="197167"/>
                    </a:lnTo>
                    <a:lnTo>
                      <a:pt x="81248" y="198025"/>
                    </a:lnTo>
                    <a:lnTo>
                      <a:pt x="81248" y="198882"/>
                    </a:lnTo>
                    <a:lnTo>
                      <a:pt x="81248" y="200596"/>
                    </a:lnTo>
                    <a:lnTo>
                      <a:pt x="82010" y="206502"/>
                    </a:lnTo>
                    <a:lnTo>
                      <a:pt x="81248" y="208217"/>
                    </a:lnTo>
                    <a:lnTo>
                      <a:pt x="81248" y="209931"/>
                    </a:lnTo>
                    <a:lnTo>
                      <a:pt x="80391" y="211550"/>
                    </a:lnTo>
                    <a:lnTo>
                      <a:pt x="80391" y="212408"/>
                    </a:lnTo>
                    <a:lnTo>
                      <a:pt x="80391" y="213265"/>
                    </a:lnTo>
                    <a:lnTo>
                      <a:pt x="80391" y="214979"/>
                    </a:lnTo>
                    <a:lnTo>
                      <a:pt x="80391" y="216694"/>
                    </a:lnTo>
                    <a:lnTo>
                      <a:pt x="80391" y="216694"/>
                    </a:lnTo>
                    <a:lnTo>
                      <a:pt x="78677" y="217456"/>
                    </a:lnTo>
                    <a:lnTo>
                      <a:pt x="77819" y="217456"/>
                    </a:lnTo>
                    <a:lnTo>
                      <a:pt x="75248" y="216694"/>
                    </a:lnTo>
                    <a:lnTo>
                      <a:pt x="68485" y="214979"/>
                    </a:lnTo>
                    <a:lnTo>
                      <a:pt x="67723" y="215837"/>
                    </a:lnTo>
                    <a:lnTo>
                      <a:pt x="66866" y="216694"/>
                    </a:lnTo>
                    <a:lnTo>
                      <a:pt x="66008" y="217456"/>
                    </a:lnTo>
                    <a:lnTo>
                      <a:pt x="65151" y="218313"/>
                    </a:lnTo>
                    <a:lnTo>
                      <a:pt x="65151" y="219170"/>
                    </a:lnTo>
                    <a:lnTo>
                      <a:pt x="65151" y="220028"/>
                    </a:lnTo>
                    <a:lnTo>
                      <a:pt x="65151" y="220885"/>
                    </a:lnTo>
                    <a:lnTo>
                      <a:pt x="65151" y="221742"/>
                    </a:lnTo>
                    <a:lnTo>
                      <a:pt x="64294" y="222599"/>
                    </a:lnTo>
                    <a:lnTo>
                      <a:pt x="63437" y="223457"/>
                    </a:lnTo>
                    <a:lnTo>
                      <a:pt x="61722" y="224314"/>
                    </a:lnTo>
                    <a:lnTo>
                      <a:pt x="60865" y="225076"/>
                    </a:lnTo>
                    <a:lnTo>
                      <a:pt x="59246" y="225076"/>
                    </a:lnTo>
                    <a:lnTo>
                      <a:pt x="56674" y="224314"/>
                    </a:lnTo>
                    <a:lnTo>
                      <a:pt x="56674" y="228505"/>
                    </a:lnTo>
                    <a:lnTo>
                      <a:pt x="56674" y="231076"/>
                    </a:lnTo>
                    <a:lnTo>
                      <a:pt x="55817" y="232696"/>
                    </a:lnTo>
                    <a:lnTo>
                      <a:pt x="54959" y="234410"/>
                    </a:lnTo>
                    <a:lnTo>
                      <a:pt x="54959" y="234410"/>
                    </a:lnTo>
                    <a:lnTo>
                      <a:pt x="54102" y="235267"/>
                    </a:lnTo>
                    <a:lnTo>
                      <a:pt x="53340" y="235267"/>
                    </a:lnTo>
                    <a:lnTo>
                      <a:pt x="51626" y="233553"/>
                    </a:lnTo>
                    <a:lnTo>
                      <a:pt x="51626" y="232696"/>
                    </a:lnTo>
                    <a:lnTo>
                      <a:pt x="50768" y="231838"/>
                    </a:lnTo>
                    <a:lnTo>
                      <a:pt x="49911" y="231838"/>
                    </a:lnTo>
                    <a:lnTo>
                      <a:pt x="48197" y="231838"/>
                    </a:lnTo>
                    <a:lnTo>
                      <a:pt x="48197" y="231838"/>
                    </a:lnTo>
                    <a:lnTo>
                      <a:pt x="46577" y="232696"/>
                    </a:lnTo>
                    <a:lnTo>
                      <a:pt x="45720" y="233553"/>
                    </a:lnTo>
                    <a:lnTo>
                      <a:pt x="45720" y="233553"/>
                    </a:lnTo>
                    <a:lnTo>
                      <a:pt x="44863" y="232696"/>
                    </a:lnTo>
                    <a:lnTo>
                      <a:pt x="44006" y="231838"/>
                    </a:lnTo>
                    <a:lnTo>
                      <a:pt x="43148" y="231838"/>
                    </a:lnTo>
                    <a:lnTo>
                      <a:pt x="42291" y="231076"/>
                    </a:lnTo>
                    <a:lnTo>
                      <a:pt x="41434" y="231838"/>
                    </a:lnTo>
                    <a:lnTo>
                      <a:pt x="39815" y="232696"/>
                    </a:lnTo>
                    <a:lnTo>
                      <a:pt x="38957" y="233553"/>
                    </a:lnTo>
                    <a:lnTo>
                      <a:pt x="38957" y="233553"/>
                    </a:lnTo>
                    <a:lnTo>
                      <a:pt x="38100" y="233553"/>
                    </a:lnTo>
                    <a:lnTo>
                      <a:pt x="37243" y="232696"/>
                    </a:lnTo>
                    <a:lnTo>
                      <a:pt x="36385" y="231076"/>
                    </a:lnTo>
                    <a:lnTo>
                      <a:pt x="35528" y="227647"/>
                    </a:lnTo>
                    <a:lnTo>
                      <a:pt x="32195" y="223457"/>
                    </a:lnTo>
                    <a:lnTo>
                      <a:pt x="27051" y="225076"/>
                    </a:lnTo>
                    <a:lnTo>
                      <a:pt x="24575" y="225933"/>
                    </a:lnTo>
                    <a:lnTo>
                      <a:pt x="22003" y="225933"/>
                    </a:lnTo>
                    <a:lnTo>
                      <a:pt x="19431" y="225933"/>
                    </a:lnTo>
                    <a:lnTo>
                      <a:pt x="18669" y="225933"/>
                    </a:lnTo>
                    <a:lnTo>
                      <a:pt x="17812" y="226790"/>
                    </a:lnTo>
                    <a:lnTo>
                      <a:pt x="17812" y="226790"/>
                    </a:lnTo>
                    <a:lnTo>
                      <a:pt x="16955" y="226790"/>
                    </a:lnTo>
                    <a:lnTo>
                      <a:pt x="14383" y="225933"/>
                    </a:lnTo>
                    <a:lnTo>
                      <a:pt x="13526" y="225933"/>
                    </a:lnTo>
                    <a:lnTo>
                      <a:pt x="12668" y="225933"/>
                    </a:lnTo>
                    <a:lnTo>
                      <a:pt x="11906" y="227647"/>
                    </a:lnTo>
                    <a:lnTo>
                      <a:pt x="11049" y="227647"/>
                    </a:lnTo>
                    <a:lnTo>
                      <a:pt x="8477" y="229362"/>
                    </a:lnTo>
                    <a:lnTo>
                      <a:pt x="5906" y="229362"/>
                    </a:lnTo>
                    <a:lnTo>
                      <a:pt x="5906" y="229362"/>
                    </a:lnTo>
                    <a:lnTo>
                      <a:pt x="5906" y="230219"/>
                    </a:lnTo>
                    <a:lnTo>
                      <a:pt x="5906" y="236125"/>
                    </a:lnTo>
                    <a:lnTo>
                      <a:pt x="5906" y="238696"/>
                    </a:lnTo>
                    <a:lnTo>
                      <a:pt x="5144" y="240316"/>
                    </a:lnTo>
                    <a:lnTo>
                      <a:pt x="3429" y="242030"/>
                    </a:lnTo>
                    <a:lnTo>
                      <a:pt x="2572" y="242888"/>
                    </a:lnTo>
                    <a:lnTo>
                      <a:pt x="1715" y="243745"/>
                    </a:lnTo>
                    <a:lnTo>
                      <a:pt x="857" y="244602"/>
                    </a:lnTo>
                    <a:lnTo>
                      <a:pt x="1715" y="247936"/>
                    </a:lnTo>
                    <a:lnTo>
                      <a:pt x="857" y="252222"/>
                    </a:lnTo>
                    <a:lnTo>
                      <a:pt x="857" y="253841"/>
                    </a:lnTo>
                    <a:lnTo>
                      <a:pt x="0" y="255556"/>
                    </a:lnTo>
                    <a:lnTo>
                      <a:pt x="0" y="256413"/>
                    </a:lnTo>
                    <a:lnTo>
                      <a:pt x="2572" y="259842"/>
                    </a:lnTo>
                    <a:lnTo>
                      <a:pt x="2572" y="261461"/>
                    </a:lnTo>
                    <a:lnTo>
                      <a:pt x="2572" y="265747"/>
                    </a:lnTo>
                    <a:lnTo>
                      <a:pt x="2572" y="267462"/>
                    </a:lnTo>
                    <a:lnTo>
                      <a:pt x="4286" y="267462"/>
                    </a:lnTo>
                    <a:lnTo>
                      <a:pt x="8477" y="262319"/>
                    </a:lnTo>
                    <a:lnTo>
                      <a:pt x="8477" y="264033"/>
                    </a:lnTo>
                    <a:lnTo>
                      <a:pt x="9334" y="264890"/>
                    </a:lnTo>
                    <a:lnTo>
                      <a:pt x="9334" y="265747"/>
                    </a:lnTo>
                    <a:lnTo>
                      <a:pt x="8477" y="266605"/>
                    </a:lnTo>
                    <a:lnTo>
                      <a:pt x="7620" y="266605"/>
                    </a:lnTo>
                    <a:lnTo>
                      <a:pt x="7620" y="266605"/>
                    </a:lnTo>
                    <a:lnTo>
                      <a:pt x="6763" y="267462"/>
                    </a:lnTo>
                    <a:lnTo>
                      <a:pt x="7620" y="269938"/>
                    </a:lnTo>
                    <a:lnTo>
                      <a:pt x="8477" y="271653"/>
                    </a:lnTo>
                    <a:lnTo>
                      <a:pt x="8477" y="272510"/>
                    </a:lnTo>
                    <a:lnTo>
                      <a:pt x="5906" y="273367"/>
                    </a:lnTo>
                    <a:lnTo>
                      <a:pt x="5906" y="272510"/>
                    </a:lnTo>
                    <a:lnTo>
                      <a:pt x="5144" y="271653"/>
                    </a:lnTo>
                    <a:lnTo>
                      <a:pt x="5144" y="270796"/>
                    </a:lnTo>
                    <a:lnTo>
                      <a:pt x="4286" y="269938"/>
                    </a:lnTo>
                    <a:lnTo>
                      <a:pt x="6763" y="278416"/>
                    </a:lnTo>
                    <a:lnTo>
                      <a:pt x="7620" y="284321"/>
                    </a:lnTo>
                    <a:lnTo>
                      <a:pt x="6763" y="286036"/>
                    </a:lnTo>
                    <a:lnTo>
                      <a:pt x="7620" y="291941"/>
                    </a:lnTo>
                    <a:lnTo>
                      <a:pt x="10192" y="294513"/>
                    </a:lnTo>
                    <a:lnTo>
                      <a:pt x="11049" y="294513"/>
                    </a:lnTo>
                    <a:lnTo>
                      <a:pt x="11049" y="293656"/>
                    </a:lnTo>
                    <a:lnTo>
                      <a:pt x="11049" y="292799"/>
                    </a:lnTo>
                    <a:lnTo>
                      <a:pt x="11049" y="291941"/>
                    </a:lnTo>
                    <a:lnTo>
                      <a:pt x="9334" y="291084"/>
                    </a:lnTo>
                    <a:lnTo>
                      <a:pt x="9334" y="290322"/>
                    </a:lnTo>
                    <a:lnTo>
                      <a:pt x="10192" y="289465"/>
                    </a:lnTo>
                    <a:lnTo>
                      <a:pt x="9334" y="287750"/>
                    </a:lnTo>
                    <a:lnTo>
                      <a:pt x="9334" y="286893"/>
                    </a:lnTo>
                    <a:lnTo>
                      <a:pt x="10192" y="286893"/>
                    </a:lnTo>
                    <a:lnTo>
                      <a:pt x="11906" y="287750"/>
                    </a:lnTo>
                    <a:lnTo>
                      <a:pt x="12668" y="288608"/>
                    </a:lnTo>
                    <a:lnTo>
                      <a:pt x="13526" y="289465"/>
                    </a:lnTo>
                    <a:lnTo>
                      <a:pt x="13526" y="291084"/>
                    </a:lnTo>
                    <a:lnTo>
                      <a:pt x="14383" y="291941"/>
                    </a:lnTo>
                    <a:lnTo>
                      <a:pt x="15240" y="292799"/>
                    </a:lnTo>
                    <a:lnTo>
                      <a:pt x="16097" y="292799"/>
                    </a:lnTo>
                    <a:lnTo>
                      <a:pt x="17812" y="292799"/>
                    </a:lnTo>
                    <a:lnTo>
                      <a:pt x="20288" y="291941"/>
                    </a:lnTo>
                    <a:lnTo>
                      <a:pt x="22860" y="291084"/>
                    </a:lnTo>
                    <a:lnTo>
                      <a:pt x="25432" y="292799"/>
                    </a:lnTo>
                    <a:lnTo>
                      <a:pt x="12668" y="297847"/>
                    </a:lnTo>
                    <a:lnTo>
                      <a:pt x="11049" y="298704"/>
                    </a:lnTo>
                    <a:lnTo>
                      <a:pt x="10192" y="300419"/>
                    </a:lnTo>
                    <a:lnTo>
                      <a:pt x="10192" y="302990"/>
                    </a:lnTo>
                    <a:lnTo>
                      <a:pt x="11906" y="309753"/>
                    </a:lnTo>
                    <a:lnTo>
                      <a:pt x="11906" y="310610"/>
                    </a:lnTo>
                    <a:lnTo>
                      <a:pt x="15240" y="313944"/>
                    </a:lnTo>
                    <a:lnTo>
                      <a:pt x="16955" y="315659"/>
                    </a:lnTo>
                    <a:lnTo>
                      <a:pt x="18669" y="315659"/>
                    </a:lnTo>
                    <a:lnTo>
                      <a:pt x="20288" y="313944"/>
                    </a:lnTo>
                    <a:lnTo>
                      <a:pt x="22003" y="314801"/>
                    </a:lnTo>
                    <a:lnTo>
                      <a:pt x="25432" y="317373"/>
                    </a:lnTo>
                    <a:lnTo>
                      <a:pt x="27051" y="319088"/>
                    </a:lnTo>
                    <a:lnTo>
                      <a:pt x="28766" y="319088"/>
                    </a:lnTo>
                    <a:lnTo>
                      <a:pt x="35528" y="319088"/>
                    </a:lnTo>
                    <a:lnTo>
                      <a:pt x="37243" y="319088"/>
                    </a:lnTo>
                    <a:lnTo>
                      <a:pt x="38957" y="320707"/>
                    </a:lnTo>
                    <a:lnTo>
                      <a:pt x="39815" y="323279"/>
                    </a:lnTo>
                    <a:lnTo>
                      <a:pt x="40577" y="323279"/>
                    </a:lnTo>
                    <a:lnTo>
                      <a:pt x="41434" y="324136"/>
                    </a:lnTo>
                    <a:lnTo>
                      <a:pt x="41434" y="325850"/>
                    </a:lnTo>
                    <a:lnTo>
                      <a:pt x="41434" y="328327"/>
                    </a:lnTo>
                    <a:lnTo>
                      <a:pt x="44006" y="329184"/>
                    </a:lnTo>
                    <a:lnTo>
                      <a:pt x="41434" y="330899"/>
                    </a:lnTo>
                    <a:lnTo>
                      <a:pt x="39815" y="328327"/>
                    </a:lnTo>
                    <a:lnTo>
                      <a:pt x="37243" y="322421"/>
                    </a:lnTo>
                    <a:lnTo>
                      <a:pt x="35528" y="319850"/>
                    </a:lnTo>
                    <a:lnTo>
                      <a:pt x="33814" y="319850"/>
                    </a:lnTo>
                    <a:lnTo>
                      <a:pt x="32195" y="320707"/>
                    </a:lnTo>
                    <a:lnTo>
                      <a:pt x="30480" y="320707"/>
                    </a:lnTo>
                    <a:lnTo>
                      <a:pt x="27051" y="320707"/>
                    </a:lnTo>
                    <a:lnTo>
                      <a:pt x="25432" y="319850"/>
                    </a:lnTo>
                    <a:lnTo>
                      <a:pt x="23717" y="317373"/>
                    </a:lnTo>
                    <a:lnTo>
                      <a:pt x="20288" y="317373"/>
                    </a:lnTo>
                    <a:lnTo>
                      <a:pt x="14383" y="318230"/>
                    </a:lnTo>
                    <a:lnTo>
                      <a:pt x="13526" y="319850"/>
                    </a:lnTo>
                    <a:lnTo>
                      <a:pt x="13526" y="324136"/>
                    </a:lnTo>
                    <a:lnTo>
                      <a:pt x="13526" y="330899"/>
                    </a:lnTo>
                    <a:lnTo>
                      <a:pt x="15240" y="329184"/>
                    </a:lnTo>
                    <a:lnTo>
                      <a:pt x="16955" y="326708"/>
                    </a:lnTo>
                    <a:lnTo>
                      <a:pt x="17812" y="324993"/>
                    </a:lnTo>
                    <a:lnTo>
                      <a:pt x="19431" y="324993"/>
                    </a:lnTo>
                    <a:lnTo>
                      <a:pt x="18669" y="326708"/>
                    </a:lnTo>
                    <a:lnTo>
                      <a:pt x="16955" y="330041"/>
                    </a:lnTo>
                    <a:lnTo>
                      <a:pt x="14383" y="335090"/>
                    </a:lnTo>
                    <a:lnTo>
                      <a:pt x="14383" y="335947"/>
                    </a:lnTo>
                    <a:lnTo>
                      <a:pt x="14383" y="336804"/>
                    </a:lnTo>
                    <a:lnTo>
                      <a:pt x="15240" y="336804"/>
                    </a:lnTo>
                    <a:lnTo>
                      <a:pt x="16097" y="335947"/>
                    </a:lnTo>
                    <a:lnTo>
                      <a:pt x="16955" y="334328"/>
                    </a:lnTo>
                    <a:lnTo>
                      <a:pt x="17812" y="334328"/>
                    </a:lnTo>
                    <a:lnTo>
                      <a:pt x="18669" y="334328"/>
                    </a:lnTo>
                    <a:lnTo>
                      <a:pt x="18669" y="334328"/>
                    </a:lnTo>
                    <a:lnTo>
                      <a:pt x="18669" y="335090"/>
                    </a:lnTo>
                    <a:lnTo>
                      <a:pt x="17812" y="336804"/>
                    </a:lnTo>
                    <a:lnTo>
                      <a:pt x="17812" y="337661"/>
                    </a:lnTo>
                    <a:lnTo>
                      <a:pt x="17812" y="338519"/>
                    </a:lnTo>
                    <a:lnTo>
                      <a:pt x="18669" y="340233"/>
                    </a:lnTo>
                    <a:lnTo>
                      <a:pt x="18669" y="341852"/>
                    </a:lnTo>
                    <a:lnTo>
                      <a:pt x="18669" y="342709"/>
                    </a:lnTo>
                    <a:lnTo>
                      <a:pt x="17812" y="346996"/>
                    </a:lnTo>
                    <a:lnTo>
                      <a:pt x="18669" y="346996"/>
                    </a:lnTo>
                    <a:lnTo>
                      <a:pt x="18669" y="347853"/>
                    </a:lnTo>
                    <a:lnTo>
                      <a:pt x="18669" y="349472"/>
                    </a:lnTo>
                    <a:lnTo>
                      <a:pt x="17812" y="350330"/>
                    </a:lnTo>
                    <a:lnTo>
                      <a:pt x="17812" y="350330"/>
                    </a:lnTo>
                    <a:lnTo>
                      <a:pt x="16955" y="349472"/>
                    </a:lnTo>
                    <a:lnTo>
                      <a:pt x="16955" y="352901"/>
                    </a:lnTo>
                    <a:lnTo>
                      <a:pt x="16955" y="354616"/>
                    </a:lnTo>
                    <a:lnTo>
                      <a:pt x="16097" y="356330"/>
                    </a:lnTo>
                    <a:lnTo>
                      <a:pt x="13526" y="358807"/>
                    </a:lnTo>
                    <a:lnTo>
                      <a:pt x="12668" y="360521"/>
                    </a:lnTo>
                    <a:lnTo>
                      <a:pt x="13526" y="362236"/>
                    </a:lnTo>
                    <a:lnTo>
                      <a:pt x="15240" y="360521"/>
                    </a:lnTo>
                    <a:lnTo>
                      <a:pt x="15240" y="359664"/>
                    </a:lnTo>
                    <a:lnTo>
                      <a:pt x="16097" y="359664"/>
                    </a:lnTo>
                    <a:lnTo>
                      <a:pt x="16955" y="359664"/>
                    </a:lnTo>
                    <a:lnTo>
                      <a:pt x="16955" y="361379"/>
                    </a:lnTo>
                    <a:lnTo>
                      <a:pt x="16955" y="362236"/>
                    </a:lnTo>
                    <a:lnTo>
                      <a:pt x="16955" y="363855"/>
                    </a:lnTo>
                    <a:lnTo>
                      <a:pt x="16955" y="364712"/>
                    </a:lnTo>
                    <a:lnTo>
                      <a:pt x="17812" y="366427"/>
                    </a:lnTo>
                    <a:lnTo>
                      <a:pt x="18669" y="365570"/>
                    </a:lnTo>
                    <a:lnTo>
                      <a:pt x="19431" y="363855"/>
                    </a:lnTo>
                    <a:lnTo>
                      <a:pt x="20288" y="358807"/>
                    </a:lnTo>
                    <a:lnTo>
                      <a:pt x="22003" y="356330"/>
                    </a:lnTo>
                    <a:lnTo>
                      <a:pt x="23717" y="352901"/>
                    </a:lnTo>
                    <a:lnTo>
                      <a:pt x="25432" y="351187"/>
                    </a:lnTo>
                    <a:lnTo>
                      <a:pt x="26289" y="354616"/>
                    </a:lnTo>
                    <a:lnTo>
                      <a:pt x="26289" y="355473"/>
                    </a:lnTo>
                    <a:lnTo>
                      <a:pt x="31337" y="350330"/>
                    </a:lnTo>
                    <a:lnTo>
                      <a:pt x="32195" y="347853"/>
                    </a:lnTo>
                    <a:lnTo>
                      <a:pt x="30480" y="346996"/>
                    </a:lnTo>
                    <a:lnTo>
                      <a:pt x="31337" y="345281"/>
                    </a:lnTo>
                    <a:lnTo>
                      <a:pt x="31337" y="341090"/>
                    </a:lnTo>
                    <a:lnTo>
                      <a:pt x="33052" y="339376"/>
                    </a:lnTo>
                    <a:lnTo>
                      <a:pt x="34671" y="335947"/>
                    </a:lnTo>
                    <a:lnTo>
                      <a:pt x="35528" y="335947"/>
                    </a:lnTo>
                    <a:lnTo>
                      <a:pt x="34671" y="343567"/>
                    </a:lnTo>
                    <a:lnTo>
                      <a:pt x="35528" y="345281"/>
                    </a:lnTo>
                    <a:lnTo>
                      <a:pt x="37243" y="346138"/>
                    </a:lnTo>
                    <a:lnTo>
                      <a:pt x="37243" y="346996"/>
                    </a:lnTo>
                    <a:lnTo>
                      <a:pt x="36385" y="349472"/>
                    </a:lnTo>
                    <a:lnTo>
                      <a:pt x="37243" y="350330"/>
                    </a:lnTo>
                    <a:lnTo>
                      <a:pt x="36385" y="352901"/>
                    </a:lnTo>
                    <a:lnTo>
                      <a:pt x="37243" y="354616"/>
                    </a:lnTo>
                    <a:lnTo>
                      <a:pt x="39815" y="353759"/>
                    </a:lnTo>
                    <a:lnTo>
                      <a:pt x="42291" y="352044"/>
                    </a:lnTo>
                    <a:lnTo>
                      <a:pt x="44863" y="352901"/>
                    </a:lnTo>
                    <a:lnTo>
                      <a:pt x="43148" y="354616"/>
                    </a:lnTo>
                    <a:lnTo>
                      <a:pt x="43148" y="354616"/>
                    </a:lnTo>
                    <a:lnTo>
                      <a:pt x="37243" y="356330"/>
                    </a:lnTo>
                    <a:lnTo>
                      <a:pt x="34671" y="357950"/>
                    </a:lnTo>
                    <a:lnTo>
                      <a:pt x="33052" y="357950"/>
                    </a:lnTo>
                    <a:lnTo>
                      <a:pt x="33052" y="358807"/>
                    </a:lnTo>
                    <a:lnTo>
                      <a:pt x="37243" y="358807"/>
                    </a:lnTo>
                    <a:lnTo>
                      <a:pt x="35528" y="360521"/>
                    </a:lnTo>
                    <a:lnTo>
                      <a:pt x="34671" y="360521"/>
                    </a:lnTo>
                    <a:lnTo>
                      <a:pt x="33052" y="359664"/>
                    </a:lnTo>
                    <a:lnTo>
                      <a:pt x="31337" y="360521"/>
                    </a:lnTo>
                    <a:lnTo>
                      <a:pt x="31337" y="363855"/>
                    </a:lnTo>
                    <a:lnTo>
                      <a:pt x="30480" y="364712"/>
                    </a:lnTo>
                    <a:lnTo>
                      <a:pt x="28766" y="363093"/>
                    </a:lnTo>
                    <a:lnTo>
                      <a:pt x="27051" y="366427"/>
                    </a:lnTo>
                    <a:lnTo>
                      <a:pt x="28766" y="369856"/>
                    </a:lnTo>
                    <a:lnTo>
                      <a:pt x="32195" y="370713"/>
                    </a:lnTo>
                    <a:lnTo>
                      <a:pt x="33814" y="369856"/>
                    </a:lnTo>
                    <a:lnTo>
                      <a:pt x="34671" y="369856"/>
                    </a:lnTo>
                    <a:lnTo>
                      <a:pt x="34671" y="368999"/>
                    </a:lnTo>
                    <a:lnTo>
                      <a:pt x="35528" y="368999"/>
                    </a:lnTo>
                    <a:lnTo>
                      <a:pt x="36385" y="368999"/>
                    </a:lnTo>
                    <a:lnTo>
                      <a:pt x="36385" y="368999"/>
                    </a:lnTo>
                    <a:lnTo>
                      <a:pt x="36385" y="370713"/>
                    </a:lnTo>
                    <a:lnTo>
                      <a:pt x="35528" y="371475"/>
                    </a:lnTo>
                    <a:lnTo>
                      <a:pt x="35528" y="372332"/>
                    </a:lnTo>
                    <a:lnTo>
                      <a:pt x="36385" y="374047"/>
                    </a:lnTo>
                    <a:lnTo>
                      <a:pt x="37243" y="374904"/>
                    </a:lnTo>
                    <a:lnTo>
                      <a:pt x="39815" y="375761"/>
                    </a:lnTo>
                    <a:lnTo>
                      <a:pt x="38957" y="377476"/>
                    </a:lnTo>
                    <a:lnTo>
                      <a:pt x="37243" y="379952"/>
                    </a:lnTo>
                    <a:lnTo>
                      <a:pt x="37243" y="383381"/>
                    </a:lnTo>
                    <a:lnTo>
                      <a:pt x="38100" y="385858"/>
                    </a:lnTo>
                    <a:lnTo>
                      <a:pt x="36385" y="385096"/>
                    </a:lnTo>
                    <a:lnTo>
                      <a:pt x="34671" y="383381"/>
                    </a:lnTo>
                    <a:lnTo>
                      <a:pt x="34671" y="382524"/>
                    </a:lnTo>
                    <a:lnTo>
                      <a:pt x="35528" y="379952"/>
                    </a:lnTo>
                    <a:lnTo>
                      <a:pt x="31337" y="375761"/>
                    </a:lnTo>
                    <a:lnTo>
                      <a:pt x="30480" y="374047"/>
                    </a:lnTo>
                    <a:lnTo>
                      <a:pt x="28766" y="377476"/>
                    </a:lnTo>
                    <a:lnTo>
                      <a:pt x="27908" y="377476"/>
                    </a:lnTo>
                    <a:lnTo>
                      <a:pt x="26289" y="376619"/>
                    </a:lnTo>
                    <a:lnTo>
                      <a:pt x="25432" y="376619"/>
                    </a:lnTo>
                    <a:lnTo>
                      <a:pt x="23717" y="377476"/>
                    </a:lnTo>
                    <a:lnTo>
                      <a:pt x="22860" y="379095"/>
                    </a:lnTo>
                    <a:lnTo>
                      <a:pt x="22003" y="380809"/>
                    </a:lnTo>
                    <a:lnTo>
                      <a:pt x="22003" y="386715"/>
                    </a:lnTo>
                    <a:lnTo>
                      <a:pt x="22003" y="391859"/>
                    </a:lnTo>
                    <a:lnTo>
                      <a:pt x="23717" y="395192"/>
                    </a:lnTo>
                    <a:lnTo>
                      <a:pt x="25432" y="396907"/>
                    </a:lnTo>
                    <a:lnTo>
                      <a:pt x="27908" y="403670"/>
                    </a:lnTo>
                    <a:lnTo>
                      <a:pt x="28766" y="405384"/>
                    </a:lnTo>
                    <a:lnTo>
                      <a:pt x="29623" y="406241"/>
                    </a:lnTo>
                    <a:lnTo>
                      <a:pt x="33052" y="405384"/>
                    </a:lnTo>
                    <a:lnTo>
                      <a:pt x="33814" y="406241"/>
                    </a:lnTo>
                    <a:lnTo>
                      <a:pt x="35528" y="407861"/>
                    </a:lnTo>
                    <a:lnTo>
                      <a:pt x="36385" y="409575"/>
                    </a:lnTo>
                    <a:lnTo>
                      <a:pt x="36385" y="411290"/>
                    </a:lnTo>
                    <a:lnTo>
                      <a:pt x="37243" y="413861"/>
                    </a:lnTo>
                    <a:lnTo>
                      <a:pt x="38957" y="414719"/>
                    </a:lnTo>
                    <a:lnTo>
                      <a:pt x="39815" y="415480"/>
                    </a:lnTo>
                    <a:lnTo>
                      <a:pt x="38957" y="418052"/>
                    </a:lnTo>
                    <a:lnTo>
                      <a:pt x="37243" y="415480"/>
                    </a:lnTo>
                    <a:lnTo>
                      <a:pt x="33814" y="410432"/>
                    </a:lnTo>
                    <a:lnTo>
                      <a:pt x="32195" y="408718"/>
                    </a:lnTo>
                    <a:lnTo>
                      <a:pt x="29623" y="407861"/>
                    </a:lnTo>
                    <a:lnTo>
                      <a:pt x="27908" y="409575"/>
                    </a:lnTo>
                    <a:lnTo>
                      <a:pt x="27051" y="412147"/>
                    </a:lnTo>
                    <a:lnTo>
                      <a:pt x="26289" y="414719"/>
                    </a:lnTo>
                    <a:lnTo>
                      <a:pt x="26289" y="418909"/>
                    </a:lnTo>
                    <a:lnTo>
                      <a:pt x="26289" y="420624"/>
                    </a:lnTo>
                    <a:lnTo>
                      <a:pt x="27051" y="422243"/>
                    </a:lnTo>
                    <a:lnTo>
                      <a:pt x="27908" y="423100"/>
                    </a:lnTo>
                    <a:lnTo>
                      <a:pt x="28766" y="423958"/>
                    </a:lnTo>
                    <a:lnTo>
                      <a:pt x="28766" y="425672"/>
                    </a:lnTo>
                    <a:lnTo>
                      <a:pt x="28766" y="426530"/>
                    </a:lnTo>
                    <a:lnTo>
                      <a:pt x="28766" y="427387"/>
                    </a:lnTo>
                    <a:lnTo>
                      <a:pt x="28766" y="427387"/>
                    </a:lnTo>
                    <a:lnTo>
                      <a:pt x="28766" y="428244"/>
                    </a:lnTo>
                    <a:lnTo>
                      <a:pt x="29623" y="429101"/>
                    </a:lnTo>
                    <a:lnTo>
                      <a:pt x="29623" y="429101"/>
                    </a:lnTo>
                    <a:lnTo>
                      <a:pt x="30480" y="429101"/>
                    </a:lnTo>
                    <a:lnTo>
                      <a:pt x="31337" y="429101"/>
                    </a:lnTo>
                    <a:lnTo>
                      <a:pt x="33052" y="431578"/>
                    </a:lnTo>
                    <a:lnTo>
                      <a:pt x="33814" y="432435"/>
                    </a:lnTo>
                    <a:lnTo>
                      <a:pt x="35528" y="432435"/>
                    </a:lnTo>
                    <a:lnTo>
                      <a:pt x="34671" y="434150"/>
                    </a:lnTo>
                    <a:lnTo>
                      <a:pt x="35528" y="435864"/>
                    </a:lnTo>
                    <a:lnTo>
                      <a:pt x="38100" y="437483"/>
                    </a:lnTo>
                    <a:lnTo>
                      <a:pt x="39815" y="437483"/>
                    </a:lnTo>
                    <a:lnTo>
                      <a:pt x="43148" y="437483"/>
                    </a:lnTo>
                    <a:lnTo>
                      <a:pt x="44863" y="437483"/>
                    </a:lnTo>
                    <a:lnTo>
                      <a:pt x="46577" y="438341"/>
                    </a:lnTo>
                    <a:lnTo>
                      <a:pt x="45720" y="440055"/>
                    </a:lnTo>
                    <a:lnTo>
                      <a:pt x="46577" y="444246"/>
                    </a:lnTo>
                    <a:lnTo>
                      <a:pt x="46577" y="446818"/>
                    </a:lnTo>
                    <a:lnTo>
                      <a:pt x="44863" y="448532"/>
                    </a:lnTo>
                    <a:lnTo>
                      <a:pt x="43148" y="448532"/>
                    </a:lnTo>
                    <a:lnTo>
                      <a:pt x="43148" y="446818"/>
                    </a:lnTo>
                    <a:lnTo>
                      <a:pt x="45720" y="445961"/>
                    </a:lnTo>
                    <a:lnTo>
                      <a:pt x="44006" y="444246"/>
                    </a:lnTo>
                    <a:lnTo>
                      <a:pt x="41434" y="442627"/>
                    </a:lnTo>
                    <a:lnTo>
                      <a:pt x="39815" y="441770"/>
                    </a:lnTo>
                    <a:lnTo>
                      <a:pt x="38100" y="441770"/>
                    </a:lnTo>
                    <a:lnTo>
                      <a:pt x="36385" y="441770"/>
                    </a:lnTo>
                    <a:lnTo>
                      <a:pt x="35528" y="442627"/>
                    </a:lnTo>
                    <a:lnTo>
                      <a:pt x="35528" y="441770"/>
                    </a:lnTo>
                    <a:lnTo>
                      <a:pt x="34671" y="440912"/>
                    </a:lnTo>
                    <a:lnTo>
                      <a:pt x="33814" y="439198"/>
                    </a:lnTo>
                    <a:lnTo>
                      <a:pt x="33814" y="438341"/>
                    </a:lnTo>
                    <a:lnTo>
                      <a:pt x="33052" y="437483"/>
                    </a:lnTo>
                    <a:lnTo>
                      <a:pt x="31337" y="436721"/>
                    </a:lnTo>
                    <a:lnTo>
                      <a:pt x="31337" y="438341"/>
                    </a:lnTo>
                    <a:lnTo>
                      <a:pt x="31337" y="439198"/>
                    </a:lnTo>
                    <a:lnTo>
                      <a:pt x="31337" y="440055"/>
                    </a:lnTo>
                    <a:lnTo>
                      <a:pt x="31337" y="440912"/>
                    </a:lnTo>
                    <a:lnTo>
                      <a:pt x="31337" y="441770"/>
                    </a:lnTo>
                    <a:lnTo>
                      <a:pt x="30480" y="444246"/>
                    </a:lnTo>
                    <a:lnTo>
                      <a:pt x="33052" y="445103"/>
                    </a:lnTo>
                    <a:lnTo>
                      <a:pt x="34671" y="447675"/>
                    </a:lnTo>
                    <a:lnTo>
                      <a:pt x="35528" y="456152"/>
                    </a:lnTo>
                    <a:lnTo>
                      <a:pt x="36385" y="457009"/>
                    </a:lnTo>
                    <a:lnTo>
                      <a:pt x="36385" y="457867"/>
                    </a:lnTo>
                    <a:lnTo>
                      <a:pt x="37243" y="458724"/>
                    </a:lnTo>
                    <a:lnTo>
                      <a:pt x="37243" y="460343"/>
                    </a:lnTo>
                    <a:lnTo>
                      <a:pt x="36385" y="460343"/>
                    </a:lnTo>
                    <a:lnTo>
                      <a:pt x="36385" y="461200"/>
                    </a:lnTo>
                    <a:lnTo>
                      <a:pt x="37243" y="462058"/>
                    </a:lnTo>
                    <a:lnTo>
                      <a:pt x="38100" y="463772"/>
                    </a:lnTo>
                    <a:lnTo>
                      <a:pt x="38957" y="465487"/>
                    </a:lnTo>
                    <a:lnTo>
                      <a:pt x="39815" y="464630"/>
                    </a:lnTo>
                    <a:lnTo>
                      <a:pt x="40577" y="463772"/>
                    </a:lnTo>
                    <a:lnTo>
                      <a:pt x="41434" y="462915"/>
                    </a:lnTo>
                    <a:lnTo>
                      <a:pt x="43148" y="462058"/>
                    </a:lnTo>
                    <a:lnTo>
                      <a:pt x="43148" y="464630"/>
                    </a:lnTo>
                    <a:lnTo>
                      <a:pt x="41434" y="465487"/>
                    </a:lnTo>
                    <a:lnTo>
                      <a:pt x="40577" y="466249"/>
                    </a:lnTo>
                    <a:lnTo>
                      <a:pt x="38957" y="467106"/>
                    </a:lnTo>
                    <a:lnTo>
                      <a:pt x="38957" y="468821"/>
                    </a:lnTo>
                    <a:lnTo>
                      <a:pt x="38957" y="470535"/>
                    </a:lnTo>
                    <a:lnTo>
                      <a:pt x="40577" y="471392"/>
                    </a:lnTo>
                    <a:lnTo>
                      <a:pt x="42291" y="471392"/>
                    </a:lnTo>
                    <a:lnTo>
                      <a:pt x="40577" y="473107"/>
                    </a:lnTo>
                    <a:lnTo>
                      <a:pt x="40577" y="475583"/>
                    </a:lnTo>
                    <a:lnTo>
                      <a:pt x="45720" y="484061"/>
                    </a:lnTo>
                    <a:lnTo>
                      <a:pt x="46577" y="486632"/>
                    </a:lnTo>
                    <a:lnTo>
                      <a:pt x="47339" y="489966"/>
                    </a:lnTo>
                    <a:lnTo>
                      <a:pt x="47339" y="491680"/>
                    </a:lnTo>
                    <a:lnTo>
                      <a:pt x="49911" y="493395"/>
                    </a:lnTo>
                    <a:lnTo>
                      <a:pt x="49911" y="495109"/>
                    </a:lnTo>
                    <a:lnTo>
                      <a:pt x="50768" y="498443"/>
                    </a:lnTo>
                    <a:lnTo>
                      <a:pt x="50768" y="499300"/>
                    </a:lnTo>
                    <a:lnTo>
                      <a:pt x="51626" y="501015"/>
                    </a:lnTo>
                    <a:lnTo>
                      <a:pt x="51626" y="501872"/>
                    </a:lnTo>
                    <a:lnTo>
                      <a:pt x="51626" y="503492"/>
                    </a:lnTo>
                    <a:lnTo>
                      <a:pt x="49911" y="504349"/>
                    </a:lnTo>
                    <a:lnTo>
                      <a:pt x="49911" y="506063"/>
                    </a:lnTo>
                    <a:lnTo>
                      <a:pt x="50768" y="507778"/>
                    </a:lnTo>
                    <a:lnTo>
                      <a:pt x="51626" y="508635"/>
                    </a:lnTo>
                    <a:lnTo>
                      <a:pt x="52483" y="510254"/>
                    </a:lnTo>
                    <a:lnTo>
                      <a:pt x="51626" y="511112"/>
                    </a:lnTo>
                    <a:lnTo>
                      <a:pt x="51626" y="512826"/>
                    </a:lnTo>
                    <a:lnTo>
                      <a:pt x="52483" y="514541"/>
                    </a:lnTo>
                    <a:lnTo>
                      <a:pt x="53340" y="516255"/>
                    </a:lnTo>
                    <a:lnTo>
                      <a:pt x="54959" y="517112"/>
                    </a:lnTo>
                    <a:lnTo>
                      <a:pt x="59246" y="517112"/>
                    </a:lnTo>
                    <a:lnTo>
                      <a:pt x="60103" y="517874"/>
                    </a:lnTo>
                    <a:lnTo>
                      <a:pt x="56674" y="519589"/>
                    </a:lnTo>
                    <a:lnTo>
                      <a:pt x="54959" y="519589"/>
                    </a:lnTo>
                    <a:lnTo>
                      <a:pt x="53340" y="519589"/>
                    </a:lnTo>
                    <a:lnTo>
                      <a:pt x="52483" y="520446"/>
                    </a:lnTo>
                    <a:lnTo>
                      <a:pt x="52483" y="521303"/>
                    </a:lnTo>
                    <a:lnTo>
                      <a:pt x="52483" y="523018"/>
                    </a:lnTo>
                    <a:lnTo>
                      <a:pt x="56674" y="527209"/>
                    </a:lnTo>
                    <a:lnTo>
                      <a:pt x="58388" y="530638"/>
                    </a:lnTo>
                    <a:lnTo>
                      <a:pt x="57531" y="532257"/>
                    </a:lnTo>
                    <a:lnTo>
                      <a:pt x="58388" y="534829"/>
                    </a:lnTo>
                    <a:lnTo>
                      <a:pt x="57531" y="536543"/>
                    </a:lnTo>
                    <a:lnTo>
                      <a:pt x="56674" y="537401"/>
                    </a:lnTo>
                    <a:lnTo>
                      <a:pt x="56674" y="539115"/>
                    </a:lnTo>
                    <a:lnTo>
                      <a:pt x="57531" y="540734"/>
                    </a:lnTo>
                    <a:lnTo>
                      <a:pt x="60103" y="542449"/>
                    </a:lnTo>
                    <a:lnTo>
                      <a:pt x="60865" y="544163"/>
                    </a:lnTo>
                    <a:lnTo>
                      <a:pt x="64294" y="550926"/>
                    </a:lnTo>
                    <a:lnTo>
                      <a:pt x="66008" y="552640"/>
                    </a:lnTo>
                    <a:lnTo>
                      <a:pt x="63437" y="553498"/>
                    </a:lnTo>
                    <a:lnTo>
                      <a:pt x="62579" y="552640"/>
                    </a:lnTo>
                    <a:lnTo>
                      <a:pt x="60865" y="550926"/>
                    </a:lnTo>
                    <a:lnTo>
                      <a:pt x="59246" y="550069"/>
                    </a:lnTo>
                    <a:lnTo>
                      <a:pt x="59246" y="551783"/>
                    </a:lnTo>
                    <a:lnTo>
                      <a:pt x="61722" y="553498"/>
                    </a:lnTo>
                    <a:lnTo>
                      <a:pt x="61722" y="554260"/>
                    </a:lnTo>
                    <a:lnTo>
                      <a:pt x="62579" y="555974"/>
                    </a:lnTo>
                    <a:lnTo>
                      <a:pt x="64294" y="559403"/>
                    </a:lnTo>
                    <a:lnTo>
                      <a:pt x="64294" y="562737"/>
                    </a:lnTo>
                    <a:lnTo>
                      <a:pt x="66866" y="566166"/>
                    </a:lnTo>
                    <a:lnTo>
                      <a:pt x="66866" y="567880"/>
                    </a:lnTo>
                    <a:lnTo>
                      <a:pt x="67723" y="569500"/>
                    </a:lnTo>
                    <a:lnTo>
                      <a:pt x="66866" y="571214"/>
                    </a:lnTo>
                    <a:lnTo>
                      <a:pt x="67723" y="573786"/>
                    </a:lnTo>
                    <a:lnTo>
                      <a:pt x="68485" y="576263"/>
                    </a:lnTo>
                    <a:lnTo>
                      <a:pt x="68485" y="578834"/>
                    </a:lnTo>
                    <a:lnTo>
                      <a:pt x="67723" y="581406"/>
                    </a:lnTo>
                    <a:lnTo>
                      <a:pt x="66866" y="580549"/>
                    </a:lnTo>
                    <a:lnTo>
                      <a:pt x="66008" y="580549"/>
                    </a:lnTo>
                    <a:lnTo>
                      <a:pt x="66008" y="581406"/>
                    </a:lnTo>
                    <a:lnTo>
                      <a:pt x="67723" y="583121"/>
                    </a:lnTo>
                    <a:lnTo>
                      <a:pt x="66866" y="584740"/>
                    </a:lnTo>
                    <a:lnTo>
                      <a:pt x="67723" y="585597"/>
                    </a:lnTo>
                    <a:lnTo>
                      <a:pt x="70199" y="587312"/>
                    </a:lnTo>
                    <a:lnTo>
                      <a:pt x="68485" y="589883"/>
                    </a:lnTo>
                    <a:lnTo>
                      <a:pt x="68485" y="591503"/>
                    </a:lnTo>
                    <a:lnTo>
                      <a:pt x="67723" y="593217"/>
                    </a:lnTo>
                    <a:lnTo>
                      <a:pt x="69342" y="597503"/>
                    </a:lnTo>
                    <a:lnTo>
                      <a:pt x="69342" y="598265"/>
                    </a:lnTo>
                    <a:lnTo>
                      <a:pt x="67723" y="599122"/>
                    </a:lnTo>
                    <a:lnTo>
                      <a:pt x="68485" y="602552"/>
                    </a:lnTo>
                    <a:lnTo>
                      <a:pt x="70199" y="605885"/>
                    </a:lnTo>
                    <a:lnTo>
                      <a:pt x="71056" y="607600"/>
                    </a:lnTo>
                    <a:lnTo>
                      <a:pt x="71914" y="606743"/>
                    </a:lnTo>
                    <a:lnTo>
                      <a:pt x="71914" y="608457"/>
                    </a:lnTo>
                    <a:lnTo>
                      <a:pt x="71056" y="611886"/>
                    </a:lnTo>
                    <a:lnTo>
                      <a:pt x="70199" y="615220"/>
                    </a:lnTo>
                    <a:lnTo>
                      <a:pt x="71056" y="617792"/>
                    </a:lnTo>
                    <a:lnTo>
                      <a:pt x="72771" y="619506"/>
                    </a:lnTo>
                    <a:lnTo>
                      <a:pt x="73628" y="620268"/>
                    </a:lnTo>
                    <a:lnTo>
                      <a:pt x="73628" y="621982"/>
                    </a:lnTo>
                    <a:lnTo>
                      <a:pt x="73628" y="622840"/>
                    </a:lnTo>
                    <a:lnTo>
                      <a:pt x="72771" y="624554"/>
                    </a:lnTo>
                    <a:lnTo>
                      <a:pt x="72771" y="625412"/>
                    </a:lnTo>
                    <a:lnTo>
                      <a:pt x="72771" y="626269"/>
                    </a:lnTo>
                    <a:lnTo>
                      <a:pt x="73628" y="628745"/>
                    </a:lnTo>
                    <a:lnTo>
                      <a:pt x="76105" y="627888"/>
                    </a:lnTo>
                    <a:lnTo>
                      <a:pt x="77819" y="627126"/>
                    </a:lnTo>
                    <a:lnTo>
                      <a:pt x="78677" y="627888"/>
                    </a:lnTo>
                    <a:lnTo>
                      <a:pt x="79534" y="629603"/>
                    </a:lnTo>
                    <a:lnTo>
                      <a:pt x="78677" y="631317"/>
                    </a:lnTo>
                    <a:lnTo>
                      <a:pt x="78677" y="631317"/>
                    </a:lnTo>
                    <a:lnTo>
                      <a:pt x="77819" y="630460"/>
                    </a:lnTo>
                    <a:lnTo>
                      <a:pt x="77819" y="628745"/>
                    </a:lnTo>
                    <a:lnTo>
                      <a:pt x="74486" y="630460"/>
                    </a:lnTo>
                    <a:lnTo>
                      <a:pt x="73628" y="630460"/>
                    </a:lnTo>
                    <a:lnTo>
                      <a:pt x="72771" y="631317"/>
                    </a:lnTo>
                    <a:lnTo>
                      <a:pt x="72771" y="631317"/>
                    </a:lnTo>
                    <a:lnTo>
                      <a:pt x="72771" y="631317"/>
                    </a:lnTo>
                    <a:lnTo>
                      <a:pt x="73628" y="632174"/>
                    </a:lnTo>
                    <a:lnTo>
                      <a:pt x="73628" y="633889"/>
                    </a:lnTo>
                    <a:lnTo>
                      <a:pt x="75248" y="634746"/>
                    </a:lnTo>
                    <a:lnTo>
                      <a:pt x="77819" y="635508"/>
                    </a:lnTo>
                    <a:lnTo>
                      <a:pt x="79534" y="635508"/>
                    </a:lnTo>
                    <a:lnTo>
                      <a:pt x="78677" y="636365"/>
                    </a:lnTo>
                    <a:lnTo>
                      <a:pt x="77819" y="637222"/>
                    </a:lnTo>
                    <a:lnTo>
                      <a:pt x="76962" y="638080"/>
                    </a:lnTo>
                    <a:lnTo>
                      <a:pt x="77819" y="638937"/>
                    </a:lnTo>
                    <a:lnTo>
                      <a:pt x="78677" y="639794"/>
                    </a:lnTo>
                    <a:lnTo>
                      <a:pt x="78677" y="639794"/>
                    </a:lnTo>
                    <a:lnTo>
                      <a:pt x="80391" y="640652"/>
                    </a:lnTo>
                    <a:lnTo>
                      <a:pt x="77819" y="640652"/>
                    </a:lnTo>
                    <a:lnTo>
                      <a:pt x="76105" y="639794"/>
                    </a:lnTo>
                    <a:lnTo>
                      <a:pt x="73628" y="637222"/>
                    </a:lnTo>
                    <a:lnTo>
                      <a:pt x="73628" y="637222"/>
                    </a:lnTo>
                    <a:lnTo>
                      <a:pt x="72771" y="635508"/>
                    </a:lnTo>
                    <a:lnTo>
                      <a:pt x="71914" y="635508"/>
                    </a:lnTo>
                    <a:lnTo>
                      <a:pt x="71914" y="636365"/>
                    </a:lnTo>
                    <a:lnTo>
                      <a:pt x="71914" y="638937"/>
                    </a:lnTo>
                    <a:lnTo>
                      <a:pt x="71914" y="639794"/>
                    </a:lnTo>
                    <a:lnTo>
                      <a:pt x="72771" y="640652"/>
                    </a:lnTo>
                    <a:lnTo>
                      <a:pt x="73628" y="641509"/>
                    </a:lnTo>
                    <a:lnTo>
                      <a:pt x="75248" y="646557"/>
                    </a:lnTo>
                    <a:lnTo>
                      <a:pt x="76105" y="649891"/>
                    </a:lnTo>
                    <a:lnTo>
                      <a:pt x="76962" y="651605"/>
                    </a:lnTo>
                    <a:lnTo>
                      <a:pt x="78677" y="652463"/>
                    </a:lnTo>
                    <a:lnTo>
                      <a:pt x="80391" y="654177"/>
                    </a:lnTo>
                    <a:lnTo>
                      <a:pt x="79534" y="654177"/>
                    </a:lnTo>
                    <a:lnTo>
                      <a:pt x="78677" y="655034"/>
                    </a:lnTo>
                    <a:lnTo>
                      <a:pt x="77819" y="655892"/>
                    </a:lnTo>
                    <a:lnTo>
                      <a:pt x="77819" y="657511"/>
                    </a:lnTo>
                    <a:lnTo>
                      <a:pt x="79534" y="658368"/>
                    </a:lnTo>
                    <a:lnTo>
                      <a:pt x="80391" y="659225"/>
                    </a:lnTo>
                    <a:lnTo>
                      <a:pt x="80391" y="660940"/>
                    </a:lnTo>
                    <a:lnTo>
                      <a:pt x="80391" y="661797"/>
                    </a:lnTo>
                    <a:lnTo>
                      <a:pt x="82868" y="671131"/>
                    </a:lnTo>
                    <a:lnTo>
                      <a:pt x="83725" y="673608"/>
                    </a:lnTo>
                    <a:lnTo>
                      <a:pt x="83725" y="673608"/>
                    </a:lnTo>
                    <a:lnTo>
                      <a:pt x="84582" y="674465"/>
                    </a:lnTo>
                    <a:lnTo>
                      <a:pt x="85439" y="675322"/>
                    </a:lnTo>
                    <a:lnTo>
                      <a:pt x="86297" y="674465"/>
                    </a:lnTo>
                    <a:lnTo>
                      <a:pt x="86297" y="674465"/>
                    </a:lnTo>
                    <a:lnTo>
                      <a:pt x="87154" y="676180"/>
                    </a:lnTo>
                    <a:lnTo>
                      <a:pt x="87154" y="681228"/>
                    </a:lnTo>
                    <a:lnTo>
                      <a:pt x="88011" y="686276"/>
                    </a:lnTo>
                    <a:lnTo>
                      <a:pt x="88011" y="682943"/>
                    </a:lnTo>
                    <a:lnTo>
                      <a:pt x="88011" y="680371"/>
                    </a:lnTo>
                    <a:lnTo>
                      <a:pt x="89630" y="678656"/>
                    </a:lnTo>
                    <a:lnTo>
                      <a:pt x="92202" y="677894"/>
                    </a:lnTo>
                    <a:lnTo>
                      <a:pt x="91345" y="679513"/>
                    </a:lnTo>
                    <a:lnTo>
                      <a:pt x="90488" y="680371"/>
                    </a:lnTo>
                    <a:lnTo>
                      <a:pt x="89630" y="681228"/>
                    </a:lnTo>
                    <a:lnTo>
                      <a:pt x="88773" y="682943"/>
                    </a:lnTo>
                    <a:lnTo>
                      <a:pt x="88773" y="689705"/>
                    </a:lnTo>
                    <a:lnTo>
                      <a:pt x="88773" y="690563"/>
                    </a:lnTo>
                    <a:lnTo>
                      <a:pt x="88011" y="691420"/>
                    </a:lnTo>
                    <a:lnTo>
                      <a:pt x="88011" y="691420"/>
                    </a:lnTo>
                    <a:lnTo>
                      <a:pt x="88011" y="693134"/>
                    </a:lnTo>
                    <a:lnTo>
                      <a:pt x="88773" y="693896"/>
                    </a:lnTo>
                    <a:lnTo>
                      <a:pt x="89630" y="693896"/>
                    </a:lnTo>
                    <a:lnTo>
                      <a:pt x="89630" y="693896"/>
                    </a:lnTo>
                    <a:lnTo>
                      <a:pt x="90488" y="695611"/>
                    </a:lnTo>
                    <a:lnTo>
                      <a:pt x="91345" y="696468"/>
                    </a:lnTo>
                    <a:lnTo>
                      <a:pt x="93059" y="697325"/>
                    </a:lnTo>
                    <a:lnTo>
                      <a:pt x="95536" y="696468"/>
                    </a:lnTo>
                    <a:lnTo>
                      <a:pt x="95536" y="697325"/>
                    </a:lnTo>
                    <a:lnTo>
                      <a:pt x="92202" y="698182"/>
                    </a:lnTo>
                    <a:lnTo>
                      <a:pt x="92202" y="700659"/>
                    </a:lnTo>
                    <a:lnTo>
                      <a:pt x="94774" y="703231"/>
                    </a:lnTo>
                    <a:lnTo>
                      <a:pt x="96393" y="704945"/>
                    </a:lnTo>
                    <a:lnTo>
                      <a:pt x="103156" y="710851"/>
                    </a:lnTo>
                    <a:lnTo>
                      <a:pt x="104870" y="713422"/>
                    </a:lnTo>
                    <a:lnTo>
                      <a:pt x="109156" y="720185"/>
                    </a:lnTo>
                    <a:lnTo>
                      <a:pt x="109919" y="723519"/>
                    </a:lnTo>
                    <a:lnTo>
                      <a:pt x="109156" y="728663"/>
                    </a:lnTo>
                    <a:lnTo>
                      <a:pt x="109919" y="729520"/>
                    </a:lnTo>
                    <a:lnTo>
                      <a:pt x="110776" y="730282"/>
                    </a:lnTo>
                    <a:lnTo>
                      <a:pt x="112490" y="731139"/>
                    </a:lnTo>
                    <a:lnTo>
                      <a:pt x="114205" y="731139"/>
                    </a:lnTo>
                    <a:lnTo>
                      <a:pt x="115919" y="731139"/>
                    </a:lnTo>
                    <a:lnTo>
                      <a:pt x="117539" y="729520"/>
                    </a:lnTo>
                    <a:lnTo>
                      <a:pt x="123444" y="729520"/>
                    </a:lnTo>
                    <a:lnTo>
                      <a:pt x="124301" y="729520"/>
                    </a:lnTo>
                    <a:lnTo>
                      <a:pt x="125158" y="729520"/>
                    </a:lnTo>
                    <a:lnTo>
                      <a:pt x="126873" y="727805"/>
                    </a:lnTo>
                    <a:lnTo>
                      <a:pt x="127730" y="726091"/>
                    </a:lnTo>
                    <a:lnTo>
                      <a:pt x="128588" y="725234"/>
                    </a:lnTo>
                    <a:lnTo>
                      <a:pt x="129445" y="724376"/>
                    </a:lnTo>
                    <a:lnTo>
                      <a:pt x="130207" y="724376"/>
                    </a:lnTo>
                    <a:lnTo>
                      <a:pt x="130207" y="725234"/>
                    </a:lnTo>
                    <a:lnTo>
                      <a:pt x="131064" y="726948"/>
                    </a:lnTo>
                    <a:lnTo>
                      <a:pt x="131064" y="727805"/>
                    </a:lnTo>
                    <a:lnTo>
                      <a:pt x="131064" y="728663"/>
                    </a:lnTo>
                    <a:lnTo>
                      <a:pt x="131921" y="728663"/>
                    </a:lnTo>
                    <a:lnTo>
                      <a:pt x="132779" y="728663"/>
                    </a:lnTo>
                    <a:lnTo>
                      <a:pt x="134493" y="729520"/>
                    </a:lnTo>
                    <a:lnTo>
                      <a:pt x="136969" y="729520"/>
                    </a:lnTo>
                    <a:lnTo>
                      <a:pt x="137827" y="730282"/>
                    </a:lnTo>
                    <a:lnTo>
                      <a:pt x="138684" y="731139"/>
                    </a:lnTo>
                    <a:lnTo>
                      <a:pt x="138684" y="732854"/>
                    </a:lnTo>
                    <a:lnTo>
                      <a:pt x="140398" y="738759"/>
                    </a:lnTo>
                    <a:lnTo>
                      <a:pt x="141256" y="740473"/>
                    </a:lnTo>
                    <a:lnTo>
                      <a:pt x="142113" y="741331"/>
                    </a:lnTo>
                    <a:lnTo>
                      <a:pt x="144590" y="743045"/>
                    </a:lnTo>
                    <a:lnTo>
                      <a:pt x="146304" y="743903"/>
                    </a:lnTo>
                    <a:lnTo>
                      <a:pt x="147161" y="743903"/>
                    </a:lnTo>
                    <a:lnTo>
                      <a:pt x="148876" y="743045"/>
                    </a:lnTo>
                    <a:lnTo>
                      <a:pt x="155639" y="740473"/>
                    </a:lnTo>
                    <a:lnTo>
                      <a:pt x="159829" y="740473"/>
                    </a:lnTo>
                    <a:lnTo>
                      <a:pt x="159829" y="738759"/>
                    </a:lnTo>
                    <a:lnTo>
                      <a:pt x="158972" y="737902"/>
                    </a:lnTo>
                    <a:lnTo>
                      <a:pt x="158972" y="737140"/>
                    </a:lnTo>
                    <a:lnTo>
                      <a:pt x="158972" y="737140"/>
                    </a:lnTo>
                    <a:lnTo>
                      <a:pt x="160687" y="736282"/>
                    </a:lnTo>
                    <a:lnTo>
                      <a:pt x="160687" y="736282"/>
                    </a:lnTo>
                    <a:lnTo>
                      <a:pt x="161544" y="735425"/>
                    </a:lnTo>
                    <a:lnTo>
                      <a:pt x="162401" y="731996"/>
                    </a:lnTo>
                    <a:lnTo>
                      <a:pt x="164116" y="730282"/>
                    </a:lnTo>
                    <a:lnTo>
                      <a:pt x="169164" y="726091"/>
                    </a:lnTo>
                    <a:lnTo>
                      <a:pt x="170021" y="726091"/>
                    </a:lnTo>
                    <a:lnTo>
                      <a:pt x="170879" y="726091"/>
                    </a:lnTo>
                    <a:lnTo>
                      <a:pt x="171641" y="726091"/>
                    </a:lnTo>
                    <a:lnTo>
                      <a:pt x="171641" y="726091"/>
                    </a:lnTo>
                    <a:lnTo>
                      <a:pt x="172498" y="726948"/>
                    </a:lnTo>
                    <a:lnTo>
                      <a:pt x="172498" y="727805"/>
                    </a:lnTo>
                    <a:lnTo>
                      <a:pt x="172498" y="729520"/>
                    </a:lnTo>
                    <a:lnTo>
                      <a:pt x="172498" y="729520"/>
                    </a:lnTo>
                    <a:lnTo>
                      <a:pt x="171641" y="730282"/>
                    </a:lnTo>
                    <a:lnTo>
                      <a:pt x="172498" y="730282"/>
                    </a:lnTo>
                    <a:lnTo>
                      <a:pt x="172498" y="730282"/>
                    </a:lnTo>
                    <a:lnTo>
                      <a:pt x="173355" y="731139"/>
                    </a:lnTo>
                    <a:lnTo>
                      <a:pt x="176784" y="731139"/>
                    </a:lnTo>
                    <a:lnTo>
                      <a:pt x="179261" y="730282"/>
                    </a:lnTo>
                    <a:lnTo>
                      <a:pt x="180975" y="729520"/>
                    </a:lnTo>
                    <a:lnTo>
                      <a:pt x="181832" y="729520"/>
                    </a:lnTo>
                    <a:lnTo>
                      <a:pt x="183547" y="727805"/>
                    </a:lnTo>
                    <a:lnTo>
                      <a:pt x="185261" y="726948"/>
                    </a:lnTo>
                    <a:lnTo>
                      <a:pt x="186881" y="723519"/>
                    </a:lnTo>
                    <a:lnTo>
                      <a:pt x="189452" y="719328"/>
                    </a:lnTo>
                    <a:lnTo>
                      <a:pt x="189452" y="718471"/>
                    </a:lnTo>
                    <a:lnTo>
                      <a:pt x="189452" y="717613"/>
                    </a:lnTo>
                    <a:lnTo>
                      <a:pt x="188595" y="716756"/>
                    </a:lnTo>
                    <a:lnTo>
                      <a:pt x="187738" y="715137"/>
                    </a:lnTo>
                    <a:lnTo>
                      <a:pt x="187738" y="715137"/>
                    </a:lnTo>
                    <a:lnTo>
                      <a:pt x="187738" y="714280"/>
                    </a:lnTo>
                    <a:lnTo>
                      <a:pt x="190310" y="709994"/>
                    </a:lnTo>
                    <a:lnTo>
                      <a:pt x="192786" y="705803"/>
                    </a:lnTo>
                    <a:lnTo>
                      <a:pt x="193643" y="704088"/>
                    </a:lnTo>
                    <a:lnTo>
                      <a:pt x="195358" y="702373"/>
                    </a:lnTo>
                    <a:lnTo>
                      <a:pt x="195358" y="700659"/>
                    </a:lnTo>
                    <a:lnTo>
                      <a:pt x="196215" y="697325"/>
                    </a:lnTo>
                    <a:lnTo>
                      <a:pt x="196215" y="696468"/>
                    </a:lnTo>
                    <a:lnTo>
                      <a:pt x="196215" y="694754"/>
                    </a:lnTo>
                    <a:lnTo>
                      <a:pt x="195358" y="694754"/>
                    </a:lnTo>
                    <a:lnTo>
                      <a:pt x="195358" y="693896"/>
                    </a:lnTo>
                    <a:lnTo>
                      <a:pt x="194500" y="693896"/>
                    </a:lnTo>
                    <a:lnTo>
                      <a:pt x="192024" y="693134"/>
                    </a:lnTo>
                    <a:lnTo>
                      <a:pt x="191167" y="693134"/>
                    </a:lnTo>
                    <a:lnTo>
                      <a:pt x="191167" y="692277"/>
                    </a:lnTo>
                    <a:lnTo>
                      <a:pt x="191167" y="691420"/>
                    </a:lnTo>
                    <a:lnTo>
                      <a:pt x="191167" y="690563"/>
                    </a:lnTo>
                    <a:lnTo>
                      <a:pt x="192024" y="689705"/>
                    </a:lnTo>
                    <a:lnTo>
                      <a:pt x="193643" y="688848"/>
                    </a:lnTo>
                    <a:lnTo>
                      <a:pt x="194500" y="688848"/>
                    </a:lnTo>
                    <a:lnTo>
                      <a:pt x="198787" y="688848"/>
                    </a:lnTo>
                    <a:lnTo>
                      <a:pt x="199549" y="687991"/>
                    </a:lnTo>
                    <a:lnTo>
                      <a:pt x="200406" y="687134"/>
                    </a:lnTo>
                    <a:lnTo>
                      <a:pt x="200406" y="685514"/>
                    </a:lnTo>
                    <a:lnTo>
                      <a:pt x="200406" y="681228"/>
                    </a:lnTo>
                    <a:lnTo>
                      <a:pt x="201263" y="676180"/>
                    </a:lnTo>
                    <a:lnTo>
                      <a:pt x="201263" y="674465"/>
                    </a:lnTo>
                    <a:lnTo>
                      <a:pt x="200406" y="673608"/>
                    </a:lnTo>
                    <a:lnTo>
                      <a:pt x="200406" y="672751"/>
                    </a:lnTo>
                    <a:lnTo>
                      <a:pt x="199549" y="671894"/>
                    </a:lnTo>
                    <a:lnTo>
                      <a:pt x="198787" y="671131"/>
                    </a:lnTo>
                    <a:lnTo>
                      <a:pt x="198787" y="671131"/>
                    </a:lnTo>
                    <a:lnTo>
                      <a:pt x="188595" y="665988"/>
                    </a:lnTo>
                    <a:lnTo>
                      <a:pt x="188595" y="665988"/>
                    </a:lnTo>
                    <a:lnTo>
                      <a:pt x="187738" y="665988"/>
                    </a:lnTo>
                    <a:lnTo>
                      <a:pt x="186881" y="666845"/>
                    </a:lnTo>
                    <a:lnTo>
                      <a:pt x="186023" y="666845"/>
                    </a:lnTo>
                    <a:lnTo>
                      <a:pt x="185261" y="667703"/>
                    </a:lnTo>
                    <a:lnTo>
                      <a:pt x="185261" y="667703"/>
                    </a:lnTo>
                    <a:lnTo>
                      <a:pt x="184404" y="667703"/>
                    </a:lnTo>
                    <a:lnTo>
                      <a:pt x="184404" y="667703"/>
                    </a:lnTo>
                    <a:lnTo>
                      <a:pt x="183547" y="666845"/>
                    </a:lnTo>
                    <a:lnTo>
                      <a:pt x="183547" y="665131"/>
                    </a:lnTo>
                    <a:lnTo>
                      <a:pt x="183547" y="663512"/>
                    </a:lnTo>
                    <a:lnTo>
                      <a:pt x="183547" y="662654"/>
                    </a:lnTo>
                    <a:lnTo>
                      <a:pt x="183547" y="662654"/>
                    </a:lnTo>
                    <a:lnTo>
                      <a:pt x="182690" y="660940"/>
                    </a:lnTo>
                    <a:lnTo>
                      <a:pt x="182690" y="660082"/>
                    </a:lnTo>
                    <a:lnTo>
                      <a:pt x="181832" y="659225"/>
                    </a:lnTo>
                    <a:lnTo>
                      <a:pt x="181832" y="657511"/>
                    </a:lnTo>
                    <a:lnTo>
                      <a:pt x="181832" y="656654"/>
                    </a:lnTo>
                    <a:lnTo>
                      <a:pt x="182690" y="655892"/>
                    </a:lnTo>
                    <a:lnTo>
                      <a:pt x="184404" y="655892"/>
                    </a:lnTo>
                    <a:lnTo>
                      <a:pt x="186023" y="655892"/>
                    </a:lnTo>
                    <a:lnTo>
                      <a:pt x="186881" y="655034"/>
                    </a:lnTo>
                    <a:lnTo>
                      <a:pt x="187738" y="655034"/>
                    </a:lnTo>
                    <a:lnTo>
                      <a:pt x="187738" y="654177"/>
                    </a:lnTo>
                    <a:lnTo>
                      <a:pt x="187738" y="654177"/>
                    </a:lnTo>
                    <a:lnTo>
                      <a:pt x="187738" y="653320"/>
                    </a:lnTo>
                    <a:lnTo>
                      <a:pt x="187738" y="653320"/>
                    </a:lnTo>
                    <a:lnTo>
                      <a:pt x="186023" y="652463"/>
                    </a:lnTo>
                    <a:lnTo>
                      <a:pt x="185261" y="651605"/>
                    </a:lnTo>
                    <a:lnTo>
                      <a:pt x="184404" y="651605"/>
                    </a:lnTo>
                    <a:lnTo>
                      <a:pt x="184404" y="650748"/>
                    </a:lnTo>
                    <a:lnTo>
                      <a:pt x="183547" y="650748"/>
                    </a:lnTo>
                    <a:lnTo>
                      <a:pt x="183547" y="649891"/>
                    </a:lnTo>
                    <a:lnTo>
                      <a:pt x="183547" y="649129"/>
                    </a:lnTo>
                    <a:lnTo>
                      <a:pt x="183547" y="648272"/>
                    </a:lnTo>
                    <a:lnTo>
                      <a:pt x="183547" y="647414"/>
                    </a:lnTo>
                    <a:lnTo>
                      <a:pt x="182690" y="647414"/>
                    </a:lnTo>
                    <a:lnTo>
                      <a:pt x="182690" y="647414"/>
                    </a:lnTo>
                    <a:lnTo>
                      <a:pt x="180975" y="647414"/>
                    </a:lnTo>
                    <a:lnTo>
                      <a:pt x="180118" y="647414"/>
                    </a:lnTo>
                    <a:lnTo>
                      <a:pt x="180118" y="647414"/>
                    </a:lnTo>
                    <a:lnTo>
                      <a:pt x="179261" y="646557"/>
                    </a:lnTo>
                    <a:lnTo>
                      <a:pt x="179261" y="646557"/>
                    </a:lnTo>
                    <a:lnTo>
                      <a:pt x="179261" y="645700"/>
                    </a:lnTo>
                    <a:lnTo>
                      <a:pt x="178403" y="645700"/>
                    </a:lnTo>
                    <a:lnTo>
                      <a:pt x="178403" y="644843"/>
                    </a:lnTo>
                    <a:lnTo>
                      <a:pt x="178403" y="643985"/>
                    </a:lnTo>
                    <a:lnTo>
                      <a:pt x="178403" y="643128"/>
                    </a:lnTo>
                    <a:lnTo>
                      <a:pt x="177641" y="643128"/>
                    </a:lnTo>
                    <a:lnTo>
                      <a:pt x="177641" y="643128"/>
                    </a:lnTo>
                    <a:lnTo>
                      <a:pt x="177641" y="643128"/>
                    </a:lnTo>
                    <a:lnTo>
                      <a:pt x="175927" y="643128"/>
                    </a:lnTo>
                    <a:lnTo>
                      <a:pt x="175069" y="643985"/>
                    </a:lnTo>
                    <a:lnTo>
                      <a:pt x="175069" y="644843"/>
                    </a:lnTo>
                    <a:lnTo>
                      <a:pt x="174212" y="644843"/>
                    </a:lnTo>
                    <a:lnTo>
                      <a:pt x="174212" y="644843"/>
                    </a:lnTo>
                    <a:lnTo>
                      <a:pt x="173355" y="643985"/>
                    </a:lnTo>
                    <a:lnTo>
                      <a:pt x="173355" y="643985"/>
                    </a:lnTo>
                    <a:lnTo>
                      <a:pt x="173355" y="643985"/>
                    </a:lnTo>
                    <a:lnTo>
                      <a:pt x="173355" y="643128"/>
                    </a:lnTo>
                    <a:lnTo>
                      <a:pt x="175069" y="640652"/>
                    </a:lnTo>
                    <a:lnTo>
                      <a:pt x="175069" y="638080"/>
                    </a:lnTo>
                    <a:lnTo>
                      <a:pt x="175927" y="637222"/>
                    </a:lnTo>
                    <a:lnTo>
                      <a:pt x="176784" y="637222"/>
                    </a:lnTo>
                    <a:lnTo>
                      <a:pt x="177641" y="638080"/>
                    </a:lnTo>
                    <a:lnTo>
                      <a:pt x="178403" y="638937"/>
                    </a:lnTo>
                    <a:lnTo>
                      <a:pt x="179261" y="638937"/>
                    </a:lnTo>
                    <a:lnTo>
                      <a:pt x="180118" y="639794"/>
                    </a:lnTo>
                    <a:lnTo>
                      <a:pt x="180975" y="638937"/>
                    </a:lnTo>
                    <a:lnTo>
                      <a:pt x="180975" y="638937"/>
                    </a:lnTo>
                    <a:lnTo>
                      <a:pt x="181832" y="638080"/>
                    </a:lnTo>
                    <a:lnTo>
                      <a:pt x="182690" y="635508"/>
                    </a:lnTo>
                    <a:lnTo>
                      <a:pt x="182690" y="635508"/>
                    </a:lnTo>
                    <a:lnTo>
                      <a:pt x="183547" y="634746"/>
                    </a:lnTo>
                    <a:lnTo>
                      <a:pt x="183547" y="635508"/>
                    </a:lnTo>
                    <a:lnTo>
                      <a:pt x="184404" y="635508"/>
                    </a:lnTo>
                    <a:lnTo>
                      <a:pt x="185261" y="636365"/>
                    </a:lnTo>
                    <a:lnTo>
                      <a:pt x="185261" y="636365"/>
                    </a:lnTo>
                    <a:lnTo>
                      <a:pt x="186023" y="637222"/>
                    </a:lnTo>
                    <a:lnTo>
                      <a:pt x="186881" y="637222"/>
                    </a:lnTo>
                    <a:lnTo>
                      <a:pt x="187738" y="637222"/>
                    </a:lnTo>
                    <a:lnTo>
                      <a:pt x="188595" y="636365"/>
                    </a:lnTo>
                    <a:lnTo>
                      <a:pt x="190310" y="634746"/>
                    </a:lnTo>
                    <a:lnTo>
                      <a:pt x="190310" y="633889"/>
                    </a:lnTo>
                    <a:lnTo>
                      <a:pt x="191167" y="633889"/>
                    </a:lnTo>
                    <a:lnTo>
                      <a:pt x="192786" y="633031"/>
                    </a:lnTo>
                    <a:lnTo>
                      <a:pt x="193643" y="632174"/>
                    </a:lnTo>
                    <a:lnTo>
                      <a:pt x="193643" y="632174"/>
                    </a:lnTo>
                    <a:lnTo>
                      <a:pt x="194500" y="631317"/>
                    </a:lnTo>
                    <a:lnTo>
                      <a:pt x="194500" y="630460"/>
                    </a:lnTo>
                    <a:lnTo>
                      <a:pt x="195358" y="627126"/>
                    </a:lnTo>
                    <a:lnTo>
                      <a:pt x="196215" y="626269"/>
                    </a:lnTo>
                    <a:lnTo>
                      <a:pt x="196215" y="625412"/>
                    </a:lnTo>
                    <a:lnTo>
                      <a:pt x="197072" y="625412"/>
                    </a:lnTo>
                    <a:lnTo>
                      <a:pt x="198787" y="626269"/>
                    </a:lnTo>
                    <a:lnTo>
                      <a:pt x="200406" y="627126"/>
                    </a:lnTo>
                    <a:lnTo>
                      <a:pt x="201263" y="627888"/>
                    </a:lnTo>
                    <a:lnTo>
                      <a:pt x="204692" y="627888"/>
                    </a:lnTo>
                    <a:lnTo>
                      <a:pt x="205550" y="627888"/>
                    </a:lnTo>
                    <a:lnTo>
                      <a:pt x="206312" y="628745"/>
                    </a:lnTo>
                    <a:lnTo>
                      <a:pt x="206312" y="629603"/>
                    </a:lnTo>
                    <a:lnTo>
                      <a:pt x="206312" y="631317"/>
                    </a:lnTo>
                    <a:lnTo>
                      <a:pt x="207169" y="632174"/>
                    </a:lnTo>
                    <a:lnTo>
                      <a:pt x="208026" y="633031"/>
                    </a:lnTo>
                    <a:lnTo>
                      <a:pt x="208883" y="633889"/>
                    </a:lnTo>
                    <a:lnTo>
                      <a:pt x="208883" y="634746"/>
                    </a:lnTo>
                    <a:lnTo>
                      <a:pt x="208883" y="634746"/>
                    </a:lnTo>
                    <a:lnTo>
                      <a:pt x="208883" y="635508"/>
                    </a:lnTo>
                    <a:lnTo>
                      <a:pt x="208883" y="635508"/>
                    </a:lnTo>
                    <a:lnTo>
                      <a:pt x="208883" y="636365"/>
                    </a:lnTo>
                    <a:lnTo>
                      <a:pt x="208883" y="636365"/>
                    </a:lnTo>
                    <a:lnTo>
                      <a:pt x="209741" y="636365"/>
                    </a:lnTo>
                    <a:lnTo>
                      <a:pt x="209741" y="636365"/>
                    </a:lnTo>
                    <a:lnTo>
                      <a:pt x="210598" y="636365"/>
                    </a:lnTo>
                    <a:lnTo>
                      <a:pt x="211455" y="635508"/>
                    </a:lnTo>
                    <a:lnTo>
                      <a:pt x="212312" y="635508"/>
                    </a:lnTo>
                    <a:lnTo>
                      <a:pt x="216503" y="632174"/>
                    </a:lnTo>
                    <a:lnTo>
                      <a:pt x="217361" y="631317"/>
                    </a:lnTo>
                    <a:lnTo>
                      <a:pt x="218218" y="631317"/>
                    </a:lnTo>
                    <a:lnTo>
                      <a:pt x="219075" y="631317"/>
                    </a:lnTo>
                    <a:lnTo>
                      <a:pt x="220694" y="630460"/>
                    </a:lnTo>
                    <a:lnTo>
                      <a:pt x="221552" y="630460"/>
                    </a:lnTo>
                    <a:lnTo>
                      <a:pt x="222409" y="629603"/>
                    </a:lnTo>
                    <a:lnTo>
                      <a:pt x="222409" y="627888"/>
                    </a:lnTo>
                    <a:lnTo>
                      <a:pt x="219837" y="625412"/>
                    </a:lnTo>
                    <a:lnTo>
                      <a:pt x="221552" y="623697"/>
                    </a:lnTo>
                    <a:lnTo>
                      <a:pt x="222409" y="622840"/>
                    </a:lnTo>
                    <a:lnTo>
                      <a:pt x="222409" y="622840"/>
                    </a:lnTo>
                    <a:lnTo>
                      <a:pt x="223266" y="621982"/>
                    </a:lnTo>
                    <a:lnTo>
                      <a:pt x="224123" y="618649"/>
                    </a:lnTo>
                    <a:lnTo>
                      <a:pt x="224123" y="617792"/>
                    </a:lnTo>
                    <a:lnTo>
                      <a:pt x="224981" y="617792"/>
                    </a:lnTo>
                    <a:lnTo>
                      <a:pt x="225838" y="617792"/>
                    </a:lnTo>
                    <a:lnTo>
                      <a:pt x="226695" y="617792"/>
                    </a:lnTo>
                    <a:lnTo>
                      <a:pt x="228314" y="617792"/>
                    </a:lnTo>
                    <a:lnTo>
                      <a:pt x="229171" y="616934"/>
                    </a:lnTo>
                    <a:lnTo>
                      <a:pt x="230029" y="615220"/>
                    </a:lnTo>
                    <a:lnTo>
                      <a:pt x="230029" y="615220"/>
                    </a:lnTo>
                    <a:lnTo>
                      <a:pt x="230886" y="614363"/>
                    </a:lnTo>
                    <a:lnTo>
                      <a:pt x="231743" y="614363"/>
                    </a:lnTo>
                    <a:lnTo>
                      <a:pt x="234220" y="612743"/>
                    </a:lnTo>
                    <a:lnTo>
                      <a:pt x="235077" y="612743"/>
                    </a:lnTo>
                    <a:lnTo>
                      <a:pt x="235934" y="611886"/>
                    </a:lnTo>
                    <a:lnTo>
                      <a:pt x="237649" y="611886"/>
                    </a:lnTo>
                    <a:lnTo>
                      <a:pt x="239363" y="611886"/>
                    </a:lnTo>
                    <a:lnTo>
                      <a:pt x="240983" y="612743"/>
                    </a:lnTo>
                    <a:lnTo>
                      <a:pt x="241840" y="612743"/>
                    </a:lnTo>
                    <a:lnTo>
                      <a:pt x="242697" y="612743"/>
                    </a:lnTo>
                    <a:lnTo>
                      <a:pt x="243554" y="612743"/>
                    </a:lnTo>
                    <a:lnTo>
                      <a:pt x="243554" y="611886"/>
                    </a:lnTo>
                    <a:lnTo>
                      <a:pt x="244412" y="611029"/>
                    </a:lnTo>
                    <a:lnTo>
                      <a:pt x="244412" y="611029"/>
                    </a:lnTo>
                    <a:lnTo>
                      <a:pt x="243554" y="605885"/>
                    </a:lnTo>
                    <a:lnTo>
                      <a:pt x="242697" y="605123"/>
                    </a:lnTo>
                    <a:lnTo>
                      <a:pt x="242697" y="603409"/>
                    </a:lnTo>
                    <a:lnTo>
                      <a:pt x="241840" y="602552"/>
                    </a:lnTo>
                    <a:lnTo>
                      <a:pt x="241840" y="601694"/>
                    </a:lnTo>
                    <a:lnTo>
                      <a:pt x="241840" y="601694"/>
                    </a:lnTo>
                    <a:lnTo>
                      <a:pt x="241840" y="600837"/>
                    </a:lnTo>
                    <a:lnTo>
                      <a:pt x="242697" y="600837"/>
                    </a:lnTo>
                    <a:lnTo>
                      <a:pt x="247745" y="599122"/>
                    </a:lnTo>
                    <a:lnTo>
                      <a:pt x="249460" y="598265"/>
                    </a:lnTo>
                    <a:lnTo>
                      <a:pt x="250317" y="597503"/>
                    </a:lnTo>
                    <a:lnTo>
                      <a:pt x="251174" y="596646"/>
                    </a:lnTo>
                    <a:lnTo>
                      <a:pt x="251174" y="596646"/>
                    </a:lnTo>
                    <a:lnTo>
                      <a:pt x="252889" y="594931"/>
                    </a:lnTo>
                    <a:lnTo>
                      <a:pt x="253746" y="594074"/>
                    </a:lnTo>
                    <a:lnTo>
                      <a:pt x="254508" y="590740"/>
                    </a:lnTo>
                    <a:lnTo>
                      <a:pt x="254508" y="590740"/>
                    </a:lnTo>
                    <a:lnTo>
                      <a:pt x="255365" y="590740"/>
                    </a:lnTo>
                    <a:lnTo>
                      <a:pt x="258794" y="591503"/>
                    </a:lnTo>
                    <a:lnTo>
                      <a:pt x="263843" y="590740"/>
                    </a:lnTo>
                    <a:lnTo>
                      <a:pt x="263843" y="590740"/>
                    </a:lnTo>
                    <a:lnTo>
                      <a:pt x="264700" y="590740"/>
                    </a:lnTo>
                    <a:lnTo>
                      <a:pt x="264700" y="591503"/>
                    </a:lnTo>
                    <a:lnTo>
                      <a:pt x="265557" y="593217"/>
                    </a:lnTo>
                    <a:lnTo>
                      <a:pt x="266414" y="594074"/>
                    </a:lnTo>
                    <a:lnTo>
                      <a:pt x="267271" y="594931"/>
                    </a:lnTo>
                    <a:lnTo>
                      <a:pt x="268891" y="595789"/>
                    </a:lnTo>
                    <a:lnTo>
                      <a:pt x="269748" y="595789"/>
                    </a:lnTo>
                    <a:lnTo>
                      <a:pt x="269748" y="596646"/>
                    </a:lnTo>
                    <a:lnTo>
                      <a:pt x="270605" y="597503"/>
                    </a:lnTo>
                    <a:lnTo>
                      <a:pt x="271463" y="598265"/>
                    </a:lnTo>
                    <a:lnTo>
                      <a:pt x="273177" y="599122"/>
                    </a:lnTo>
                    <a:lnTo>
                      <a:pt x="274892" y="599980"/>
                    </a:lnTo>
                    <a:lnTo>
                      <a:pt x="275654" y="599980"/>
                    </a:lnTo>
                    <a:lnTo>
                      <a:pt x="277368" y="600837"/>
                    </a:lnTo>
                    <a:lnTo>
                      <a:pt x="280797" y="599122"/>
                    </a:lnTo>
                    <a:lnTo>
                      <a:pt x="284988" y="596646"/>
                    </a:lnTo>
                    <a:lnTo>
                      <a:pt x="285845" y="594931"/>
                    </a:lnTo>
                    <a:lnTo>
                      <a:pt x="284988" y="592360"/>
                    </a:lnTo>
                    <a:lnTo>
                      <a:pt x="284988" y="591503"/>
                    </a:lnTo>
                    <a:lnTo>
                      <a:pt x="285845" y="590740"/>
                    </a:lnTo>
                    <a:lnTo>
                      <a:pt x="286703" y="589883"/>
                    </a:lnTo>
                    <a:lnTo>
                      <a:pt x="292608" y="589883"/>
                    </a:lnTo>
                    <a:lnTo>
                      <a:pt x="294323" y="589883"/>
                    </a:lnTo>
                    <a:lnTo>
                      <a:pt x="295942" y="589026"/>
                    </a:lnTo>
                    <a:lnTo>
                      <a:pt x="298514" y="587312"/>
                    </a:lnTo>
                    <a:lnTo>
                      <a:pt x="299371" y="587312"/>
                    </a:lnTo>
                    <a:lnTo>
                      <a:pt x="305276" y="587312"/>
                    </a:lnTo>
                    <a:lnTo>
                      <a:pt x="306991" y="587312"/>
                    </a:lnTo>
                    <a:lnTo>
                      <a:pt x="306991" y="588169"/>
                    </a:lnTo>
                    <a:lnTo>
                      <a:pt x="307848" y="589026"/>
                    </a:lnTo>
                    <a:lnTo>
                      <a:pt x="308705" y="589026"/>
                    </a:lnTo>
                    <a:lnTo>
                      <a:pt x="309563" y="589883"/>
                    </a:lnTo>
                    <a:lnTo>
                      <a:pt x="310325" y="589883"/>
                    </a:lnTo>
                    <a:lnTo>
                      <a:pt x="314611" y="588169"/>
                    </a:lnTo>
                    <a:lnTo>
                      <a:pt x="315468" y="587312"/>
                    </a:lnTo>
                    <a:lnTo>
                      <a:pt x="316325" y="586454"/>
                    </a:lnTo>
                    <a:lnTo>
                      <a:pt x="317087" y="585597"/>
                    </a:lnTo>
                    <a:lnTo>
                      <a:pt x="318802" y="583882"/>
                    </a:lnTo>
                    <a:lnTo>
                      <a:pt x="319659" y="583121"/>
                    </a:lnTo>
                    <a:lnTo>
                      <a:pt x="319659" y="583121"/>
                    </a:lnTo>
                    <a:lnTo>
                      <a:pt x="320516" y="583882"/>
                    </a:lnTo>
                    <a:lnTo>
                      <a:pt x="323850" y="586454"/>
                    </a:lnTo>
                    <a:lnTo>
                      <a:pt x="324707" y="588169"/>
                    </a:lnTo>
                    <a:lnTo>
                      <a:pt x="326422" y="588169"/>
                    </a:lnTo>
                    <a:lnTo>
                      <a:pt x="328136" y="588169"/>
                    </a:lnTo>
                    <a:lnTo>
                      <a:pt x="328136" y="587312"/>
                    </a:lnTo>
                    <a:lnTo>
                      <a:pt x="328994" y="586454"/>
                    </a:lnTo>
                    <a:lnTo>
                      <a:pt x="328994" y="585597"/>
                    </a:lnTo>
                    <a:lnTo>
                      <a:pt x="328994" y="583882"/>
                    </a:lnTo>
                    <a:lnTo>
                      <a:pt x="328994" y="583121"/>
                    </a:lnTo>
                    <a:lnTo>
                      <a:pt x="328994" y="582263"/>
                    </a:lnTo>
                    <a:lnTo>
                      <a:pt x="327279" y="579692"/>
                    </a:lnTo>
                    <a:lnTo>
                      <a:pt x="327279" y="578834"/>
                    </a:lnTo>
                    <a:lnTo>
                      <a:pt x="327279" y="577977"/>
                    </a:lnTo>
                    <a:lnTo>
                      <a:pt x="328136" y="577977"/>
                    </a:lnTo>
                    <a:lnTo>
                      <a:pt x="328994" y="576263"/>
                    </a:lnTo>
                    <a:lnTo>
                      <a:pt x="329851" y="576263"/>
                    </a:lnTo>
                    <a:lnTo>
                      <a:pt x="329851" y="574643"/>
                    </a:lnTo>
                    <a:lnTo>
                      <a:pt x="329851" y="572929"/>
                    </a:lnTo>
                    <a:lnTo>
                      <a:pt x="328136" y="571214"/>
                    </a:lnTo>
                    <a:lnTo>
                      <a:pt x="327279" y="570357"/>
                    </a:lnTo>
                    <a:lnTo>
                      <a:pt x="326422" y="569500"/>
                    </a:lnTo>
                    <a:lnTo>
                      <a:pt x="325565" y="568738"/>
                    </a:lnTo>
                    <a:lnTo>
                      <a:pt x="325565" y="567023"/>
                    </a:lnTo>
                    <a:lnTo>
                      <a:pt x="325565" y="564452"/>
                    </a:lnTo>
                    <a:lnTo>
                      <a:pt x="325565" y="562737"/>
                    </a:lnTo>
                    <a:lnTo>
                      <a:pt x="326422" y="561880"/>
                    </a:lnTo>
                    <a:lnTo>
                      <a:pt x="326422" y="561118"/>
                    </a:lnTo>
                    <a:lnTo>
                      <a:pt x="327279" y="559403"/>
                    </a:lnTo>
                    <a:lnTo>
                      <a:pt x="327279" y="558546"/>
                    </a:lnTo>
                    <a:lnTo>
                      <a:pt x="327279" y="557689"/>
                    </a:lnTo>
                    <a:lnTo>
                      <a:pt x="326422" y="555117"/>
                    </a:lnTo>
                    <a:lnTo>
                      <a:pt x="326422" y="554260"/>
                    </a:lnTo>
                    <a:lnTo>
                      <a:pt x="324707" y="553498"/>
                    </a:lnTo>
                    <a:lnTo>
                      <a:pt x="323088" y="552640"/>
                    </a:lnTo>
                    <a:lnTo>
                      <a:pt x="323088" y="551783"/>
                    </a:lnTo>
                    <a:lnTo>
                      <a:pt x="322231" y="550926"/>
                    </a:lnTo>
                    <a:lnTo>
                      <a:pt x="322231" y="548354"/>
                    </a:lnTo>
                    <a:lnTo>
                      <a:pt x="321373" y="546735"/>
                    </a:lnTo>
                    <a:lnTo>
                      <a:pt x="319659" y="543306"/>
                    </a:lnTo>
                    <a:lnTo>
                      <a:pt x="319659" y="540734"/>
                    </a:lnTo>
                    <a:lnTo>
                      <a:pt x="320516" y="539115"/>
                    </a:lnTo>
                    <a:lnTo>
                      <a:pt x="322231" y="538258"/>
                    </a:lnTo>
                    <a:lnTo>
                      <a:pt x="323088" y="537401"/>
                    </a:lnTo>
                    <a:lnTo>
                      <a:pt x="323850" y="536543"/>
                    </a:lnTo>
                    <a:lnTo>
                      <a:pt x="324707" y="533114"/>
                    </a:lnTo>
                    <a:lnTo>
                      <a:pt x="325565" y="531495"/>
                    </a:lnTo>
                    <a:lnTo>
                      <a:pt x="326422" y="530638"/>
                    </a:lnTo>
                    <a:lnTo>
                      <a:pt x="327279" y="530638"/>
                    </a:lnTo>
                    <a:lnTo>
                      <a:pt x="328136" y="529780"/>
                    </a:lnTo>
                    <a:lnTo>
                      <a:pt x="329851" y="530638"/>
                    </a:lnTo>
                    <a:lnTo>
                      <a:pt x="331470" y="531495"/>
                    </a:lnTo>
                    <a:lnTo>
                      <a:pt x="332327" y="533972"/>
                    </a:lnTo>
                    <a:lnTo>
                      <a:pt x="333185" y="536543"/>
                    </a:lnTo>
                    <a:lnTo>
                      <a:pt x="336614" y="537401"/>
                    </a:lnTo>
                    <a:lnTo>
                      <a:pt x="339090" y="537401"/>
                    </a:lnTo>
                    <a:lnTo>
                      <a:pt x="340805" y="537401"/>
                    </a:lnTo>
                    <a:lnTo>
                      <a:pt x="341662" y="539115"/>
                    </a:lnTo>
                    <a:lnTo>
                      <a:pt x="342519" y="539877"/>
                    </a:lnTo>
                    <a:lnTo>
                      <a:pt x="342519" y="540734"/>
                    </a:lnTo>
                    <a:lnTo>
                      <a:pt x="343376" y="541592"/>
                    </a:lnTo>
                    <a:lnTo>
                      <a:pt x="344996" y="542449"/>
                    </a:lnTo>
                    <a:lnTo>
                      <a:pt x="346710" y="540734"/>
                    </a:lnTo>
                    <a:lnTo>
                      <a:pt x="348425" y="538258"/>
                    </a:lnTo>
                    <a:lnTo>
                      <a:pt x="350139" y="537401"/>
                    </a:lnTo>
                    <a:lnTo>
                      <a:pt x="351758" y="539115"/>
                    </a:lnTo>
                    <a:lnTo>
                      <a:pt x="354330" y="537401"/>
                    </a:lnTo>
                    <a:lnTo>
                      <a:pt x="355187" y="538258"/>
                    </a:lnTo>
                    <a:lnTo>
                      <a:pt x="356044" y="539877"/>
                    </a:lnTo>
                    <a:lnTo>
                      <a:pt x="356902" y="541592"/>
                    </a:lnTo>
                    <a:lnTo>
                      <a:pt x="356902" y="543306"/>
                    </a:lnTo>
                    <a:lnTo>
                      <a:pt x="357759" y="545021"/>
                    </a:lnTo>
                    <a:lnTo>
                      <a:pt x="358521" y="545021"/>
                    </a:lnTo>
                    <a:lnTo>
                      <a:pt x="360236" y="545878"/>
                    </a:lnTo>
                    <a:lnTo>
                      <a:pt x="361093" y="546735"/>
                    </a:lnTo>
                    <a:lnTo>
                      <a:pt x="361950" y="547497"/>
                    </a:lnTo>
                    <a:lnTo>
                      <a:pt x="363665" y="546735"/>
                    </a:lnTo>
                    <a:lnTo>
                      <a:pt x="364522" y="545878"/>
                    </a:lnTo>
                    <a:lnTo>
                      <a:pt x="368713" y="545021"/>
                    </a:lnTo>
                    <a:lnTo>
                      <a:pt x="369570" y="544163"/>
                    </a:lnTo>
                    <a:lnTo>
                      <a:pt x="371285" y="545021"/>
                    </a:lnTo>
                    <a:lnTo>
                      <a:pt x="372046" y="545021"/>
                    </a:lnTo>
                    <a:lnTo>
                      <a:pt x="373761" y="545021"/>
                    </a:lnTo>
                    <a:lnTo>
                      <a:pt x="375475" y="544163"/>
                    </a:lnTo>
                    <a:lnTo>
                      <a:pt x="378809" y="541592"/>
                    </a:lnTo>
                    <a:lnTo>
                      <a:pt x="381381" y="541592"/>
                    </a:lnTo>
                    <a:lnTo>
                      <a:pt x="383096" y="541592"/>
                    </a:lnTo>
                    <a:lnTo>
                      <a:pt x="384810" y="542449"/>
                    </a:lnTo>
                    <a:lnTo>
                      <a:pt x="386429" y="542449"/>
                    </a:lnTo>
                    <a:lnTo>
                      <a:pt x="387287" y="542449"/>
                    </a:lnTo>
                    <a:lnTo>
                      <a:pt x="389001" y="540734"/>
                    </a:lnTo>
                    <a:lnTo>
                      <a:pt x="390716" y="540734"/>
                    </a:lnTo>
                    <a:lnTo>
                      <a:pt x="392430" y="540734"/>
                    </a:lnTo>
                    <a:lnTo>
                      <a:pt x="393192" y="540734"/>
                    </a:lnTo>
                    <a:lnTo>
                      <a:pt x="394049" y="541592"/>
                    </a:lnTo>
                    <a:lnTo>
                      <a:pt x="395764" y="543306"/>
                    </a:lnTo>
                    <a:lnTo>
                      <a:pt x="396621" y="544163"/>
                    </a:lnTo>
                    <a:lnTo>
                      <a:pt x="398336" y="544163"/>
                    </a:lnTo>
                    <a:lnTo>
                      <a:pt x="400812" y="544163"/>
                    </a:lnTo>
                    <a:lnTo>
                      <a:pt x="402527" y="544163"/>
                    </a:lnTo>
                    <a:lnTo>
                      <a:pt x="405098" y="545021"/>
                    </a:lnTo>
                    <a:lnTo>
                      <a:pt x="406718" y="545021"/>
                    </a:lnTo>
                    <a:lnTo>
                      <a:pt x="407575" y="544163"/>
                    </a:lnTo>
                    <a:lnTo>
                      <a:pt x="410146" y="542449"/>
                    </a:lnTo>
                    <a:lnTo>
                      <a:pt x="411004" y="541592"/>
                    </a:lnTo>
                    <a:lnTo>
                      <a:pt x="410146" y="540734"/>
                    </a:lnTo>
                    <a:lnTo>
                      <a:pt x="409289" y="539115"/>
                    </a:lnTo>
                    <a:lnTo>
                      <a:pt x="406718" y="537401"/>
                    </a:lnTo>
                    <a:lnTo>
                      <a:pt x="406718" y="536543"/>
                    </a:lnTo>
                    <a:lnTo>
                      <a:pt x="405956" y="533972"/>
                    </a:lnTo>
                    <a:lnTo>
                      <a:pt x="405956" y="533114"/>
                    </a:lnTo>
                    <a:lnTo>
                      <a:pt x="404241" y="531495"/>
                    </a:lnTo>
                    <a:lnTo>
                      <a:pt x="403384" y="530638"/>
                    </a:lnTo>
                    <a:lnTo>
                      <a:pt x="404241" y="528923"/>
                    </a:lnTo>
                    <a:lnTo>
                      <a:pt x="405098" y="528066"/>
                    </a:lnTo>
                    <a:lnTo>
                      <a:pt x="405956" y="526351"/>
                    </a:lnTo>
                    <a:lnTo>
                      <a:pt x="406718" y="526351"/>
                    </a:lnTo>
                    <a:lnTo>
                      <a:pt x="405956" y="525494"/>
                    </a:lnTo>
                    <a:lnTo>
                      <a:pt x="405956" y="523875"/>
                    </a:lnTo>
                    <a:lnTo>
                      <a:pt x="405098" y="523875"/>
                    </a:lnTo>
                    <a:lnTo>
                      <a:pt x="405956" y="522161"/>
                    </a:lnTo>
                    <a:lnTo>
                      <a:pt x="405956" y="521303"/>
                    </a:lnTo>
                    <a:lnTo>
                      <a:pt x="405956" y="519589"/>
                    </a:lnTo>
                    <a:lnTo>
                      <a:pt x="405098" y="518732"/>
                    </a:lnTo>
                    <a:lnTo>
                      <a:pt x="404241" y="517112"/>
                    </a:lnTo>
                    <a:lnTo>
                      <a:pt x="403384" y="516255"/>
                    </a:lnTo>
                    <a:lnTo>
                      <a:pt x="403384" y="515398"/>
                    </a:lnTo>
                    <a:lnTo>
                      <a:pt x="404241" y="514541"/>
                    </a:lnTo>
                    <a:lnTo>
                      <a:pt x="411861" y="511969"/>
                    </a:lnTo>
                    <a:lnTo>
                      <a:pt x="414338" y="510254"/>
                    </a:lnTo>
                    <a:lnTo>
                      <a:pt x="414338" y="508635"/>
                    </a:lnTo>
                    <a:lnTo>
                      <a:pt x="415195" y="507778"/>
                    </a:lnTo>
                    <a:lnTo>
                      <a:pt x="415195" y="506921"/>
                    </a:lnTo>
                    <a:lnTo>
                      <a:pt x="416052" y="506921"/>
                    </a:lnTo>
                    <a:lnTo>
                      <a:pt x="418624" y="505206"/>
                    </a:lnTo>
                    <a:lnTo>
                      <a:pt x="419481" y="505206"/>
                    </a:lnTo>
                    <a:lnTo>
                      <a:pt x="420338" y="504349"/>
                    </a:lnTo>
                    <a:lnTo>
                      <a:pt x="420338" y="503492"/>
                    </a:lnTo>
                    <a:lnTo>
                      <a:pt x="420338" y="502730"/>
                    </a:lnTo>
                    <a:lnTo>
                      <a:pt x="420338" y="501872"/>
                    </a:lnTo>
                    <a:lnTo>
                      <a:pt x="420338" y="501015"/>
                    </a:lnTo>
                    <a:lnTo>
                      <a:pt x="421100" y="500158"/>
                    </a:lnTo>
                    <a:lnTo>
                      <a:pt x="422815" y="500158"/>
                    </a:lnTo>
                    <a:lnTo>
                      <a:pt x="423672" y="499300"/>
                    </a:lnTo>
                    <a:lnTo>
                      <a:pt x="424529" y="499300"/>
                    </a:lnTo>
                    <a:lnTo>
                      <a:pt x="425387" y="496729"/>
                    </a:lnTo>
                    <a:lnTo>
                      <a:pt x="425387" y="496729"/>
                    </a:lnTo>
                    <a:lnTo>
                      <a:pt x="426244" y="495871"/>
                    </a:lnTo>
                    <a:lnTo>
                      <a:pt x="427863" y="495871"/>
                    </a:lnTo>
                    <a:lnTo>
                      <a:pt x="429578" y="496729"/>
                    </a:lnTo>
                    <a:lnTo>
                      <a:pt x="432149" y="496729"/>
                    </a:lnTo>
                    <a:lnTo>
                      <a:pt x="433007" y="496729"/>
                    </a:lnTo>
                    <a:lnTo>
                      <a:pt x="433864" y="496729"/>
                    </a:lnTo>
                    <a:lnTo>
                      <a:pt x="435483" y="497586"/>
                    </a:lnTo>
                    <a:lnTo>
                      <a:pt x="437198" y="499300"/>
                    </a:lnTo>
                    <a:lnTo>
                      <a:pt x="438055" y="500158"/>
                    </a:lnTo>
                    <a:lnTo>
                      <a:pt x="438912" y="501015"/>
                    </a:lnTo>
                    <a:lnTo>
                      <a:pt x="441389" y="503492"/>
                    </a:lnTo>
                    <a:lnTo>
                      <a:pt x="443103" y="503492"/>
                    </a:lnTo>
                    <a:lnTo>
                      <a:pt x="444818" y="498443"/>
                    </a:lnTo>
                    <a:lnTo>
                      <a:pt x="445675" y="495871"/>
                    </a:lnTo>
                    <a:lnTo>
                      <a:pt x="446532" y="494252"/>
                    </a:lnTo>
                    <a:lnTo>
                      <a:pt x="447389" y="493395"/>
                    </a:lnTo>
                    <a:lnTo>
                      <a:pt x="449866" y="492538"/>
                    </a:lnTo>
                    <a:lnTo>
                      <a:pt x="450723" y="491680"/>
                    </a:lnTo>
                    <a:lnTo>
                      <a:pt x="451580" y="490823"/>
                    </a:lnTo>
                    <a:lnTo>
                      <a:pt x="452438" y="489966"/>
                    </a:lnTo>
                    <a:lnTo>
                      <a:pt x="452438" y="489109"/>
                    </a:lnTo>
                    <a:lnTo>
                      <a:pt x="452438" y="487490"/>
                    </a:lnTo>
                    <a:lnTo>
                      <a:pt x="450723" y="484061"/>
                    </a:lnTo>
                    <a:lnTo>
                      <a:pt x="450723" y="482346"/>
                    </a:lnTo>
                    <a:lnTo>
                      <a:pt x="452438" y="481489"/>
                    </a:lnTo>
                    <a:lnTo>
                      <a:pt x="453295" y="481489"/>
                    </a:lnTo>
                    <a:lnTo>
                      <a:pt x="454152" y="481489"/>
                    </a:lnTo>
                    <a:lnTo>
                      <a:pt x="460058" y="483203"/>
                    </a:lnTo>
                    <a:lnTo>
                      <a:pt x="460915" y="483203"/>
                    </a:lnTo>
                    <a:lnTo>
                      <a:pt x="462534" y="483203"/>
                    </a:lnTo>
                    <a:lnTo>
                      <a:pt x="464248" y="481489"/>
                    </a:lnTo>
                    <a:lnTo>
                      <a:pt x="465963" y="478155"/>
                    </a:lnTo>
                    <a:lnTo>
                      <a:pt x="465963" y="475583"/>
                    </a:lnTo>
                    <a:lnTo>
                      <a:pt x="466820" y="473107"/>
                    </a:lnTo>
                    <a:lnTo>
                      <a:pt x="465963" y="469678"/>
                    </a:lnTo>
                    <a:lnTo>
                      <a:pt x="465963" y="467963"/>
                    </a:lnTo>
                    <a:lnTo>
                      <a:pt x="465963" y="466249"/>
                    </a:lnTo>
                    <a:lnTo>
                      <a:pt x="467678" y="461200"/>
                    </a:lnTo>
                    <a:lnTo>
                      <a:pt x="467678" y="459486"/>
                    </a:lnTo>
                    <a:lnTo>
                      <a:pt x="467678" y="457867"/>
                    </a:lnTo>
                    <a:lnTo>
                      <a:pt x="467678" y="453580"/>
                    </a:lnTo>
                    <a:lnTo>
                      <a:pt x="467678" y="451866"/>
                    </a:lnTo>
                    <a:lnTo>
                      <a:pt x="469297" y="451104"/>
                    </a:lnTo>
                    <a:lnTo>
                      <a:pt x="473583" y="449390"/>
                    </a:lnTo>
                    <a:lnTo>
                      <a:pt x="476060" y="449390"/>
                    </a:lnTo>
                    <a:lnTo>
                      <a:pt x="478631" y="449390"/>
                    </a:lnTo>
                    <a:lnTo>
                      <a:pt x="479489" y="449390"/>
                    </a:lnTo>
                    <a:lnTo>
                      <a:pt x="480346" y="449390"/>
                    </a:lnTo>
                    <a:lnTo>
                      <a:pt x="482060" y="448532"/>
                    </a:lnTo>
                    <a:lnTo>
                      <a:pt x="483680" y="447675"/>
                    </a:lnTo>
                    <a:lnTo>
                      <a:pt x="484537" y="447675"/>
                    </a:lnTo>
                    <a:lnTo>
                      <a:pt x="487109" y="448532"/>
                    </a:lnTo>
                    <a:lnTo>
                      <a:pt x="487966" y="447675"/>
                    </a:lnTo>
                    <a:lnTo>
                      <a:pt x="488823" y="447675"/>
                    </a:lnTo>
                    <a:lnTo>
                      <a:pt x="488823" y="445961"/>
                    </a:lnTo>
                    <a:lnTo>
                      <a:pt x="489585" y="445103"/>
                    </a:lnTo>
                    <a:lnTo>
                      <a:pt x="489585" y="443484"/>
                    </a:lnTo>
                    <a:lnTo>
                      <a:pt x="490442" y="442627"/>
                    </a:lnTo>
                    <a:lnTo>
                      <a:pt x="492157" y="440912"/>
                    </a:lnTo>
                    <a:lnTo>
                      <a:pt x="498919" y="435864"/>
                    </a:lnTo>
                    <a:lnTo>
                      <a:pt x="501491" y="435007"/>
                    </a:lnTo>
                    <a:lnTo>
                      <a:pt x="502348" y="434150"/>
                    </a:lnTo>
                    <a:lnTo>
                      <a:pt x="503206" y="434150"/>
                    </a:lnTo>
                    <a:lnTo>
                      <a:pt x="503968" y="433292"/>
                    </a:lnTo>
                    <a:lnTo>
                      <a:pt x="504825" y="431578"/>
                    </a:lnTo>
                    <a:lnTo>
                      <a:pt x="504825" y="429101"/>
                    </a:lnTo>
                    <a:lnTo>
                      <a:pt x="503968" y="425672"/>
                    </a:lnTo>
                    <a:lnTo>
                      <a:pt x="503968" y="423958"/>
                    </a:lnTo>
                    <a:lnTo>
                      <a:pt x="504825" y="422243"/>
                    </a:lnTo>
                    <a:lnTo>
                      <a:pt x="508254" y="418052"/>
                    </a:lnTo>
                    <a:lnTo>
                      <a:pt x="509969" y="417195"/>
                    </a:lnTo>
                    <a:lnTo>
                      <a:pt x="510731" y="417195"/>
                    </a:lnTo>
                    <a:lnTo>
                      <a:pt x="512445" y="417195"/>
                    </a:lnTo>
                    <a:lnTo>
                      <a:pt x="513302" y="417195"/>
                    </a:lnTo>
                    <a:lnTo>
                      <a:pt x="515017" y="418052"/>
                    </a:lnTo>
                    <a:lnTo>
                      <a:pt x="515874" y="419767"/>
                    </a:lnTo>
                    <a:lnTo>
                      <a:pt x="516731" y="420624"/>
                    </a:lnTo>
                    <a:lnTo>
                      <a:pt x="516731" y="422243"/>
                    </a:lnTo>
                    <a:lnTo>
                      <a:pt x="516731" y="427387"/>
                    </a:lnTo>
                    <a:lnTo>
                      <a:pt x="516731" y="428244"/>
                    </a:lnTo>
                    <a:lnTo>
                      <a:pt x="517493" y="429863"/>
                    </a:lnTo>
                    <a:lnTo>
                      <a:pt x="518350" y="429863"/>
                    </a:lnTo>
                    <a:lnTo>
                      <a:pt x="520065" y="430721"/>
                    </a:lnTo>
                    <a:lnTo>
                      <a:pt x="524256" y="432435"/>
                    </a:lnTo>
                    <a:lnTo>
                      <a:pt x="525113" y="433292"/>
                    </a:lnTo>
                    <a:lnTo>
                      <a:pt x="525971" y="433292"/>
                    </a:lnTo>
                    <a:lnTo>
                      <a:pt x="525971" y="435864"/>
                    </a:lnTo>
                    <a:lnTo>
                      <a:pt x="526828" y="436721"/>
                    </a:lnTo>
                    <a:lnTo>
                      <a:pt x="527685" y="437483"/>
                    </a:lnTo>
                    <a:lnTo>
                      <a:pt x="528542" y="437483"/>
                    </a:lnTo>
                    <a:lnTo>
                      <a:pt x="530257" y="437483"/>
                    </a:lnTo>
                    <a:lnTo>
                      <a:pt x="531876" y="436721"/>
                    </a:lnTo>
                    <a:lnTo>
                      <a:pt x="533591" y="434150"/>
                    </a:lnTo>
                    <a:lnTo>
                      <a:pt x="534448" y="434150"/>
                    </a:lnTo>
                    <a:lnTo>
                      <a:pt x="535305" y="434150"/>
                    </a:lnTo>
                    <a:lnTo>
                      <a:pt x="539496" y="435007"/>
                    </a:lnTo>
                    <a:lnTo>
                      <a:pt x="540353" y="432435"/>
                    </a:lnTo>
                    <a:lnTo>
                      <a:pt x="540353" y="431578"/>
                    </a:lnTo>
                    <a:lnTo>
                      <a:pt x="539496" y="429863"/>
                    </a:lnTo>
                    <a:lnTo>
                      <a:pt x="539496" y="429863"/>
                    </a:lnTo>
                    <a:lnTo>
                      <a:pt x="534448" y="425672"/>
                    </a:lnTo>
                    <a:lnTo>
                      <a:pt x="534448" y="424815"/>
                    </a:lnTo>
                    <a:lnTo>
                      <a:pt x="535305" y="424815"/>
                    </a:lnTo>
                    <a:lnTo>
                      <a:pt x="536162" y="423100"/>
                    </a:lnTo>
                    <a:lnTo>
                      <a:pt x="537782" y="423100"/>
                    </a:lnTo>
                    <a:lnTo>
                      <a:pt x="538639" y="422243"/>
                    </a:lnTo>
                    <a:lnTo>
                      <a:pt x="538639" y="420624"/>
                    </a:lnTo>
                    <a:lnTo>
                      <a:pt x="539496" y="418909"/>
                    </a:lnTo>
                    <a:lnTo>
                      <a:pt x="539496" y="416338"/>
                    </a:lnTo>
                    <a:lnTo>
                      <a:pt x="539496" y="415480"/>
                    </a:lnTo>
                    <a:lnTo>
                      <a:pt x="540353" y="414719"/>
                    </a:lnTo>
                    <a:lnTo>
                      <a:pt x="540353" y="413861"/>
                    </a:lnTo>
                    <a:lnTo>
                      <a:pt x="540353" y="413004"/>
                    </a:lnTo>
                    <a:lnTo>
                      <a:pt x="540353" y="412147"/>
                    </a:lnTo>
                    <a:lnTo>
                      <a:pt x="540353" y="411290"/>
                    </a:lnTo>
                    <a:lnTo>
                      <a:pt x="542068" y="409575"/>
                    </a:lnTo>
                    <a:lnTo>
                      <a:pt x="542925" y="408718"/>
                    </a:lnTo>
                    <a:lnTo>
                      <a:pt x="543782" y="407861"/>
                    </a:lnTo>
                    <a:lnTo>
                      <a:pt x="544640" y="407099"/>
                    </a:lnTo>
                    <a:lnTo>
                      <a:pt x="545402" y="406241"/>
                    </a:lnTo>
                    <a:lnTo>
                      <a:pt x="546259" y="405384"/>
                    </a:lnTo>
                    <a:lnTo>
                      <a:pt x="547116" y="405384"/>
                    </a:lnTo>
                    <a:lnTo>
                      <a:pt x="551402" y="404527"/>
                    </a:lnTo>
                    <a:lnTo>
                      <a:pt x="553022" y="404527"/>
                    </a:lnTo>
                    <a:lnTo>
                      <a:pt x="553879" y="404527"/>
                    </a:lnTo>
                    <a:lnTo>
                      <a:pt x="554736" y="403670"/>
                    </a:lnTo>
                    <a:lnTo>
                      <a:pt x="555593" y="402812"/>
                    </a:lnTo>
                    <a:lnTo>
                      <a:pt x="556451" y="401098"/>
                    </a:lnTo>
                    <a:lnTo>
                      <a:pt x="557308" y="397764"/>
                    </a:lnTo>
                    <a:lnTo>
                      <a:pt x="557308" y="396050"/>
                    </a:lnTo>
                    <a:lnTo>
                      <a:pt x="557308" y="395192"/>
                    </a:lnTo>
                    <a:lnTo>
                      <a:pt x="556451" y="394335"/>
                    </a:lnTo>
                    <a:lnTo>
                      <a:pt x="556451" y="392716"/>
                    </a:lnTo>
                    <a:lnTo>
                      <a:pt x="557308" y="391859"/>
                    </a:lnTo>
                    <a:lnTo>
                      <a:pt x="557308" y="390144"/>
                    </a:lnTo>
                    <a:lnTo>
                      <a:pt x="558927" y="389287"/>
                    </a:lnTo>
                    <a:lnTo>
                      <a:pt x="559784" y="388430"/>
                    </a:lnTo>
                    <a:lnTo>
                      <a:pt x="561499" y="388430"/>
                    </a:lnTo>
                    <a:lnTo>
                      <a:pt x="564071" y="389287"/>
                    </a:lnTo>
                    <a:lnTo>
                      <a:pt x="564928" y="389287"/>
                    </a:lnTo>
                    <a:lnTo>
                      <a:pt x="564928" y="389287"/>
                    </a:lnTo>
                    <a:lnTo>
                      <a:pt x="565690" y="387572"/>
                    </a:lnTo>
                    <a:lnTo>
                      <a:pt x="569119" y="379952"/>
                    </a:lnTo>
                    <a:lnTo>
                      <a:pt x="570833" y="378333"/>
                    </a:lnTo>
                    <a:lnTo>
                      <a:pt x="571691" y="376619"/>
                    </a:lnTo>
                    <a:lnTo>
                      <a:pt x="572453" y="375761"/>
                    </a:lnTo>
                    <a:lnTo>
                      <a:pt x="574167" y="374904"/>
                    </a:lnTo>
                    <a:lnTo>
                      <a:pt x="575024" y="374047"/>
                    </a:lnTo>
                    <a:lnTo>
                      <a:pt x="576739" y="374047"/>
                    </a:lnTo>
                    <a:lnTo>
                      <a:pt x="579215" y="374047"/>
                    </a:lnTo>
                    <a:lnTo>
                      <a:pt x="579215" y="373190"/>
                    </a:lnTo>
                    <a:lnTo>
                      <a:pt x="579215" y="372332"/>
                    </a:lnTo>
                    <a:lnTo>
                      <a:pt x="579215" y="371475"/>
                    </a:lnTo>
                    <a:lnTo>
                      <a:pt x="578453" y="370713"/>
                    </a:lnTo>
                    <a:lnTo>
                      <a:pt x="577596" y="369856"/>
                    </a:lnTo>
                    <a:lnTo>
                      <a:pt x="573310" y="366427"/>
                    </a:lnTo>
                    <a:lnTo>
                      <a:pt x="571691" y="364712"/>
                    </a:lnTo>
                    <a:lnTo>
                      <a:pt x="571691" y="363855"/>
                    </a:lnTo>
                    <a:lnTo>
                      <a:pt x="571691" y="363093"/>
                    </a:lnTo>
                    <a:lnTo>
                      <a:pt x="571691" y="361379"/>
                    </a:lnTo>
                    <a:lnTo>
                      <a:pt x="571691" y="360521"/>
                    </a:lnTo>
                    <a:lnTo>
                      <a:pt x="570833" y="359664"/>
                    </a:lnTo>
                    <a:lnTo>
                      <a:pt x="569976" y="359664"/>
                    </a:lnTo>
                    <a:lnTo>
                      <a:pt x="569119" y="359664"/>
                    </a:lnTo>
                    <a:lnTo>
                      <a:pt x="568262" y="359664"/>
                    </a:lnTo>
                    <a:lnTo>
                      <a:pt x="568262" y="359664"/>
                    </a:lnTo>
                    <a:lnTo>
                      <a:pt x="567404" y="358807"/>
                    </a:lnTo>
                    <a:lnTo>
                      <a:pt x="567404" y="358807"/>
                    </a:lnTo>
                    <a:lnTo>
                      <a:pt x="567404" y="357092"/>
                    </a:lnTo>
                    <a:lnTo>
                      <a:pt x="567404" y="357092"/>
                    </a:lnTo>
                    <a:lnTo>
                      <a:pt x="567404" y="356330"/>
                    </a:lnTo>
                    <a:lnTo>
                      <a:pt x="566547" y="356330"/>
                    </a:lnTo>
                    <a:lnTo>
                      <a:pt x="565690" y="355473"/>
                    </a:lnTo>
                    <a:lnTo>
                      <a:pt x="564928" y="356330"/>
                    </a:lnTo>
                    <a:lnTo>
                      <a:pt x="564071" y="356330"/>
                    </a:lnTo>
                    <a:lnTo>
                      <a:pt x="563213" y="355473"/>
                    </a:lnTo>
                    <a:lnTo>
                      <a:pt x="563213" y="355473"/>
                    </a:lnTo>
                    <a:lnTo>
                      <a:pt x="563213" y="354616"/>
                    </a:lnTo>
                    <a:lnTo>
                      <a:pt x="563213" y="353759"/>
                    </a:lnTo>
                    <a:lnTo>
                      <a:pt x="563213" y="352044"/>
                    </a:lnTo>
                    <a:lnTo>
                      <a:pt x="562356" y="351187"/>
                    </a:lnTo>
                    <a:lnTo>
                      <a:pt x="561499" y="349472"/>
                    </a:lnTo>
                    <a:lnTo>
                      <a:pt x="561499" y="347853"/>
                    </a:lnTo>
                    <a:lnTo>
                      <a:pt x="562356" y="347853"/>
                    </a:lnTo>
                    <a:lnTo>
                      <a:pt x="563213" y="346996"/>
                    </a:lnTo>
                    <a:lnTo>
                      <a:pt x="564928" y="346138"/>
                    </a:lnTo>
                    <a:lnTo>
                      <a:pt x="565690" y="344424"/>
                    </a:lnTo>
                    <a:lnTo>
                      <a:pt x="567404" y="342709"/>
                    </a:lnTo>
                    <a:lnTo>
                      <a:pt x="568262" y="341852"/>
                    </a:lnTo>
                    <a:lnTo>
                      <a:pt x="569119" y="341090"/>
                    </a:lnTo>
                    <a:lnTo>
                      <a:pt x="569976" y="341090"/>
                    </a:lnTo>
                    <a:lnTo>
                      <a:pt x="570833" y="340233"/>
                    </a:lnTo>
                    <a:lnTo>
                      <a:pt x="570833" y="339376"/>
                    </a:lnTo>
                    <a:lnTo>
                      <a:pt x="570833" y="338519"/>
                    </a:lnTo>
                    <a:lnTo>
                      <a:pt x="570833" y="337661"/>
                    </a:lnTo>
                    <a:lnTo>
                      <a:pt x="570833" y="336804"/>
                    </a:lnTo>
                    <a:lnTo>
                      <a:pt x="570833" y="335947"/>
                    </a:lnTo>
                    <a:lnTo>
                      <a:pt x="570833" y="334328"/>
                    </a:lnTo>
                    <a:lnTo>
                      <a:pt x="572453" y="331756"/>
                    </a:lnTo>
                    <a:lnTo>
                      <a:pt x="573310" y="327470"/>
                    </a:lnTo>
                    <a:lnTo>
                      <a:pt x="574167" y="326708"/>
                    </a:lnTo>
                    <a:lnTo>
                      <a:pt x="575024" y="325850"/>
                    </a:lnTo>
                    <a:lnTo>
                      <a:pt x="577596" y="323279"/>
                    </a:lnTo>
                    <a:lnTo>
                      <a:pt x="577596" y="322421"/>
                    </a:lnTo>
                    <a:lnTo>
                      <a:pt x="576739" y="321564"/>
                    </a:lnTo>
                    <a:lnTo>
                      <a:pt x="575024" y="320707"/>
                    </a:lnTo>
                    <a:lnTo>
                      <a:pt x="574167" y="320707"/>
                    </a:lnTo>
                    <a:lnTo>
                      <a:pt x="574167" y="319850"/>
                    </a:lnTo>
                    <a:lnTo>
                      <a:pt x="575024" y="319088"/>
                    </a:lnTo>
                    <a:lnTo>
                      <a:pt x="576739" y="317373"/>
                    </a:lnTo>
                    <a:lnTo>
                      <a:pt x="577596" y="317373"/>
                    </a:lnTo>
                    <a:lnTo>
                      <a:pt x="578453" y="316516"/>
                    </a:lnTo>
                    <a:lnTo>
                      <a:pt x="579215" y="315659"/>
                    </a:lnTo>
                    <a:lnTo>
                      <a:pt x="580073" y="315659"/>
                    </a:lnTo>
                    <a:lnTo>
                      <a:pt x="580930" y="315659"/>
                    </a:lnTo>
                    <a:lnTo>
                      <a:pt x="581787" y="316516"/>
                    </a:lnTo>
                    <a:lnTo>
                      <a:pt x="584359" y="316516"/>
                    </a:lnTo>
                    <a:lnTo>
                      <a:pt x="585216" y="317373"/>
                    </a:lnTo>
                    <a:lnTo>
                      <a:pt x="587693" y="316516"/>
                    </a:lnTo>
                    <a:lnTo>
                      <a:pt x="587693" y="316516"/>
                    </a:lnTo>
                    <a:lnTo>
                      <a:pt x="588550" y="316516"/>
                    </a:lnTo>
                    <a:lnTo>
                      <a:pt x="591122" y="320707"/>
                    </a:lnTo>
                    <a:lnTo>
                      <a:pt x="591979" y="322421"/>
                    </a:lnTo>
                    <a:lnTo>
                      <a:pt x="593598" y="323279"/>
                    </a:lnTo>
                    <a:lnTo>
                      <a:pt x="595313" y="323279"/>
                    </a:lnTo>
                    <a:lnTo>
                      <a:pt x="596170" y="324136"/>
                    </a:lnTo>
                    <a:lnTo>
                      <a:pt x="597884" y="323279"/>
                    </a:lnTo>
                    <a:lnTo>
                      <a:pt x="599599" y="323279"/>
                    </a:lnTo>
                    <a:lnTo>
                      <a:pt x="600361" y="323279"/>
                    </a:lnTo>
                    <a:lnTo>
                      <a:pt x="601218" y="323279"/>
                    </a:lnTo>
                    <a:lnTo>
                      <a:pt x="602075" y="324136"/>
                    </a:lnTo>
                    <a:lnTo>
                      <a:pt x="603790" y="324136"/>
                    </a:lnTo>
                    <a:lnTo>
                      <a:pt x="606362" y="324136"/>
                    </a:lnTo>
                    <a:lnTo>
                      <a:pt x="607981" y="324136"/>
                    </a:lnTo>
                    <a:lnTo>
                      <a:pt x="608838" y="323279"/>
                    </a:lnTo>
                    <a:lnTo>
                      <a:pt x="608838" y="322421"/>
                    </a:lnTo>
                    <a:lnTo>
                      <a:pt x="608838" y="319850"/>
                    </a:lnTo>
                    <a:lnTo>
                      <a:pt x="608838" y="318230"/>
                    </a:lnTo>
                    <a:lnTo>
                      <a:pt x="607981" y="313087"/>
                    </a:lnTo>
                    <a:lnTo>
                      <a:pt x="607981" y="312325"/>
                    </a:lnTo>
                    <a:lnTo>
                      <a:pt x="608838" y="310610"/>
                    </a:lnTo>
                    <a:lnTo>
                      <a:pt x="608838" y="309753"/>
                    </a:lnTo>
                    <a:lnTo>
                      <a:pt x="609695" y="308896"/>
                    </a:lnTo>
                    <a:lnTo>
                      <a:pt x="610553" y="308038"/>
                    </a:lnTo>
                    <a:lnTo>
                      <a:pt x="611410" y="304705"/>
                    </a:lnTo>
                    <a:lnTo>
                      <a:pt x="612267" y="302990"/>
                    </a:lnTo>
                    <a:lnTo>
                      <a:pt x="613886" y="302133"/>
                    </a:lnTo>
                    <a:lnTo>
                      <a:pt x="614744" y="301276"/>
                    </a:lnTo>
                    <a:lnTo>
                      <a:pt x="615601" y="301276"/>
                    </a:lnTo>
                    <a:lnTo>
                      <a:pt x="619887" y="300419"/>
                    </a:lnTo>
                    <a:lnTo>
                      <a:pt x="621506" y="299561"/>
                    </a:lnTo>
                    <a:lnTo>
                      <a:pt x="622364" y="299561"/>
                    </a:lnTo>
                    <a:lnTo>
                      <a:pt x="622364" y="298704"/>
                    </a:lnTo>
                    <a:lnTo>
                      <a:pt x="623221" y="297085"/>
                    </a:lnTo>
                    <a:lnTo>
                      <a:pt x="623221" y="296228"/>
                    </a:lnTo>
                    <a:lnTo>
                      <a:pt x="622364" y="290322"/>
                    </a:lnTo>
                    <a:lnTo>
                      <a:pt x="623221" y="287750"/>
                    </a:lnTo>
                    <a:lnTo>
                      <a:pt x="623221" y="286036"/>
                    </a:lnTo>
                    <a:lnTo>
                      <a:pt x="625793" y="282702"/>
                    </a:lnTo>
                    <a:lnTo>
                      <a:pt x="625793" y="279273"/>
                    </a:lnTo>
                    <a:lnTo>
                      <a:pt x="626650" y="278416"/>
                    </a:lnTo>
                    <a:lnTo>
                      <a:pt x="628269" y="276701"/>
                    </a:lnTo>
                    <a:lnTo>
                      <a:pt x="631698" y="275082"/>
                    </a:lnTo>
                    <a:lnTo>
                      <a:pt x="632555" y="274225"/>
                    </a:lnTo>
                    <a:lnTo>
                      <a:pt x="632555" y="273367"/>
                    </a:lnTo>
                    <a:lnTo>
                      <a:pt x="633413" y="271653"/>
                    </a:lnTo>
                    <a:lnTo>
                      <a:pt x="633413" y="270796"/>
                    </a:lnTo>
                    <a:lnTo>
                      <a:pt x="633413" y="269938"/>
                    </a:lnTo>
                    <a:lnTo>
                      <a:pt x="633413" y="269081"/>
                    </a:lnTo>
                    <a:lnTo>
                      <a:pt x="632555" y="267462"/>
                    </a:lnTo>
                    <a:lnTo>
                      <a:pt x="631698" y="267462"/>
                    </a:lnTo>
                    <a:lnTo>
                      <a:pt x="629984" y="267462"/>
                    </a:lnTo>
                    <a:lnTo>
                      <a:pt x="629126" y="265747"/>
                    </a:lnTo>
                    <a:lnTo>
                      <a:pt x="625793" y="257270"/>
                    </a:lnTo>
                    <a:lnTo>
                      <a:pt x="624935" y="253841"/>
                    </a:lnTo>
                    <a:lnTo>
                      <a:pt x="625793" y="250508"/>
                    </a:lnTo>
                    <a:lnTo>
                      <a:pt x="629984" y="252222"/>
                    </a:lnTo>
                    <a:lnTo>
                      <a:pt x="631698" y="253841"/>
                    </a:lnTo>
                    <a:lnTo>
                      <a:pt x="631698" y="253841"/>
                    </a:lnTo>
                    <a:lnTo>
                      <a:pt x="632555" y="254699"/>
                    </a:lnTo>
                    <a:lnTo>
                      <a:pt x="633413" y="257270"/>
                    </a:lnTo>
                    <a:lnTo>
                      <a:pt x="634270" y="258128"/>
                    </a:lnTo>
                    <a:lnTo>
                      <a:pt x="634270" y="258128"/>
                    </a:lnTo>
                    <a:lnTo>
                      <a:pt x="635032" y="258985"/>
                    </a:lnTo>
                    <a:lnTo>
                      <a:pt x="641795" y="261461"/>
                    </a:lnTo>
                    <a:lnTo>
                      <a:pt x="642652" y="261461"/>
                    </a:lnTo>
                    <a:lnTo>
                      <a:pt x="643509" y="261461"/>
                    </a:lnTo>
                    <a:lnTo>
                      <a:pt x="643509" y="260699"/>
                    </a:lnTo>
                    <a:lnTo>
                      <a:pt x="644366" y="259842"/>
                    </a:lnTo>
                    <a:lnTo>
                      <a:pt x="644366" y="259842"/>
                    </a:lnTo>
                    <a:lnTo>
                      <a:pt x="644366" y="259842"/>
                    </a:lnTo>
                    <a:lnTo>
                      <a:pt x="645224" y="258985"/>
                    </a:lnTo>
                    <a:lnTo>
                      <a:pt x="646081" y="258985"/>
                    </a:lnTo>
                    <a:lnTo>
                      <a:pt x="646938" y="258985"/>
                    </a:lnTo>
                    <a:lnTo>
                      <a:pt x="646938" y="258985"/>
                    </a:lnTo>
                    <a:lnTo>
                      <a:pt x="647795" y="258985"/>
                    </a:lnTo>
                    <a:lnTo>
                      <a:pt x="648557" y="258985"/>
                    </a:lnTo>
                    <a:lnTo>
                      <a:pt x="650272" y="258985"/>
                    </a:lnTo>
                    <a:lnTo>
                      <a:pt x="651129" y="259842"/>
                    </a:lnTo>
                    <a:lnTo>
                      <a:pt x="651986" y="259842"/>
                    </a:lnTo>
                    <a:lnTo>
                      <a:pt x="653701" y="259842"/>
                    </a:lnTo>
                    <a:lnTo>
                      <a:pt x="655320" y="258985"/>
                    </a:lnTo>
                    <a:lnTo>
                      <a:pt x="657035" y="259842"/>
                    </a:lnTo>
                    <a:lnTo>
                      <a:pt x="663797" y="262319"/>
                    </a:lnTo>
                    <a:lnTo>
                      <a:pt x="668084" y="264033"/>
                    </a:lnTo>
                    <a:lnTo>
                      <a:pt x="668084" y="264033"/>
                    </a:lnTo>
                    <a:lnTo>
                      <a:pt x="670560" y="264033"/>
                    </a:lnTo>
                    <a:lnTo>
                      <a:pt x="674846" y="264033"/>
                    </a:lnTo>
                    <a:lnTo>
                      <a:pt x="678180" y="265747"/>
                    </a:lnTo>
                    <a:lnTo>
                      <a:pt x="679037" y="266605"/>
                    </a:lnTo>
                    <a:lnTo>
                      <a:pt x="680752" y="267462"/>
                    </a:lnTo>
                    <a:lnTo>
                      <a:pt x="680752" y="268319"/>
                    </a:lnTo>
                    <a:lnTo>
                      <a:pt x="681609" y="268319"/>
                    </a:lnTo>
                    <a:lnTo>
                      <a:pt x="682466" y="269081"/>
                    </a:lnTo>
                    <a:lnTo>
                      <a:pt x="682466" y="269938"/>
                    </a:lnTo>
                    <a:lnTo>
                      <a:pt x="682466" y="269938"/>
                    </a:lnTo>
                    <a:lnTo>
                      <a:pt x="684943" y="278416"/>
                    </a:lnTo>
                    <a:lnTo>
                      <a:pt x="685800" y="279273"/>
                    </a:lnTo>
                    <a:lnTo>
                      <a:pt x="686657" y="280130"/>
                    </a:lnTo>
                    <a:lnTo>
                      <a:pt x="687515" y="280130"/>
                    </a:lnTo>
                    <a:lnTo>
                      <a:pt x="689991" y="280988"/>
                    </a:lnTo>
                    <a:lnTo>
                      <a:pt x="690848" y="281845"/>
                    </a:lnTo>
                    <a:lnTo>
                      <a:pt x="690848" y="282702"/>
                    </a:lnTo>
                    <a:lnTo>
                      <a:pt x="690848" y="283464"/>
                    </a:lnTo>
                    <a:lnTo>
                      <a:pt x="691706" y="284321"/>
                    </a:lnTo>
                    <a:lnTo>
                      <a:pt x="692563" y="285179"/>
                    </a:lnTo>
                    <a:lnTo>
                      <a:pt x="693420" y="285179"/>
                    </a:lnTo>
                    <a:lnTo>
                      <a:pt x="695135" y="286036"/>
                    </a:lnTo>
                    <a:lnTo>
                      <a:pt x="696754" y="286893"/>
                    </a:lnTo>
                    <a:lnTo>
                      <a:pt x="696754" y="286893"/>
                    </a:lnTo>
                    <a:lnTo>
                      <a:pt x="696754" y="287750"/>
                    </a:lnTo>
                    <a:lnTo>
                      <a:pt x="697611" y="287750"/>
                    </a:lnTo>
                    <a:lnTo>
                      <a:pt x="698468" y="287750"/>
                    </a:lnTo>
                    <a:lnTo>
                      <a:pt x="699326" y="287750"/>
                    </a:lnTo>
                    <a:lnTo>
                      <a:pt x="701897" y="287750"/>
                    </a:lnTo>
                    <a:lnTo>
                      <a:pt x="703612" y="286893"/>
                    </a:lnTo>
                    <a:lnTo>
                      <a:pt x="704374" y="286036"/>
                    </a:lnTo>
                    <a:lnTo>
                      <a:pt x="705231" y="283464"/>
                    </a:lnTo>
                    <a:lnTo>
                      <a:pt x="706088" y="283464"/>
                    </a:lnTo>
                    <a:lnTo>
                      <a:pt x="706946" y="282702"/>
                    </a:lnTo>
                    <a:lnTo>
                      <a:pt x="711137" y="280130"/>
                    </a:lnTo>
                    <a:lnTo>
                      <a:pt x="717899" y="279273"/>
                    </a:lnTo>
                    <a:lnTo>
                      <a:pt x="719614" y="279273"/>
                    </a:lnTo>
                    <a:lnTo>
                      <a:pt x="720471" y="279273"/>
                    </a:lnTo>
                    <a:lnTo>
                      <a:pt x="723043" y="280130"/>
                    </a:lnTo>
                    <a:lnTo>
                      <a:pt x="723900" y="280988"/>
                    </a:lnTo>
                    <a:lnTo>
                      <a:pt x="724662" y="281845"/>
                    </a:lnTo>
                    <a:lnTo>
                      <a:pt x="725519" y="284321"/>
                    </a:lnTo>
                    <a:lnTo>
                      <a:pt x="726377" y="285179"/>
                    </a:lnTo>
                    <a:lnTo>
                      <a:pt x="727234" y="285179"/>
                    </a:lnTo>
                    <a:lnTo>
                      <a:pt x="728948" y="286036"/>
                    </a:lnTo>
                    <a:lnTo>
                      <a:pt x="738188" y="286893"/>
                    </a:lnTo>
                    <a:lnTo>
                      <a:pt x="739902" y="287750"/>
                    </a:lnTo>
                    <a:lnTo>
                      <a:pt x="739902" y="288608"/>
                    </a:lnTo>
                    <a:lnTo>
                      <a:pt x="741617" y="290322"/>
                    </a:lnTo>
                    <a:lnTo>
                      <a:pt x="742474" y="291084"/>
                    </a:lnTo>
                    <a:lnTo>
                      <a:pt x="743331" y="291941"/>
                    </a:lnTo>
                    <a:lnTo>
                      <a:pt x="744188" y="291941"/>
                    </a:lnTo>
                    <a:lnTo>
                      <a:pt x="745807" y="291941"/>
                    </a:lnTo>
                    <a:lnTo>
                      <a:pt x="754285" y="291941"/>
                    </a:lnTo>
                    <a:lnTo>
                      <a:pt x="755142" y="291941"/>
                    </a:lnTo>
                    <a:lnTo>
                      <a:pt x="755999" y="291941"/>
                    </a:lnTo>
                    <a:lnTo>
                      <a:pt x="758571" y="291941"/>
                    </a:lnTo>
                    <a:lnTo>
                      <a:pt x="759333" y="292799"/>
                    </a:lnTo>
                    <a:lnTo>
                      <a:pt x="760190" y="292799"/>
                    </a:lnTo>
                    <a:lnTo>
                      <a:pt x="760190" y="293656"/>
                    </a:lnTo>
                    <a:lnTo>
                      <a:pt x="761048" y="294513"/>
                    </a:lnTo>
                    <a:lnTo>
                      <a:pt x="761048" y="294513"/>
                    </a:lnTo>
                    <a:lnTo>
                      <a:pt x="762762" y="295370"/>
                    </a:lnTo>
                    <a:lnTo>
                      <a:pt x="762762" y="295370"/>
                    </a:lnTo>
                    <a:lnTo>
                      <a:pt x="763619" y="295370"/>
                    </a:lnTo>
                    <a:lnTo>
                      <a:pt x="764477" y="295370"/>
                    </a:lnTo>
                    <a:lnTo>
                      <a:pt x="765334" y="293656"/>
                    </a:lnTo>
                    <a:lnTo>
                      <a:pt x="766096" y="293656"/>
                    </a:lnTo>
                    <a:lnTo>
                      <a:pt x="766096" y="292799"/>
                    </a:lnTo>
                    <a:lnTo>
                      <a:pt x="766096" y="291084"/>
                    </a:lnTo>
                    <a:lnTo>
                      <a:pt x="766096" y="290322"/>
                    </a:lnTo>
                    <a:lnTo>
                      <a:pt x="766953" y="289465"/>
                    </a:lnTo>
                    <a:lnTo>
                      <a:pt x="767810" y="289465"/>
                    </a:lnTo>
                    <a:lnTo>
                      <a:pt x="769525" y="288608"/>
                    </a:lnTo>
                    <a:lnTo>
                      <a:pt x="777145" y="286036"/>
                    </a:lnTo>
                    <a:lnTo>
                      <a:pt x="778002" y="285179"/>
                    </a:lnTo>
                    <a:lnTo>
                      <a:pt x="778859" y="285179"/>
                    </a:lnTo>
                    <a:lnTo>
                      <a:pt x="780478" y="284321"/>
                    </a:lnTo>
                    <a:lnTo>
                      <a:pt x="787241" y="285179"/>
                    </a:lnTo>
                    <a:lnTo>
                      <a:pt x="788099" y="286893"/>
                    </a:lnTo>
                    <a:lnTo>
                      <a:pt x="788956" y="287750"/>
                    </a:lnTo>
                    <a:lnTo>
                      <a:pt x="791528" y="290322"/>
                    </a:lnTo>
                    <a:lnTo>
                      <a:pt x="792385" y="291084"/>
                    </a:lnTo>
                    <a:lnTo>
                      <a:pt x="793242" y="293656"/>
                    </a:lnTo>
                    <a:lnTo>
                      <a:pt x="794004" y="294513"/>
                    </a:lnTo>
                    <a:lnTo>
                      <a:pt x="794861" y="295370"/>
                    </a:lnTo>
                    <a:lnTo>
                      <a:pt x="794861" y="295370"/>
                    </a:lnTo>
                    <a:lnTo>
                      <a:pt x="795719" y="296228"/>
                    </a:lnTo>
                    <a:lnTo>
                      <a:pt x="797433" y="296228"/>
                    </a:lnTo>
                    <a:lnTo>
                      <a:pt x="800005" y="297085"/>
                    </a:lnTo>
                    <a:lnTo>
                      <a:pt x="800767" y="297847"/>
                    </a:lnTo>
                    <a:lnTo>
                      <a:pt x="800767" y="297847"/>
                    </a:lnTo>
                    <a:lnTo>
                      <a:pt x="801624" y="297847"/>
                    </a:lnTo>
                    <a:lnTo>
                      <a:pt x="801624" y="298704"/>
                    </a:lnTo>
                    <a:lnTo>
                      <a:pt x="803339" y="300419"/>
                    </a:lnTo>
                    <a:lnTo>
                      <a:pt x="804196" y="301276"/>
                    </a:lnTo>
                    <a:lnTo>
                      <a:pt x="804196" y="302133"/>
                    </a:lnTo>
                    <a:lnTo>
                      <a:pt x="805053" y="302990"/>
                    </a:lnTo>
                    <a:lnTo>
                      <a:pt x="805910" y="304705"/>
                    </a:lnTo>
                    <a:lnTo>
                      <a:pt x="805910" y="306324"/>
                    </a:lnTo>
                    <a:lnTo>
                      <a:pt x="805910" y="308038"/>
                    </a:lnTo>
                    <a:lnTo>
                      <a:pt x="805053" y="312325"/>
                    </a:lnTo>
                    <a:lnTo>
                      <a:pt x="805053" y="313944"/>
                    </a:lnTo>
                    <a:lnTo>
                      <a:pt x="805053" y="315659"/>
                    </a:lnTo>
                    <a:lnTo>
                      <a:pt x="805053" y="318230"/>
                    </a:lnTo>
                    <a:lnTo>
                      <a:pt x="804196" y="319850"/>
                    </a:lnTo>
                    <a:lnTo>
                      <a:pt x="804196" y="320707"/>
                    </a:lnTo>
                    <a:lnTo>
                      <a:pt x="803339" y="321564"/>
                    </a:lnTo>
                    <a:lnTo>
                      <a:pt x="802481" y="322421"/>
                    </a:lnTo>
                    <a:lnTo>
                      <a:pt x="801624" y="323279"/>
                    </a:lnTo>
                    <a:lnTo>
                      <a:pt x="801624" y="324136"/>
                    </a:lnTo>
                    <a:lnTo>
                      <a:pt x="801624" y="324136"/>
                    </a:lnTo>
                    <a:lnTo>
                      <a:pt x="801624" y="325850"/>
                    </a:lnTo>
                    <a:lnTo>
                      <a:pt x="801624" y="327470"/>
                    </a:lnTo>
                    <a:lnTo>
                      <a:pt x="801624" y="330041"/>
                    </a:lnTo>
                    <a:lnTo>
                      <a:pt x="802481" y="331756"/>
                    </a:lnTo>
                    <a:lnTo>
                      <a:pt x="803339" y="334328"/>
                    </a:lnTo>
                    <a:lnTo>
                      <a:pt x="800767" y="335947"/>
                    </a:lnTo>
                    <a:lnTo>
                      <a:pt x="797433" y="338519"/>
                    </a:lnTo>
                    <a:lnTo>
                      <a:pt x="795719" y="341852"/>
                    </a:lnTo>
                    <a:lnTo>
                      <a:pt x="794004" y="345281"/>
                    </a:lnTo>
                    <a:lnTo>
                      <a:pt x="794861" y="348710"/>
                    </a:lnTo>
                    <a:lnTo>
                      <a:pt x="796576" y="349472"/>
                    </a:lnTo>
                    <a:lnTo>
                      <a:pt x="802481" y="347853"/>
                    </a:lnTo>
                    <a:lnTo>
                      <a:pt x="803339" y="350330"/>
                    </a:lnTo>
                    <a:lnTo>
                      <a:pt x="804196" y="357950"/>
                    </a:lnTo>
                    <a:lnTo>
                      <a:pt x="805910" y="362236"/>
                    </a:lnTo>
                    <a:lnTo>
                      <a:pt x="805910" y="368141"/>
                    </a:lnTo>
                    <a:lnTo>
                      <a:pt x="805053" y="369856"/>
                    </a:lnTo>
                    <a:lnTo>
                      <a:pt x="804196" y="371475"/>
                    </a:lnTo>
                    <a:lnTo>
                      <a:pt x="800767" y="374047"/>
                    </a:lnTo>
                    <a:lnTo>
                      <a:pt x="800767" y="374904"/>
                    </a:lnTo>
                    <a:lnTo>
                      <a:pt x="805910" y="378333"/>
                    </a:lnTo>
                    <a:lnTo>
                      <a:pt x="810101" y="379095"/>
                    </a:lnTo>
                    <a:lnTo>
                      <a:pt x="814292" y="383381"/>
                    </a:lnTo>
                    <a:lnTo>
                      <a:pt x="816007" y="385096"/>
                    </a:lnTo>
                    <a:lnTo>
                      <a:pt x="816864" y="385858"/>
                    </a:lnTo>
                    <a:lnTo>
                      <a:pt x="818578" y="389287"/>
                    </a:lnTo>
                    <a:lnTo>
                      <a:pt x="819436" y="389287"/>
                    </a:lnTo>
                    <a:lnTo>
                      <a:pt x="827913" y="390144"/>
                    </a:lnTo>
                    <a:lnTo>
                      <a:pt x="836295" y="389287"/>
                    </a:lnTo>
                    <a:lnTo>
                      <a:pt x="837152" y="389287"/>
                    </a:lnTo>
                    <a:lnTo>
                      <a:pt x="839724" y="387572"/>
                    </a:lnTo>
                    <a:lnTo>
                      <a:pt x="838867" y="385858"/>
                    </a:lnTo>
                    <a:lnTo>
                      <a:pt x="838010" y="384238"/>
                    </a:lnTo>
                    <a:lnTo>
                      <a:pt x="838010" y="382524"/>
                    </a:lnTo>
                    <a:lnTo>
                      <a:pt x="838867" y="381667"/>
                    </a:lnTo>
                    <a:lnTo>
                      <a:pt x="839724" y="379952"/>
                    </a:lnTo>
                    <a:lnTo>
                      <a:pt x="846487" y="376619"/>
                    </a:lnTo>
                    <a:lnTo>
                      <a:pt x="848201" y="374047"/>
                    </a:lnTo>
                    <a:lnTo>
                      <a:pt x="847344" y="371475"/>
                    </a:lnTo>
                    <a:lnTo>
                      <a:pt x="840581" y="363855"/>
                    </a:lnTo>
                    <a:lnTo>
                      <a:pt x="839724" y="360521"/>
                    </a:lnTo>
                    <a:lnTo>
                      <a:pt x="839724" y="357092"/>
                    </a:lnTo>
                    <a:lnTo>
                      <a:pt x="841439" y="352044"/>
                    </a:lnTo>
                    <a:lnTo>
                      <a:pt x="847344" y="345281"/>
                    </a:lnTo>
                    <a:lnTo>
                      <a:pt x="849820" y="341090"/>
                    </a:lnTo>
                    <a:lnTo>
                      <a:pt x="850678" y="338519"/>
                    </a:lnTo>
                    <a:lnTo>
                      <a:pt x="850678" y="336804"/>
                    </a:lnTo>
                    <a:lnTo>
                      <a:pt x="853249" y="327470"/>
                    </a:lnTo>
                    <a:lnTo>
                      <a:pt x="854107" y="325850"/>
                    </a:lnTo>
                    <a:lnTo>
                      <a:pt x="854964" y="324993"/>
                    </a:lnTo>
                    <a:lnTo>
                      <a:pt x="857440" y="324136"/>
                    </a:lnTo>
                    <a:lnTo>
                      <a:pt x="859155" y="323279"/>
                    </a:lnTo>
                    <a:lnTo>
                      <a:pt x="860012" y="321564"/>
                    </a:lnTo>
                    <a:lnTo>
                      <a:pt x="861727" y="317373"/>
                    </a:lnTo>
                    <a:lnTo>
                      <a:pt x="862584" y="316516"/>
                    </a:lnTo>
                    <a:lnTo>
                      <a:pt x="863346" y="315659"/>
                    </a:lnTo>
                    <a:lnTo>
                      <a:pt x="865918" y="314801"/>
                    </a:lnTo>
                    <a:lnTo>
                      <a:pt x="866775" y="313944"/>
                    </a:lnTo>
                    <a:lnTo>
                      <a:pt x="867632" y="313087"/>
                    </a:lnTo>
                    <a:lnTo>
                      <a:pt x="869347" y="310610"/>
                    </a:lnTo>
                    <a:lnTo>
                      <a:pt x="870966" y="309753"/>
                    </a:lnTo>
                    <a:lnTo>
                      <a:pt x="872681" y="308896"/>
                    </a:lnTo>
                    <a:lnTo>
                      <a:pt x="874395" y="309753"/>
                    </a:lnTo>
                    <a:lnTo>
                      <a:pt x="876110" y="314801"/>
                    </a:lnTo>
                    <a:lnTo>
                      <a:pt x="877729" y="317373"/>
                    </a:lnTo>
                    <a:lnTo>
                      <a:pt x="879443" y="317373"/>
                    </a:lnTo>
                    <a:lnTo>
                      <a:pt x="882015" y="317373"/>
                    </a:lnTo>
                    <a:lnTo>
                      <a:pt x="884492" y="317373"/>
                    </a:lnTo>
                    <a:lnTo>
                      <a:pt x="885349" y="318230"/>
                    </a:lnTo>
                    <a:lnTo>
                      <a:pt x="887920" y="322421"/>
                    </a:lnTo>
                    <a:lnTo>
                      <a:pt x="888778" y="324136"/>
                    </a:lnTo>
                    <a:lnTo>
                      <a:pt x="888778" y="324136"/>
                    </a:lnTo>
                    <a:lnTo>
                      <a:pt x="889635" y="324136"/>
                    </a:lnTo>
                    <a:lnTo>
                      <a:pt x="891254" y="322421"/>
                    </a:lnTo>
                    <a:lnTo>
                      <a:pt x="892111" y="320707"/>
                    </a:lnTo>
                    <a:lnTo>
                      <a:pt x="893826" y="319850"/>
                    </a:lnTo>
                    <a:lnTo>
                      <a:pt x="896398" y="318230"/>
                    </a:lnTo>
                    <a:lnTo>
                      <a:pt x="900589" y="316516"/>
                    </a:lnTo>
                    <a:lnTo>
                      <a:pt x="901446" y="315659"/>
                    </a:lnTo>
                    <a:lnTo>
                      <a:pt x="901446" y="313944"/>
                    </a:lnTo>
                    <a:lnTo>
                      <a:pt x="900589" y="312325"/>
                    </a:lnTo>
                    <a:lnTo>
                      <a:pt x="898017" y="309753"/>
                    </a:lnTo>
                    <a:lnTo>
                      <a:pt x="898017" y="308896"/>
                    </a:lnTo>
                    <a:lnTo>
                      <a:pt x="898017" y="307181"/>
                    </a:lnTo>
                    <a:lnTo>
                      <a:pt x="898874" y="307181"/>
                    </a:lnTo>
                    <a:lnTo>
                      <a:pt x="900589" y="306324"/>
                    </a:lnTo>
                    <a:lnTo>
                      <a:pt x="904018" y="306324"/>
                    </a:lnTo>
                    <a:lnTo>
                      <a:pt x="905637" y="305467"/>
                    </a:lnTo>
                    <a:lnTo>
                      <a:pt x="906494" y="304705"/>
                    </a:lnTo>
                    <a:lnTo>
                      <a:pt x="907352" y="303847"/>
                    </a:lnTo>
                    <a:lnTo>
                      <a:pt x="908209" y="302133"/>
                    </a:lnTo>
                    <a:lnTo>
                      <a:pt x="908209" y="300419"/>
                    </a:lnTo>
                    <a:lnTo>
                      <a:pt x="908209" y="297847"/>
                    </a:lnTo>
                    <a:lnTo>
                      <a:pt x="908209" y="297847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40" name="Freeform: Shape 144">
                <a:extLst>
                  <a:ext uri="{FF2B5EF4-FFF2-40B4-BE49-F238E27FC236}">
                    <a16:creationId xmlns:a16="http://schemas.microsoft.com/office/drawing/2014/main" id="{B99383E3-855C-48CC-9782-519DD465C9D7}"/>
                  </a:ext>
                </a:extLst>
              </p:cNvPr>
              <p:cNvSpPr/>
              <p:nvPr/>
            </p:nvSpPr>
            <p:spPr>
              <a:xfrm>
                <a:off x="5133308" y="2918270"/>
                <a:ext cx="962025" cy="695325"/>
              </a:xfrm>
              <a:custGeom>
                <a:avLst/>
                <a:gdLst>
                  <a:gd name="connsiteX0" fmla="*/ 968121 w 962025"/>
                  <a:gd name="connsiteY0" fmla="*/ 277749 h 695325"/>
                  <a:gd name="connsiteX1" fmla="*/ 966502 w 962025"/>
                  <a:gd name="connsiteY1" fmla="*/ 276034 h 695325"/>
                  <a:gd name="connsiteX2" fmla="*/ 966502 w 962025"/>
                  <a:gd name="connsiteY2" fmla="*/ 275177 h 695325"/>
                  <a:gd name="connsiteX3" fmla="*/ 965645 w 962025"/>
                  <a:gd name="connsiteY3" fmla="*/ 273463 h 695325"/>
                  <a:gd name="connsiteX4" fmla="*/ 964787 w 962025"/>
                  <a:gd name="connsiteY4" fmla="*/ 270891 h 695325"/>
                  <a:gd name="connsiteX5" fmla="*/ 964787 w 962025"/>
                  <a:gd name="connsiteY5" fmla="*/ 269176 h 695325"/>
                  <a:gd name="connsiteX6" fmla="*/ 963930 w 962025"/>
                  <a:gd name="connsiteY6" fmla="*/ 269176 h 695325"/>
                  <a:gd name="connsiteX7" fmla="*/ 963073 w 962025"/>
                  <a:gd name="connsiteY7" fmla="*/ 268319 h 695325"/>
                  <a:gd name="connsiteX8" fmla="*/ 958882 w 962025"/>
                  <a:gd name="connsiteY8" fmla="*/ 268319 h 695325"/>
                  <a:gd name="connsiteX9" fmla="*/ 958024 w 962025"/>
                  <a:gd name="connsiteY9" fmla="*/ 268319 h 695325"/>
                  <a:gd name="connsiteX10" fmla="*/ 957167 w 962025"/>
                  <a:gd name="connsiteY10" fmla="*/ 267557 h 695325"/>
                  <a:gd name="connsiteX11" fmla="*/ 957167 w 962025"/>
                  <a:gd name="connsiteY11" fmla="*/ 266700 h 695325"/>
                  <a:gd name="connsiteX12" fmla="*/ 957167 w 962025"/>
                  <a:gd name="connsiteY12" fmla="*/ 264128 h 695325"/>
                  <a:gd name="connsiteX13" fmla="*/ 957167 w 962025"/>
                  <a:gd name="connsiteY13" fmla="*/ 263271 h 695325"/>
                  <a:gd name="connsiteX14" fmla="*/ 956310 w 962025"/>
                  <a:gd name="connsiteY14" fmla="*/ 262414 h 695325"/>
                  <a:gd name="connsiteX15" fmla="*/ 955453 w 962025"/>
                  <a:gd name="connsiteY15" fmla="*/ 262414 h 695325"/>
                  <a:gd name="connsiteX16" fmla="*/ 954595 w 962025"/>
                  <a:gd name="connsiteY16" fmla="*/ 262414 h 695325"/>
                  <a:gd name="connsiteX17" fmla="*/ 946976 w 962025"/>
                  <a:gd name="connsiteY17" fmla="*/ 265843 h 695325"/>
                  <a:gd name="connsiteX18" fmla="*/ 946214 w 962025"/>
                  <a:gd name="connsiteY18" fmla="*/ 266700 h 695325"/>
                  <a:gd name="connsiteX19" fmla="*/ 944499 w 962025"/>
                  <a:gd name="connsiteY19" fmla="*/ 266700 h 695325"/>
                  <a:gd name="connsiteX20" fmla="*/ 938594 w 962025"/>
                  <a:gd name="connsiteY20" fmla="*/ 265843 h 695325"/>
                  <a:gd name="connsiteX21" fmla="*/ 928402 w 962025"/>
                  <a:gd name="connsiteY21" fmla="*/ 262414 h 695325"/>
                  <a:gd name="connsiteX22" fmla="*/ 926687 w 962025"/>
                  <a:gd name="connsiteY22" fmla="*/ 262414 h 695325"/>
                  <a:gd name="connsiteX23" fmla="*/ 925925 w 962025"/>
                  <a:gd name="connsiteY23" fmla="*/ 262414 h 695325"/>
                  <a:gd name="connsiteX24" fmla="*/ 925068 w 962025"/>
                  <a:gd name="connsiteY24" fmla="*/ 264128 h 695325"/>
                  <a:gd name="connsiteX25" fmla="*/ 925068 w 962025"/>
                  <a:gd name="connsiteY25" fmla="*/ 264985 h 695325"/>
                  <a:gd name="connsiteX26" fmla="*/ 925068 w 962025"/>
                  <a:gd name="connsiteY26" fmla="*/ 265843 h 695325"/>
                  <a:gd name="connsiteX27" fmla="*/ 925068 w 962025"/>
                  <a:gd name="connsiteY27" fmla="*/ 266700 h 695325"/>
                  <a:gd name="connsiteX28" fmla="*/ 925925 w 962025"/>
                  <a:gd name="connsiteY28" fmla="*/ 269176 h 695325"/>
                  <a:gd name="connsiteX29" fmla="*/ 925925 w 962025"/>
                  <a:gd name="connsiteY29" fmla="*/ 270034 h 695325"/>
                  <a:gd name="connsiteX30" fmla="*/ 925068 w 962025"/>
                  <a:gd name="connsiteY30" fmla="*/ 271748 h 695325"/>
                  <a:gd name="connsiteX31" fmla="*/ 923353 w 962025"/>
                  <a:gd name="connsiteY31" fmla="*/ 272605 h 695325"/>
                  <a:gd name="connsiteX32" fmla="*/ 922496 w 962025"/>
                  <a:gd name="connsiteY32" fmla="*/ 273463 h 695325"/>
                  <a:gd name="connsiteX33" fmla="*/ 917448 w 962025"/>
                  <a:gd name="connsiteY33" fmla="*/ 272605 h 695325"/>
                  <a:gd name="connsiteX34" fmla="*/ 912400 w 962025"/>
                  <a:gd name="connsiteY34" fmla="*/ 273463 h 695325"/>
                  <a:gd name="connsiteX35" fmla="*/ 912400 w 962025"/>
                  <a:gd name="connsiteY35" fmla="*/ 272605 h 695325"/>
                  <a:gd name="connsiteX36" fmla="*/ 912400 w 962025"/>
                  <a:gd name="connsiteY36" fmla="*/ 271748 h 695325"/>
                  <a:gd name="connsiteX37" fmla="*/ 914876 w 962025"/>
                  <a:gd name="connsiteY37" fmla="*/ 267557 h 695325"/>
                  <a:gd name="connsiteX38" fmla="*/ 914019 w 962025"/>
                  <a:gd name="connsiteY38" fmla="*/ 265843 h 695325"/>
                  <a:gd name="connsiteX39" fmla="*/ 914019 w 962025"/>
                  <a:gd name="connsiteY39" fmla="*/ 264985 h 695325"/>
                  <a:gd name="connsiteX40" fmla="*/ 912400 w 962025"/>
                  <a:gd name="connsiteY40" fmla="*/ 264128 h 695325"/>
                  <a:gd name="connsiteX41" fmla="*/ 911543 w 962025"/>
                  <a:gd name="connsiteY41" fmla="*/ 264128 h 695325"/>
                  <a:gd name="connsiteX42" fmla="*/ 910685 w 962025"/>
                  <a:gd name="connsiteY42" fmla="*/ 264128 h 695325"/>
                  <a:gd name="connsiteX43" fmla="*/ 910685 w 962025"/>
                  <a:gd name="connsiteY43" fmla="*/ 264128 h 695325"/>
                  <a:gd name="connsiteX44" fmla="*/ 909828 w 962025"/>
                  <a:gd name="connsiteY44" fmla="*/ 264128 h 695325"/>
                  <a:gd name="connsiteX45" fmla="*/ 908971 w 962025"/>
                  <a:gd name="connsiteY45" fmla="*/ 264128 h 695325"/>
                  <a:gd name="connsiteX46" fmla="*/ 908971 w 962025"/>
                  <a:gd name="connsiteY46" fmla="*/ 264128 h 695325"/>
                  <a:gd name="connsiteX47" fmla="*/ 908114 w 962025"/>
                  <a:gd name="connsiteY47" fmla="*/ 264128 h 695325"/>
                  <a:gd name="connsiteX48" fmla="*/ 908114 w 962025"/>
                  <a:gd name="connsiteY48" fmla="*/ 263271 h 695325"/>
                  <a:gd name="connsiteX49" fmla="*/ 907256 w 962025"/>
                  <a:gd name="connsiteY49" fmla="*/ 262414 h 695325"/>
                  <a:gd name="connsiteX50" fmla="*/ 908114 w 962025"/>
                  <a:gd name="connsiteY50" fmla="*/ 257270 h 695325"/>
                  <a:gd name="connsiteX51" fmla="*/ 908114 w 962025"/>
                  <a:gd name="connsiteY51" fmla="*/ 254698 h 695325"/>
                  <a:gd name="connsiteX52" fmla="*/ 907256 w 962025"/>
                  <a:gd name="connsiteY52" fmla="*/ 253841 h 695325"/>
                  <a:gd name="connsiteX53" fmla="*/ 907256 w 962025"/>
                  <a:gd name="connsiteY53" fmla="*/ 253841 h 695325"/>
                  <a:gd name="connsiteX54" fmla="*/ 906399 w 962025"/>
                  <a:gd name="connsiteY54" fmla="*/ 254698 h 695325"/>
                  <a:gd name="connsiteX55" fmla="*/ 906399 w 962025"/>
                  <a:gd name="connsiteY55" fmla="*/ 254698 h 695325"/>
                  <a:gd name="connsiteX56" fmla="*/ 905542 w 962025"/>
                  <a:gd name="connsiteY56" fmla="*/ 256413 h 695325"/>
                  <a:gd name="connsiteX57" fmla="*/ 904780 w 962025"/>
                  <a:gd name="connsiteY57" fmla="*/ 257270 h 695325"/>
                  <a:gd name="connsiteX58" fmla="*/ 903923 w 962025"/>
                  <a:gd name="connsiteY58" fmla="*/ 258127 h 695325"/>
                  <a:gd name="connsiteX59" fmla="*/ 903923 w 962025"/>
                  <a:gd name="connsiteY59" fmla="*/ 258127 h 695325"/>
                  <a:gd name="connsiteX60" fmla="*/ 903065 w 962025"/>
                  <a:gd name="connsiteY60" fmla="*/ 258127 h 695325"/>
                  <a:gd name="connsiteX61" fmla="*/ 901351 w 962025"/>
                  <a:gd name="connsiteY61" fmla="*/ 257270 h 695325"/>
                  <a:gd name="connsiteX62" fmla="*/ 901351 w 962025"/>
                  <a:gd name="connsiteY62" fmla="*/ 256413 h 695325"/>
                  <a:gd name="connsiteX63" fmla="*/ 901351 w 962025"/>
                  <a:gd name="connsiteY63" fmla="*/ 255556 h 695325"/>
                  <a:gd name="connsiteX64" fmla="*/ 901351 w 962025"/>
                  <a:gd name="connsiteY64" fmla="*/ 254698 h 695325"/>
                  <a:gd name="connsiteX65" fmla="*/ 902208 w 962025"/>
                  <a:gd name="connsiteY65" fmla="*/ 253841 h 695325"/>
                  <a:gd name="connsiteX66" fmla="*/ 902208 w 962025"/>
                  <a:gd name="connsiteY66" fmla="*/ 252222 h 695325"/>
                  <a:gd name="connsiteX67" fmla="*/ 902208 w 962025"/>
                  <a:gd name="connsiteY67" fmla="*/ 249650 h 695325"/>
                  <a:gd name="connsiteX68" fmla="*/ 902208 w 962025"/>
                  <a:gd name="connsiteY68" fmla="*/ 248793 h 695325"/>
                  <a:gd name="connsiteX69" fmla="*/ 901351 w 962025"/>
                  <a:gd name="connsiteY69" fmla="*/ 247936 h 695325"/>
                  <a:gd name="connsiteX70" fmla="*/ 901351 w 962025"/>
                  <a:gd name="connsiteY70" fmla="*/ 247079 h 695325"/>
                  <a:gd name="connsiteX71" fmla="*/ 900494 w 962025"/>
                  <a:gd name="connsiteY71" fmla="*/ 247079 h 695325"/>
                  <a:gd name="connsiteX72" fmla="*/ 899636 w 962025"/>
                  <a:gd name="connsiteY72" fmla="*/ 247936 h 695325"/>
                  <a:gd name="connsiteX73" fmla="*/ 895445 w 962025"/>
                  <a:gd name="connsiteY73" fmla="*/ 250507 h 695325"/>
                  <a:gd name="connsiteX74" fmla="*/ 894588 w 962025"/>
                  <a:gd name="connsiteY74" fmla="*/ 251365 h 695325"/>
                  <a:gd name="connsiteX75" fmla="*/ 893731 w 962025"/>
                  <a:gd name="connsiteY75" fmla="*/ 251365 h 695325"/>
                  <a:gd name="connsiteX76" fmla="*/ 892874 w 962025"/>
                  <a:gd name="connsiteY76" fmla="*/ 252222 h 695325"/>
                  <a:gd name="connsiteX77" fmla="*/ 892016 w 962025"/>
                  <a:gd name="connsiteY77" fmla="*/ 252222 h 695325"/>
                  <a:gd name="connsiteX78" fmla="*/ 892016 w 962025"/>
                  <a:gd name="connsiteY78" fmla="*/ 252222 h 695325"/>
                  <a:gd name="connsiteX79" fmla="*/ 890397 w 962025"/>
                  <a:gd name="connsiteY79" fmla="*/ 251365 h 695325"/>
                  <a:gd name="connsiteX80" fmla="*/ 884491 w 962025"/>
                  <a:gd name="connsiteY80" fmla="*/ 247079 h 695325"/>
                  <a:gd name="connsiteX81" fmla="*/ 881920 w 962025"/>
                  <a:gd name="connsiteY81" fmla="*/ 245364 h 695325"/>
                  <a:gd name="connsiteX82" fmla="*/ 881062 w 962025"/>
                  <a:gd name="connsiteY82" fmla="*/ 245364 h 695325"/>
                  <a:gd name="connsiteX83" fmla="*/ 878491 w 962025"/>
                  <a:gd name="connsiteY83" fmla="*/ 245364 h 695325"/>
                  <a:gd name="connsiteX84" fmla="*/ 876014 w 962025"/>
                  <a:gd name="connsiteY84" fmla="*/ 245364 h 695325"/>
                  <a:gd name="connsiteX85" fmla="*/ 875157 w 962025"/>
                  <a:gd name="connsiteY85" fmla="*/ 245364 h 695325"/>
                  <a:gd name="connsiteX86" fmla="*/ 873443 w 962025"/>
                  <a:gd name="connsiteY86" fmla="*/ 244507 h 695325"/>
                  <a:gd name="connsiteX87" fmla="*/ 865823 w 962025"/>
                  <a:gd name="connsiteY87" fmla="*/ 237649 h 695325"/>
                  <a:gd name="connsiteX88" fmla="*/ 864203 w 962025"/>
                  <a:gd name="connsiteY88" fmla="*/ 236792 h 695325"/>
                  <a:gd name="connsiteX89" fmla="*/ 864203 w 962025"/>
                  <a:gd name="connsiteY89" fmla="*/ 236029 h 695325"/>
                  <a:gd name="connsiteX90" fmla="*/ 864203 w 962025"/>
                  <a:gd name="connsiteY90" fmla="*/ 235172 h 695325"/>
                  <a:gd name="connsiteX91" fmla="*/ 864203 w 962025"/>
                  <a:gd name="connsiteY91" fmla="*/ 235172 h 695325"/>
                  <a:gd name="connsiteX92" fmla="*/ 864203 w 962025"/>
                  <a:gd name="connsiteY92" fmla="*/ 234315 h 695325"/>
                  <a:gd name="connsiteX93" fmla="*/ 864965 w 962025"/>
                  <a:gd name="connsiteY93" fmla="*/ 233458 h 695325"/>
                  <a:gd name="connsiteX94" fmla="*/ 864965 w 962025"/>
                  <a:gd name="connsiteY94" fmla="*/ 232600 h 695325"/>
                  <a:gd name="connsiteX95" fmla="*/ 864965 w 962025"/>
                  <a:gd name="connsiteY95" fmla="*/ 230886 h 695325"/>
                  <a:gd name="connsiteX96" fmla="*/ 863346 w 962025"/>
                  <a:gd name="connsiteY96" fmla="*/ 228314 h 695325"/>
                  <a:gd name="connsiteX97" fmla="*/ 863346 w 962025"/>
                  <a:gd name="connsiteY97" fmla="*/ 228314 h 695325"/>
                  <a:gd name="connsiteX98" fmla="*/ 863346 w 962025"/>
                  <a:gd name="connsiteY98" fmla="*/ 228314 h 695325"/>
                  <a:gd name="connsiteX99" fmla="*/ 862489 w 962025"/>
                  <a:gd name="connsiteY99" fmla="*/ 226600 h 695325"/>
                  <a:gd name="connsiteX100" fmla="*/ 861632 w 962025"/>
                  <a:gd name="connsiteY100" fmla="*/ 224885 h 695325"/>
                  <a:gd name="connsiteX101" fmla="*/ 859917 w 962025"/>
                  <a:gd name="connsiteY101" fmla="*/ 224885 h 695325"/>
                  <a:gd name="connsiteX102" fmla="*/ 858203 w 962025"/>
                  <a:gd name="connsiteY102" fmla="*/ 224028 h 695325"/>
                  <a:gd name="connsiteX103" fmla="*/ 857345 w 962025"/>
                  <a:gd name="connsiteY103" fmla="*/ 224028 h 695325"/>
                  <a:gd name="connsiteX104" fmla="*/ 856583 w 962025"/>
                  <a:gd name="connsiteY104" fmla="*/ 224028 h 695325"/>
                  <a:gd name="connsiteX105" fmla="*/ 855726 w 962025"/>
                  <a:gd name="connsiteY105" fmla="*/ 224885 h 695325"/>
                  <a:gd name="connsiteX106" fmla="*/ 854011 w 962025"/>
                  <a:gd name="connsiteY106" fmla="*/ 225742 h 695325"/>
                  <a:gd name="connsiteX107" fmla="*/ 853154 w 962025"/>
                  <a:gd name="connsiteY107" fmla="*/ 225742 h 695325"/>
                  <a:gd name="connsiteX108" fmla="*/ 851440 w 962025"/>
                  <a:gd name="connsiteY108" fmla="*/ 225742 h 695325"/>
                  <a:gd name="connsiteX109" fmla="*/ 848963 w 962025"/>
                  <a:gd name="connsiteY109" fmla="*/ 225742 h 695325"/>
                  <a:gd name="connsiteX110" fmla="*/ 848106 w 962025"/>
                  <a:gd name="connsiteY110" fmla="*/ 224885 h 695325"/>
                  <a:gd name="connsiteX111" fmla="*/ 848106 w 962025"/>
                  <a:gd name="connsiteY111" fmla="*/ 224028 h 695325"/>
                  <a:gd name="connsiteX112" fmla="*/ 847249 w 962025"/>
                  <a:gd name="connsiteY112" fmla="*/ 222313 h 695325"/>
                  <a:gd name="connsiteX113" fmla="*/ 847249 w 962025"/>
                  <a:gd name="connsiteY113" fmla="*/ 221456 h 695325"/>
                  <a:gd name="connsiteX114" fmla="*/ 846391 w 962025"/>
                  <a:gd name="connsiteY114" fmla="*/ 220694 h 695325"/>
                  <a:gd name="connsiteX115" fmla="*/ 841343 w 962025"/>
                  <a:gd name="connsiteY115" fmla="*/ 220694 h 695325"/>
                  <a:gd name="connsiteX116" fmla="*/ 837057 w 962025"/>
                  <a:gd name="connsiteY116" fmla="*/ 219837 h 695325"/>
                  <a:gd name="connsiteX117" fmla="*/ 834581 w 962025"/>
                  <a:gd name="connsiteY117" fmla="*/ 218980 h 695325"/>
                  <a:gd name="connsiteX118" fmla="*/ 832866 w 962025"/>
                  <a:gd name="connsiteY118" fmla="*/ 218980 h 695325"/>
                  <a:gd name="connsiteX119" fmla="*/ 832009 w 962025"/>
                  <a:gd name="connsiteY119" fmla="*/ 218122 h 695325"/>
                  <a:gd name="connsiteX120" fmla="*/ 831152 w 962025"/>
                  <a:gd name="connsiteY120" fmla="*/ 217265 h 695325"/>
                  <a:gd name="connsiteX121" fmla="*/ 831152 w 962025"/>
                  <a:gd name="connsiteY121" fmla="*/ 216408 h 695325"/>
                  <a:gd name="connsiteX122" fmla="*/ 832009 w 962025"/>
                  <a:gd name="connsiteY122" fmla="*/ 215551 h 695325"/>
                  <a:gd name="connsiteX123" fmla="*/ 832009 w 962025"/>
                  <a:gd name="connsiteY123" fmla="*/ 215551 h 695325"/>
                  <a:gd name="connsiteX124" fmla="*/ 832009 w 962025"/>
                  <a:gd name="connsiteY124" fmla="*/ 214693 h 695325"/>
                  <a:gd name="connsiteX125" fmla="*/ 832009 w 962025"/>
                  <a:gd name="connsiteY125" fmla="*/ 213836 h 695325"/>
                  <a:gd name="connsiteX126" fmla="*/ 832009 w 962025"/>
                  <a:gd name="connsiteY126" fmla="*/ 212979 h 695325"/>
                  <a:gd name="connsiteX127" fmla="*/ 831152 w 962025"/>
                  <a:gd name="connsiteY127" fmla="*/ 212122 h 695325"/>
                  <a:gd name="connsiteX128" fmla="*/ 830294 w 962025"/>
                  <a:gd name="connsiteY128" fmla="*/ 211264 h 695325"/>
                  <a:gd name="connsiteX129" fmla="*/ 829532 w 962025"/>
                  <a:gd name="connsiteY129" fmla="*/ 207835 h 695325"/>
                  <a:gd name="connsiteX130" fmla="*/ 827818 w 962025"/>
                  <a:gd name="connsiteY130" fmla="*/ 204502 h 695325"/>
                  <a:gd name="connsiteX131" fmla="*/ 817626 w 962025"/>
                  <a:gd name="connsiteY131" fmla="*/ 206978 h 695325"/>
                  <a:gd name="connsiteX132" fmla="*/ 815149 w 962025"/>
                  <a:gd name="connsiteY132" fmla="*/ 208693 h 695325"/>
                  <a:gd name="connsiteX133" fmla="*/ 815149 w 962025"/>
                  <a:gd name="connsiteY133" fmla="*/ 208693 h 695325"/>
                  <a:gd name="connsiteX134" fmla="*/ 816007 w 962025"/>
                  <a:gd name="connsiteY134" fmla="*/ 209550 h 695325"/>
                  <a:gd name="connsiteX135" fmla="*/ 819340 w 962025"/>
                  <a:gd name="connsiteY135" fmla="*/ 211264 h 695325"/>
                  <a:gd name="connsiteX136" fmla="*/ 820198 w 962025"/>
                  <a:gd name="connsiteY136" fmla="*/ 212122 h 695325"/>
                  <a:gd name="connsiteX137" fmla="*/ 820198 w 962025"/>
                  <a:gd name="connsiteY137" fmla="*/ 212979 h 695325"/>
                  <a:gd name="connsiteX138" fmla="*/ 819340 w 962025"/>
                  <a:gd name="connsiteY138" fmla="*/ 213836 h 695325"/>
                  <a:gd name="connsiteX139" fmla="*/ 818483 w 962025"/>
                  <a:gd name="connsiteY139" fmla="*/ 214693 h 695325"/>
                  <a:gd name="connsiteX140" fmla="*/ 817626 w 962025"/>
                  <a:gd name="connsiteY140" fmla="*/ 215551 h 695325"/>
                  <a:gd name="connsiteX141" fmla="*/ 814292 w 962025"/>
                  <a:gd name="connsiteY141" fmla="*/ 215551 h 695325"/>
                  <a:gd name="connsiteX142" fmla="*/ 811720 w 962025"/>
                  <a:gd name="connsiteY142" fmla="*/ 215551 h 695325"/>
                  <a:gd name="connsiteX143" fmla="*/ 810006 w 962025"/>
                  <a:gd name="connsiteY143" fmla="*/ 215551 h 695325"/>
                  <a:gd name="connsiteX144" fmla="*/ 809149 w 962025"/>
                  <a:gd name="connsiteY144" fmla="*/ 214693 h 695325"/>
                  <a:gd name="connsiteX145" fmla="*/ 808387 w 962025"/>
                  <a:gd name="connsiteY145" fmla="*/ 214693 h 695325"/>
                  <a:gd name="connsiteX146" fmla="*/ 808387 w 962025"/>
                  <a:gd name="connsiteY146" fmla="*/ 213836 h 695325"/>
                  <a:gd name="connsiteX147" fmla="*/ 808387 w 962025"/>
                  <a:gd name="connsiteY147" fmla="*/ 212979 h 695325"/>
                  <a:gd name="connsiteX148" fmla="*/ 809149 w 962025"/>
                  <a:gd name="connsiteY148" fmla="*/ 211264 h 695325"/>
                  <a:gd name="connsiteX149" fmla="*/ 809149 w 962025"/>
                  <a:gd name="connsiteY149" fmla="*/ 211264 h 695325"/>
                  <a:gd name="connsiteX150" fmla="*/ 809149 w 962025"/>
                  <a:gd name="connsiteY150" fmla="*/ 210407 h 695325"/>
                  <a:gd name="connsiteX151" fmla="*/ 808387 w 962025"/>
                  <a:gd name="connsiteY151" fmla="*/ 209550 h 695325"/>
                  <a:gd name="connsiteX152" fmla="*/ 808387 w 962025"/>
                  <a:gd name="connsiteY152" fmla="*/ 209550 h 695325"/>
                  <a:gd name="connsiteX153" fmla="*/ 805815 w 962025"/>
                  <a:gd name="connsiteY153" fmla="*/ 208693 h 695325"/>
                  <a:gd name="connsiteX154" fmla="*/ 804101 w 962025"/>
                  <a:gd name="connsiteY154" fmla="*/ 207835 h 695325"/>
                  <a:gd name="connsiteX155" fmla="*/ 802386 w 962025"/>
                  <a:gd name="connsiteY155" fmla="*/ 207835 h 695325"/>
                  <a:gd name="connsiteX156" fmla="*/ 800767 w 962025"/>
                  <a:gd name="connsiteY156" fmla="*/ 207835 h 695325"/>
                  <a:gd name="connsiteX157" fmla="*/ 799052 w 962025"/>
                  <a:gd name="connsiteY157" fmla="*/ 208693 h 695325"/>
                  <a:gd name="connsiteX158" fmla="*/ 798195 w 962025"/>
                  <a:gd name="connsiteY158" fmla="*/ 208693 h 695325"/>
                  <a:gd name="connsiteX159" fmla="*/ 796481 w 962025"/>
                  <a:gd name="connsiteY159" fmla="*/ 207835 h 695325"/>
                  <a:gd name="connsiteX160" fmla="*/ 794861 w 962025"/>
                  <a:gd name="connsiteY160" fmla="*/ 207835 h 695325"/>
                  <a:gd name="connsiteX161" fmla="*/ 794861 w 962025"/>
                  <a:gd name="connsiteY161" fmla="*/ 208693 h 695325"/>
                  <a:gd name="connsiteX162" fmla="*/ 794004 w 962025"/>
                  <a:gd name="connsiteY162" fmla="*/ 209550 h 695325"/>
                  <a:gd name="connsiteX163" fmla="*/ 794861 w 962025"/>
                  <a:gd name="connsiteY163" fmla="*/ 212979 h 695325"/>
                  <a:gd name="connsiteX164" fmla="*/ 794861 w 962025"/>
                  <a:gd name="connsiteY164" fmla="*/ 214693 h 695325"/>
                  <a:gd name="connsiteX165" fmla="*/ 794861 w 962025"/>
                  <a:gd name="connsiteY165" fmla="*/ 215551 h 695325"/>
                  <a:gd name="connsiteX166" fmla="*/ 794861 w 962025"/>
                  <a:gd name="connsiteY166" fmla="*/ 216408 h 695325"/>
                  <a:gd name="connsiteX167" fmla="*/ 794004 w 962025"/>
                  <a:gd name="connsiteY167" fmla="*/ 217265 h 695325"/>
                  <a:gd name="connsiteX168" fmla="*/ 793147 w 962025"/>
                  <a:gd name="connsiteY168" fmla="*/ 220694 h 695325"/>
                  <a:gd name="connsiteX169" fmla="*/ 791432 w 962025"/>
                  <a:gd name="connsiteY169" fmla="*/ 222313 h 695325"/>
                  <a:gd name="connsiteX170" fmla="*/ 788099 w 962025"/>
                  <a:gd name="connsiteY170" fmla="*/ 225742 h 695325"/>
                  <a:gd name="connsiteX171" fmla="*/ 788099 w 962025"/>
                  <a:gd name="connsiteY171" fmla="*/ 226600 h 695325"/>
                  <a:gd name="connsiteX172" fmla="*/ 787241 w 962025"/>
                  <a:gd name="connsiteY172" fmla="*/ 227457 h 695325"/>
                  <a:gd name="connsiteX173" fmla="*/ 787241 w 962025"/>
                  <a:gd name="connsiteY173" fmla="*/ 228314 h 695325"/>
                  <a:gd name="connsiteX174" fmla="*/ 787241 w 962025"/>
                  <a:gd name="connsiteY174" fmla="*/ 228314 h 695325"/>
                  <a:gd name="connsiteX175" fmla="*/ 787241 w 962025"/>
                  <a:gd name="connsiteY175" fmla="*/ 228314 h 695325"/>
                  <a:gd name="connsiteX176" fmla="*/ 788099 w 962025"/>
                  <a:gd name="connsiteY176" fmla="*/ 229171 h 695325"/>
                  <a:gd name="connsiteX177" fmla="*/ 788099 w 962025"/>
                  <a:gd name="connsiteY177" fmla="*/ 230029 h 695325"/>
                  <a:gd name="connsiteX178" fmla="*/ 788099 w 962025"/>
                  <a:gd name="connsiteY178" fmla="*/ 230886 h 695325"/>
                  <a:gd name="connsiteX179" fmla="*/ 788861 w 962025"/>
                  <a:gd name="connsiteY179" fmla="*/ 231743 h 695325"/>
                  <a:gd name="connsiteX180" fmla="*/ 788861 w 962025"/>
                  <a:gd name="connsiteY180" fmla="*/ 232600 h 695325"/>
                  <a:gd name="connsiteX181" fmla="*/ 788099 w 962025"/>
                  <a:gd name="connsiteY181" fmla="*/ 233458 h 695325"/>
                  <a:gd name="connsiteX182" fmla="*/ 787241 w 962025"/>
                  <a:gd name="connsiteY182" fmla="*/ 234315 h 695325"/>
                  <a:gd name="connsiteX183" fmla="*/ 787241 w 962025"/>
                  <a:gd name="connsiteY183" fmla="*/ 234315 h 695325"/>
                  <a:gd name="connsiteX184" fmla="*/ 784670 w 962025"/>
                  <a:gd name="connsiteY184" fmla="*/ 234315 h 695325"/>
                  <a:gd name="connsiteX185" fmla="*/ 783812 w 962025"/>
                  <a:gd name="connsiteY185" fmla="*/ 235172 h 695325"/>
                  <a:gd name="connsiteX186" fmla="*/ 782955 w 962025"/>
                  <a:gd name="connsiteY186" fmla="*/ 235172 h 695325"/>
                  <a:gd name="connsiteX187" fmla="*/ 782098 w 962025"/>
                  <a:gd name="connsiteY187" fmla="*/ 236029 h 695325"/>
                  <a:gd name="connsiteX188" fmla="*/ 778764 w 962025"/>
                  <a:gd name="connsiteY188" fmla="*/ 239363 h 695325"/>
                  <a:gd name="connsiteX189" fmla="*/ 776192 w 962025"/>
                  <a:gd name="connsiteY189" fmla="*/ 237649 h 695325"/>
                  <a:gd name="connsiteX190" fmla="*/ 772001 w 962025"/>
                  <a:gd name="connsiteY190" fmla="*/ 234315 h 695325"/>
                  <a:gd name="connsiteX191" fmla="*/ 770287 w 962025"/>
                  <a:gd name="connsiteY191" fmla="*/ 233458 h 695325"/>
                  <a:gd name="connsiteX192" fmla="*/ 768572 w 962025"/>
                  <a:gd name="connsiteY192" fmla="*/ 232600 h 695325"/>
                  <a:gd name="connsiteX193" fmla="*/ 767810 w 962025"/>
                  <a:gd name="connsiteY193" fmla="*/ 232600 h 695325"/>
                  <a:gd name="connsiteX194" fmla="*/ 765239 w 962025"/>
                  <a:gd name="connsiteY194" fmla="*/ 234315 h 695325"/>
                  <a:gd name="connsiteX195" fmla="*/ 764381 w 962025"/>
                  <a:gd name="connsiteY195" fmla="*/ 234315 h 695325"/>
                  <a:gd name="connsiteX196" fmla="*/ 761810 w 962025"/>
                  <a:gd name="connsiteY196" fmla="*/ 234315 h 695325"/>
                  <a:gd name="connsiteX197" fmla="*/ 760952 w 962025"/>
                  <a:gd name="connsiteY197" fmla="*/ 233458 h 695325"/>
                  <a:gd name="connsiteX198" fmla="*/ 760190 w 962025"/>
                  <a:gd name="connsiteY198" fmla="*/ 233458 h 695325"/>
                  <a:gd name="connsiteX199" fmla="*/ 759333 w 962025"/>
                  <a:gd name="connsiteY199" fmla="*/ 231743 h 695325"/>
                  <a:gd name="connsiteX200" fmla="*/ 758476 w 962025"/>
                  <a:gd name="connsiteY200" fmla="*/ 230886 h 695325"/>
                  <a:gd name="connsiteX201" fmla="*/ 757619 w 962025"/>
                  <a:gd name="connsiteY201" fmla="*/ 230029 h 695325"/>
                  <a:gd name="connsiteX202" fmla="*/ 756761 w 962025"/>
                  <a:gd name="connsiteY202" fmla="*/ 230029 h 695325"/>
                  <a:gd name="connsiteX203" fmla="*/ 750856 w 962025"/>
                  <a:gd name="connsiteY203" fmla="*/ 232600 h 695325"/>
                  <a:gd name="connsiteX204" fmla="*/ 749999 w 962025"/>
                  <a:gd name="connsiteY204" fmla="*/ 232600 h 695325"/>
                  <a:gd name="connsiteX205" fmla="*/ 746665 w 962025"/>
                  <a:gd name="connsiteY205" fmla="*/ 232600 h 695325"/>
                  <a:gd name="connsiteX206" fmla="*/ 744093 w 962025"/>
                  <a:gd name="connsiteY206" fmla="*/ 231743 h 695325"/>
                  <a:gd name="connsiteX207" fmla="*/ 742378 w 962025"/>
                  <a:gd name="connsiteY207" fmla="*/ 231743 h 695325"/>
                  <a:gd name="connsiteX208" fmla="*/ 742378 w 962025"/>
                  <a:gd name="connsiteY208" fmla="*/ 230886 h 695325"/>
                  <a:gd name="connsiteX209" fmla="*/ 742378 w 962025"/>
                  <a:gd name="connsiteY209" fmla="*/ 229171 h 695325"/>
                  <a:gd name="connsiteX210" fmla="*/ 742378 w 962025"/>
                  <a:gd name="connsiteY210" fmla="*/ 228314 h 695325"/>
                  <a:gd name="connsiteX211" fmla="*/ 742378 w 962025"/>
                  <a:gd name="connsiteY211" fmla="*/ 228314 h 695325"/>
                  <a:gd name="connsiteX212" fmla="*/ 744093 w 962025"/>
                  <a:gd name="connsiteY212" fmla="*/ 227457 h 695325"/>
                  <a:gd name="connsiteX213" fmla="*/ 744093 w 962025"/>
                  <a:gd name="connsiteY213" fmla="*/ 226600 h 695325"/>
                  <a:gd name="connsiteX214" fmla="*/ 744950 w 962025"/>
                  <a:gd name="connsiteY214" fmla="*/ 225742 h 695325"/>
                  <a:gd name="connsiteX215" fmla="*/ 744950 w 962025"/>
                  <a:gd name="connsiteY215" fmla="*/ 224885 h 695325"/>
                  <a:gd name="connsiteX216" fmla="*/ 745807 w 962025"/>
                  <a:gd name="connsiteY216" fmla="*/ 224028 h 695325"/>
                  <a:gd name="connsiteX217" fmla="*/ 745807 w 962025"/>
                  <a:gd name="connsiteY217" fmla="*/ 222313 h 695325"/>
                  <a:gd name="connsiteX218" fmla="*/ 745807 w 962025"/>
                  <a:gd name="connsiteY218" fmla="*/ 221456 h 695325"/>
                  <a:gd name="connsiteX219" fmla="*/ 745807 w 962025"/>
                  <a:gd name="connsiteY219" fmla="*/ 221456 h 695325"/>
                  <a:gd name="connsiteX220" fmla="*/ 746665 w 962025"/>
                  <a:gd name="connsiteY220" fmla="*/ 220694 h 695325"/>
                  <a:gd name="connsiteX221" fmla="*/ 746665 w 962025"/>
                  <a:gd name="connsiteY221" fmla="*/ 219837 h 695325"/>
                  <a:gd name="connsiteX222" fmla="*/ 749141 w 962025"/>
                  <a:gd name="connsiteY222" fmla="*/ 218122 h 695325"/>
                  <a:gd name="connsiteX223" fmla="*/ 749141 w 962025"/>
                  <a:gd name="connsiteY223" fmla="*/ 218122 h 695325"/>
                  <a:gd name="connsiteX224" fmla="*/ 749141 w 962025"/>
                  <a:gd name="connsiteY224" fmla="*/ 214693 h 695325"/>
                  <a:gd name="connsiteX225" fmla="*/ 749999 w 962025"/>
                  <a:gd name="connsiteY225" fmla="*/ 212979 h 695325"/>
                  <a:gd name="connsiteX226" fmla="*/ 752570 w 962025"/>
                  <a:gd name="connsiteY226" fmla="*/ 205359 h 695325"/>
                  <a:gd name="connsiteX227" fmla="*/ 752570 w 962025"/>
                  <a:gd name="connsiteY227" fmla="*/ 203644 h 695325"/>
                  <a:gd name="connsiteX228" fmla="*/ 752570 w 962025"/>
                  <a:gd name="connsiteY228" fmla="*/ 202787 h 695325"/>
                  <a:gd name="connsiteX229" fmla="*/ 751713 w 962025"/>
                  <a:gd name="connsiteY229" fmla="*/ 201930 h 695325"/>
                  <a:gd name="connsiteX230" fmla="*/ 750856 w 962025"/>
                  <a:gd name="connsiteY230" fmla="*/ 201930 h 695325"/>
                  <a:gd name="connsiteX231" fmla="*/ 749999 w 962025"/>
                  <a:gd name="connsiteY231" fmla="*/ 201930 h 695325"/>
                  <a:gd name="connsiteX232" fmla="*/ 749141 w 962025"/>
                  <a:gd name="connsiteY232" fmla="*/ 201930 h 695325"/>
                  <a:gd name="connsiteX233" fmla="*/ 748284 w 962025"/>
                  <a:gd name="connsiteY233" fmla="*/ 201930 h 695325"/>
                  <a:gd name="connsiteX234" fmla="*/ 747427 w 962025"/>
                  <a:gd name="connsiteY234" fmla="*/ 201930 h 695325"/>
                  <a:gd name="connsiteX235" fmla="*/ 746665 w 962025"/>
                  <a:gd name="connsiteY235" fmla="*/ 202787 h 695325"/>
                  <a:gd name="connsiteX236" fmla="*/ 746665 w 962025"/>
                  <a:gd name="connsiteY236" fmla="*/ 202787 h 695325"/>
                  <a:gd name="connsiteX237" fmla="*/ 745807 w 962025"/>
                  <a:gd name="connsiteY237" fmla="*/ 203644 h 695325"/>
                  <a:gd name="connsiteX238" fmla="*/ 745807 w 962025"/>
                  <a:gd name="connsiteY238" fmla="*/ 203644 h 695325"/>
                  <a:gd name="connsiteX239" fmla="*/ 745807 w 962025"/>
                  <a:gd name="connsiteY239" fmla="*/ 204502 h 695325"/>
                  <a:gd name="connsiteX240" fmla="*/ 744950 w 962025"/>
                  <a:gd name="connsiteY240" fmla="*/ 206978 h 695325"/>
                  <a:gd name="connsiteX241" fmla="*/ 744093 w 962025"/>
                  <a:gd name="connsiteY241" fmla="*/ 207835 h 695325"/>
                  <a:gd name="connsiteX242" fmla="*/ 744093 w 962025"/>
                  <a:gd name="connsiteY242" fmla="*/ 208693 h 695325"/>
                  <a:gd name="connsiteX243" fmla="*/ 743236 w 962025"/>
                  <a:gd name="connsiteY243" fmla="*/ 208693 h 695325"/>
                  <a:gd name="connsiteX244" fmla="*/ 742378 w 962025"/>
                  <a:gd name="connsiteY244" fmla="*/ 209550 h 695325"/>
                  <a:gd name="connsiteX245" fmla="*/ 733901 w 962025"/>
                  <a:gd name="connsiteY245" fmla="*/ 209550 h 695325"/>
                  <a:gd name="connsiteX246" fmla="*/ 733139 w 962025"/>
                  <a:gd name="connsiteY246" fmla="*/ 209550 h 695325"/>
                  <a:gd name="connsiteX247" fmla="*/ 732282 w 962025"/>
                  <a:gd name="connsiteY247" fmla="*/ 209550 h 695325"/>
                  <a:gd name="connsiteX248" fmla="*/ 731425 w 962025"/>
                  <a:gd name="connsiteY248" fmla="*/ 210407 h 695325"/>
                  <a:gd name="connsiteX249" fmla="*/ 731425 w 962025"/>
                  <a:gd name="connsiteY249" fmla="*/ 210407 h 695325"/>
                  <a:gd name="connsiteX250" fmla="*/ 732282 w 962025"/>
                  <a:gd name="connsiteY250" fmla="*/ 211264 h 695325"/>
                  <a:gd name="connsiteX251" fmla="*/ 732282 w 962025"/>
                  <a:gd name="connsiteY251" fmla="*/ 211264 h 695325"/>
                  <a:gd name="connsiteX252" fmla="*/ 737330 w 962025"/>
                  <a:gd name="connsiteY252" fmla="*/ 214693 h 695325"/>
                  <a:gd name="connsiteX253" fmla="*/ 738187 w 962025"/>
                  <a:gd name="connsiteY253" fmla="*/ 215551 h 695325"/>
                  <a:gd name="connsiteX254" fmla="*/ 739045 w 962025"/>
                  <a:gd name="connsiteY254" fmla="*/ 216408 h 695325"/>
                  <a:gd name="connsiteX255" fmla="*/ 738187 w 962025"/>
                  <a:gd name="connsiteY255" fmla="*/ 218122 h 695325"/>
                  <a:gd name="connsiteX256" fmla="*/ 737330 w 962025"/>
                  <a:gd name="connsiteY256" fmla="*/ 218980 h 695325"/>
                  <a:gd name="connsiteX257" fmla="*/ 736473 w 962025"/>
                  <a:gd name="connsiteY257" fmla="*/ 218980 h 695325"/>
                  <a:gd name="connsiteX258" fmla="*/ 733901 w 962025"/>
                  <a:gd name="connsiteY258" fmla="*/ 218980 h 695325"/>
                  <a:gd name="connsiteX259" fmla="*/ 732282 w 962025"/>
                  <a:gd name="connsiteY259" fmla="*/ 218980 h 695325"/>
                  <a:gd name="connsiteX260" fmla="*/ 730568 w 962025"/>
                  <a:gd name="connsiteY260" fmla="*/ 219837 h 695325"/>
                  <a:gd name="connsiteX261" fmla="*/ 729710 w 962025"/>
                  <a:gd name="connsiteY261" fmla="*/ 219837 h 695325"/>
                  <a:gd name="connsiteX262" fmla="*/ 728853 w 962025"/>
                  <a:gd name="connsiteY262" fmla="*/ 219837 h 695325"/>
                  <a:gd name="connsiteX263" fmla="*/ 727139 w 962025"/>
                  <a:gd name="connsiteY263" fmla="*/ 218980 h 695325"/>
                  <a:gd name="connsiteX264" fmla="*/ 724662 w 962025"/>
                  <a:gd name="connsiteY264" fmla="*/ 216408 h 695325"/>
                  <a:gd name="connsiteX265" fmla="*/ 723805 w 962025"/>
                  <a:gd name="connsiteY265" fmla="*/ 214693 h 695325"/>
                  <a:gd name="connsiteX266" fmla="*/ 723805 w 962025"/>
                  <a:gd name="connsiteY266" fmla="*/ 213836 h 695325"/>
                  <a:gd name="connsiteX267" fmla="*/ 722948 w 962025"/>
                  <a:gd name="connsiteY267" fmla="*/ 211264 h 695325"/>
                  <a:gd name="connsiteX268" fmla="*/ 722090 w 962025"/>
                  <a:gd name="connsiteY268" fmla="*/ 210407 h 695325"/>
                  <a:gd name="connsiteX269" fmla="*/ 721233 w 962025"/>
                  <a:gd name="connsiteY269" fmla="*/ 210407 h 695325"/>
                  <a:gd name="connsiteX270" fmla="*/ 720376 w 962025"/>
                  <a:gd name="connsiteY270" fmla="*/ 209550 h 695325"/>
                  <a:gd name="connsiteX271" fmla="*/ 719614 w 962025"/>
                  <a:gd name="connsiteY271" fmla="*/ 210407 h 695325"/>
                  <a:gd name="connsiteX272" fmla="*/ 718757 w 962025"/>
                  <a:gd name="connsiteY272" fmla="*/ 210407 h 695325"/>
                  <a:gd name="connsiteX273" fmla="*/ 718757 w 962025"/>
                  <a:gd name="connsiteY273" fmla="*/ 211264 h 695325"/>
                  <a:gd name="connsiteX274" fmla="*/ 718757 w 962025"/>
                  <a:gd name="connsiteY274" fmla="*/ 212122 h 695325"/>
                  <a:gd name="connsiteX275" fmla="*/ 719614 w 962025"/>
                  <a:gd name="connsiteY275" fmla="*/ 212979 h 695325"/>
                  <a:gd name="connsiteX276" fmla="*/ 719614 w 962025"/>
                  <a:gd name="connsiteY276" fmla="*/ 213836 h 695325"/>
                  <a:gd name="connsiteX277" fmla="*/ 718757 w 962025"/>
                  <a:gd name="connsiteY277" fmla="*/ 214693 h 695325"/>
                  <a:gd name="connsiteX278" fmla="*/ 718757 w 962025"/>
                  <a:gd name="connsiteY278" fmla="*/ 215551 h 695325"/>
                  <a:gd name="connsiteX279" fmla="*/ 717042 w 962025"/>
                  <a:gd name="connsiteY279" fmla="*/ 215551 h 695325"/>
                  <a:gd name="connsiteX280" fmla="*/ 716185 w 962025"/>
                  <a:gd name="connsiteY280" fmla="*/ 215551 h 695325"/>
                  <a:gd name="connsiteX281" fmla="*/ 715328 w 962025"/>
                  <a:gd name="connsiteY281" fmla="*/ 215551 h 695325"/>
                  <a:gd name="connsiteX282" fmla="*/ 711994 w 962025"/>
                  <a:gd name="connsiteY282" fmla="*/ 215551 h 695325"/>
                  <a:gd name="connsiteX283" fmla="*/ 710279 w 962025"/>
                  <a:gd name="connsiteY283" fmla="*/ 214693 h 695325"/>
                  <a:gd name="connsiteX284" fmla="*/ 709422 w 962025"/>
                  <a:gd name="connsiteY284" fmla="*/ 213836 h 695325"/>
                  <a:gd name="connsiteX285" fmla="*/ 708565 w 962025"/>
                  <a:gd name="connsiteY285" fmla="*/ 213836 h 695325"/>
                  <a:gd name="connsiteX286" fmla="*/ 708565 w 962025"/>
                  <a:gd name="connsiteY286" fmla="*/ 214693 h 695325"/>
                  <a:gd name="connsiteX287" fmla="*/ 708565 w 962025"/>
                  <a:gd name="connsiteY287" fmla="*/ 214693 h 695325"/>
                  <a:gd name="connsiteX288" fmla="*/ 708565 w 962025"/>
                  <a:gd name="connsiteY288" fmla="*/ 216408 h 695325"/>
                  <a:gd name="connsiteX289" fmla="*/ 709422 w 962025"/>
                  <a:gd name="connsiteY289" fmla="*/ 217265 h 695325"/>
                  <a:gd name="connsiteX290" fmla="*/ 709422 w 962025"/>
                  <a:gd name="connsiteY290" fmla="*/ 218980 h 695325"/>
                  <a:gd name="connsiteX291" fmla="*/ 710279 w 962025"/>
                  <a:gd name="connsiteY291" fmla="*/ 219837 h 695325"/>
                  <a:gd name="connsiteX292" fmla="*/ 711136 w 962025"/>
                  <a:gd name="connsiteY292" fmla="*/ 220694 h 695325"/>
                  <a:gd name="connsiteX293" fmla="*/ 713613 w 962025"/>
                  <a:gd name="connsiteY293" fmla="*/ 221456 h 695325"/>
                  <a:gd name="connsiteX294" fmla="*/ 714470 w 962025"/>
                  <a:gd name="connsiteY294" fmla="*/ 222313 h 695325"/>
                  <a:gd name="connsiteX295" fmla="*/ 714470 w 962025"/>
                  <a:gd name="connsiteY295" fmla="*/ 222313 h 695325"/>
                  <a:gd name="connsiteX296" fmla="*/ 714470 w 962025"/>
                  <a:gd name="connsiteY296" fmla="*/ 223171 h 695325"/>
                  <a:gd name="connsiteX297" fmla="*/ 711136 w 962025"/>
                  <a:gd name="connsiteY297" fmla="*/ 226600 h 695325"/>
                  <a:gd name="connsiteX298" fmla="*/ 710279 w 962025"/>
                  <a:gd name="connsiteY298" fmla="*/ 226600 h 695325"/>
                  <a:gd name="connsiteX299" fmla="*/ 708565 w 962025"/>
                  <a:gd name="connsiteY299" fmla="*/ 226600 h 695325"/>
                  <a:gd name="connsiteX300" fmla="*/ 707707 w 962025"/>
                  <a:gd name="connsiteY300" fmla="*/ 226600 h 695325"/>
                  <a:gd name="connsiteX301" fmla="*/ 707707 w 962025"/>
                  <a:gd name="connsiteY301" fmla="*/ 225742 h 695325"/>
                  <a:gd name="connsiteX302" fmla="*/ 705231 w 962025"/>
                  <a:gd name="connsiteY302" fmla="*/ 223171 h 695325"/>
                  <a:gd name="connsiteX303" fmla="*/ 703516 w 962025"/>
                  <a:gd name="connsiteY303" fmla="*/ 220694 h 695325"/>
                  <a:gd name="connsiteX304" fmla="*/ 702659 w 962025"/>
                  <a:gd name="connsiteY304" fmla="*/ 220694 h 695325"/>
                  <a:gd name="connsiteX305" fmla="*/ 702659 w 962025"/>
                  <a:gd name="connsiteY305" fmla="*/ 220694 h 695325"/>
                  <a:gd name="connsiteX306" fmla="*/ 702659 w 962025"/>
                  <a:gd name="connsiteY306" fmla="*/ 221456 h 695325"/>
                  <a:gd name="connsiteX307" fmla="*/ 702659 w 962025"/>
                  <a:gd name="connsiteY307" fmla="*/ 222313 h 695325"/>
                  <a:gd name="connsiteX308" fmla="*/ 703516 w 962025"/>
                  <a:gd name="connsiteY308" fmla="*/ 224885 h 695325"/>
                  <a:gd name="connsiteX309" fmla="*/ 703516 w 962025"/>
                  <a:gd name="connsiteY309" fmla="*/ 225742 h 695325"/>
                  <a:gd name="connsiteX310" fmla="*/ 702659 w 962025"/>
                  <a:gd name="connsiteY310" fmla="*/ 226600 h 695325"/>
                  <a:gd name="connsiteX311" fmla="*/ 702659 w 962025"/>
                  <a:gd name="connsiteY311" fmla="*/ 227457 h 695325"/>
                  <a:gd name="connsiteX312" fmla="*/ 700945 w 962025"/>
                  <a:gd name="connsiteY312" fmla="*/ 226600 h 695325"/>
                  <a:gd name="connsiteX313" fmla="*/ 700945 w 962025"/>
                  <a:gd name="connsiteY313" fmla="*/ 226600 h 695325"/>
                  <a:gd name="connsiteX314" fmla="*/ 699230 w 962025"/>
                  <a:gd name="connsiteY314" fmla="*/ 226600 h 695325"/>
                  <a:gd name="connsiteX315" fmla="*/ 698468 w 962025"/>
                  <a:gd name="connsiteY315" fmla="*/ 225742 h 695325"/>
                  <a:gd name="connsiteX316" fmla="*/ 696754 w 962025"/>
                  <a:gd name="connsiteY316" fmla="*/ 225742 h 695325"/>
                  <a:gd name="connsiteX317" fmla="*/ 695039 w 962025"/>
                  <a:gd name="connsiteY317" fmla="*/ 225742 h 695325"/>
                  <a:gd name="connsiteX318" fmla="*/ 692468 w 962025"/>
                  <a:gd name="connsiteY318" fmla="*/ 227457 h 695325"/>
                  <a:gd name="connsiteX319" fmla="*/ 690848 w 962025"/>
                  <a:gd name="connsiteY319" fmla="*/ 226600 h 695325"/>
                  <a:gd name="connsiteX320" fmla="*/ 689991 w 962025"/>
                  <a:gd name="connsiteY320" fmla="*/ 226600 h 695325"/>
                  <a:gd name="connsiteX321" fmla="*/ 689134 w 962025"/>
                  <a:gd name="connsiteY321" fmla="*/ 224885 h 695325"/>
                  <a:gd name="connsiteX322" fmla="*/ 688277 w 962025"/>
                  <a:gd name="connsiteY322" fmla="*/ 223171 h 695325"/>
                  <a:gd name="connsiteX323" fmla="*/ 687419 w 962025"/>
                  <a:gd name="connsiteY323" fmla="*/ 220694 h 695325"/>
                  <a:gd name="connsiteX324" fmla="*/ 687419 w 962025"/>
                  <a:gd name="connsiteY324" fmla="*/ 219837 h 695325"/>
                  <a:gd name="connsiteX325" fmla="*/ 687419 w 962025"/>
                  <a:gd name="connsiteY325" fmla="*/ 218122 h 695325"/>
                  <a:gd name="connsiteX326" fmla="*/ 688277 w 962025"/>
                  <a:gd name="connsiteY326" fmla="*/ 217265 h 695325"/>
                  <a:gd name="connsiteX327" fmla="*/ 688277 w 962025"/>
                  <a:gd name="connsiteY327" fmla="*/ 217265 h 695325"/>
                  <a:gd name="connsiteX328" fmla="*/ 689134 w 962025"/>
                  <a:gd name="connsiteY328" fmla="*/ 218122 h 695325"/>
                  <a:gd name="connsiteX329" fmla="*/ 689134 w 962025"/>
                  <a:gd name="connsiteY329" fmla="*/ 218122 h 695325"/>
                  <a:gd name="connsiteX330" fmla="*/ 689991 w 962025"/>
                  <a:gd name="connsiteY330" fmla="*/ 218122 h 695325"/>
                  <a:gd name="connsiteX331" fmla="*/ 691706 w 962025"/>
                  <a:gd name="connsiteY331" fmla="*/ 217265 h 695325"/>
                  <a:gd name="connsiteX332" fmla="*/ 692468 w 962025"/>
                  <a:gd name="connsiteY332" fmla="*/ 217265 h 695325"/>
                  <a:gd name="connsiteX333" fmla="*/ 693325 w 962025"/>
                  <a:gd name="connsiteY333" fmla="*/ 215551 h 695325"/>
                  <a:gd name="connsiteX334" fmla="*/ 695897 w 962025"/>
                  <a:gd name="connsiteY334" fmla="*/ 212979 h 695325"/>
                  <a:gd name="connsiteX335" fmla="*/ 695897 w 962025"/>
                  <a:gd name="connsiteY335" fmla="*/ 212122 h 695325"/>
                  <a:gd name="connsiteX336" fmla="*/ 696754 w 962025"/>
                  <a:gd name="connsiteY336" fmla="*/ 211264 h 695325"/>
                  <a:gd name="connsiteX337" fmla="*/ 696754 w 962025"/>
                  <a:gd name="connsiteY337" fmla="*/ 211264 h 695325"/>
                  <a:gd name="connsiteX338" fmla="*/ 697611 w 962025"/>
                  <a:gd name="connsiteY338" fmla="*/ 210407 h 695325"/>
                  <a:gd name="connsiteX339" fmla="*/ 698468 w 962025"/>
                  <a:gd name="connsiteY339" fmla="*/ 210407 h 695325"/>
                  <a:gd name="connsiteX340" fmla="*/ 699230 w 962025"/>
                  <a:gd name="connsiteY340" fmla="*/ 210407 h 695325"/>
                  <a:gd name="connsiteX341" fmla="*/ 700945 w 962025"/>
                  <a:gd name="connsiteY341" fmla="*/ 208693 h 695325"/>
                  <a:gd name="connsiteX342" fmla="*/ 702659 w 962025"/>
                  <a:gd name="connsiteY342" fmla="*/ 208693 h 695325"/>
                  <a:gd name="connsiteX343" fmla="*/ 703516 w 962025"/>
                  <a:gd name="connsiteY343" fmla="*/ 207835 h 695325"/>
                  <a:gd name="connsiteX344" fmla="*/ 704374 w 962025"/>
                  <a:gd name="connsiteY344" fmla="*/ 206978 h 695325"/>
                  <a:gd name="connsiteX345" fmla="*/ 704374 w 962025"/>
                  <a:gd name="connsiteY345" fmla="*/ 206121 h 695325"/>
                  <a:gd name="connsiteX346" fmla="*/ 704374 w 962025"/>
                  <a:gd name="connsiteY346" fmla="*/ 206121 h 695325"/>
                  <a:gd name="connsiteX347" fmla="*/ 704374 w 962025"/>
                  <a:gd name="connsiteY347" fmla="*/ 205359 h 695325"/>
                  <a:gd name="connsiteX348" fmla="*/ 703516 w 962025"/>
                  <a:gd name="connsiteY348" fmla="*/ 203644 h 695325"/>
                  <a:gd name="connsiteX349" fmla="*/ 703516 w 962025"/>
                  <a:gd name="connsiteY349" fmla="*/ 202787 h 695325"/>
                  <a:gd name="connsiteX350" fmla="*/ 702659 w 962025"/>
                  <a:gd name="connsiteY350" fmla="*/ 200215 h 695325"/>
                  <a:gd name="connsiteX351" fmla="*/ 702659 w 962025"/>
                  <a:gd name="connsiteY351" fmla="*/ 200215 h 695325"/>
                  <a:gd name="connsiteX352" fmla="*/ 702659 w 962025"/>
                  <a:gd name="connsiteY352" fmla="*/ 199358 h 695325"/>
                  <a:gd name="connsiteX353" fmla="*/ 701802 w 962025"/>
                  <a:gd name="connsiteY353" fmla="*/ 198501 h 695325"/>
                  <a:gd name="connsiteX354" fmla="*/ 701802 w 962025"/>
                  <a:gd name="connsiteY354" fmla="*/ 198501 h 695325"/>
                  <a:gd name="connsiteX355" fmla="*/ 700945 w 962025"/>
                  <a:gd name="connsiteY355" fmla="*/ 198501 h 695325"/>
                  <a:gd name="connsiteX356" fmla="*/ 700945 w 962025"/>
                  <a:gd name="connsiteY356" fmla="*/ 198501 h 695325"/>
                  <a:gd name="connsiteX357" fmla="*/ 700087 w 962025"/>
                  <a:gd name="connsiteY357" fmla="*/ 198501 h 695325"/>
                  <a:gd name="connsiteX358" fmla="*/ 699230 w 962025"/>
                  <a:gd name="connsiteY358" fmla="*/ 198501 h 695325"/>
                  <a:gd name="connsiteX359" fmla="*/ 699230 w 962025"/>
                  <a:gd name="connsiteY359" fmla="*/ 198501 h 695325"/>
                  <a:gd name="connsiteX360" fmla="*/ 698468 w 962025"/>
                  <a:gd name="connsiteY360" fmla="*/ 196786 h 695325"/>
                  <a:gd name="connsiteX361" fmla="*/ 697611 w 962025"/>
                  <a:gd name="connsiteY361" fmla="*/ 195929 h 695325"/>
                  <a:gd name="connsiteX362" fmla="*/ 697611 w 962025"/>
                  <a:gd name="connsiteY362" fmla="*/ 195929 h 695325"/>
                  <a:gd name="connsiteX363" fmla="*/ 695897 w 962025"/>
                  <a:gd name="connsiteY363" fmla="*/ 195072 h 695325"/>
                  <a:gd name="connsiteX364" fmla="*/ 694182 w 962025"/>
                  <a:gd name="connsiteY364" fmla="*/ 194215 h 695325"/>
                  <a:gd name="connsiteX365" fmla="*/ 693325 w 962025"/>
                  <a:gd name="connsiteY365" fmla="*/ 193357 h 695325"/>
                  <a:gd name="connsiteX366" fmla="*/ 693325 w 962025"/>
                  <a:gd name="connsiteY366" fmla="*/ 192500 h 695325"/>
                  <a:gd name="connsiteX367" fmla="*/ 693325 w 962025"/>
                  <a:gd name="connsiteY367" fmla="*/ 187452 h 695325"/>
                  <a:gd name="connsiteX368" fmla="*/ 692468 w 962025"/>
                  <a:gd name="connsiteY368" fmla="*/ 183166 h 695325"/>
                  <a:gd name="connsiteX369" fmla="*/ 692468 w 962025"/>
                  <a:gd name="connsiteY369" fmla="*/ 182309 h 695325"/>
                  <a:gd name="connsiteX370" fmla="*/ 691706 w 962025"/>
                  <a:gd name="connsiteY370" fmla="*/ 181451 h 695325"/>
                  <a:gd name="connsiteX371" fmla="*/ 689991 w 962025"/>
                  <a:gd name="connsiteY371" fmla="*/ 178879 h 695325"/>
                  <a:gd name="connsiteX372" fmla="*/ 689134 w 962025"/>
                  <a:gd name="connsiteY372" fmla="*/ 178022 h 695325"/>
                  <a:gd name="connsiteX373" fmla="*/ 688277 w 962025"/>
                  <a:gd name="connsiteY373" fmla="*/ 177165 h 695325"/>
                  <a:gd name="connsiteX374" fmla="*/ 687419 w 962025"/>
                  <a:gd name="connsiteY374" fmla="*/ 177165 h 695325"/>
                  <a:gd name="connsiteX375" fmla="*/ 685705 w 962025"/>
                  <a:gd name="connsiteY375" fmla="*/ 178022 h 695325"/>
                  <a:gd name="connsiteX376" fmla="*/ 684086 w 962025"/>
                  <a:gd name="connsiteY376" fmla="*/ 178879 h 695325"/>
                  <a:gd name="connsiteX377" fmla="*/ 683228 w 962025"/>
                  <a:gd name="connsiteY377" fmla="*/ 178879 h 695325"/>
                  <a:gd name="connsiteX378" fmla="*/ 682371 w 962025"/>
                  <a:gd name="connsiteY378" fmla="*/ 178879 h 695325"/>
                  <a:gd name="connsiteX379" fmla="*/ 680657 w 962025"/>
                  <a:gd name="connsiteY379" fmla="*/ 178022 h 695325"/>
                  <a:gd name="connsiteX380" fmla="*/ 679799 w 962025"/>
                  <a:gd name="connsiteY380" fmla="*/ 177165 h 695325"/>
                  <a:gd name="connsiteX381" fmla="*/ 678942 w 962025"/>
                  <a:gd name="connsiteY381" fmla="*/ 178022 h 695325"/>
                  <a:gd name="connsiteX382" fmla="*/ 678942 w 962025"/>
                  <a:gd name="connsiteY382" fmla="*/ 178879 h 695325"/>
                  <a:gd name="connsiteX383" fmla="*/ 678180 w 962025"/>
                  <a:gd name="connsiteY383" fmla="*/ 180594 h 695325"/>
                  <a:gd name="connsiteX384" fmla="*/ 677323 w 962025"/>
                  <a:gd name="connsiteY384" fmla="*/ 181451 h 695325"/>
                  <a:gd name="connsiteX385" fmla="*/ 676465 w 962025"/>
                  <a:gd name="connsiteY385" fmla="*/ 182309 h 695325"/>
                  <a:gd name="connsiteX386" fmla="*/ 672179 w 962025"/>
                  <a:gd name="connsiteY386" fmla="*/ 185738 h 695325"/>
                  <a:gd name="connsiteX387" fmla="*/ 671417 w 962025"/>
                  <a:gd name="connsiteY387" fmla="*/ 185738 h 695325"/>
                  <a:gd name="connsiteX388" fmla="*/ 671417 w 962025"/>
                  <a:gd name="connsiteY388" fmla="*/ 185738 h 695325"/>
                  <a:gd name="connsiteX389" fmla="*/ 670560 w 962025"/>
                  <a:gd name="connsiteY389" fmla="*/ 185738 h 695325"/>
                  <a:gd name="connsiteX390" fmla="*/ 667988 w 962025"/>
                  <a:gd name="connsiteY390" fmla="*/ 184023 h 695325"/>
                  <a:gd name="connsiteX391" fmla="*/ 659511 w 962025"/>
                  <a:gd name="connsiteY391" fmla="*/ 188309 h 695325"/>
                  <a:gd name="connsiteX392" fmla="*/ 657797 w 962025"/>
                  <a:gd name="connsiteY392" fmla="*/ 189167 h 695325"/>
                  <a:gd name="connsiteX393" fmla="*/ 655320 w 962025"/>
                  <a:gd name="connsiteY393" fmla="*/ 192500 h 695325"/>
                  <a:gd name="connsiteX394" fmla="*/ 651034 w 962025"/>
                  <a:gd name="connsiteY394" fmla="*/ 195929 h 695325"/>
                  <a:gd name="connsiteX395" fmla="*/ 648557 w 962025"/>
                  <a:gd name="connsiteY395" fmla="*/ 196786 h 695325"/>
                  <a:gd name="connsiteX396" fmla="*/ 647700 w 962025"/>
                  <a:gd name="connsiteY396" fmla="*/ 197644 h 695325"/>
                  <a:gd name="connsiteX397" fmla="*/ 644271 w 962025"/>
                  <a:gd name="connsiteY397" fmla="*/ 197644 h 695325"/>
                  <a:gd name="connsiteX398" fmla="*/ 641795 w 962025"/>
                  <a:gd name="connsiteY398" fmla="*/ 198501 h 695325"/>
                  <a:gd name="connsiteX399" fmla="*/ 640937 w 962025"/>
                  <a:gd name="connsiteY399" fmla="*/ 199358 h 695325"/>
                  <a:gd name="connsiteX400" fmla="*/ 640080 w 962025"/>
                  <a:gd name="connsiteY400" fmla="*/ 200215 h 695325"/>
                  <a:gd name="connsiteX401" fmla="*/ 640080 w 962025"/>
                  <a:gd name="connsiteY401" fmla="*/ 200215 h 695325"/>
                  <a:gd name="connsiteX402" fmla="*/ 640080 w 962025"/>
                  <a:gd name="connsiteY402" fmla="*/ 201073 h 695325"/>
                  <a:gd name="connsiteX403" fmla="*/ 640080 w 962025"/>
                  <a:gd name="connsiteY403" fmla="*/ 201930 h 695325"/>
                  <a:gd name="connsiteX404" fmla="*/ 640080 w 962025"/>
                  <a:gd name="connsiteY404" fmla="*/ 202787 h 695325"/>
                  <a:gd name="connsiteX405" fmla="*/ 640937 w 962025"/>
                  <a:gd name="connsiteY405" fmla="*/ 203644 h 695325"/>
                  <a:gd name="connsiteX406" fmla="*/ 641795 w 962025"/>
                  <a:gd name="connsiteY406" fmla="*/ 204502 h 695325"/>
                  <a:gd name="connsiteX407" fmla="*/ 643509 w 962025"/>
                  <a:gd name="connsiteY407" fmla="*/ 206978 h 695325"/>
                  <a:gd name="connsiteX408" fmla="*/ 643509 w 962025"/>
                  <a:gd name="connsiteY408" fmla="*/ 207835 h 695325"/>
                  <a:gd name="connsiteX409" fmla="*/ 643509 w 962025"/>
                  <a:gd name="connsiteY409" fmla="*/ 208693 h 695325"/>
                  <a:gd name="connsiteX410" fmla="*/ 643509 w 962025"/>
                  <a:gd name="connsiteY410" fmla="*/ 209550 h 695325"/>
                  <a:gd name="connsiteX411" fmla="*/ 643509 w 962025"/>
                  <a:gd name="connsiteY411" fmla="*/ 209550 h 695325"/>
                  <a:gd name="connsiteX412" fmla="*/ 641795 w 962025"/>
                  <a:gd name="connsiteY412" fmla="*/ 210407 h 695325"/>
                  <a:gd name="connsiteX413" fmla="*/ 640080 w 962025"/>
                  <a:gd name="connsiteY413" fmla="*/ 210407 h 695325"/>
                  <a:gd name="connsiteX414" fmla="*/ 637508 w 962025"/>
                  <a:gd name="connsiteY414" fmla="*/ 212122 h 695325"/>
                  <a:gd name="connsiteX415" fmla="*/ 635889 w 962025"/>
                  <a:gd name="connsiteY415" fmla="*/ 212122 h 695325"/>
                  <a:gd name="connsiteX416" fmla="*/ 635032 w 962025"/>
                  <a:gd name="connsiteY416" fmla="*/ 212122 h 695325"/>
                  <a:gd name="connsiteX417" fmla="*/ 634174 w 962025"/>
                  <a:gd name="connsiteY417" fmla="*/ 210407 h 695325"/>
                  <a:gd name="connsiteX418" fmla="*/ 633317 w 962025"/>
                  <a:gd name="connsiteY418" fmla="*/ 209550 h 695325"/>
                  <a:gd name="connsiteX419" fmla="*/ 632460 w 962025"/>
                  <a:gd name="connsiteY419" fmla="*/ 209550 h 695325"/>
                  <a:gd name="connsiteX420" fmla="*/ 631603 w 962025"/>
                  <a:gd name="connsiteY420" fmla="*/ 209550 h 695325"/>
                  <a:gd name="connsiteX421" fmla="*/ 629126 w 962025"/>
                  <a:gd name="connsiteY421" fmla="*/ 209550 h 695325"/>
                  <a:gd name="connsiteX422" fmla="*/ 620649 w 962025"/>
                  <a:gd name="connsiteY422" fmla="*/ 210407 h 695325"/>
                  <a:gd name="connsiteX423" fmla="*/ 619792 w 962025"/>
                  <a:gd name="connsiteY423" fmla="*/ 210407 h 695325"/>
                  <a:gd name="connsiteX424" fmla="*/ 615601 w 962025"/>
                  <a:gd name="connsiteY424" fmla="*/ 209550 h 695325"/>
                  <a:gd name="connsiteX425" fmla="*/ 611315 w 962025"/>
                  <a:gd name="connsiteY425" fmla="*/ 206978 h 695325"/>
                  <a:gd name="connsiteX426" fmla="*/ 610457 w 962025"/>
                  <a:gd name="connsiteY426" fmla="*/ 206978 h 695325"/>
                  <a:gd name="connsiteX427" fmla="*/ 609600 w 962025"/>
                  <a:gd name="connsiteY427" fmla="*/ 206978 h 695325"/>
                  <a:gd name="connsiteX428" fmla="*/ 608838 w 962025"/>
                  <a:gd name="connsiteY428" fmla="*/ 206978 h 695325"/>
                  <a:gd name="connsiteX429" fmla="*/ 607981 w 962025"/>
                  <a:gd name="connsiteY429" fmla="*/ 206978 h 695325"/>
                  <a:gd name="connsiteX430" fmla="*/ 606266 w 962025"/>
                  <a:gd name="connsiteY430" fmla="*/ 207835 h 695325"/>
                  <a:gd name="connsiteX431" fmla="*/ 605409 w 962025"/>
                  <a:gd name="connsiteY431" fmla="*/ 209550 h 695325"/>
                  <a:gd name="connsiteX432" fmla="*/ 603695 w 962025"/>
                  <a:gd name="connsiteY432" fmla="*/ 212979 h 695325"/>
                  <a:gd name="connsiteX433" fmla="*/ 602837 w 962025"/>
                  <a:gd name="connsiteY433" fmla="*/ 213836 h 695325"/>
                  <a:gd name="connsiteX434" fmla="*/ 602075 w 962025"/>
                  <a:gd name="connsiteY434" fmla="*/ 214693 h 695325"/>
                  <a:gd name="connsiteX435" fmla="*/ 601218 w 962025"/>
                  <a:gd name="connsiteY435" fmla="*/ 215551 h 695325"/>
                  <a:gd name="connsiteX436" fmla="*/ 599503 w 962025"/>
                  <a:gd name="connsiteY436" fmla="*/ 215551 h 695325"/>
                  <a:gd name="connsiteX437" fmla="*/ 598646 w 962025"/>
                  <a:gd name="connsiteY437" fmla="*/ 215551 h 695325"/>
                  <a:gd name="connsiteX438" fmla="*/ 597789 w 962025"/>
                  <a:gd name="connsiteY438" fmla="*/ 214693 h 695325"/>
                  <a:gd name="connsiteX439" fmla="*/ 597789 w 962025"/>
                  <a:gd name="connsiteY439" fmla="*/ 213836 h 695325"/>
                  <a:gd name="connsiteX440" fmla="*/ 597789 w 962025"/>
                  <a:gd name="connsiteY440" fmla="*/ 212979 h 695325"/>
                  <a:gd name="connsiteX441" fmla="*/ 597789 w 962025"/>
                  <a:gd name="connsiteY441" fmla="*/ 212979 h 695325"/>
                  <a:gd name="connsiteX442" fmla="*/ 596932 w 962025"/>
                  <a:gd name="connsiteY442" fmla="*/ 212122 h 695325"/>
                  <a:gd name="connsiteX443" fmla="*/ 596074 w 962025"/>
                  <a:gd name="connsiteY443" fmla="*/ 211264 h 695325"/>
                  <a:gd name="connsiteX444" fmla="*/ 595312 w 962025"/>
                  <a:gd name="connsiteY444" fmla="*/ 210407 h 695325"/>
                  <a:gd name="connsiteX445" fmla="*/ 592741 w 962025"/>
                  <a:gd name="connsiteY445" fmla="*/ 211264 h 695325"/>
                  <a:gd name="connsiteX446" fmla="*/ 591884 w 962025"/>
                  <a:gd name="connsiteY446" fmla="*/ 211264 h 695325"/>
                  <a:gd name="connsiteX447" fmla="*/ 591026 w 962025"/>
                  <a:gd name="connsiteY447" fmla="*/ 212122 h 695325"/>
                  <a:gd name="connsiteX448" fmla="*/ 591026 w 962025"/>
                  <a:gd name="connsiteY448" fmla="*/ 212122 h 695325"/>
                  <a:gd name="connsiteX449" fmla="*/ 591026 w 962025"/>
                  <a:gd name="connsiteY449" fmla="*/ 214693 h 695325"/>
                  <a:gd name="connsiteX450" fmla="*/ 591884 w 962025"/>
                  <a:gd name="connsiteY450" fmla="*/ 216408 h 695325"/>
                  <a:gd name="connsiteX451" fmla="*/ 591884 w 962025"/>
                  <a:gd name="connsiteY451" fmla="*/ 218122 h 695325"/>
                  <a:gd name="connsiteX452" fmla="*/ 591026 w 962025"/>
                  <a:gd name="connsiteY452" fmla="*/ 219837 h 695325"/>
                  <a:gd name="connsiteX453" fmla="*/ 587693 w 962025"/>
                  <a:gd name="connsiteY453" fmla="*/ 219837 h 695325"/>
                  <a:gd name="connsiteX454" fmla="*/ 585978 w 962025"/>
                  <a:gd name="connsiteY454" fmla="*/ 219837 h 695325"/>
                  <a:gd name="connsiteX455" fmla="*/ 585121 w 962025"/>
                  <a:gd name="connsiteY455" fmla="*/ 218980 h 695325"/>
                  <a:gd name="connsiteX456" fmla="*/ 584264 w 962025"/>
                  <a:gd name="connsiteY456" fmla="*/ 217265 h 695325"/>
                  <a:gd name="connsiteX457" fmla="*/ 584264 w 962025"/>
                  <a:gd name="connsiteY457" fmla="*/ 216408 h 695325"/>
                  <a:gd name="connsiteX458" fmla="*/ 584264 w 962025"/>
                  <a:gd name="connsiteY458" fmla="*/ 214693 h 695325"/>
                  <a:gd name="connsiteX459" fmla="*/ 584264 w 962025"/>
                  <a:gd name="connsiteY459" fmla="*/ 212979 h 695325"/>
                  <a:gd name="connsiteX460" fmla="*/ 585121 w 962025"/>
                  <a:gd name="connsiteY460" fmla="*/ 211264 h 695325"/>
                  <a:gd name="connsiteX461" fmla="*/ 585121 w 962025"/>
                  <a:gd name="connsiteY461" fmla="*/ 210407 h 695325"/>
                  <a:gd name="connsiteX462" fmla="*/ 585978 w 962025"/>
                  <a:gd name="connsiteY462" fmla="*/ 209550 h 695325"/>
                  <a:gd name="connsiteX463" fmla="*/ 588550 w 962025"/>
                  <a:gd name="connsiteY463" fmla="*/ 206978 h 695325"/>
                  <a:gd name="connsiteX464" fmla="*/ 589312 w 962025"/>
                  <a:gd name="connsiteY464" fmla="*/ 205359 h 695325"/>
                  <a:gd name="connsiteX465" fmla="*/ 591026 w 962025"/>
                  <a:gd name="connsiteY465" fmla="*/ 201930 h 695325"/>
                  <a:gd name="connsiteX466" fmla="*/ 594455 w 962025"/>
                  <a:gd name="connsiteY466" fmla="*/ 196786 h 695325"/>
                  <a:gd name="connsiteX467" fmla="*/ 596074 w 962025"/>
                  <a:gd name="connsiteY467" fmla="*/ 193357 h 695325"/>
                  <a:gd name="connsiteX468" fmla="*/ 596932 w 962025"/>
                  <a:gd name="connsiteY468" fmla="*/ 192500 h 695325"/>
                  <a:gd name="connsiteX469" fmla="*/ 596074 w 962025"/>
                  <a:gd name="connsiteY469" fmla="*/ 191643 h 695325"/>
                  <a:gd name="connsiteX470" fmla="*/ 595312 w 962025"/>
                  <a:gd name="connsiteY470" fmla="*/ 191643 h 695325"/>
                  <a:gd name="connsiteX471" fmla="*/ 594455 w 962025"/>
                  <a:gd name="connsiteY471" fmla="*/ 192500 h 695325"/>
                  <a:gd name="connsiteX472" fmla="*/ 592741 w 962025"/>
                  <a:gd name="connsiteY472" fmla="*/ 194215 h 695325"/>
                  <a:gd name="connsiteX473" fmla="*/ 591884 w 962025"/>
                  <a:gd name="connsiteY473" fmla="*/ 195072 h 695325"/>
                  <a:gd name="connsiteX474" fmla="*/ 591026 w 962025"/>
                  <a:gd name="connsiteY474" fmla="*/ 195072 h 695325"/>
                  <a:gd name="connsiteX475" fmla="*/ 590169 w 962025"/>
                  <a:gd name="connsiteY475" fmla="*/ 194215 h 695325"/>
                  <a:gd name="connsiteX476" fmla="*/ 588550 w 962025"/>
                  <a:gd name="connsiteY476" fmla="*/ 194215 h 695325"/>
                  <a:gd name="connsiteX477" fmla="*/ 587693 w 962025"/>
                  <a:gd name="connsiteY477" fmla="*/ 194215 h 695325"/>
                  <a:gd name="connsiteX478" fmla="*/ 586835 w 962025"/>
                  <a:gd name="connsiteY478" fmla="*/ 195072 h 695325"/>
                  <a:gd name="connsiteX479" fmla="*/ 585121 w 962025"/>
                  <a:gd name="connsiteY479" fmla="*/ 195929 h 695325"/>
                  <a:gd name="connsiteX480" fmla="*/ 585121 w 962025"/>
                  <a:gd name="connsiteY480" fmla="*/ 196786 h 695325"/>
                  <a:gd name="connsiteX481" fmla="*/ 584264 w 962025"/>
                  <a:gd name="connsiteY481" fmla="*/ 197644 h 695325"/>
                  <a:gd name="connsiteX482" fmla="*/ 584264 w 962025"/>
                  <a:gd name="connsiteY482" fmla="*/ 198501 h 695325"/>
                  <a:gd name="connsiteX483" fmla="*/ 583406 w 962025"/>
                  <a:gd name="connsiteY483" fmla="*/ 198501 h 695325"/>
                  <a:gd name="connsiteX484" fmla="*/ 582549 w 962025"/>
                  <a:gd name="connsiteY484" fmla="*/ 198501 h 695325"/>
                  <a:gd name="connsiteX485" fmla="*/ 581787 w 962025"/>
                  <a:gd name="connsiteY485" fmla="*/ 198501 h 695325"/>
                  <a:gd name="connsiteX486" fmla="*/ 581787 w 962025"/>
                  <a:gd name="connsiteY486" fmla="*/ 198501 h 695325"/>
                  <a:gd name="connsiteX487" fmla="*/ 580073 w 962025"/>
                  <a:gd name="connsiteY487" fmla="*/ 196786 h 695325"/>
                  <a:gd name="connsiteX488" fmla="*/ 580073 w 962025"/>
                  <a:gd name="connsiteY488" fmla="*/ 195929 h 695325"/>
                  <a:gd name="connsiteX489" fmla="*/ 580073 w 962025"/>
                  <a:gd name="connsiteY489" fmla="*/ 194215 h 695325"/>
                  <a:gd name="connsiteX490" fmla="*/ 580073 w 962025"/>
                  <a:gd name="connsiteY490" fmla="*/ 193357 h 695325"/>
                  <a:gd name="connsiteX491" fmla="*/ 580073 w 962025"/>
                  <a:gd name="connsiteY491" fmla="*/ 192500 h 695325"/>
                  <a:gd name="connsiteX492" fmla="*/ 580930 w 962025"/>
                  <a:gd name="connsiteY492" fmla="*/ 191643 h 695325"/>
                  <a:gd name="connsiteX493" fmla="*/ 583406 w 962025"/>
                  <a:gd name="connsiteY493" fmla="*/ 187452 h 695325"/>
                  <a:gd name="connsiteX494" fmla="*/ 583406 w 962025"/>
                  <a:gd name="connsiteY494" fmla="*/ 185738 h 695325"/>
                  <a:gd name="connsiteX495" fmla="*/ 583406 w 962025"/>
                  <a:gd name="connsiteY495" fmla="*/ 184880 h 695325"/>
                  <a:gd name="connsiteX496" fmla="*/ 582549 w 962025"/>
                  <a:gd name="connsiteY496" fmla="*/ 184023 h 695325"/>
                  <a:gd name="connsiteX497" fmla="*/ 582549 w 962025"/>
                  <a:gd name="connsiteY497" fmla="*/ 184023 h 695325"/>
                  <a:gd name="connsiteX498" fmla="*/ 580930 w 962025"/>
                  <a:gd name="connsiteY498" fmla="*/ 184023 h 695325"/>
                  <a:gd name="connsiteX499" fmla="*/ 578358 w 962025"/>
                  <a:gd name="connsiteY499" fmla="*/ 187452 h 695325"/>
                  <a:gd name="connsiteX500" fmla="*/ 577501 w 962025"/>
                  <a:gd name="connsiteY500" fmla="*/ 190786 h 695325"/>
                  <a:gd name="connsiteX501" fmla="*/ 576644 w 962025"/>
                  <a:gd name="connsiteY501" fmla="*/ 192500 h 695325"/>
                  <a:gd name="connsiteX502" fmla="*/ 576644 w 962025"/>
                  <a:gd name="connsiteY502" fmla="*/ 193357 h 695325"/>
                  <a:gd name="connsiteX503" fmla="*/ 576644 w 962025"/>
                  <a:gd name="connsiteY503" fmla="*/ 195072 h 695325"/>
                  <a:gd name="connsiteX504" fmla="*/ 580073 w 962025"/>
                  <a:gd name="connsiteY504" fmla="*/ 203644 h 695325"/>
                  <a:gd name="connsiteX505" fmla="*/ 580073 w 962025"/>
                  <a:gd name="connsiteY505" fmla="*/ 205359 h 695325"/>
                  <a:gd name="connsiteX506" fmla="*/ 580073 w 962025"/>
                  <a:gd name="connsiteY506" fmla="*/ 206978 h 695325"/>
                  <a:gd name="connsiteX507" fmla="*/ 579215 w 962025"/>
                  <a:gd name="connsiteY507" fmla="*/ 207835 h 695325"/>
                  <a:gd name="connsiteX508" fmla="*/ 579215 w 962025"/>
                  <a:gd name="connsiteY508" fmla="*/ 208693 h 695325"/>
                  <a:gd name="connsiteX509" fmla="*/ 577501 w 962025"/>
                  <a:gd name="connsiteY509" fmla="*/ 208693 h 695325"/>
                  <a:gd name="connsiteX510" fmla="*/ 575024 w 962025"/>
                  <a:gd name="connsiteY510" fmla="*/ 207835 h 695325"/>
                  <a:gd name="connsiteX511" fmla="*/ 574167 w 962025"/>
                  <a:gd name="connsiteY511" fmla="*/ 206978 h 695325"/>
                  <a:gd name="connsiteX512" fmla="*/ 573310 w 962025"/>
                  <a:gd name="connsiteY512" fmla="*/ 206978 h 695325"/>
                  <a:gd name="connsiteX513" fmla="*/ 572453 w 962025"/>
                  <a:gd name="connsiteY513" fmla="*/ 206978 h 695325"/>
                  <a:gd name="connsiteX514" fmla="*/ 570738 w 962025"/>
                  <a:gd name="connsiteY514" fmla="*/ 207835 h 695325"/>
                  <a:gd name="connsiteX515" fmla="*/ 569024 w 962025"/>
                  <a:gd name="connsiteY515" fmla="*/ 206978 h 695325"/>
                  <a:gd name="connsiteX516" fmla="*/ 568166 w 962025"/>
                  <a:gd name="connsiteY516" fmla="*/ 206121 h 695325"/>
                  <a:gd name="connsiteX517" fmla="*/ 567404 w 962025"/>
                  <a:gd name="connsiteY517" fmla="*/ 206121 h 695325"/>
                  <a:gd name="connsiteX518" fmla="*/ 565690 w 962025"/>
                  <a:gd name="connsiteY518" fmla="*/ 206978 h 695325"/>
                  <a:gd name="connsiteX519" fmla="*/ 564833 w 962025"/>
                  <a:gd name="connsiteY519" fmla="*/ 208693 h 695325"/>
                  <a:gd name="connsiteX520" fmla="*/ 563975 w 962025"/>
                  <a:gd name="connsiteY520" fmla="*/ 210407 h 695325"/>
                  <a:gd name="connsiteX521" fmla="*/ 562261 w 962025"/>
                  <a:gd name="connsiteY521" fmla="*/ 210407 h 695325"/>
                  <a:gd name="connsiteX522" fmla="*/ 561404 w 962025"/>
                  <a:gd name="connsiteY522" fmla="*/ 211264 h 695325"/>
                  <a:gd name="connsiteX523" fmla="*/ 561404 w 962025"/>
                  <a:gd name="connsiteY523" fmla="*/ 210407 h 695325"/>
                  <a:gd name="connsiteX524" fmla="*/ 560642 w 962025"/>
                  <a:gd name="connsiteY524" fmla="*/ 209550 h 695325"/>
                  <a:gd name="connsiteX525" fmla="*/ 560642 w 962025"/>
                  <a:gd name="connsiteY525" fmla="*/ 206121 h 695325"/>
                  <a:gd name="connsiteX526" fmla="*/ 559784 w 962025"/>
                  <a:gd name="connsiteY526" fmla="*/ 204502 h 695325"/>
                  <a:gd name="connsiteX527" fmla="*/ 558927 w 962025"/>
                  <a:gd name="connsiteY527" fmla="*/ 204502 h 695325"/>
                  <a:gd name="connsiteX528" fmla="*/ 557213 w 962025"/>
                  <a:gd name="connsiteY528" fmla="*/ 204502 h 695325"/>
                  <a:gd name="connsiteX529" fmla="*/ 553879 w 962025"/>
                  <a:gd name="connsiteY529" fmla="*/ 206121 h 695325"/>
                  <a:gd name="connsiteX530" fmla="*/ 552164 w 962025"/>
                  <a:gd name="connsiteY530" fmla="*/ 206978 h 695325"/>
                  <a:gd name="connsiteX531" fmla="*/ 550450 w 962025"/>
                  <a:gd name="connsiteY531" fmla="*/ 206978 h 695325"/>
                  <a:gd name="connsiteX532" fmla="*/ 549593 w 962025"/>
                  <a:gd name="connsiteY532" fmla="*/ 206978 h 695325"/>
                  <a:gd name="connsiteX533" fmla="*/ 549593 w 962025"/>
                  <a:gd name="connsiteY533" fmla="*/ 206121 h 695325"/>
                  <a:gd name="connsiteX534" fmla="*/ 548735 w 962025"/>
                  <a:gd name="connsiteY534" fmla="*/ 205359 h 695325"/>
                  <a:gd name="connsiteX535" fmla="*/ 548735 w 962025"/>
                  <a:gd name="connsiteY535" fmla="*/ 203644 h 695325"/>
                  <a:gd name="connsiteX536" fmla="*/ 549593 w 962025"/>
                  <a:gd name="connsiteY536" fmla="*/ 202787 h 695325"/>
                  <a:gd name="connsiteX537" fmla="*/ 549593 w 962025"/>
                  <a:gd name="connsiteY537" fmla="*/ 201073 h 695325"/>
                  <a:gd name="connsiteX538" fmla="*/ 553022 w 962025"/>
                  <a:gd name="connsiteY538" fmla="*/ 197644 h 695325"/>
                  <a:gd name="connsiteX539" fmla="*/ 553022 w 962025"/>
                  <a:gd name="connsiteY539" fmla="*/ 196786 h 695325"/>
                  <a:gd name="connsiteX540" fmla="*/ 553022 w 962025"/>
                  <a:gd name="connsiteY540" fmla="*/ 196786 h 695325"/>
                  <a:gd name="connsiteX541" fmla="*/ 553022 w 962025"/>
                  <a:gd name="connsiteY541" fmla="*/ 196786 h 695325"/>
                  <a:gd name="connsiteX542" fmla="*/ 551307 w 962025"/>
                  <a:gd name="connsiteY542" fmla="*/ 195929 h 695325"/>
                  <a:gd name="connsiteX543" fmla="*/ 551307 w 962025"/>
                  <a:gd name="connsiteY543" fmla="*/ 195072 h 695325"/>
                  <a:gd name="connsiteX544" fmla="*/ 550450 w 962025"/>
                  <a:gd name="connsiteY544" fmla="*/ 195072 h 695325"/>
                  <a:gd name="connsiteX545" fmla="*/ 550450 w 962025"/>
                  <a:gd name="connsiteY545" fmla="*/ 195072 h 695325"/>
                  <a:gd name="connsiteX546" fmla="*/ 549593 w 962025"/>
                  <a:gd name="connsiteY546" fmla="*/ 194215 h 695325"/>
                  <a:gd name="connsiteX547" fmla="*/ 547878 w 962025"/>
                  <a:gd name="connsiteY547" fmla="*/ 194215 h 695325"/>
                  <a:gd name="connsiteX548" fmla="*/ 547116 w 962025"/>
                  <a:gd name="connsiteY548" fmla="*/ 194215 h 695325"/>
                  <a:gd name="connsiteX549" fmla="*/ 546259 w 962025"/>
                  <a:gd name="connsiteY549" fmla="*/ 195072 h 695325"/>
                  <a:gd name="connsiteX550" fmla="*/ 546259 w 962025"/>
                  <a:gd name="connsiteY550" fmla="*/ 195929 h 695325"/>
                  <a:gd name="connsiteX551" fmla="*/ 546259 w 962025"/>
                  <a:gd name="connsiteY551" fmla="*/ 196786 h 695325"/>
                  <a:gd name="connsiteX552" fmla="*/ 546259 w 962025"/>
                  <a:gd name="connsiteY552" fmla="*/ 198501 h 695325"/>
                  <a:gd name="connsiteX553" fmla="*/ 546259 w 962025"/>
                  <a:gd name="connsiteY553" fmla="*/ 199358 h 695325"/>
                  <a:gd name="connsiteX554" fmla="*/ 545402 w 962025"/>
                  <a:gd name="connsiteY554" fmla="*/ 201073 h 695325"/>
                  <a:gd name="connsiteX555" fmla="*/ 543687 w 962025"/>
                  <a:gd name="connsiteY555" fmla="*/ 201073 h 695325"/>
                  <a:gd name="connsiteX556" fmla="*/ 541973 w 962025"/>
                  <a:gd name="connsiteY556" fmla="*/ 201073 h 695325"/>
                  <a:gd name="connsiteX557" fmla="*/ 541115 w 962025"/>
                  <a:gd name="connsiteY557" fmla="*/ 201930 h 695325"/>
                  <a:gd name="connsiteX558" fmla="*/ 540353 w 962025"/>
                  <a:gd name="connsiteY558" fmla="*/ 202787 h 695325"/>
                  <a:gd name="connsiteX559" fmla="*/ 538639 w 962025"/>
                  <a:gd name="connsiteY559" fmla="*/ 204502 h 695325"/>
                  <a:gd name="connsiteX560" fmla="*/ 537782 w 962025"/>
                  <a:gd name="connsiteY560" fmla="*/ 206121 h 695325"/>
                  <a:gd name="connsiteX561" fmla="*/ 536067 w 962025"/>
                  <a:gd name="connsiteY561" fmla="*/ 206978 h 695325"/>
                  <a:gd name="connsiteX562" fmla="*/ 535210 w 962025"/>
                  <a:gd name="connsiteY562" fmla="*/ 206978 h 695325"/>
                  <a:gd name="connsiteX563" fmla="*/ 533590 w 962025"/>
                  <a:gd name="connsiteY563" fmla="*/ 206121 h 695325"/>
                  <a:gd name="connsiteX564" fmla="*/ 532733 w 962025"/>
                  <a:gd name="connsiteY564" fmla="*/ 205359 h 695325"/>
                  <a:gd name="connsiteX565" fmla="*/ 532733 w 962025"/>
                  <a:gd name="connsiteY565" fmla="*/ 203644 h 695325"/>
                  <a:gd name="connsiteX566" fmla="*/ 532733 w 962025"/>
                  <a:gd name="connsiteY566" fmla="*/ 201930 h 695325"/>
                  <a:gd name="connsiteX567" fmla="*/ 533590 w 962025"/>
                  <a:gd name="connsiteY567" fmla="*/ 199358 h 695325"/>
                  <a:gd name="connsiteX568" fmla="*/ 534353 w 962025"/>
                  <a:gd name="connsiteY568" fmla="*/ 197644 h 695325"/>
                  <a:gd name="connsiteX569" fmla="*/ 535210 w 962025"/>
                  <a:gd name="connsiteY569" fmla="*/ 195929 h 695325"/>
                  <a:gd name="connsiteX570" fmla="*/ 536924 w 962025"/>
                  <a:gd name="connsiteY570" fmla="*/ 195072 h 695325"/>
                  <a:gd name="connsiteX571" fmla="*/ 539496 w 962025"/>
                  <a:gd name="connsiteY571" fmla="*/ 193357 h 695325"/>
                  <a:gd name="connsiteX572" fmla="*/ 540353 w 962025"/>
                  <a:gd name="connsiteY572" fmla="*/ 192500 h 695325"/>
                  <a:gd name="connsiteX573" fmla="*/ 541115 w 962025"/>
                  <a:gd name="connsiteY573" fmla="*/ 191643 h 695325"/>
                  <a:gd name="connsiteX574" fmla="*/ 541115 w 962025"/>
                  <a:gd name="connsiteY574" fmla="*/ 190024 h 695325"/>
                  <a:gd name="connsiteX575" fmla="*/ 541115 w 962025"/>
                  <a:gd name="connsiteY575" fmla="*/ 189167 h 695325"/>
                  <a:gd name="connsiteX576" fmla="*/ 541115 w 962025"/>
                  <a:gd name="connsiteY576" fmla="*/ 187452 h 695325"/>
                  <a:gd name="connsiteX577" fmla="*/ 540353 w 962025"/>
                  <a:gd name="connsiteY577" fmla="*/ 186595 h 695325"/>
                  <a:gd name="connsiteX578" fmla="*/ 541115 w 962025"/>
                  <a:gd name="connsiteY578" fmla="*/ 184880 h 695325"/>
                  <a:gd name="connsiteX579" fmla="*/ 542830 w 962025"/>
                  <a:gd name="connsiteY579" fmla="*/ 181451 h 695325"/>
                  <a:gd name="connsiteX580" fmla="*/ 542830 w 962025"/>
                  <a:gd name="connsiteY580" fmla="*/ 179737 h 695325"/>
                  <a:gd name="connsiteX581" fmla="*/ 543687 w 962025"/>
                  <a:gd name="connsiteY581" fmla="*/ 176308 h 695325"/>
                  <a:gd name="connsiteX582" fmla="*/ 543687 w 962025"/>
                  <a:gd name="connsiteY582" fmla="*/ 175450 h 695325"/>
                  <a:gd name="connsiteX583" fmla="*/ 543687 w 962025"/>
                  <a:gd name="connsiteY583" fmla="*/ 174688 h 695325"/>
                  <a:gd name="connsiteX584" fmla="*/ 542830 w 962025"/>
                  <a:gd name="connsiteY584" fmla="*/ 174688 h 695325"/>
                  <a:gd name="connsiteX585" fmla="*/ 541973 w 962025"/>
                  <a:gd name="connsiteY585" fmla="*/ 174688 h 695325"/>
                  <a:gd name="connsiteX586" fmla="*/ 541115 w 962025"/>
                  <a:gd name="connsiteY586" fmla="*/ 174688 h 695325"/>
                  <a:gd name="connsiteX587" fmla="*/ 540353 w 962025"/>
                  <a:gd name="connsiteY587" fmla="*/ 174688 h 695325"/>
                  <a:gd name="connsiteX588" fmla="*/ 538639 w 962025"/>
                  <a:gd name="connsiteY588" fmla="*/ 174688 h 695325"/>
                  <a:gd name="connsiteX589" fmla="*/ 537782 w 962025"/>
                  <a:gd name="connsiteY589" fmla="*/ 174688 h 695325"/>
                  <a:gd name="connsiteX590" fmla="*/ 537782 w 962025"/>
                  <a:gd name="connsiteY590" fmla="*/ 173831 h 695325"/>
                  <a:gd name="connsiteX591" fmla="*/ 537782 w 962025"/>
                  <a:gd name="connsiteY591" fmla="*/ 172974 h 695325"/>
                  <a:gd name="connsiteX592" fmla="*/ 538639 w 962025"/>
                  <a:gd name="connsiteY592" fmla="*/ 172117 h 695325"/>
                  <a:gd name="connsiteX593" fmla="*/ 538639 w 962025"/>
                  <a:gd name="connsiteY593" fmla="*/ 170402 h 695325"/>
                  <a:gd name="connsiteX594" fmla="*/ 539496 w 962025"/>
                  <a:gd name="connsiteY594" fmla="*/ 169545 h 695325"/>
                  <a:gd name="connsiteX595" fmla="*/ 539496 w 962025"/>
                  <a:gd name="connsiteY595" fmla="*/ 166973 h 695325"/>
                  <a:gd name="connsiteX596" fmla="*/ 538639 w 962025"/>
                  <a:gd name="connsiteY596" fmla="*/ 166116 h 695325"/>
                  <a:gd name="connsiteX597" fmla="*/ 538639 w 962025"/>
                  <a:gd name="connsiteY597" fmla="*/ 164401 h 695325"/>
                  <a:gd name="connsiteX598" fmla="*/ 536924 w 962025"/>
                  <a:gd name="connsiteY598" fmla="*/ 162687 h 695325"/>
                  <a:gd name="connsiteX599" fmla="*/ 536067 w 962025"/>
                  <a:gd name="connsiteY599" fmla="*/ 162687 h 695325"/>
                  <a:gd name="connsiteX600" fmla="*/ 534353 w 962025"/>
                  <a:gd name="connsiteY600" fmla="*/ 163544 h 695325"/>
                  <a:gd name="connsiteX601" fmla="*/ 533590 w 962025"/>
                  <a:gd name="connsiteY601" fmla="*/ 164401 h 695325"/>
                  <a:gd name="connsiteX602" fmla="*/ 532733 w 962025"/>
                  <a:gd name="connsiteY602" fmla="*/ 165259 h 695325"/>
                  <a:gd name="connsiteX603" fmla="*/ 531876 w 962025"/>
                  <a:gd name="connsiteY603" fmla="*/ 166973 h 695325"/>
                  <a:gd name="connsiteX604" fmla="*/ 531876 w 962025"/>
                  <a:gd name="connsiteY604" fmla="*/ 167830 h 695325"/>
                  <a:gd name="connsiteX605" fmla="*/ 531876 w 962025"/>
                  <a:gd name="connsiteY605" fmla="*/ 168688 h 695325"/>
                  <a:gd name="connsiteX606" fmla="*/ 531876 w 962025"/>
                  <a:gd name="connsiteY606" fmla="*/ 169545 h 695325"/>
                  <a:gd name="connsiteX607" fmla="*/ 531876 w 962025"/>
                  <a:gd name="connsiteY607" fmla="*/ 173831 h 695325"/>
                  <a:gd name="connsiteX608" fmla="*/ 531876 w 962025"/>
                  <a:gd name="connsiteY608" fmla="*/ 175450 h 695325"/>
                  <a:gd name="connsiteX609" fmla="*/ 531019 w 962025"/>
                  <a:gd name="connsiteY609" fmla="*/ 176308 h 695325"/>
                  <a:gd name="connsiteX610" fmla="*/ 530161 w 962025"/>
                  <a:gd name="connsiteY610" fmla="*/ 177165 h 695325"/>
                  <a:gd name="connsiteX611" fmla="*/ 527590 w 962025"/>
                  <a:gd name="connsiteY611" fmla="*/ 177165 h 695325"/>
                  <a:gd name="connsiteX612" fmla="*/ 526828 w 962025"/>
                  <a:gd name="connsiteY612" fmla="*/ 177165 h 695325"/>
                  <a:gd name="connsiteX613" fmla="*/ 525971 w 962025"/>
                  <a:gd name="connsiteY613" fmla="*/ 176308 h 695325"/>
                  <a:gd name="connsiteX614" fmla="*/ 525971 w 962025"/>
                  <a:gd name="connsiteY614" fmla="*/ 174688 h 695325"/>
                  <a:gd name="connsiteX615" fmla="*/ 525971 w 962025"/>
                  <a:gd name="connsiteY615" fmla="*/ 170402 h 695325"/>
                  <a:gd name="connsiteX616" fmla="*/ 525971 w 962025"/>
                  <a:gd name="connsiteY616" fmla="*/ 167830 h 695325"/>
                  <a:gd name="connsiteX617" fmla="*/ 525971 w 962025"/>
                  <a:gd name="connsiteY617" fmla="*/ 166973 h 695325"/>
                  <a:gd name="connsiteX618" fmla="*/ 525113 w 962025"/>
                  <a:gd name="connsiteY618" fmla="*/ 166116 h 695325"/>
                  <a:gd name="connsiteX619" fmla="*/ 524256 w 962025"/>
                  <a:gd name="connsiteY619" fmla="*/ 164401 h 695325"/>
                  <a:gd name="connsiteX620" fmla="*/ 521684 w 962025"/>
                  <a:gd name="connsiteY620" fmla="*/ 166116 h 695325"/>
                  <a:gd name="connsiteX621" fmla="*/ 520827 w 962025"/>
                  <a:gd name="connsiteY621" fmla="*/ 166116 h 695325"/>
                  <a:gd name="connsiteX622" fmla="*/ 519970 w 962025"/>
                  <a:gd name="connsiteY622" fmla="*/ 166973 h 695325"/>
                  <a:gd name="connsiteX623" fmla="*/ 518350 w 962025"/>
                  <a:gd name="connsiteY623" fmla="*/ 166973 h 695325"/>
                  <a:gd name="connsiteX624" fmla="*/ 518350 w 962025"/>
                  <a:gd name="connsiteY624" fmla="*/ 167830 h 695325"/>
                  <a:gd name="connsiteX625" fmla="*/ 517493 w 962025"/>
                  <a:gd name="connsiteY625" fmla="*/ 169545 h 695325"/>
                  <a:gd name="connsiteX626" fmla="*/ 517493 w 962025"/>
                  <a:gd name="connsiteY626" fmla="*/ 172117 h 695325"/>
                  <a:gd name="connsiteX627" fmla="*/ 517493 w 962025"/>
                  <a:gd name="connsiteY627" fmla="*/ 172974 h 695325"/>
                  <a:gd name="connsiteX628" fmla="*/ 519970 w 962025"/>
                  <a:gd name="connsiteY628" fmla="*/ 174688 h 695325"/>
                  <a:gd name="connsiteX629" fmla="*/ 519970 w 962025"/>
                  <a:gd name="connsiteY629" fmla="*/ 175450 h 695325"/>
                  <a:gd name="connsiteX630" fmla="*/ 519970 w 962025"/>
                  <a:gd name="connsiteY630" fmla="*/ 176308 h 695325"/>
                  <a:gd name="connsiteX631" fmla="*/ 519970 w 962025"/>
                  <a:gd name="connsiteY631" fmla="*/ 177165 h 695325"/>
                  <a:gd name="connsiteX632" fmla="*/ 519208 w 962025"/>
                  <a:gd name="connsiteY632" fmla="*/ 179737 h 695325"/>
                  <a:gd name="connsiteX633" fmla="*/ 518350 w 962025"/>
                  <a:gd name="connsiteY633" fmla="*/ 180594 h 695325"/>
                  <a:gd name="connsiteX634" fmla="*/ 518350 w 962025"/>
                  <a:gd name="connsiteY634" fmla="*/ 181451 h 695325"/>
                  <a:gd name="connsiteX635" fmla="*/ 518350 w 962025"/>
                  <a:gd name="connsiteY635" fmla="*/ 182309 h 695325"/>
                  <a:gd name="connsiteX636" fmla="*/ 519208 w 962025"/>
                  <a:gd name="connsiteY636" fmla="*/ 183166 h 695325"/>
                  <a:gd name="connsiteX637" fmla="*/ 519208 w 962025"/>
                  <a:gd name="connsiteY637" fmla="*/ 184880 h 695325"/>
                  <a:gd name="connsiteX638" fmla="*/ 519208 w 962025"/>
                  <a:gd name="connsiteY638" fmla="*/ 185738 h 695325"/>
                  <a:gd name="connsiteX639" fmla="*/ 518350 w 962025"/>
                  <a:gd name="connsiteY639" fmla="*/ 186595 h 695325"/>
                  <a:gd name="connsiteX640" fmla="*/ 517493 w 962025"/>
                  <a:gd name="connsiteY640" fmla="*/ 185738 h 695325"/>
                  <a:gd name="connsiteX641" fmla="*/ 516636 w 962025"/>
                  <a:gd name="connsiteY641" fmla="*/ 185738 h 695325"/>
                  <a:gd name="connsiteX642" fmla="*/ 514921 w 962025"/>
                  <a:gd name="connsiteY642" fmla="*/ 184023 h 695325"/>
                  <a:gd name="connsiteX643" fmla="*/ 514064 w 962025"/>
                  <a:gd name="connsiteY643" fmla="*/ 183166 h 695325"/>
                  <a:gd name="connsiteX644" fmla="*/ 512445 w 962025"/>
                  <a:gd name="connsiteY644" fmla="*/ 181451 h 695325"/>
                  <a:gd name="connsiteX645" fmla="*/ 511588 w 962025"/>
                  <a:gd name="connsiteY645" fmla="*/ 181451 h 695325"/>
                  <a:gd name="connsiteX646" fmla="*/ 510731 w 962025"/>
                  <a:gd name="connsiteY646" fmla="*/ 179737 h 695325"/>
                  <a:gd name="connsiteX647" fmla="*/ 510731 w 962025"/>
                  <a:gd name="connsiteY647" fmla="*/ 178879 h 695325"/>
                  <a:gd name="connsiteX648" fmla="*/ 509873 w 962025"/>
                  <a:gd name="connsiteY648" fmla="*/ 178879 h 695325"/>
                  <a:gd name="connsiteX649" fmla="*/ 507302 w 962025"/>
                  <a:gd name="connsiteY649" fmla="*/ 178022 h 695325"/>
                  <a:gd name="connsiteX650" fmla="*/ 505682 w 962025"/>
                  <a:gd name="connsiteY650" fmla="*/ 178022 h 695325"/>
                  <a:gd name="connsiteX651" fmla="*/ 503111 w 962025"/>
                  <a:gd name="connsiteY651" fmla="*/ 178022 h 695325"/>
                  <a:gd name="connsiteX652" fmla="*/ 502253 w 962025"/>
                  <a:gd name="connsiteY652" fmla="*/ 178022 h 695325"/>
                  <a:gd name="connsiteX653" fmla="*/ 502253 w 962025"/>
                  <a:gd name="connsiteY653" fmla="*/ 178879 h 695325"/>
                  <a:gd name="connsiteX654" fmla="*/ 501396 w 962025"/>
                  <a:gd name="connsiteY654" fmla="*/ 179737 h 695325"/>
                  <a:gd name="connsiteX655" fmla="*/ 501396 w 962025"/>
                  <a:gd name="connsiteY655" fmla="*/ 180594 h 695325"/>
                  <a:gd name="connsiteX656" fmla="*/ 501396 w 962025"/>
                  <a:gd name="connsiteY656" fmla="*/ 181451 h 695325"/>
                  <a:gd name="connsiteX657" fmla="*/ 501396 w 962025"/>
                  <a:gd name="connsiteY657" fmla="*/ 182309 h 695325"/>
                  <a:gd name="connsiteX658" fmla="*/ 501396 w 962025"/>
                  <a:gd name="connsiteY658" fmla="*/ 183166 h 695325"/>
                  <a:gd name="connsiteX659" fmla="*/ 501396 w 962025"/>
                  <a:gd name="connsiteY659" fmla="*/ 183166 h 695325"/>
                  <a:gd name="connsiteX660" fmla="*/ 501396 w 962025"/>
                  <a:gd name="connsiteY660" fmla="*/ 184023 h 695325"/>
                  <a:gd name="connsiteX661" fmla="*/ 499682 w 962025"/>
                  <a:gd name="connsiteY661" fmla="*/ 184880 h 695325"/>
                  <a:gd name="connsiteX662" fmla="*/ 498919 w 962025"/>
                  <a:gd name="connsiteY662" fmla="*/ 185738 h 695325"/>
                  <a:gd name="connsiteX663" fmla="*/ 496348 w 962025"/>
                  <a:gd name="connsiteY663" fmla="*/ 190024 h 695325"/>
                  <a:gd name="connsiteX664" fmla="*/ 495490 w 962025"/>
                  <a:gd name="connsiteY664" fmla="*/ 192500 h 695325"/>
                  <a:gd name="connsiteX665" fmla="*/ 494633 w 962025"/>
                  <a:gd name="connsiteY665" fmla="*/ 193357 h 695325"/>
                  <a:gd name="connsiteX666" fmla="*/ 494633 w 962025"/>
                  <a:gd name="connsiteY666" fmla="*/ 194215 h 695325"/>
                  <a:gd name="connsiteX667" fmla="*/ 494633 w 962025"/>
                  <a:gd name="connsiteY667" fmla="*/ 195072 h 695325"/>
                  <a:gd name="connsiteX668" fmla="*/ 494633 w 962025"/>
                  <a:gd name="connsiteY668" fmla="*/ 195929 h 695325"/>
                  <a:gd name="connsiteX669" fmla="*/ 495490 w 962025"/>
                  <a:gd name="connsiteY669" fmla="*/ 196786 h 695325"/>
                  <a:gd name="connsiteX670" fmla="*/ 496348 w 962025"/>
                  <a:gd name="connsiteY670" fmla="*/ 197644 h 695325"/>
                  <a:gd name="connsiteX671" fmla="*/ 498062 w 962025"/>
                  <a:gd name="connsiteY671" fmla="*/ 199358 h 695325"/>
                  <a:gd name="connsiteX672" fmla="*/ 499682 w 962025"/>
                  <a:gd name="connsiteY672" fmla="*/ 201073 h 695325"/>
                  <a:gd name="connsiteX673" fmla="*/ 501396 w 962025"/>
                  <a:gd name="connsiteY673" fmla="*/ 202787 h 695325"/>
                  <a:gd name="connsiteX674" fmla="*/ 504825 w 962025"/>
                  <a:gd name="connsiteY674" fmla="*/ 212122 h 695325"/>
                  <a:gd name="connsiteX675" fmla="*/ 505682 w 962025"/>
                  <a:gd name="connsiteY675" fmla="*/ 215551 h 695325"/>
                  <a:gd name="connsiteX676" fmla="*/ 506444 w 962025"/>
                  <a:gd name="connsiteY676" fmla="*/ 220694 h 695325"/>
                  <a:gd name="connsiteX677" fmla="*/ 508159 w 962025"/>
                  <a:gd name="connsiteY677" fmla="*/ 232600 h 695325"/>
                  <a:gd name="connsiteX678" fmla="*/ 509016 w 962025"/>
                  <a:gd name="connsiteY678" fmla="*/ 236029 h 695325"/>
                  <a:gd name="connsiteX679" fmla="*/ 510731 w 962025"/>
                  <a:gd name="connsiteY679" fmla="*/ 237649 h 695325"/>
                  <a:gd name="connsiteX680" fmla="*/ 514921 w 962025"/>
                  <a:gd name="connsiteY680" fmla="*/ 241935 h 695325"/>
                  <a:gd name="connsiteX681" fmla="*/ 515779 w 962025"/>
                  <a:gd name="connsiteY681" fmla="*/ 243650 h 695325"/>
                  <a:gd name="connsiteX682" fmla="*/ 517493 w 962025"/>
                  <a:gd name="connsiteY682" fmla="*/ 247079 h 695325"/>
                  <a:gd name="connsiteX683" fmla="*/ 518350 w 962025"/>
                  <a:gd name="connsiteY683" fmla="*/ 248793 h 695325"/>
                  <a:gd name="connsiteX684" fmla="*/ 518350 w 962025"/>
                  <a:gd name="connsiteY684" fmla="*/ 251365 h 695325"/>
                  <a:gd name="connsiteX685" fmla="*/ 518350 w 962025"/>
                  <a:gd name="connsiteY685" fmla="*/ 256413 h 695325"/>
                  <a:gd name="connsiteX686" fmla="*/ 519208 w 962025"/>
                  <a:gd name="connsiteY686" fmla="*/ 260699 h 695325"/>
                  <a:gd name="connsiteX687" fmla="*/ 519208 w 962025"/>
                  <a:gd name="connsiteY687" fmla="*/ 262414 h 695325"/>
                  <a:gd name="connsiteX688" fmla="*/ 518350 w 962025"/>
                  <a:gd name="connsiteY688" fmla="*/ 263271 h 695325"/>
                  <a:gd name="connsiteX689" fmla="*/ 518350 w 962025"/>
                  <a:gd name="connsiteY689" fmla="*/ 264128 h 695325"/>
                  <a:gd name="connsiteX690" fmla="*/ 517493 w 962025"/>
                  <a:gd name="connsiteY690" fmla="*/ 265843 h 695325"/>
                  <a:gd name="connsiteX691" fmla="*/ 516636 w 962025"/>
                  <a:gd name="connsiteY691" fmla="*/ 266700 h 695325"/>
                  <a:gd name="connsiteX692" fmla="*/ 516636 w 962025"/>
                  <a:gd name="connsiteY692" fmla="*/ 268319 h 695325"/>
                  <a:gd name="connsiteX693" fmla="*/ 517493 w 962025"/>
                  <a:gd name="connsiteY693" fmla="*/ 270034 h 695325"/>
                  <a:gd name="connsiteX694" fmla="*/ 518350 w 962025"/>
                  <a:gd name="connsiteY694" fmla="*/ 271748 h 695325"/>
                  <a:gd name="connsiteX695" fmla="*/ 518350 w 962025"/>
                  <a:gd name="connsiteY695" fmla="*/ 272605 h 695325"/>
                  <a:gd name="connsiteX696" fmla="*/ 519208 w 962025"/>
                  <a:gd name="connsiteY696" fmla="*/ 273463 h 695325"/>
                  <a:gd name="connsiteX697" fmla="*/ 520827 w 962025"/>
                  <a:gd name="connsiteY697" fmla="*/ 273463 h 695325"/>
                  <a:gd name="connsiteX698" fmla="*/ 521684 w 962025"/>
                  <a:gd name="connsiteY698" fmla="*/ 273463 h 695325"/>
                  <a:gd name="connsiteX699" fmla="*/ 525113 w 962025"/>
                  <a:gd name="connsiteY699" fmla="*/ 271748 h 695325"/>
                  <a:gd name="connsiteX700" fmla="*/ 527590 w 962025"/>
                  <a:gd name="connsiteY700" fmla="*/ 271748 h 695325"/>
                  <a:gd name="connsiteX701" fmla="*/ 529304 w 962025"/>
                  <a:gd name="connsiteY701" fmla="*/ 271748 h 695325"/>
                  <a:gd name="connsiteX702" fmla="*/ 530161 w 962025"/>
                  <a:gd name="connsiteY702" fmla="*/ 271748 h 695325"/>
                  <a:gd name="connsiteX703" fmla="*/ 531876 w 962025"/>
                  <a:gd name="connsiteY703" fmla="*/ 272605 h 695325"/>
                  <a:gd name="connsiteX704" fmla="*/ 533590 w 962025"/>
                  <a:gd name="connsiteY704" fmla="*/ 274320 h 695325"/>
                  <a:gd name="connsiteX705" fmla="*/ 534353 w 962025"/>
                  <a:gd name="connsiteY705" fmla="*/ 276034 h 695325"/>
                  <a:gd name="connsiteX706" fmla="*/ 535210 w 962025"/>
                  <a:gd name="connsiteY706" fmla="*/ 277749 h 695325"/>
                  <a:gd name="connsiteX707" fmla="*/ 536067 w 962025"/>
                  <a:gd name="connsiteY707" fmla="*/ 279463 h 695325"/>
                  <a:gd name="connsiteX708" fmla="*/ 536067 w 962025"/>
                  <a:gd name="connsiteY708" fmla="*/ 280321 h 695325"/>
                  <a:gd name="connsiteX709" fmla="*/ 538639 w 962025"/>
                  <a:gd name="connsiteY709" fmla="*/ 283655 h 695325"/>
                  <a:gd name="connsiteX710" fmla="*/ 539496 w 962025"/>
                  <a:gd name="connsiteY710" fmla="*/ 285369 h 695325"/>
                  <a:gd name="connsiteX711" fmla="*/ 539496 w 962025"/>
                  <a:gd name="connsiteY711" fmla="*/ 286226 h 695325"/>
                  <a:gd name="connsiteX712" fmla="*/ 538639 w 962025"/>
                  <a:gd name="connsiteY712" fmla="*/ 288798 h 695325"/>
                  <a:gd name="connsiteX713" fmla="*/ 538639 w 962025"/>
                  <a:gd name="connsiteY713" fmla="*/ 288798 h 695325"/>
                  <a:gd name="connsiteX714" fmla="*/ 538639 w 962025"/>
                  <a:gd name="connsiteY714" fmla="*/ 289655 h 695325"/>
                  <a:gd name="connsiteX715" fmla="*/ 538639 w 962025"/>
                  <a:gd name="connsiteY715" fmla="*/ 289655 h 695325"/>
                  <a:gd name="connsiteX716" fmla="*/ 538639 w 962025"/>
                  <a:gd name="connsiteY716" fmla="*/ 289655 h 695325"/>
                  <a:gd name="connsiteX717" fmla="*/ 538639 w 962025"/>
                  <a:gd name="connsiteY717" fmla="*/ 291370 h 695325"/>
                  <a:gd name="connsiteX718" fmla="*/ 539496 w 962025"/>
                  <a:gd name="connsiteY718" fmla="*/ 291370 h 695325"/>
                  <a:gd name="connsiteX719" fmla="*/ 540353 w 962025"/>
                  <a:gd name="connsiteY719" fmla="*/ 291370 h 695325"/>
                  <a:gd name="connsiteX720" fmla="*/ 541115 w 962025"/>
                  <a:gd name="connsiteY720" fmla="*/ 291370 h 695325"/>
                  <a:gd name="connsiteX721" fmla="*/ 543687 w 962025"/>
                  <a:gd name="connsiteY721" fmla="*/ 292227 h 695325"/>
                  <a:gd name="connsiteX722" fmla="*/ 545402 w 962025"/>
                  <a:gd name="connsiteY722" fmla="*/ 293084 h 695325"/>
                  <a:gd name="connsiteX723" fmla="*/ 545402 w 962025"/>
                  <a:gd name="connsiteY723" fmla="*/ 296513 h 695325"/>
                  <a:gd name="connsiteX724" fmla="*/ 545402 w 962025"/>
                  <a:gd name="connsiteY724" fmla="*/ 298990 h 695325"/>
                  <a:gd name="connsiteX725" fmla="*/ 543687 w 962025"/>
                  <a:gd name="connsiteY725" fmla="*/ 300704 h 695325"/>
                  <a:gd name="connsiteX726" fmla="*/ 542830 w 962025"/>
                  <a:gd name="connsiteY726" fmla="*/ 302419 h 695325"/>
                  <a:gd name="connsiteX727" fmla="*/ 541973 w 962025"/>
                  <a:gd name="connsiteY727" fmla="*/ 303276 h 695325"/>
                  <a:gd name="connsiteX728" fmla="*/ 541115 w 962025"/>
                  <a:gd name="connsiteY728" fmla="*/ 304133 h 695325"/>
                  <a:gd name="connsiteX729" fmla="*/ 536924 w 962025"/>
                  <a:gd name="connsiteY729" fmla="*/ 307562 h 695325"/>
                  <a:gd name="connsiteX730" fmla="*/ 536067 w 962025"/>
                  <a:gd name="connsiteY730" fmla="*/ 310991 h 695325"/>
                  <a:gd name="connsiteX731" fmla="*/ 535210 w 962025"/>
                  <a:gd name="connsiteY731" fmla="*/ 314325 h 695325"/>
                  <a:gd name="connsiteX732" fmla="*/ 533590 w 962025"/>
                  <a:gd name="connsiteY732" fmla="*/ 316897 h 695325"/>
                  <a:gd name="connsiteX733" fmla="*/ 531876 w 962025"/>
                  <a:gd name="connsiteY733" fmla="*/ 319468 h 695325"/>
                  <a:gd name="connsiteX734" fmla="*/ 528447 w 962025"/>
                  <a:gd name="connsiteY734" fmla="*/ 322040 h 695325"/>
                  <a:gd name="connsiteX735" fmla="*/ 526828 w 962025"/>
                  <a:gd name="connsiteY735" fmla="*/ 322897 h 695325"/>
                  <a:gd name="connsiteX736" fmla="*/ 525113 w 962025"/>
                  <a:gd name="connsiteY736" fmla="*/ 323755 h 695325"/>
                  <a:gd name="connsiteX737" fmla="*/ 523399 w 962025"/>
                  <a:gd name="connsiteY737" fmla="*/ 322897 h 695325"/>
                  <a:gd name="connsiteX738" fmla="*/ 521684 w 962025"/>
                  <a:gd name="connsiteY738" fmla="*/ 321183 h 695325"/>
                  <a:gd name="connsiteX739" fmla="*/ 520827 w 962025"/>
                  <a:gd name="connsiteY739" fmla="*/ 319468 h 695325"/>
                  <a:gd name="connsiteX740" fmla="*/ 520827 w 962025"/>
                  <a:gd name="connsiteY740" fmla="*/ 318611 h 695325"/>
                  <a:gd name="connsiteX741" fmla="*/ 520827 w 962025"/>
                  <a:gd name="connsiteY741" fmla="*/ 316897 h 695325"/>
                  <a:gd name="connsiteX742" fmla="*/ 520827 w 962025"/>
                  <a:gd name="connsiteY742" fmla="*/ 316039 h 695325"/>
                  <a:gd name="connsiteX743" fmla="*/ 519970 w 962025"/>
                  <a:gd name="connsiteY743" fmla="*/ 316039 h 695325"/>
                  <a:gd name="connsiteX744" fmla="*/ 519208 w 962025"/>
                  <a:gd name="connsiteY744" fmla="*/ 316039 h 695325"/>
                  <a:gd name="connsiteX745" fmla="*/ 517493 w 962025"/>
                  <a:gd name="connsiteY745" fmla="*/ 316039 h 695325"/>
                  <a:gd name="connsiteX746" fmla="*/ 513207 w 962025"/>
                  <a:gd name="connsiteY746" fmla="*/ 316039 h 695325"/>
                  <a:gd name="connsiteX747" fmla="*/ 511588 w 962025"/>
                  <a:gd name="connsiteY747" fmla="*/ 315182 h 695325"/>
                  <a:gd name="connsiteX748" fmla="*/ 509873 w 962025"/>
                  <a:gd name="connsiteY748" fmla="*/ 314325 h 695325"/>
                  <a:gd name="connsiteX749" fmla="*/ 508159 w 962025"/>
                  <a:gd name="connsiteY749" fmla="*/ 313563 h 695325"/>
                  <a:gd name="connsiteX750" fmla="*/ 504825 w 962025"/>
                  <a:gd name="connsiteY750" fmla="*/ 309277 h 695325"/>
                  <a:gd name="connsiteX751" fmla="*/ 503111 w 962025"/>
                  <a:gd name="connsiteY751" fmla="*/ 308419 h 695325"/>
                  <a:gd name="connsiteX752" fmla="*/ 497205 w 962025"/>
                  <a:gd name="connsiteY752" fmla="*/ 303276 h 695325"/>
                  <a:gd name="connsiteX753" fmla="*/ 493776 w 962025"/>
                  <a:gd name="connsiteY753" fmla="*/ 300704 h 695325"/>
                  <a:gd name="connsiteX754" fmla="*/ 491300 w 962025"/>
                  <a:gd name="connsiteY754" fmla="*/ 299847 h 695325"/>
                  <a:gd name="connsiteX755" fmla="*/ 490442 w 962025"/>
                  <a:gd name="connsiteY755" fmla="*/ 299847 h 695325"/>
                  <a:gd name="connsiteX756" fmla="*/ 489585 w 962025"/>
                  <a:gd name="connsiteY756" fmla="*/ 300704 h 695325"/>
                  <a:gd name="connsiteX757" fmla="*/ 488728 w 962025"/>
                  <a:gd name="connsiteY757" fmla="*/ 301561 h 695325"/>
                  <a:gd name="connsiteX758" fmla="*/ 487871 w 962025"/>
                  <a:gd name="connsiteY758" fmla="*/ 302419 h 695325"/>
                  <a:gd name="connsiteX759" fmla="*/ 487871 w 962025"/>
                  <a:gd name="connsiteY759" fmla="*/ 303276 h 695325"/>
                  <a:gd name="connsiteX760" fmla="*/ 487013 w 962025"/>
                  <a:gd name="connsiteY760" fmla="*/ 304990 h 695325"/>
                  <a:gd name="connsiteX761" fmla="*/ 487013 w 962025"/>
                  <a:gd name="connsiteY761" fmla="*/ 305848 h 695325"/>
                  <a:gd name="connsiteX762" fmla="*/ 487013 w 962025"/>
                  <a:gd name="connsiteY762" fmla="*/ 306705 h 695325"/>
                  <a:gd name="connsiteX763" fmla="*/ 487013 w 962025"/>
                  <a:gd name="connsiteY763" fmla="*/ 308419 h 695325"/>
                  <a:gd name="connsiteX764" fmla="*/ 486156 w 962025"/>
                  <a:gd name="connsiteY764" fmla="*/ 309277 h 695325"/>
                  <a:gd name="connsiteX765" fmla="*/ 486156 w 962025"/>
                  <a:gd name="connsiteY765" fmla="*/ 310134 h 695325"/>
                  <a:gd name="connsiteX766" fmla="*/ 484537 w 962025"/>
                  <a:gd name="connsiteY766" fmla="*/ 311848 h 695325"/>
                  <a:gd name="connsiteX767" fmla="*/ 482822 w 962025"/>
                  <a:gd name="connsiteY767" fmla="*/ 312706 h 695325"/>
                  <a:gd name="connsiteX768" fmla="*/ 480250 w 962025"/>
                  <a:gd name="connsiteY768" fmla="*/ 313563 h 695325"/>
                  <a:gd name="connsiteX769" fmla="*/ 478631 w 962025"/>
                  <a:gd name="connsiteY769" fmla="*/ 313563 h 695325"/>
                  <a:gd name="connsiteX770" fmla="*/ 476917 w 962025"/>
                  <a:gd name="connsiteY770" fmla="*/ 312706 h 695325"/>
                  <a:gd name="connsiteX771" fmla="*/ 476060 w 962025"/>
                  <a:gd name="connsiteY771" fmla="*/ 311848 h 695325"/>
                  <a:gd name="connsiteX772" fmla="*/ 475202 w 962025"/>
                  <a:gd name="connsiteY772" fmla="*/ 310134 h 695325"/>
                  <a:gd name="connsiteX773" fmla="*/ 474345 w 962025"/>
                  <a:gd name="connsiteY773" fmla="*/ 308419 h 695325"/>
                  <a:gd name="connsiteX774" fmla="*/ 474345 w 962025"/>
                  <a:gd name="connsiteY774" fmla="*/ 306705 h 695325"/>
                  <a:gd name="connsiteX775" fmla="*/ 474345 w 962025"/>
                  <a:gd name="connsiteY775" fmla="*/ 305848 h 695325"/>
                  <a:gd name="connsiteX776" fmla="*/ 476060 w 962025"/>
                  <a:gd name="connsiteY776" fmla="*/ 302419 h 695325"/>
                  <a:gd name="connsiteX777" fmla="*/ 476917 w 962025"/>
                  <a:gd name="connsiteY777" fmla="*/ 301561 h 695325"/>
                  <a:gd name="connsiteX778" fmla="*/ 476917 w 962025"/>
                  <a:gd name="connsiteY778" fmla="*/ 300704 h 695325"/>
                  <a:gd name="connsiteX779" fmla="*/ 476060 w 962025"/>
                  <a:gd name="connsiteY779" fmla="*/ 299847 h 695325"/>
                  <a:gd name="connsiteX780" fmla="*/ 475202 w 962025"/>
                  <a:gd name="connsiteY780" fmla="*/ 298990 h 695325"/>
                  <a:gd name="connsiteX781" fmla="*/ 471773 w 962025"/>
                  <a:gd name="connsiteY781" fmla="*/ 298228 h 695325"/>
                  <a:gd name="connsiteX782" fmla="*/ 470154 w 962025"/>
                  <a:gd name="connsiteY782" fmla="*/ 296513 h 695325"/>
                  <a:gd name="connsiteX783" fmla="*/ 468440 w 962025"/>
                  <a:gd name="connsiteY783" fmla="*/ 294799 h 695325"/>
                  <a:gd name="connsiteX784" fmla="*/ 467582 w 962025"/>
                  <a:gd name="connsiteY784" fmla="*/ 293084 h 695325"/>
                  <a:gd name="connsiteX785" fmla="*/ 467582 w 962025"/>
                  <a:gd name="connsiteY785" fmla="*/ 292227 h 695325"/>
                  <a:gd name="connsiteX786" fmla="*/ 466725 w 962025"/>
                  <a:gd name="connsiteY786" fmla="*/ 291370 h 695325"/>
                  <a:gd name="connsiteX787" fmla="*/ 465868 w 962025"/>
                  <a:gd name="connsiteY787" fmla="*/ 291370 h 695325"/>
                  <a:gd name="connsiteX788" fmla="*/ 465011 w 962025"/>
                  <a:gd name="connsiteY788" fmla="*/ 290513 h 695325"/>
                  <a:gd name="connsiteX789" fmla="*/ 464248 w 962025"/>
                  <a:gd name="connsiteY789" fmla="*/ 290513 h 695325"/>
                  <a:gd name="connsiteX790" fmla="*/ 462534 w 962025"/>
                  <a:gd name="connsiteY790" fmla="*/ 287084 h 695325"/>
                  <a:gd name="connsiteX791" fmla="*/ 462534 w 962025"/>
                  <a:gd name="connsiteY791" fmla="*/ 287084 h 695325"/>
                  <a:gd name="connsiteX792" fmla="*/ 463391 w 962025"/>
                  <a:gd name="connsiteY792" fmla="*/ 285369 h 695325"/>
                  <a:gd name="connsiteX793" fmla="*/ 465868 w 962025"/>
                  <a:gd name="connsiteY793" fmla="*/ 281178 h 695325"/>
                  <a:gd name="connsiteX794" fmla="*/ 466725 w 962025"/>
                  <a:gd name="connsiteY794" fmla="*/ 279463 h 695325"/>
                  <a:gd name="connsiteX795" fmla="*/ 467582 w 962025"/>
                  <a:gd name="connsiteY795" fmla="*/ 276892 h 695325"/>
                  <a:gd name="connsiteX796" fmla="*/ 467582 w 962025"/>
                  <a:gd name="connsiteY796" fmla="*/ 274320 h 695325"/>
                  <a:gd name="connsiteX797" fmla="*/ 467582 w 962025"/>
                  <a:gd name="connsiteY797" fmla="*/ 273463 h 695325"/>
                  <a:gd name="connsiteX798" fmla="*/ 466725 w 962025"/>
                  <a:gd name="connsiteY798" fmla="*/ 272605 h 695325"/>
                  <a:gd name="connsiteX799" fmla="*/ 465868 w 962025"/>
                  <a:gd name="connsiteY799" fmla="*/ 271748 h 695325"/>
                  <a:gd name="connsiteX800" fmla="*/ 466725 w 962025"/>
                  <a:gd name="connsiteY800" fmla="*/ 269176 h 695325"/>
                  <a:gd name="connsiteX801" fmla="*/ 466725 w 962025"/>
                  <a:gd name="connsiteY801" fmla="*/ 268319 h 695325"/>
                  <a:gd name="connsiteX802" fmla="*/ 466725 w 962025"/>
                  <a:gd name="connsiteY802" fmla="*/ 265843 h 695325"/>
                  <a:gd name="connsiteX803" fmla="*/ 465868 w 962025"/>
                  <a:gd name="connsiteY803" fmla="*/ 264128 h 695325"/>
                  <a:gd name="connsiteX804" fmla="*/ 464248 w 962025"/>
                  <a:gd name="connsiteY804" fmla="*/ 262414 h 695325"/>
                  <a:gd name="connsiteX805" fmla="*/ 463391 w 962025"/>
                  <a:gd name="connsiteY805" fmla="*/ 260699 h 695325"/>
                  <a:gd name="connsiteX806" fmla="*/ 462534 w 962025"/>
                  <a:gd name="connsiteY806" fmla="*/ 258985 h 695325"/>
                  <a:gd name="connsiteX807" fmla="*/ 462534 w 962025"/>
                  <a:gd name="connsiteY807" fmla="*/ 256413 h 695325"/>
                  <a:gd name="connsiteX808" fmla="*/ 462534 w 962025"/>
                  <a:gd name="connsiteY808" fmla="*/ 253841 h 695325"/>
                  <a:gd name="connsiteX809" fmla="*/ 459962 w 962025"/>
                  <a:gd name="connsiteY809" fmla="*/ 247936 h 695325"/>
                  <a:gd name="connsiteX810" fmla="*/ 459105 w 962025"/>
                  <a:gd name="connsiteY810" fmla="*/ 247936 h 695325"/>
                  <a:gd name="connsiteX811" fmla="*/ 458248 w 962025"/>
                  <a:gd name="connsiteY811" fmla="*/ 247079 h 695325"/>
                  <a:gd name="connsiteX812" fmla="*/ 456629 w 962025"/>
                  <a:gd name="connsiteY812" fmla="*/ 246221 h 695325"/>
                  <a:gd name="connsiteX813" fmla="*/ 456629 w 962025"/>
                  <a:gd name="connsiteY813" fmla="*/ 245364 h 695325"/>
                  <a:gd name="connsiteX814" fmla="*/ 456629 w 962025"/>
                  <a:gd name="connsiteY814" fmla="*/ 243650 h 695325"/>
                  <a:gd name="connsiteX815" fmla="*/ 457486 w 962025"/>
                  <a:gd name="connsiteY815" fmla="*/ 241935 h 695325"/>
                  <a:gd name="connsiteX816" fmla="*/ 462534 w 962025"/>
                  <a:gd name="connsiteY816" fmla="*/ 237649 h 695325"/>
                  <a:gd name="connsiteX817" fmla="*/ 465868 w 962025"/>
                  <a:gd name="connsiteY817" fmla="*/ 236029 h 695325"/>
                  <a:gd name="connsiteX818" fmla="*/ 471773 w 962025"/>
                  <a:gd name="connsiteY818" fmla="*/ 230029 h 695325"/>
                  <a:gd name="connsiteX819" fmla="*/ 473488 w 962025"/>
                  <a:gd name="connsiteY819" fmla="*/ 228314 h 695325"/>
                  <a:gd name="connsiteX820" fmla="*/ 475202 w 962025"/>
                  <a:gd name="connsiteY820" fmla="*/ 225742 h 695325"/>
                  <a:gd name="connsiteX821" fmla="*/ 475202 w 962025"/>
                  <a:gd name="connsiteY821" fmla="*/ 223171 h 695325"/>
                  <a:gd name="connsiteX822" fmla="*/ 474345 w 962025"/>
                  <a:gd name="connsiteY822" fmla="*/ 220694 h 695325"/>
                  <a:gd name="connsiteX823" fmla="*/ 474345 w 962025"/>
                  <a:gd name="connsiteY823" fmla="*/ 218980 h 695325"/>
                  <a:gd name="connsiteX824" fmla="*/ 475202 w 962025"/>
                  <a:gd name="connsiteY824" fmla="*/ 218122 h 695325"/>
                  <a:gd name="connsiteX825" fmla="*/ 475202 w 962025"/>
                  <a:gd name="connsiteY825" fmla="*/ 214693 h 695325"/>
                  <a:gd name="connsiteX826" fmla="*/ 475202 w 962025"/>
                  <a:gd name="connsiteY826" fmla="*/ 212979 h 695325"/>
                  <a:gd name="connsiteX827" fmla="*/ 476060 w 962025"/>
                  <a:gd name="connsiteY827" fmla="*/ 211264 h 695325"/>
                  <a:gd name="connsiteX828" fmla="*/ 477774 w 962025"/>
                  <a:gd name="connsiteY828" fmla="*/ 209550 h 695325"/>
                  <a:gd name="connsiteX829" fmla="*/ 478631 w 962025"/>
                  <a:gd name="connsiteY829" fmla="*/ 206121 h 695325"/>
                  <a:gd name="connsiteX830" fmla="*/ 477774 w 962025"/>
                  <a:gd name="connsiteY830" fmla="*/ 204502 h 695325"/>
                  <a:gd name="connsiteX831" fmla="*/ 477774 w 962025"/>
                  <a:gd name="connsiteY831" fmla="*/ 202787 h 695325"/>
                  <a:gd name="connsiteX832" fmla="*/ 476060 w 962025"/>
                  <a:gd name="connsiteY832" fmla="*/ 200215 h 695325"/>
                  <a:gd name="connsiteX833" fmla="*/ 471011 w 962025"/>
                  <a:gd name="connsiteY833" fmla="*/ 188309 h 695325"/>
                  <a:gd name="connsiteX834" fmla="*/ 469297 w 962025"/>
                  <a:gd name="connsiteY834" fmla="*/ 186595 h 695325"/>
                  <a:gd name="connsiteX835" fmla="*/ 467582 w 962025"/>
                  <a:gd name="connsiteY835" fmla="*/ 184880 h 695325"/>
                  <a:gd name="connsiteX836" fmla="*/ 465868 w 962025"/>
                  <a:gd name="connsiteY836" fmla="*/ 182309 h 695325"/>
                  <a:gd name="connsiteX837" fmla="*/ 465868 w 962025"/>
                  <a:gd name="connsiteY837" fmla="*/ 181451 h 695325"/>
                  <a:gd name="connsiteX838" fmla="*/ 465868 w 962025"/>
                  <a:gd name="connsiteY838" fmla="*/ 179737 h 695325"/>
                  <a:gd name="connsiteX839" fmla="*/ 465868 w 962025"/>
                  <a:gd name="connsiteY839" fmla="*/ 178879 h 695325"/>
                  <a:gd name="connsiteX840" fmla="*/ 466725 w 962025"/>
                  <a:gd name="connsiteY840" fmla="*/ 178022 h 695325"/>
                  <a:gd name="connsiteX841" fmla="*/ 474345 w 962025"/>
                  <a:gd name="connsiteY841" fmla="*/ 172117 h 695325"/>
                  <a:gd name="connsiteX842" fmla="*/ 476060 w 962025"/>
                  <a:gd name="connsiteY842" fmla="*/ 169545 h 695325"/>
                  <a:gd name="connsiteX843" fmla="*/ 476917 w 962025"/>
                  <a:gd name="connsiteY843" fmla="*/ 162687 h 695325"/>
                  <a:gd name="connsiteX844" fmla="*/ 478631 w 962025"/>
                  <a:gd name="connsiteY844" fmla="*/ 160972 h 695325"/>
                  <a:gd name="connsiteX845" fmla="*/ 488728 w 962025"/>
                  <a:gd name="connsiteY845" fmla="*/ 158496 h 695325"/>
                  <a:gd name="connsiteX846" fmla="*/ 491300 w 962025"/>
                  <a:gd name="connsiteY846" fmla="*/ 157639 h 695325"/>
                  <a:gd name="connsiteX847" fmla="*/ 492157 w 962025"/>
                  <a:gd name="connsiteY847" fmla="*/ 157639 h 695325"/>
                  <a:gd name="connsiteX848" fmla="*/ 495490 w 962025"/>
                  <a:gd name="connsiteY848" fmla="*/ 158496 h 695325"/>
                  <a:gd name="connsiteX849" fmla="*/ 498062 w 962025"/>
                  <a:gd name="connsiteY849" fmla="*/ 158496 h 695325"/>
                  <a:gd name="connsiteX850" fmla="*/ 499682 w 962025"/>
                  <a:gd name="connsiteY850" fmla="*/ 158496 h 695325"/>
                  <a:gd name="connsiteX851" fmla="*/ 500539 w 962025"/>
                  <a:gd name="connsiteY851" fmla="*/ 157639 h 695325"/>
                  <a:gd name="connsiteX852" fmla="*/ 502253 w 962025"/>
                  <a:gd name="connsiteY852" fmla="*/ 156781 h 695325"/>
                  <a:gd name="connsiteX853" fmla="*/ 505682 w 962025"/>
                  <a:gd name="connsiteY853" fmla="*/ 154210 h 695325"/>
                  <a:gd name="connsiteX854" fmla="*/ 516636 w 962025"/>
                  <a:gd name="connsiteY854" fmla="*/ 152495 h 695325"/>
                  <a:gd name="connsiteX855" fmla="*/ 519970 w 962025"/>
                  <a:gd name="connsiteY855" fmla="*/ 149923 h 695325"/>
                  <a:gd name="connsiteX856" fmla="*/ 520827 w 962025"/>
                  <a:gd name="connsiteY856" fmla="*/ 149066 h 695325"/>
                  <a:gd name="connsiteX857" fmla="*/ 520827 w 962025"/>
                  <a:gd name="connsiteY857" fmla="*/ 148209 h 695325"/>
                  <a:gd name="connsiteX858" fmla="*/ 520827 w 962025"/>
                  <a:gd name="connsiteY858" fmla="*/ 148209 h 695325"/>
                  <a:gd name="connsiteX859" fmla="*/ 520827 w 962025"/>
                  <a:gd name="connsiteY859" fmla="*/ 147352 h 695325"/>
                  <a:gd name="connsiteX860" fmla="*/ 520827 w 962025"/>
                  <a:gd name="connsiteY860" fmla="*/ 145637 h 695325"/>
                  <a:gd name="connsiteX861" fmla="*/ 520827 w 962025"/>
                  <a:gd name="connsiteY861" fmla="*/ 144780 h 695325"/>
                  <a:gd name="connsiteX862" fmla="*/ 519970 w 962025"/>
                  <a:gd name="connsiteY862" fmla="*/ 143161 h 695325"/>
                  <a:gd name="connsiteX863" fmla="*/ 518350 w 962025"/>
                  <a:gd name="connsiteY863" fmla="*/ 140589 h 695325"/>
                  <a:gd name="connsiteX864" fmla="*/ 518350 w 962025"/>
                  <a:gd name="connsiteY864" fmla="*/ 139732 h 695325"/>
                  <a:gd name="connsiteX865" fmla="*/ 518350 w 962025"/>
                  <a:gd name="connsiteY865" fmla="*/ 138017 h 695325"/>
                  <a:gd name="connsiteX866" fmla="*/ 518350 w 962025"/>
                  <a:gd name="connsiteY866" fmla="*/ 136303 h 695325"/>
                  <a:gd name="connsiteX867" fmla="*/ 518350 w 962025"/>
                  <a:gd name="connsiteY867" fmla="*/ 135446 h 695325"/>
                  <a:gd name="connsiteX868" fmla="*/ 518350 w 962025"/>
                  <a:gd name="connsiteY868" fmla="*/ 133731 h 695325"/>
                  <a:gd name="connsiteX869" fmla="*/ 519208 w 962025"/>
                  <a:gd name="connsiteY869" fmla="*/ 132017 h 695325"/>
                  <a:gd name="connsiteX870" fmla="*/ 519970 w 962025"/>
                  <a:gd name="connsiteY870" fmla="*/ 130302 h 695325"/>
                  <a:gd name="connsiteX871" fmla="*/ 521684 w 962025"/>
                  <a:gd name="connsiteY871" fmla="*/ 129445 h 695325"/>
                  <a:gd name="connsiteX872" fmla="*/ 523399 w 962025"/>
                  <a:gd name="connsiteY872" fmla="*/ 128588 h 695325"/>
                  <a:gd name="connsiteX873" fmla="*/ 525113 w 962025"/>
                  <a:gd name="connsiteY873" fmla="*/ 127825 h 695325"/>
                  <a:gd name="connsiteX874" fmla="*/ 526828 w 962025"/>
                  <a:gd name="connsiteY874" fmla="*/ 126111 h 695325"/>
                  <a:gd name="connsiteX875" fmla="*/ 528447 w 962025"/>
                  <a:gd name="connsiteY875" fmla="*/ 120967 h 695325"/>
                  <a:gd name="connsiteX876" fmla="*/ 530161 w 962025"/>
                  <a:gd name="connsiteY876" fmla="*/ 117538 h 695325"/>
                  <a:gd name="connsiteX877" fmla="*/ 535210 w 962025"/>
                  <a:gd name="connsiteY877" fmla="*/ 111633 h 695325"/>
                  <a:gd name="connsiteX878" fmla="*/ 535210 w 962025"/>
                  <a:gd name="connsiteY878" fmla="*/ 109918 h 695325"/>
                  <a:gd name="connsiteX879" fmla="*/ 536067 w 962025"/>
                  <a:gd name="connsiteY879" fmla="*/ 109061 h 695325"/>
                  <a:gd name="connsiteX880" fmla="*/ 536067 w 962025"/>
                  <a:gd name="connsiteY880" fmla="*/ 106489 h 695325"/>
                  <a:gd name="connsiteX881" fmla="*/ 538639 w 962025"/>
                  <a:gd name="connsiteY881" fmla="*/ 100489 h 695325"/>
                  <a:gd name="connsiteX882" fmla="*/ 541973 w 962025"/>
                  <a:gd name="connsiteY882" fmla="*/ 95440 h 695325"/>
                  <a:gd name="connsiteX883" fmla="*/ 542830 w 962025"/>
                  <a:gd name="connsiteY883" fmla="*/ 93726 h 695325"/>
                  <a:gd name="connsiteX884" fmla="*/ 542830 w 962025"/>
                  <a:gd name="connsiteY884" fmla="*/ 92869 h 695325"/>
                  <a:gd name="connsiteX885" fmla="*/ 541973 w 962025"/>
                  <a:gd name="connsiteY885" fmla="*/ 92011 h 695325"/>
                  <a:gd name="connsiteX886" fmla="*/ 540353 w 962025"/>
                  <a:gd name="connsiteY886" fmla="*/ 91154 h 695325"/>
                  <a:gd name="connsiteX887" fmla="*/ 539496 w 962025"/>
                  <a:gd name="connsiteY887" fmla="*/ 89440 h 695325"/>
                  <a:gd name="connsiteX888" fmla="*/ 539496 w 962025"/>
                  <a:gd name="connsiteY888" fmla="*/ 88582 h 695325"/>
                  <a:gd name="connsiteX889" fmla="*/ 538639 w 962025"/>
                  <a:gd name="connsiteY889" fmla="*/ 86011 h 695325"/>
                  <a:gd name="connsiteX890" fmla="*/ 539496 w 962025"/>
                  <a:gd name="connsiteY890" fmla="*/ 85154 h 695325"/>
                  <a:gd name="connsiteX891" fmla="*/ 540353 w 962025"/>
                  <a:gd name="connsiteY891" fmla="*/ 84296 h 695325"/>
                  <a:gd name="connsiteX892" fmla="*/ 541973 w 962025"/>
                  <a:gd name="connsiteY892" fmla="*/ 83439 h 695325"/>
                  <a:gd name="connsiteX893" fmla="*/ 542830 w 962025"/>
                  <a:gd name="connsiteY893" fmla="*/ 82582 h 695325"/>
                  <a:gd name="connsiteX894" fmla="*/ 542830 w 962025"/>
                  <a:gd name="connsiteY894" fmla="*/ 81820 h 695325"/>
                  <a:gd name="connsiteX895" fmla="*/ 542830 w 962025"/>
                  <a:gd name="connsiteY895" fmla="*/ 80963 h 695325"/>
                  <a:gd name="connsiteX896" fmla="*/ 541973 w 962025"/>
                  <a:gd name="connsiteY896" fmla="*/ 79248 h 695325"/>
                  <a:gd name="connsiteX897" fmla="*/ 541115 w 962025"/>
                  <a:gd name="connsiteY897" fmla="*/ 77533 h 695325"/>
                  <a:gd name="connsiteX898" fmla="*/ 541115 w 962025"/>
                  <a:gd name="connsiteY898" fmla="*/ 75819 h 695325"/>
                  <a:gd name="connsiteX899" fmla="*/ 541115 w 962025"/>
                  <a:gd name="connsiteY899" fmla="*/ 74962 h 695325"/>
                  <a:gd name="connsiteX900" fmla="*/ 541973 w 962025"/>
                  <a:gd name="connsiteY900" fmla="*/ 74104 h 695325"/>
                  <a:gd name="connsiteX901" fmla="*/ 542830 w 962025"/>
                  <a:gd name="connsiteY901" fmla="*/ 72390 h 695325"/>
                  <a:gd name="connsiteX902" fmla="*/ 543687 w 962025"/>
                  <a:gd name="connsiteY902" fmla="*/ 72390 h 695325"/>
                  <a:gd name="connsiteX903" fmla="*/ 544544 w 962025"/>
                  <a:gd name="connsiteY903" fmla="*/ 71533 h 695325"/>
                  <a:gd name="connsiteX904" fmla="*/ 546259 w 962025"/>
                  <a:gd name="connsiteY904" fmla="*/ 71533 h 695325"/>
                  <a:gd name="connsiteX905" fmla="*/ 548735 w 962025"/>
                  <a:gd name="connsiteY905" fmla="*/ 70675 h 695325"/>
                  <a:gd name="connsiteX906" fmla="*/ 550450 w 962025"/>
                  <a:gd name="connsiteY906" fmla="*/ 69818 h 695325"/>
                  <a:gd name="connsiteX907" fmla="*/ 551307 w 962025"/>
                  <a:gd name="connsiteY907" fmla="*/ 68961 h 695325"/>
                  <a:gd name="connsiteX908" fmla="*/ 552164 w 962025"/>
                  <a:gd name="connsiteY908" fmla="*/ 68104 h 695325"/>
                  <a:gd name="connsiteX909" fmla="*/ 554641 w 962025"/>
                  <a:gd name="connsiteY909" fmla="*/ 63913 h 695325"/>
                  <a:gd name="connsiteX910" fmla="*/ 554641 w 962025"/>
                  <a:gd name="connsiteY910" fmla="*/ 63055 h 695325"/>
                  <a:gd name="connsiteX911" fmla="*/ 554641 w 962025"/>
                  <a:gd name="connsiteY911" fmla="*/ 62198 h 695325"/>
                  <a:gd name="connsiteX912" fmla="*/ 554641 w 962025"/>
                  <a:gd name="connsiteY912" fmla="*/ 62198 h 695325"/>
                  <a:gd name="connsiteX913" fmla="*/ 553879 w 962025"/>
                  <a:gd name="connsiteY913" fmla="*/ 61341 h 695325"/>
                  <a:gd name="connsiteX914" fmla="*/ 553022 w 962025"/>
                  <a:gd name="connsiteY914" fmla="*/ 61341 h 695325"/>
                  <a:gd name="connsiteX915" fmla="*/ 552164 w 962025"/>
                  <a:gd name="connsiteY915" fmla="*/ 59626 h 695325"/>
                  <a:gd name="connsiteX916" fmla="*/ 553879 w 962025"/>
                  <a:gd name="connsiteY916" fmla="*/ 55340 h 695325"/>
                  <a:gd name="connsiteX917" fmla="*/ 553022 w 962025"/>
                  <a:gd name="connsiteY917" fmla="*/ 51911 h 695325"/>
                  <a:gd name="connsiteX918" fmla="*/ 552164 w 962025"/>
                  <a:gd name="connsiteY918" fmla="*/ 48577 h 695325"/>
                  <a:gd name="connsiteX919" fmla="*/ 551307 w 962025"/>
                  <a:gd name="connsiteY919" fmla="*/ 45148 h 695325"/>
                  <a:gd name="connsiteX920" fmla="*/ 545402 w 962025"/>
                  <a:gd name="connsiteY920" fmla="*/ 35719 h 695325"/>
                  <a:gd name="connsiteX921" fmla="*/ 543687 w 962025"/>
                  <a:gd name="connsiteY921" fmla="*/ 32385 h 695325"/>
                  <a:gd name="connsiteX922" fmla="*/ 541973 w 962025"/>
                  <a:gd name="connsiteY922" fmla="*/ 28099 h 695325"/>
                  <a:gd name="connsiteX923" fmla="*/ 541115 w 962025"/>
                  <a:gd name="connsiteY923" fmla="*/ 23813 h 695325"/>
                  <a:gd name="connsiteX924" fmla="*/ 541115 w 962025"/>
                  <a:gd name="connsiteY924" fmla="*/ 22955 h 695325"/>
                  <a:gd name="connsiteX925" fmla="*/ 541115 w 962025"/>
                  <a:gd name="connsiteY925" fmla="*/ 22955 h 695325"/>
                  <a:gd name="connsiteX926" fmla="*/ 541115 w 962025"/>
                  <a:gd name="connsiteY926" fmla="*/ 21241 h 695325"/>
                  <a:gd name="connsiteX927" fmla="*/ 541115 w 962025"/>
                  <a:gd name="connsiteY927" fmla="*/ 20383 h 695325"/>
                  <a:gd name="connsiteX928" fmla="*/ 539496 w 962025"/>
                  <a:gd name="connsiteY928" fmla="*/ 18764 h 695325"/>
                  <a:gd name="connsiteX929" fmla="*/ 539496 w 962025"/>
                  <a:gd name="connsiteY929" fmla="*/ 18764 h 695325"/>
                  <a:gd name="connsiteX930" fmla="*/ 537782 w 962025"/>
                  <a:gd name="connsiteY930" fmla="*/ 18764 h 695325"/>
                  <a:gd name="connsiteX931" fmla="*/ 533590 w 962025"/>
                  <a:gd name="connsiteY931" fmla="*/ 19621 h 695325"/>
                  <a:gd name="connsiteX932" fmla="*/ 532733 w 962025"/>
                  <a:gd name="connsiteY932" fmla="*/ 19621 h 695325"/>
                  <a:gd name="connsiteX933" fmla="*/ 531019 w 962025"/>
                  <a:gd name="connsiteY933" fmla="*/ 18764 h 695325"/>
                  <a:gd name="connsiteX934" fmla="*/ 527590 w 962025"/>
                  <a:gd name="connsiteY934" fmla="*/ 13621 h 695325"/>
                  <a:gd name="connsiteX935" fmla="*/ 525113 w 962025"/>
                  <a:gd name="connsiteY935" fmla="*/ 11906 h 695325"/>
                  <a:gd name="connsiteX936" fmla="*/ 524256 w 962025"/>
                  <a:gd name="connsiteY936" fmla="*/ 11906 h 695325"/>
                  <a:gd name="connsiteX937" fmla="*/ 522542 w 962025"/>
                  <a:gd name="connsiteY937" fmla="*/ 11906 h 695325"/>
                  <a:gd name="connsiteX938" fmla="*/ 521684 w 962025"/>
                  <a:gd name="connsiteY938" fmla="*/ 11906 h 695325"/>
                  <a:gd name="connsiteX939" fmla="*/ 521684 w 962025"/>
                  <a:gd name="connsiteY939" fmla="*/ 11049 h 695325"/>
                  <a:gd name="connsiteX940" fmla="*/ 520827 w 962025"/>
                  <a:gd name="connsiteY940" fmla="*/ 9334 h 695325"/>
                  <a:gd name="connsiteX941" fmla="*/ 519970 w 962025"/>
                  <a:gd name="connsiteY941" fmla="*/ 8477 h 695325"/>
                  <a:gd name="connsiteX942" fmla="*/ 518350 w 962025"/>
                  <a:gd name="connsiteY942" fmla="*/ 9334 h 695325"/>
                  <a:gd name="connsiteX943" fmla="*/ 517493 w 962025"/>
                  <a:gd name="connsiteY943" fmla="*/ 10192 h 695325"/>
                  <a:gd name="connsiteX944" fmla="*/ 515779 w 962025"/>
                  <a:gd name="connsiteY944" fmla="*/ 7620 h 695325"/>
                  <a:gd name="connsiteX945" fmla="*/ 514064 w 962025"/>
                  <a:gd name="connsiteY945" fmla="*/ 7620 h 695325"/>
                  <a:gd name="connsiteX946" fmla="*/ 509873 w 962025"/>
                  <a:gd name="connsiteY946" fmla="*/ 10192 h 695325"/>
                  <a:gd name="connsiteX947" fmla="*/ 509016 w 962025"/>
                  <a:gd name="connsiteY947" fmla="*/ 10192 h 695325"/>
                  <a:gd name="connsiteX948" fmla="*/ 506444 w 962025"/>
                  <a:gd name="connsiteY948" fmla="*/ 10192 h 695325"/>
                  <a:gd name="connsiteX949" fmla="*/ 505682 w 962025"/>
                  <a:gd name="connsiteY949" fmla="*/ 10192 h 695325"/>
                  <a:gd name="connsiteX950" fmla="*/ 504825 w 962025"/>
                  <a:gd name="connsiteY950" fmla="*/ 11049 h 695325"/>
                  <a:gd name="connsiteX951" fmla="*/ 503968 w 962025"/>
                  <a:gd name="connsiteY951" fmla="*/ 11906 h 695325"/>
                  <a:gd name="connsiteX952" fmla="*/ 503111 w 962025"/>
                  <a:gd name="connsiteY952" fmla="*/ 12763 h 695325"/>
                  <a:gd name="connsiteX953" fmla="*/ 502253 w 962025"/>
                  <a:gd name="connsiteY953" fmla="*/ 12763 h 695325"/>
                  <a:gd name="connsiteX954" fmla="*/ 499682 w 962025"/>
                  <a:gd name="connsiteY954" fmla="*/ 12763 h 695325"/>
                  <a:gd name="connsiteX955" fmla="*/ 494633 w 962025"/>
                  <a:gd name="connsiteY955" fmla="*/ 9334 h 695325"/>
                  <a:gd name="connsiteX956" fmla="*/ 492919 w 962025"/>
                  <a:gd name="connsiteY956" fmla="*/ 9334 h 695325"/>
                  <a:gd name="connsiteX957" fmla="*/ 488728 w 962025"/>
                  <a:gd name="connsiteY957" fmla="*/ 8477 h 695325"/>
                  <a:gd name="connsiteX958" fmla="*/ 487013 w 962025"/>
                  <a:gd name="connsiteY958" fmla="*/ 7620 h 695325"/>
                  <a:gd name="connsiteX959" fmla="*/ 486156 w 962025"/>
                  <a:gd name="connsiteY959" fmla="*/ 6763 h 695325"/>
                  <a:gd name="connsiteX960" fmla="*/ 485394 w 962025"/>
                  <a:gd name="connsiteY960" fmla="*/ 5048 h 695325"/>
                  <a:gd name="connsiteX961" fmla="*/ 485394 w 962025"/>
                  <a:gd name="connsiteY961" fmla="*/ 5048 h 695325"/>
                  <a:gd name="connsiteX962" fmla="*/ 483680 w 962025"/>
                  <a:gd name="connsiteY962" fmla="*/ 4286 h 695325"/>
                  <a:gd name="connsiteX963" fmla="*/ 481108 w 962025"/>
                  <a:gd name="connsiteY963" fmla="*/ 4286 h 695325"/>
                  <a:gd name="connsiteX964" fmla="*/ 480250 w 962025"/>
                  <a:gd name="connsiteY964" fmla="*/ 4286 h 695325"/>
                  <a:gd name="connsiteX965" fmla="*/ 478631 w 962025"/>
                  <a:gd name="connsiteY965" fmla="*/ 857 h 695325"/>
                  <a:gd name="connsiteX966" fmla="*/ 476917 w 962025"/>
                  <a:gd name="connsiteY966" fmla="*/ 0 h 695325"/>
                  <a:gd name="connsiteX967" fmla="*/ 473488 w 962025"/>
                  <a:gd name="connsiteY967" fmla="*/ 0 h 695325"/>
                  <a:gd name="connsiteX968" fmla="*/ 469297 w 962025"/>
                  <a:gd name="connsiteY968" fmla="*/ 857 h 695325"/>
                  <a:gd name="connsiteX969" fmla="*/ 468440 w 962025"/>
                  <a:gd name="connsiteY969" fmla="*/ 857 h 695325"/>
                  <a:gd name="connsiteX970" fmla="*/ 467582 w 962025"/>
                  <a:gd name="connsiteY970" fmla="*/ 1714 h 695325"/>
                  <a:gd name="connsiteX971" fmla="*/ 465868 w 962025"/>
                  <a:gd name="connsiteY971" fmla="*/ 5048 h 695325"/>
                  <a:gd name="connsiteX972" fmla="*/ 465868 w 962025"/>
                  <a:gd name="connsiteY972" fmla="*/ 5048 h 695325"/>
                  <a:gd name="connsiteX973" fmla="*/ 463391 w 962025"/>
                  <a:gd name="connsiteY973" fmla="*/ 5048 h 695325"/>
                  <a:gd name="connsiteX974" fmla="*/ 461677 w 962025"/>
                  <a:gd name="connsiteY974" fmla="*/ 4286 h 695325"/>
                  <a:gd name="connsiteX975" fmla="*/ 459962 w 962025"/>
                  <a:gd name="connsiteY975" fmla="*/ 4286 h 695325"/>
                  <a:gd name="connsiteX976" fmla="*/ 458248 w 962025"/>
                  <a:gd name="connsiteY976" fmla="*/ 5048 h 695325"/>
                  <a:gd name="connsiteX977" fmla="*/ 456629 w 962025"/>
                  <a:gd name="connsiteY977" fmla="*/ 5048 h 695325"/>
                  <a:gd name="connsiteX978" fmla="*/ 455771 w 962025"/>
                  <a:gd name="connsiteY978" fmla="*/ 8477 h 695325"/>
                  <a:gd name="connsiteX979" fmla="*/ 454914 w 962025"/>
                  <a:gd name="connsiteY979" fmla="*/ 9334 h 695325"/>
                  <a:gd name="connsiteX980" fmla="*/ 450723 w 962025"/>
                  <a:gd name="connsiteY980" fmla="*/ 8477 h 695325"/>
                  <a:gd name="connsiteX981" fmla="*/ 449009 w 962025"/>
                  <a:gd name="connsiteY981" fmla="*/ 8477 h 695325"/>
                  <a:gd name="connsiteX982" fmla="*/ 448151 w 962025"/>
                  <a:gd name="connsiteY982" fmla="*/ 10192 h 695325"/>
                  <a:gd name="connsiteX983" fmla="*/ 448151 w 962025"/>
                  <a:gd name="connsiteY983" fmla="*/ 11049 h 695325"/>
                  <a:gd name="connsiteX984" fmla="*/ 449009 w 962025"/>
                  <a:gd name="connsiteY984" fmla="*/ 12763 h 695325"/>
                  <a:gd name="connsiteX985" fmla="*/ 449009 w 962025"/>
                  <a:gd name="connsiteY985" fmla="*/ 14478 h 695325"/>
                  <a:gd name="connsiteX986" fmla="*/ 449009 w 962025"/>
                  <a:gd name="connsiteY986" fmla="*/ 14478 h 695325"/>
                  <a:gd name="connsiteX987" fmla="*/ 448151 w 962025"/>
                  <a:gd name="connsiteY987" fmla="*/ 16192 h 695325"/>
                  <a:gd name="connsiteX988" fmla="*/ 447294 w 962025"/>
                  <a:gd name="connsiteY988" fmla="*/ 17050 h 695325"/>
                  <a:gd name="connsiteX989" fmla="*/ 447294 w 962025"/>
                  <a:gd name="connsiteY989" fmla="*/ 19621 h 695325"/>
                  <a:gd name="connsiteX990" fmla="*/ 447294 w 962025"/>
                  <a:gd name="connsiteY990" fmla="*/ 21241 h 695325"/>
                  <a:gd name="connsiteX991" fmla="*/ 446437 w 962025"/>
                  <a:gd name="connsiteY991" fmla="*/ 22098 h 695325"/>
                  <a:gd name="connsiteX992" fmla="*/ 444722 w 962025"/>
                  <a:gd name="connsiteY992" fmla="*/ 22098 h 695325"/>
                  <a:gd name="connsiteX993" fmla="*/ 443103 w 962025"/>
                  <a:gd name="connsiteY993" fmla="*/ 22098 h 695325"/>
                  <a:gd name="connsiteX994" fmla="*/ 442246 w 962025"/>
                  <a:gd name="connsiteY994" fmla="*/ 22098 h 695325"/>
                  <a:gd name="connsiteX995" fmla="*/ 441388 w 962025"/>
                  <a:gd name="connsiteY995" fmla="*/ 21241 h 695325"/>
                  <a:gd name="connsiteX996" fmla="*/ 440531 w 962025"/>
                  <a:gd name="connsiteY996" fmla="*/ 21241 h 695325"/>
                  <a:gd name="connsiteX997" fmla="*/ 438817 w 962025"/>
                  <a:gd name="connsiteY997" fmla="*/ 20383 h 695325"/>
                  <a:gd name="connsiteX998" fmla="*/ 437960 w 962025"/>
                  <a:gd name="connsiteY998" fmla="*/ 20383 h 695325"/>
                  <a:gd name="connsiteX999" fmla="*/ 435483 w 962025"/>
                  <a:gd name="connsiteY999" fmla="*/ 22098 h 695325"/>
                  <a:gd name="connsiteX1000" fmla="*/ 432054 w 962025"/>
                  <a:gd name="connsiteY1000" fmla="*/ 23813 h 695325"/>
                  <a:gd name="connsiteX1001" fmla="*/ 430435 w 962025"/>
                  <a:gd name="connsiteY1001" fmla="*/ 23813 h 695325"/>
                  <a:gd name="connsiteX1002" fmla="*/ 428720 w 962025"/>
                  <a:gd name="connsiteY1002" fmla="*/ 23813 h 695325"/>
                  <a:gd name="connsiteX1003" fmla="*/ 427006 w 962025"/>
                  <a:gd name="connsiteY1003" fmla="*/ 24670 h 695325"/>
                  <a:gd name="connsiteX1004" fmla="*/ 426148 w 962025"/>
                  <a:gd name="connsiteY1004" fmla="*/ 24670 h 695325"/>
                  <a:gd name="connsiteX1005" fmla="*/ 425291 w 962025"/>
                  <a:gd name="connsiteY1005" fmla="*/ 25527 h 695325"/>
                  <a:gd name="connsiteX1006" fmla="*/ 425291 w 962025"/>
                  <a:gd name="connsiteY1006" fmla="*/ 28099 h 695325"/>
                  <a:gd name="connsiteX1007" fmla="*/ 424434 w 962025"/>
                  <a:gd name="connsiteY1007" fmla="*/ 28956 h 695325"/>
                  <a:gd name="connsiteX1008" fmla="*/ 423577 w 962025"/>
                  <a:gd name="connsiteY1008" fmla="*/ 29813 h 695325"/>
                  <a:gd name="connsiteX1009" fmla="*/ 417671 w 962025"/>
                  <a:gd name="connsiteY1009" fmla="*/ 31528 h 695325"/>
                  <a:gd name="connsiteX1010" fmla="*/ 419386 w 962025"/>
                  <a:gd name="connsiteY1010" fmla="*/ 34957 h 695325"/>
                  <a:gd name="connsiteX1011" fmla="*/ 416814 w 962025"/>
                  <a:gd name="connsiteY1011" fmla="*/ 37433 h 695325"/>
                  <a:gd name="connsiteX1012" fmla="*/ 412623 w 962025"/>
                  <a:gd name="connsiteY1012" fmla="*/ 38290 h 695325"/>
                  <a:gd name="connsiteX1013" fmla="*/ 409289 w 962025"/>
                  <a:gd name="connsiteY1013" fmla="*/ 40005 h 695325"/>
                  <a:gd name="connsiteX1014" fmla="*/ 407575 w 962025"/>
                  <a:gd name="connsiteY1014" fmla="*/ 42577 h 695325"/>
                  <a:gd name="connsiteX1015" fmla="*/ 406717 w 962025"/>
                  <a:gd name="connsiteY1015" fmla="*/ 43434 h 695325"/>
                  <a:gd name="connsiteX1016" fmla="*/ 405003 w 962025"/>
                  <a:gd name="connsiteY1016" fmla="*/ 44291 h 695325"/>
                  <a:gd name="connsiteX1017" fmla="*/ 402527 w 962025"/>
                  <a:gd name="connsiteY1017" fmla="*/ 44291 h 695325"/>
                  <a:gd name="connsiteX1018" fmla="*/ 399098 w 962025"/>
                  <a:gd name="connsiteY1018" fmla="*/ 46006 h 695325"/>
                  <a:gd name="connsiteX1019" fmla="*/ 397383 w 962025"/>
                  <a:gd name="connsiteY1019" fmla="*/ 46006 h 695325"/>
                  <a:gd name="connsiteX1020" fmla="*/ 395764 w 962025"/>
                  <a:gd name="connsiteY1020" fmla="*/ 46863 h 695325"/>
                  <a:gd name="connsiteX1021" fmla="*/ 389763 w 962025"/>
                  <a:gd name="connsiteY1021" fmla="*/ 51054 h 695325"/>
                  <a:gd name="connsiteX1022" fmla="*/ 385572 w 962025"/>
                  <a:gd name="connsiteY1022" fmla="*/ 53626 h 695325"/>
                  <a:gd name="connsiteX1023" fmla="*/ 384715 w 962025"/>
                  <a:gd name="connsiteY1023" fmla="*/ 54483 h 695325"/>
                  <a:gd name="connsiteX1024" fmla="*/ 383000 w 962025"/>
                  <a:gd name="connsiteY1024" fmla="*/ 55340 h 695325"/>
                  <a:gd name="connsiteX1025" fmla="*/ 377952 w 962025"/>
                  <a:gd name="connsiteY1025" fmla="*/ 54483 h 695325"/>
                  <a:gd name="connsiteX1026" fmla="*/ 376238 w 962025"/>
                  <a:gd name="connsiteY1026" fmla="*/ 55340 h 695325"/>
                  <a:gd name="connsiteX1027" fmla="*/ 375380 w 962025"/>
                  <a:gd name="connsiteY1027" fmla="*/ 57055 h 695325"/>
                  <a:gd name="connsiteX1028" fmla="*/ 375380 w 962025"/>
                  <a:gd name="connsiteY1028" fmla="*/ 58769 h 695325"/>
                  <a:gd name="connsiteX1029" fmla="*/ 375380 w 962025"/>
                  <a:gd name="connsiteY1029" fmla="*/ 60484 h 695325"/>
                  <a:gd name="connsiteX1030" fmla="*/ 373761 w 962025"/>
                  <a:gd name="connsiteY1030" fmla="*/ 61341 h 695325"/>
                  <a:gd name="connsiteX1031" fmla="*/ 372904 w 962025"/>
                  <a:gd name="connsiteY1031" fmla="*/ 60484 h 695325"/>
                  <a:gd name="connsiteX1032" fmla="*/ 371189 w 962025"/>
                  <a:gd name="connsiteY1032" fmla="*/ 61341 h 695325"/>
                  <a:gd name="connsiteX1033" fmla="*/ 369475 w 962025"/>
                  <a:gd name="connsiteY1033" fmla="*/ 61341 h 695325"/>
                  <a:gd name="connsiteX1034" fmla="*/ 366141 w 962025"/>
                  <a:gd name="connsiteY1034" fmla="*/ 61341 h 695325"/>
                  <a:gd name="connsiteX1035" fmla="*/ 364427 w 962025"/>
                  <a:gd name="connsiteY1035" fmla="*/ 61341 h 695325"/>
                  <a:gd name="connsiteX1036" fmla="*/ 363569 w 962025"/>
                  <a:gd name="connsiteY1036" fmla="*/ 63055 h 695325"/>
                  <a:gd name="connsiteX1037" fmla="*/ 361093 w 962025"/>
                  <a:gd name="connsiteY1037" fmla="*/ 65627 h 695325"/>
                  <a:gd name="connsiteX1038" fmla="*/ 361093 w 962025"/>
                  <a:gd name="connsiteY1038" fmla="*/ 66484 h 695325"/>
                  <a:gd name="connsiteX1039" fmla="*/ 360236 w 962025"/>
                  <a:gd name="connsiteY1039" fmla="*/ 68104 h 695325"/>
                  <a:gd name="connsiteX1040" fmla="*/ 359378 w 962025"/>
                  <a:gd name="connsiteY1040" fmla="*/ 68961 h 695325"/>
                  <a:gd name="connsiteX1041" fmla="*/ 358521 w 962025"/>
                  <a:gd name="connsiteY1041" fmla="*/ 69818 h 695325"/>
                  <a:gd name="connsiteX1042" fmla="*/ 356807 w 962025"/>
                  <a:gd name="connsiteY1042" fmla="*/ 71533 h 695325"/>
                  <a:gd name="connsiteX1043" fmla="*/ 355949 w 962025"/>
                  <a:gd name="connsiteY1043" fmla="*/ 72390 h 695325"/>
                  <a:gd name="connsiteX1044" fmla="*/ 353473 w 962025"/>
                  <a:gd name="connsiteY1044" fmla="*/ 74104 h 695325"/>
                  <a:gd name="connsiteX1045" fmla="*/ 350901 w 962025"/>
                  <a:gd name="connsiteY1045" fmla="*/ 76676 h 695325"/>
                  <a:gd name="connsiteX1046" fmla="*/ 347567 w 962025"/>
                  <a:gd name="connsiteY1046" fmla="*/ 76676 h 695325"/>
                  <a:gd name="connsiteX1047" fmla="*/ 344138 w 962025"/>
                  <a:gd name="connsiteY1047" fmla="*/ 76676 h 695325"/>
                  <a:gd name="connsiteX1048" fmla="*/ 341567 w 962025"/>
                  <a:gd name="connsiteY1048" fmla="*/ 76676 h 695325"/>
                  <a:gd name="connsiteX1049" fmla="*/ 338233 w 962025"/>
                  <a:gd name="connsiteY1049" fmla="*/ 79248 h 695325"/>
                  <a:gd name="connsiteX1050" fmla="*/ 338233 w 962025"/>
                  <a:gd name="connsiteY1050" fmla="*/ 80105 h 695325"/>
                  <a:gd name="connsiteX1051" fmla="*/ 338233 w 962025"/>
                  <a:gd name="connsiteY1051" fmla="*/ 81820 h 695325"/>
                  <a:gd name="connsiteX1052" fmla="*/ 337375 w 962025"/>
                  <a:gd name="connsiteY1052" fmla="*/ 82582 h 695325"/>
                  <a:gd name="connsiteX1053" fmla="*/ 336518 w 962025"/>
                  <a:gd name="connsiteY1053" fmla="*/ 83439 h 695325"/>
                  <a:gd name="connsiteX1054" fmla="*/ 335661 w 962025"/>
                  <a:gd name="connsiteY1054" fmla="*/ 83439 h 695325"/>
                  <a:gd name="connsiteX1055" fmla="*/ 334804 w 962025"/>
                  <a:gd name="connsiteY1055" fmla="*/ 83439 h 695325"/>
                  <a:gd name="connsiteX1056" fmla="*/ 333185 w 962025"/>
                  <a:gd name="connsiteY1056" fmla="*/ 83439 h 695325"/>
                  <a:gd name="connsiteX1057" fmla="*/ 329756 w 962025"/>
                  <a:gd name="connsiteY1057" fmla="*/ 85154 h 695325"/>
                  <a:gd name="connsiteX1058" fmla="*/ 328898 w 962025"/>
                  <a:gd name="connsiteY1058" fmla="*/ 86011 h 695325"/>
                  <a:gd name="connsiteX1059" fmla="*/ 328041 w 962025"/>
                  <a:gd name="connsiteY1059" fmla="*/ 86868 h 695325"/>
                  <a:gd name="connsiteX1060" fmla="*/ 327184 w 962025"/>
                  <a:gd name="connsiteY1060" fmla="*/ 88582 h 695325"/>
                  <a:gd name="connsiteX1061" fmla="*/ 326422 w 962025"/>
                  <a:gd name="connsiteY1061" fmla="*/ 89440 h 695325"/>
                  <a:gd name="connsiteX1062" fmla="*/ 324707 w 962025"/>
                  <a:gd name="connsiteY1062" fmla="*/ 90297 h 695325"/>
                  <a:gd name="connsiteX1063" fmla="*/ 322993 w 962025"/>
                  <a:gd name="connsiteY1063" fmla="*/ 91154 h 695325"/>
                  <a:gd name="connsiteX1064" fmla="*/ 322136 w 962025"/>
                  <a:gd name="connsiteY1064" fmla="*/ 92869 h 695325"/>
                  <a:gd name="connsiteX1065" fmla="*/ 320421 w 962025"/>
                  <a:gd name="connsiteY1065" fmla="*/ 92869 h 695325"/>
                  <a:gd name="connsiteX1066" fmla="*/ 317087 w 962025"/>
                  <a:gd name="connsiteY1066" fmla="*/ 93726 h 695325"/>
                  <a:gd name="connsiteX1067" fmla="*/ 316230 w 962025"/>
                  <a:gd name="connsiteY1067" fmla="*/ 94583 h 695325"/>
                  <a:gd name="connsiteX1068" fmla="*/ 316230 w 962025"/>
                  <a:gd name="connsiteY1068" fmla="*/ 96298 h 695325"/>
                  <a:gd name="connsiteX1069" fmla="*/ 316230 w 962025"/>
                  <a:gd name="connsiteY1069" fmla="*/ 97155 h 695325"/>
                  <a:gd name="connsiteX1070" fmla="*/ 315373 w 962025"/>
                  <a:gd name="connsiteY1070" fmla="*/ 97917 h 695325"/>
                  <a:gd name="connsiteX1071" fmla="*/ 313658 w 962025"/>
                  <a:gd name="connsiteY1071" fmla="*/ 99631 h 695325"/>
                  <a:gd name="connsiteX1072" fmla="*/ 306896 w 962025"/>
                  <a:gd name="connsiteY1072" fmla="*/ 103918 h 695325"/>
                  <a:gd name="connsiteX1073" fmla="*/ 306896 w 962025"/>
                  <a:gd name="connsiteY1073" fmla="*/ 104775 h 695325"/>
                  <a:gd name="connsiteX1074" fmla="*/ 306134 w 962025"/>
                  <a:gd name="connsiteY1074" fmla="*/ 106489 h 695325"/>
                  <a:gd name="connsiteX1075" fmla="*/ 306134 w 962025"/>
                  <a:gd name="connsiteY1075" fmla="*/ 108204 h 695325"/>
                  <a:gd name="connsiteX1076" fmla="*/ 306134 w 962025"/>
                  <a:gd name="connsiteY1076" fmla="*/ 109061 h 695325"/>
                  <a:gd name="connsiteX1077" fmla="*/ 305276 w 962025"/>
                  <a:gd name="connsiteY1077" fmla="*/ 110776 h 695325"/>
                  <a:gd name="connsiteX1078" fmla="*/ 304419 w 962025"/>
                  <a:gd name="connsiteY1078" fmla="*/ 110776 h 695325"/>
                  <a:gd name="connsiteX1079" fmla="*/ 303562 w 962025"/>
                  <a:gd name="connsiteY1079" fmla="*/ 111633 h 695325"/>
                  <a:gd name="connsiteX1080" fmla="*/ 302705 w 962025"/>
                  <a:gd name="connsiteY1080" fmla="*/ 111633 h 695325"/>
                  <a:gd name="connsiteX1081" fmla="*/ 300990 w 962025"/>
                  <a:gd name="connsiteY1081" fmla="*/ 112490 h 695325"/>
                  <a:gd name="connsiteX1082" fmla="*/ 299371 w 962025"/>
                  <a:gd name="connsiteY1082" fmla="*/ 115824 h 695325"/>
                  <a:gd name="connsiteX1083" fmla="*/ 297656 w 962025"/>
                  <a:gd name="connsiteY1083" fmla="*/ 116681 h 695325"/>
                  <a:gd name="connsiteX1084" fmla="*/ 295942 w 962025"/>
                  <a:gd name="connsiteY1084" fmla="*/ 116681 h 695325"/>
                  <a:gd name="connsiteX1085" fmla="*/ 295085 w 962025"/>
                  <a:gd name="connsiteY1085" fmla="*/ 115824 h 695325"/>
                  <a:gd name="connsiteX1086" fmla="*/ 289179 w 962025"/>
                  <a:gd name="connsiteY1086" fmla="*/ 115824 h 695325"/>
                  <a:gd name="connsiteX1087" fmla="*/ 288322 w 962025"/>
                  <a:gd name="connsiteY1087" fmla="*/ 115824 h 695325"/>
                  <a:gd name="connsiteX1088" fmla="*/ 287465 w 962025"/>
                  <a:gd name="connsiteY1088" fmla="*/ 116681 h 695325"/>
                  <a:gd name="connsiteX1089" fmla="*/ 286607 w 962025"/>
                  <a:gd name="connsiteY1089" fmla="*/ 119253 h 695325"/>
                  <a:gd name="connsiteX1090" fmla="*/ 285845 w 962025"/>
                  <a:gd name="connsiteY1090" fmla="*/ 120110 h 695325"/>
                  <a:gd name="connsiteX1091" fmla="*/ 284988 w 962025"/>
                  <a:gd name="connsiteY1091" fmla="*/ 120967 h 695325"/>
                  <a:gd name="connsiteX1092" fmla="*/ 282416 w 962025"/>
                  <a:gd name="connsiteY1092" fmla="*/ 120967 h 695325"/>
                  <a:gd name="connsiteX1093" fmla="*/ 281559 w 962025"/>
                  <a:gd name="connsiteY1093" fmla="*/ 120967 h 695325"/>
                  <a:gd name="connsiteX1094" fmla="*/ 278987 w 962025"/>
                  <a:gd name="connsiteY1094" fmla="*/ 123539 h 695325"/>
                  <a:gd name="connsiteX1095" fmla="*/ 278225 w 962025"/>
                  <a:gd name="connsiteY1095" fmla="*/ 124396 h 695325"/>
                  <a:gd name="connsiteX1096" fmla="*/ 277368 w 962025"/>
                  <a:gd name="connsiteY1096" fmla="*/ 125254 h 695325"/>
                  <a:gd name="connsiteX1097" fmla="*/ 274796 w 962025"/>
                  <a:gd name="connsiteY1097" fmla="*/ 129445 h 695325"/>
                  <a:gd name="connsiteX1098" fmla="*/ 274796 w 962025"/>
                  <a:gd name="connsiteY1098" fmla="*/ 131159 h 695325"/>
                  <a:gd name="connsiteX1099" fmla="*/ 274796 w 962025"/>
                  <a:gd name="connsiteY1099" fmla="*/ 132017 h 695325"/>
                  <a:gd name="connsiteX1100" fmla="*/ 274796 w 962025"/>
                  <a:gd name="connsiteY1100" fmla="*/ 135446 h 695325"/>
                  <a:gd name="connsiteX1101" fmla="*/ 273939 w 962025"/>
                  <a:gd name="connsiteY1101" fmla="*/ 137160 h 695325"/>
                  <a:gd name="connsiteX1102" fmla="*/ 273082 w 962025"/>
                  <a:gd name="connsiteY1102" fmla="*/ 138017 h 695325"/>
                  <a:gd name="connsiteX1103" fmla="*/ 271463 w 962025"/>
                  <a:gd name="connsiteY1103" fmla="*/ 138875 h 695325"/>
                  <a:gd name="connsiteX1104" fmla="*/ 270605 w 962025"/>
                  <a:gd name="connsiteY1104" fmla="*/ 138875 h 695325"/>
                  <a:gd name="connsiteX1105" fmla="*/ 270605 w 962025"/>
                  <a:gd name="connsiteY1105" fmla="*/ 140589 h 695325"/>
                  <a:gd name="connsiteX1106" fmla="*/ 270605 w 962025"/>
                  <a:gd name="connsiteY1106" fmla="*/ 142304 h 695325"/>
                  <a:gd name="connsiteX1107" fmla="*/ 271463 w 962025"/>
                  <a:gd name="connsiteY1107" fmla="*/ 143161 h 695325"/>
                  <a:gd name="connsiteX1108" fmla="*/ 271463 w 962025"/>
                  <a:gd name="connsiteY1108" fmla="*/ 144780 h 695325"/>
                  <a:gd name="connsiteX1109" fmla="*/ 274796 w 962025"/>
                  <a:gd name="connsiteY1109" fmla="*/ 160972 h 695325"/>
                  <a:gd name="connsiteX1110" fmla="*/ 277368 w 962025"/>
                  <a:gd name="connsiteY1110" fmla="*/ 167830 h 695325"/>
                  <a:gd name="connsiteX1111" fmla="*/ 277368 w 962025"/>
                  <a:gd name="connsiteY1111" fmla="*/ 171259 h 695325"/>
                  <a:gd name="connsiteX1112" fmla="*/ 278225 w 962025"/>
                  <a:gd name="connsiteY1112" fmla="*/ 172117 h 695325"/>
                  <a:gd name="connsiteX1113" fmla="*/ 278987 w 962025"/>
                  <a:gd name="connsiteY1113" fmla="*/ 172974 h 695325"/>
                  <a:gd name="connsiteX1114" fmla="*/ 279844 w 962025"/>
                  <a:gd name="connsiteY1114" fmla="*/ 173831 h 695325"/>
                  <a:gd name="connsiteX1115" fmla="*/ 280702 w 962025"/>
                  <a:gd name="connsiteY1115" fmla="*/ 173831 h 695325"/>
                  <a:gd name="connsiteX1116" fmla="*/ 282416 w 962025"/>
                  <a:gd name="connsiteY1116" fmla="*/ 174688 h 695325"/>
                  <a:gd name="connsiteX1117" fmla="*/ 284131 w 962025"/>
                  <a:gd name="connsiteY1117" fmla="*/ 174688 h 695325"/>
                  <a:gd name="connsiteX1118" fmla="*/ 284988 w 962025"/>
                  <a:gd name="connsiteY1118" fmla="*/ 175450 h 695325"/>
                  <a:gd name="connsiteX1119" fmla="*/ 287465 w 962025"/>
                  <a:gd name="connsiteY1119" fmla="*/ 180594 h 695325"/>
                  <a:gd name="connsiteX1120" fmla="*/ 288322 w 962025"/>
                  <a:gd name="connsiteY1120" fmla="*/ 181451 h 695325"/>
                  <a:gd name="connsiteX1121" fmla="*/ 289179 w 962025"/>
                  <a:gd name="connsiteY1121" fmla="*/ 182309 h 695325"/>
                  <a:gd name="connsiteX1122" fmla="*/ 290894 w 962025"/>
                  <a:gd name="connsiteY1122" fmla="*/ 182309 h 695325"/>
                  <a:gd name="connsiteX1123" fmla="*/ 292608 w 962025"/>
                  <a:gd name="connsiteY1123" fmla="*/ 182309 h 695325"/>
                  <a:gd name="connsiteX1124" fmla="*/ 294227 w 962025"/>
                  <a:gd name="connsiteY1124" fmla="*/ 182309 h 695325"/>
                  <a:gd name="connsiteX1125" fmla="*/ 295085 w 962025"/>
                  <a:gd name="connsiteY1125" fmla="*/ 183166 h 695325"/>
                  <a:gd name="connsiteX1126" fmla="*/ 296799 w 962025"/>
                  <a:gd name="connsiteY1126" fmla="*/ 184023 h 695325"/>
                  <a:gd name="connsiteX1127" fmla="*/ 300990 w 962025"/>
                  <a:gd name="connsiteY1127" fmla="*/ 187452 h 695325"/>
                  <a:gd name="connsiteX1128" fmla="*/ 301847 w 962025"/>
                  <a:gd name="connsiteY1128" fmla="*/ 187452 h 695325"/>
                  <a:gd name="connsiteX1129" fmla="*/ 302705 w 962025"/>
                  <a:gd name="connsiteY1129" fmla="*/ 188309 h 695325"/>
                  <a:gd name="connsiteX1130" fmla="*/ 303562 w 962025"/>
                  <a:gd name="connsiteY1130" fmla="*/ 188309 h 695325"/>
                  <a:gd name="connsiteX1131" fmla="*/ 306896 w 962025"/>
                  <a:gd name="connsiteY1131" fmla="*/ 186595 h 695325"/>
                  <a:gd name="connsiteX1132" fmla="*/ 307753 w 962025"/>
                  <a:gd name="connsiteY1132" fmla="*/ 186595 h 695325"/>
                  <a:gd name="connsiteX1133" fmla="*/ 308610 w 962025"/>
                  <a:gd name="connsiteY1133" fmla="*/ 186595 h 695325"/>
                  <a:gd name="connsiteX1134" fmla="*/ 313658 w 962025"/>
                  <a:gd name="connsiteY1134" fmla="*/ 187452 h 695325"/>
                  <a:gd name="connsiteX1135" fmla="*/ 314515 w 962025"/>
                  <a:gd name="connsiteY1135" fmla="*/ 187452 h 695325"/>
                  <a:gd name="connsiteX1136" fmla="*/ 317944 w 962025"/>
                  <a:gd name="connsiteY1136" fmla="*/ 190786 h 695325"/>
                  <a:gd name="connsiteX1137" fmla="*/ 318802 w 962025"/>
                  <a:gd name="connsiteY1137" fmla="*/ 190786 h 695325"/>
                  <a:gd name="connsiteX1138" fmla="*/ 319659 w 962025"/>
                  <a:gd name="connsiteY1138" fmla="*/ 190786 h 695325"/>
                  <a:gd name="connsiteX1139" fmla="*/ 322136 w 962025"/>
                  <a:gd name="connsiteY1139" fmla="*/ 189167 h 695325"/>
                  <a:gd name="connsiteX1140" fmla="*/ 328041 w 962025"/>
                  <a:gd name="connsiteY1140" fmla="*/ 190024 h 695325"/>
                  <a:gd name="connsiteX1141" fmla="*/ 330613 w 962025"/>
                  <a:gd name="connsiteY1141" fmla="*/ 188309 h 695325"/>
                  <a:gd name="connsiteX1142" fmla="*/ 334042 w 962025"/>
                  <a:gd name="connsiteY1142" fmla="*/ 186595 h 695325"/>
                  <a:gd name="connsiteX1143" fmla="*/ 336518 w 962025"/>
                  <a:gd name="connsiteY1143" fmla="*/ 185738 h 695325"/>
                  <a:gd name="connsiteX1144" fmla="*/ 338233 w 962025"/>
                  <a:gd name="connsiteY1144" fmla="*/ 184880 h 695325"/>
                  <a:gd name="connsiteX1145" fmla="*/ 339090 w 962025"/>
                  <a:gd name="connsiteY1145" fmla="*/ 184880 h 695325"/>
                  <a:gd name="connsiteX1146" fmla="*/ 341567 w 962025"/>
                  <a:gd name="connsiteY1146" fmla="*/ 186595 h 695325"/>
                  <a:gd name="connsiteX1147" fmla="*/ 343281 w 962025"/>
                  <a:gd name="connsiteY1147" fmla="*/ 186595 h 695325"/>
                  <a:gd name="connsiteX1148" fmla="*/ 345853 w 962025"/>
                  <a:gd name="connsiteY1148" fmla="*/ 187452 h 695325"/>
                  <a:gd name="connsiteX1149" fmla="*/ 347567 w 962025"/>
                  <a:gd name="connsiteY1149" fmla="*/ 186595 h 695325"/>
                  <a:gd name="connsiteX1150" fmla="*/ 349186 w 962025"/>
                  <a:gd name="connsiteY1150" fmla="*/ 185738 h 695325"/>
                  <a:gd name="connsiteX1151" fmla="*/ 350044 w 962025"/>
                  <a:gd name="connsiteY1151" fmla="*/ 184880 h 695325"/>
                  <a:gd name="connsiteX1152" fmla="*/ 350901 w 962025"/>
                  <a:gd name="connsiteY1152" fmla="*/ 184023 h 695325"/>
                  <a:gd name="connsiteX1153" fmla="*/ 350901 w 962025"/>
                  <a:gd name="connsiteY1153" fmla="*/ 183166 h 695325"/>
                  <a:gd name="connsiteX1154" fmla="*/ 352615 w 962025"/>
                  <a:gd name="connsiteY1154" fmla="*/ 179737 h 695325"/>
                  <a:gd name="connsiteX1155" fmla="*/ 352615 w 962025"/>
                  <a:gd name="connsiteY1155" fmla="*/ 178022 h 695325"/>
                  <a:gd name="connsiteX1156" fmla="*/ 353473 w 962025"/>
                  <a:gd name="connsiteY1156" fmla="*/ 177165 h 695325"/>
                  <a:gd name="connsiteX1157" fmla="*/ 355949 w 962025"/>
                  <a:gd name="connsiteY1157" fmla="*/ 175450 h 695325"/>
                  <a:gd name="connsiteX1158" fmla="*/ 358521 w 962025"/>
                  <a:gd name="connsiteY1158" fmla="*/ 174688 h 695325"/>
                  <a:gd name="connsiteX1159" fmla="*/ 361093 w 962025"/>
                  <a:gd name="connsiteY1159" fmla="*/ 173831 h 695325"/>
                  <a:gd name="connsiteX1160" fmla="*/ 361855 w 962025"/>
                  <a:gd name="connsiteY1160" fmla="*/ 173831 h 695325"/>
                  <a:gd name="connsiteX1161" fmla="*/ 363569 w 962025"/>
                  <a:gd name="connsiteY1161" fmla="*/ 174688 h 695325"/>
                  <a:gd name="connsiteX1162" fmla="*/ 364427 w 962025"/>
                  <a:gd name="connsiteY1162" fmla="*/ 174688 h 695325"/>
                  <a:gd name="connsiteX1163" fmla="*/ 365284 w 962025"/>
                  <a:gd name="connsiteY1163" fmla="*/ 175450 h 695325"/>
                  <a:gd name="connsiteX1164" fmla="*/ 366141 w 962025"/>
                  <a:gd name="connsiteY1164" fmla="*/ 175450 h 695325"/>
                  <a:gd name="connsiteX1165" fmla="*/ 366141 w 962025"/>
                  <a:gd name="connsiteY1165" fmla="*/ 176308 h 695325"/>
                  <a:gd name="connsiteX1166" fmla="*/ 366998 w 962025"/>
                  <a:gd name="connsiteY1166" fmla="*/ 177165 h 695325"/>
                  <a:gd name="connsiteX1167" fmla="*/ 366998 w 962025"/>
                  <a:gd name="connsiteY1167" fmla="*/ 178022 h 695325"/>
                  <a:gd name="connsiteX1168" fmla="*/ 366998 w 962025"/>
                  <a:gd name="connsiteY1168" fmla="*/ 178879 h 695325"/>
                  <a:gd name="connsiteX1169" fmla="*/ 366998 w 962025"/>
                  <a:gd name="connsiteY1169" fmla="*/ 179737 h 695325"/>
                  <a:gd name="connsiteX1170" fmla="*/ 366141 w 962025"/>
                  <a:gd name="connsiteY1170" fmla="*/ 180594 h 695325"/>
                  <a:gd name="connsiteX1171" fmla="*/ 366141 w 962025"/>
                  <a:gd name="connsiteY1171" fmla="*/ 181451 h 695325"/>
                  <a:gd name="connsiteX1172" fmla="*/ 365284 w 962025"/>
                  <a:gd name="connsiteY1172" fmla="*/ 182309 h 695325"/>
                  <a:gd name="connsiteX1173" fmla="*/ 365284 w 962025"/>
                  <a:gd name="connsiteY1173" fmla="*/ 184023 h 695325"/>
                  <a:gd name="connsiteX1174" fmla="*/ 365284 w 962025"/>
                  <a:gd name="connsiteY1174" fmla="*/ 184880 h 695325"/>
                  <a:gd name="connsiteX1175" fmla="*/ 366141 w 962025"/>
                  <a:gd name="connsiteY1175" fmla="*/ 185738 h 695325"/>
                  <a:gd name="connsiteX1176" fmla="*/ 367856 w 962025"/>
                  <a:gd name="connsiteY1176" fmla="*/ 188309 h 695325"/>
                  <a:gd name="connsiteX1177" fmla="*/ 367856 w 962025"/>
                  <a:gd name="connsiteY1177" fmla="*/ 189167 h 695325"/>
                  <a:gd name="connsiteX1178" fmla="*/ 367856 w 962025"/>
                  <a:gd name="connsiteY1178" fmla="*/ 190024 h 695325"/>
                  <a:gd name="connsiteX1179" fmla="*/ 367856 w 962025"/>
                  <a:gd name="connsiteY1179" fmla="*/ 190024 h 695325"/>
                  <a:gd name="connsiteX1180" fmla="*/ 367856 w 962025"/>
                  <a:gd name="connsiteY1180" fmla="*/ 191643 h 695325"/>
                  <a:gd name="connsiteX1181" fmla="*/ 366998 w 962025"/>
                  <a:gd name="connsiteY1181" fmla="*/ 192500 h 695325"/>
                  <a:gd name="connsiteX1182" fmla="*/ 366998 w 962025"/>
                  <a:gd name="connsiteY1182" fmla="*/ 193357 h 695325"/>
                  <a:gd name="connsiteX1183" fmla="*/ 366998 w 962025"/>
                  <a:gd name="connsiteY1183" fmla="*/ 194215 h 695325"/>
                  <a:gd name="connsiteX1184" fmla="*/ 366998 w 962025"/>
                  <a:gd name="connsiteY1184" fmla="*/ 195929 h 695325"/>
                  <a:gd name="connsiteX1185" fmla="*/ 367856 w 962025"/>
                  <a:gd name="connsiteY1185" fmla="*/ 196786 h 695325"/>
                  <a:gd name="connsiteX1186" fmla="*/ 368617 w 962025"/>
                  <a:gd name="connsiteY1186" fmla="*/ 197644 h 695325"/>
                  <a:gd name="connsiteX1187" fmla="*/ 370332 w 962025"/>
                  <a:gd name="connsiteY1187" fmla="*/ 200215 h 695325"/>
                  <a:gd name="connsiteX1188" fmla="*/ 371189 w 962025"/>
                  <a:gd name="connsiteY1188" fmla="*/ 201930 h 695325"/>
                  <a:gd name="connsiteX1189" fmla="*/ 372046 w 962025"/>
                  <a:gd name="connsiteY1189" fmla="*/ 202787 h 695325"/>
                  <a:gd name="connsiteX1190" fmla="*/ 371189 w 962025"/>
                  <a:gd name="connsiteY1190" fmla="*/ 203644 h 695325"/>
                  <a:gd name="connsiteX1191" fmla="*/ 370332 w 962025"/>
                  <a:gd name="connsiteY1191" fmla="*/ 204502 h 695325"/>
                  <a:gd name="connsiteX1192" fmla="*/ 370332 w 962025"/>
                  <a:gd name="connsiteY1192" fmla="*/ 205359 h 695325"/>
                  <a:gd name="connsiteX1193" fmla="*/ 370332 w 962025"/>
                  <a:gd name="connsiteY1193" fmla="*/ 206121 h 695325"/>
                  <a:gd name="connsiteX1194" fmla="*/ 370332 w 962025"/>
                  <a:gd name="connsiteY1194" fmla="*/ 208693 h 695325"/>
                  <a:gd name="connsiteX1195" fmla="*/ 370332 w 962025"/>
                  <a:gd name="connsiteY1195" fmla="*/ 210407 h 695325"/>
                  <a:gd name="connsiteX1196" fmla="*/ 369475 w 962025"/>
                  <a:gd name="connsiteY1196" fmla="*/ 211264 h 695325"/>
                  <a:gd name="connsiteX1197" fmla="*/ 368617 w 962025"/>
                  <a:gd name="connsiteY1197" fmla="*/ 211264 h 695325"/>
                  <a:gd name="connsiteX1198" fmla="*/ 367856 w 962025"/>
                  <a:gd name="connsiteY1198" fmla="*/ 212122 h 695325"/>
                  <a:gd name="connsiteX1199" fmla="*/ 366998 w 962025"/>
                  <a:gd name="connsiteY1199" fmla="*/ 212122 h 695325"/>
                  <a:gd name="connsiteX1200" fmla="*/ 366998 w 962025"/>
                  <a:gd name="connsiteY1200" fmla="*/ 212979 h 695325"/>
                  <a:gd name="connsiteX1201" fmla="*/ 366141 w 962025"/>
                  <a:gd name="connsiteY1201" fmla="*/ 213836 h 695325"/>
                  <a:gd name="connsiteX1202" fmla="*/ 365284 w 962025"/>
                  <a:gd name="connsiteY1202" fmla="*/ 214693 h 695325"/>
                  <a:gd name="connsiteX1203" fmla="*/ 363569 w 962025"/>
                  <a:gd name="connsiteY1203" fmla="*/ 215551 h 695325"/>
                  <a:gd name="connsiteX1204" fmla="*/ 361855 w 962025"/>
                  <a:gd name="connsiteY1204" fmla="*/ 214693 h 695325"/>
                  <a:gd name="connsiteX1205" fmla="*/ 360236 w 962025"/>
                  <a:gd name="connsiteY1205" fmla="*/ 213836 h 695325"/>
                  <a:gd name="connsiteX1206" fmla="*/ 358521 w 962025"/>
                  <a:gd name="connsiteY1206" fmla="*/ 212979 h 695325"/>
                  <a:gd name="connsiteX1207" fmla="*/ 356807 w 962025"/>
                  <a:gd name="connsiteY1207" fmla="*/ 212979 h 695325"/>
                  <a:gd name="connsiteX1208" fmla="*/ 355949 w 962025"/>
                  <a:gd name="connsiteY1208" fmla="*/ 212979 h 695325"/>
                  <a:gd name="connsiteX1209" fmla="*/ 353473 w 962025"/>
                  <a:gd name="connsiteY1209" fmla="*/ 213836 h 695325"/>
                  <a:gd name="connsiteX1210" fmla="*/ 351758 w 962025"/>
                  <a:gd name="connsiteY1210" fmla="*/ 212979 h 695325"/>
                  <a:gd name="connsiteX1211" fmla="*/ 350044 w 962025"/>
                  <a:gd name="connsiteY1211" fmla="*/ 212979 h 695325"/>
                  <a:gd name="connsiteX1212" fmla="*/ 348329 w 962025"/>
                  <a:gd name="connsiteY1212" fmla="*/ 212979 h 695325"/>
                  <a:gd name="connsiteX1213" fmla="*/ 337375 w 962025"/>
                  <a:gd name="connsiteY1213" fmla="*/ 217265 h 695325"/>
                  <a:gd name="connsiteX1214" fmla="*/ 332327 w 962025"/>
                  <a:gd name="connsiteY1214" fmla="*/ 218122 h 695325"/>
                  <a:gd name="connsiteX1215" fmla="*/ 329756 w 962025"/>
                  <a:gd name="connsiteY1215" fmla="*/ 217265 h 695325"/>
                  <a:gd name="connsiteX1216" fmla="*/ 328041 w 962025"/>
                  <a:gd name="connsiteY1216" fmla="*/ 217265 h 695325"/>
                  <a:gd name="connsiteX1217" fmla="*/ 327184 w 962025"/>
                  <a:gd name="connsiteY1217" fmla="*/ 218122 h 695325"/>
                  <a:gd name="connsiteX1218" fmla="*/ 317944 w 962025"/>
                  <a:gd name="connsiteY1218" fmla="*/ 222313 h 695325"/>
                  <a:gd name="connsiteX1219" fmla="*/ 314515 w 962025"/>
                  <a:gd name="connsiteY1219" fmla="*/ 223171 h 695325"/>
                  <a:gd name="connsiteX1220" fmla="*/ 312896 w 962025"/>
                  <a:gd name="connsiteY1220" fmla="*/ 224028 h 695325"/>
                  <a:gd name="connsiteX1221" fmla="*/ 312039 w 962025"/>
                  <a:gd name="connsiteY1221" fmla="*/ 224028 h 695325"/>
                  <a:gd name="connsiteX1222" fmla="*/ 311182 w 962025"/>
                  <a:gd name="connsiteY1222" fmla="*/ 225742 h 695325"/>
                  <a:gd name="connsiteX1223" fmla="*/ 311182 w 962025"/>
                  <a:gd name="connsiteY1223" fmla="*/ 226600 h 695325"/>
                  <a:gd name="connsiteX1224" fmla="*/ 310325 w 962025"/>
                  <a:gd name="connsiteY1224" fmla="*/ 227457 h 695325"/>
                  <a:gd name="connsiteX1225" fmla="*/ 311182 w 962025"/>
                  <a:gd name="connsiteY1225" fmla="*/ 228314 h 695325"/>
                  <a:gd name="connsiteX1226" fmla="*/ 311182 w 962025"/>
                  <a:gd name="connsiteY1226" fmla="*/ 228314 h 695325"/>
                  <a:gd name="connsiteX1227" fmla="*/ 311182 w 962025"/>
                  <a:gd name="connsiteY1227" fmla="*/ 229171 h 695325"/>
                  <a:gd name="connsiteX1228" fmla="*/ 312896 w 962025"/>
                  <a:gd name="connsiteY1228" fmla="*/ 232600 h 695325"/>
                  <a:gd name="connsiteX1229" fmla="*/ 314515 w 962025"/>
                  <a:gd name="connsiteY1229" fmla="*/ 236029 h 695325"/>
                  <a:gd name="connsiteX1230" fmla="*/ 314515 w 962025"/>
                  <a:gd name="connsiteY1230" fmla="*/ 238506 h 695325"/>
                  <a:gd name="connsiteX1231" fmla="*/ 314515 w 962025"/>
                  <a:gd name="connsiteY1231" fmla="*/ 241078 h 695325"/>
                  <a:gd name="connsiteX1232" fmla="*/ 314515 w 962025"/>
                  <a:gd name="connsiteY1232" fmla="*/ 241935 h 695325"/>
                  <a:gd name="connsiteX1233" fmla="*/ 314515 w 962025"/>
                  <a:gd name="connsiteY1233" fmla="*/ 242792 h 695325"/>
                  <a:gd name="connsiteX1234" fmla="*/ 312896 w 962025"/>
                  <a:gd name="connsiteY1234" fmla="*/ 243650 h 695325"/>
                  <a:gd name="connsiteX1235" fmla="*/ 312039 w 962025"/>
                  <a:gd name="connsiteY1235" fmla="*/ 244507 h 695325"/>
                  <a:gd name="connsiteX1236" fmla="*/ 311182 w 962025"/>
                  <a:gd name="connsiteY1236" fmla="*/ 245364 h 695325"/>
                  <a:gd name="connsiteX1237" fmla="*/ 308610 w 962025"/>
                  <a:gd name="connsiteY1237" fmla="*/ 246221 h 695325"/>
                  <a:gd name="connsiteX1238" fmla="*/ 306134 w 962025"/>
                  <a:gd name="connsiteY1238" fmla="*/ 246221 h 695325"/>
                  <a:gd name="connsiteX1239" fmla="*/ 305276 w 962025"/>
                  <a:gd name="connsiteY1239" fmla="*/ 246221 h 695325"/>
                  <a:gd name="connsiteX1240" fmla="*/ 304419 w 962025"/>
                  <a:gd name="connsiteY1240" fmla="*/ 247079 h 695325"/>
                  <a:gd name="connsiteX1241" fmla="*/ 304419 w 962025"/>
                  <a:gd name="connsiteY1241" fmla="*/ 247079 h 695325"/>
                  <a:gd name="connsiteX1242" fmla="*/ 303562 w 962025"/>
                  <a:gd name="connsiteY1242" fmla="*/ 248793 h 695325"/>
                  <a:gd name="connsiteX1243" fmla="*/ 303562 w 962025"/>
                  <a:gd name="connsiteY1243" fmla="*/ 249650 h 695325"/>
                  <a:gd name="connsiteX1244" fmla="*/ 305276 w 962025"/>
                  <a:gd name="connsiteY1244" fmla="*/ 250507 h 695325"/>
                  <a:gd name="connsiteX1245" fmla="*/ 311182 w 962025"/>
                  <a:gd name="connsiteY1245" fmla="*/ 258127 h 695325"/>
                  <a:gd name="connsiteX1246" fmla="*/ 314515 w 962025"/>
                  <a:gd name="connsiteY1246" fmla="*/ 259842 h 695325"/>
                  <a:gd name="connsiteX1247" fmla="*/ 318802 w 962025"/>
                  <a:gd name="connsiteY1247" fmla="*/ 260699 h 695325"/>
                  <a:gd name="connsiteX1248" fmla="*/ 319659 w 962025"/>
                  <a:gd name="connsiteY1248" fmla="*/ 259842 h 695325"/>
                  <a:gd name="connsiteX1249" fmla="*/ 321278 w 962025"/>
                  <a:gd name="connsiteY1249" fmla="*/ 259842 h 695325"/>
                  <a:gd name="connsiteX1250" fmla="*/ 322136 w 962025"/>
                  <a:gd name="connsiteY1250" fmla="*/ 259842 h 695325"/>
                  <a:gd name="connsiteX1251" fmla="*/ 322993 w 962025"/>
                  <a:gd name="connsiteY1251" fmla="*/ 259842 h 695325"/>
                  <a:gd name="connsiteX1252" fmla="*/ 323850 w 962025"/>
                  <a:gd name="connsiteY1252" fmla="*/ 260699 h 695325"/>
                  <a:gd name="connsiteX1253" fmla="*/ 328898 w 962025"/>
                  <a:gd name="connsiteY1253" fmla="*/ 264985 h 695325"/>
                  <a:gd name="connsiteX1254" fmla="*/ 330613 w 962025"/>
                  <a:gd name="connsiteY1254" fmla="*/ 266700 h 695325"/>
                  <a:gd name="connsiteX1255" fmla="*/ 331470 w 962025"/>
                  <a:gd name="connsiteY1255" fmla="*/ 268319 h 695325"/>
                  <a:gd name="connsiteX1256" fmla="*/ 333185 w 962025"/>
                  <a:gd name="connsiteY1256" fmla="*/ 270891 h 695325"/>
                  <a:gd name="connsiteX1257" fmla="*/ 334042 w 962025"/>
                  <a:gd name="connsiteY1257" fmla="*/ 276892 h 695325"/>
                  <a:gd name="connsiteX1258" fmla="*/ 334042 w 962025"/>
                  <a:gd name="connsiteY1258" fmla="*/ 279463 h 695325"/>
                  <a:gd name="connsiteX1259" fmla="*/ 334042 w 962025"/>
                  <a:gd name="connsiteY1259" fmla="*/ 282035 h 695325"/>
                  <a:gd name="connsiteX1260" fmla="*/ 333185 w 962025"/>
                  <a:gd name="connsiteY1260" fmla="*/ 282892 h 695325"/>
                  <a:gd name="connsiteX1261" fmla="*/ 333185 w 962025"/>
                  <a:gd name="connsiteY1261" fmla="*/ 283655 h 695325"/>
                  <a:gd name="connsiteX1262" fmla="*/ 331470 w 962025"/>
                  <a:gd name="connsiteY1262" fmla="*/ 284512 h 695325"/>
                  <a:gd name="connsiteX1263" fmla="*/ 321278 w 962025"/>
                  <a:gd name="connsiteY1263" fmla="*/ 289655 h 695325"/>
                  <a:gd name="connsiteX1264" fmla="*/ 321278 w 962025"/>
                  <a:gd name="connsiteY1264" fmla="*/ 289655 h 695325"/>
                  <a:gd name="connsiteX1265" fmla="*/ 318802 w 962025"/>
                  <a:gd name="connsiteY1265" fmla="*/ 289655 h 695325"/>
                  <a:gd name="connsiteX1266" fmla="*/ 317944 w 962025"/>
                  <a:gd name="connsiteY1266" fmla="*/ 289655 h 695325"/>
                  <a:gd name="connsiteX1267" fmla="*/ 317087 w 962025"/>
                  <a:gd name="connsiteY1267" fmla="*/ 289655 h 695325"/>
                  <a:gd name="connsiteX1268" fmla="*/ 316230 w 962025"/>
                  <a:gd name="connsiteY1268" fmla="*/ 289655 h 695325"/>
                  <a:gd name="connsiteX1269" fmla="*/ 316230 w 962025"/>
                  <a:gd name="connsiteY1269" fmla="*/ 289655 h 695325"/>
                  <a:gd name="connsiteX1270" fmla="*/ 316230 w 962025"/>
                  <a:gd name="connsiteY1270" fmla="*/ 288798 h 695325"/>
                  <a:gd name="connsiteX1271" fmla="*/ 316230 w 962025"/>
                  <a:gd name="connsiteY1271" fmla="*/ 287084 h 695325"/>
                  <a:gd name="connsiteX1272" fmla="*/ 316230 w 962025"/>
                  <a:gd name="connsiteY1272" fmla="*/ 286226 h 695325"/>
                  <a:gd name="connsiteX1273" fmla="*/ 316230 w 962025"/>
                  <a:gd name="connsiteY1273" fmla="*/ 285369 h 695325"/>
                  <a:gd name="connsiteX1274" fmla="*/ 315373 w 962025"/>
                  <a:gd name="connsiteY1274" fmla="*/ 282892 h 695325"/>
                  <a:gd name="connsiteX1275" fmla="*/ 315373 w 962025"/>
                  <a:gd name="connsiteY1275" fmla="*/ 282892 h 695325"/>
                  <a:gd name="connsiteX1276" fmla="*/ 314515 w 962025"/>
                  <a:gd name="connsiteY1276" fmla="*/ 282035 h 695325"/>
                  <a:gd name="connsiteX1277" fmla="*/ 313658 w 962025"/>
                  <a:gd name="connsiteY1277" fmla="*/ 281178 h 695325"/>
                  <a:gd name="connsiteX1278" fmla="*/ 313658 w 962025"/>
                  <a:gd name="connsiteY1278" fmla="*/ 281178 h 695325"/>
                  <a:gd name="connsiteX1279" fmla="*/ 312039 w 962025"/>
                  <a:gd name="connsiteY1279" fmla="*/ 281178 h 695325"/>
                  <a:gd name="connsiteX1280" fmla="*/ 311182 w 962025"/>
                  <a:gd name="connsiteY1280" fmla="*/ 281178 h 695325"/>
                  <a:gd name="connsiteX1281" fmla="*/ 310325 w 962025"/>
                  <a:gd name="connsiteY1281" fmla="*/ 280321 h 695325"/>
                  <a:gd name="connsiteX1282" fmla="*/ 309467 w 962025"/>
                  <a:gd name="connsiteY1282" fmla="*/ 280321 h 695325"/>
                  <a:gd name="connsiteX1283" fmla="*/ 308610 w 962025"/>
                  <a:gd name="connsiteY1283" fmla="*/ 280321 h 695325"/>
                  <a:gd name="connsiteX1284" fmla="*/ 307753 w 962025"/>
                  <a:gd name="connsiteY1284" fmla="*/ 280321 h 695325"/>
                  <a:gd name="connsiteX1285" fmla="*/ 306896 w 962025"/>
                  <a:gd name="connsiteY1285" fmla="*/ 280321 h 695325"/>
                  <a:gd name="connsiteX1286" fmla="*/ 306134 w 962025"/>
                  <a:gd name="connsiteY1286" fmla="*/ 281178 h 695325"/>
                  <a:gd name="connsiteX1287" fmla="*/ 306134 w 962025"/>
                  <a:gd name="connsiteY1287" fmla="*/ 282892 h 695325"/>
                  <a:gd name="connsiteX1288" fmla="*/ 306896 w 962025"/>
                  <a:gd name="connsiteY1288" fmla="*/ 287084 h 695325"/>
                  <a:gd name="connsiteX1289" fmla="*/ 306896 w 962025"/>
                  <a:gd name="connsiteY1289" fmla="*/ 287941 h 695325"/>
                  <a:gd name="connsiteX1290" fmla="*/ 306896 w 962025"/>
                  <a:gd name="connsiteY1290" fmla="*/ 288798 h 695325"/>
                  <a:gd name="connsiteX1291" fmla="*/ 306896 w 962025"/>
                  <a:gd name="connsiteY1291" fmla="*/ 288798 h 695325"/>
                  <a:gd name="connsiteX1292" fmla="*/ 306134 w 962025"/>
                  <a:gd name="connsiteY1292" fmla="*/ 292227 h 695325"/>
                  <a:gd name="connsiteX1293" fmla="*/ 306134 w 962025"/>
                  <a:gd name="connsiteY1293" fmla="*/ 293084 h 695325"/>
                  <a:gd name="connsiteX1294" fmla="*/ 306134 w 962025"/>
                  <a:gd name="connsiteY1294" fmla="*/ 293942 h 695325"/>
                  <a:gd name="connsiteX1295" fmla="*/ 306896 w 962025"/>
                  <a:gd name="connsiteY1295" fmla="*/ 294799 h 695325"/>
                  <a:gd name="connsiteX1296" fmla="*/ 307753 w 962025"/>
                  <a:gd name="connsiteY1296" fmla="*/ 298228 h 695325"/>
                  <a:gd name="connsiteX1297" fmla="*/ 306896 w 962025"/>
                  <a:gd name="connsiteY1297" fmla="*/ 306705 h 695325"/>
                  <a:gd name="connsiteX1298" fmla="*/ 307753 w 962025"/>
                  <a:gd name="connsiteY1298" fmla="*/ 309277 h 695325"/>
                  <a:gd name="connsiteX1299" fmla="*/ 308610 w 962025"/>
                  <a:gd name="connsiteY1299" fmla="*/ 311848 h 695325"/>
                  <a:gd name="connsiteX1300" fmla="*/ 314515 w 962025"/>
                  <a:gd name="connsiteY1300" fmla="*/ 318611 h 695325"/>
                  <a:gd name="connsiteX1301" fmla="*/ 315373 w 962025"/>
                  <a:gd name="connsiteY1301" fmla="*/ 320326 h 695325"/>
                  <a:gd name="connsiteX1302" fmla="*/ 316230 w 962025"/>
                  <a:gd name="connsiteY1302" fmla="*/ 322040 h 695325"/>
                  <a:gd name="connsiteX1303" fmla="*/ 315373 w 962025"/>
                  <a:gd name="connsiteY1303" fmla="*/ 322897 h 695325"/>
                  <a:gd name="connsiteX1304" fmla="*/ 315373 w 962025"/>
                  <a:gd name="connsiteY1304" fmla="*/ 323755 h 695325"/>
                  <a:gd name="connsiteX1305" fmla="*/ 314515 w 962025"/>
                  <a:gd name="connsiteY1305" fmla="*/ 325469 h 695325"/>
                  <a:gd name="connsiteX1306" fmla="*/ 313658 w 962025"/>
                  <a:gd name="connsiteY1306" fmla="*/ 327184 h 695325"/>
                  <a:gd name="connsiteX1307" fmla="*/ 313658 w 962025"/>
                  <a:gd name="connsiteY1307" fmla="*/ 328041 h 695325"/>
                  <a:gd name="connsiteX1308" fmla="*/ 312896 w 962025"/>
                  <a:gd name="connsiteY1308" fmla="*/ 328898 h 695325"/>
                  <a:gd name="connsiteX1309" fmla="*/ 311182 w 962025"/>
                  <a:gd name="connsiteY1309" fmla="*/ 328898 h 695325"/>
                  <a:gd name="connsiteX1310" fmla="*/ 310325 w 962025"/>
                  <a:gd name="connsiteY1310" fmla="*/ 328898 h 695325"/>
                  <a:gd name="connsiteX1311" fmla="*/ 308610 w 962025"/>
                  <a:gd name="connsiteY1311" fmla="*/ 328898 h 695325"/>
                  <a:gd name="connsiteX1312" fmla="*/ 307753 w 962025"/>
                  <a:gd name="connsiteY1312" fmla="*/ 328898 h 695325"/>
                  <a:gd name="connsiteX1313" fmla="*/ 306896 w 962025"/>
                  <a:gd name="connsiteY1313" fmla="*/ 328898 h 695325"/>
                  <a:gd name="connsiteX1314" fmla="*/ 305276 w 962025"/>
                  <a:gd name="connsiteY1314" fmla="*/ 330517 h 695325"/>
                  <a:gd name="connsiteX1315" fmla="*/ 301847 w 962025"/>
                  <a:gd name="connsiteY1315" fmla="*/ 330517 h 695325"/>
                  <a:gd name="connsiteX1316" fmla="*/ 299371 w 962025"/>
                  <a:gd name="connsiteY1316" fmla="*/ 328898 h 695325"/>
                  <a:gd name="connsiteX1317" fmla="*/ 297656 w 962025"/>
                  <a:gd name="connsiteY1317" fmla="*/ 327184 h 695325"/>
                  <a:gd name="connsiteX1318" fmla="*/ 290894 w 962025"/>
                  <a:gd name="connsiteY1318" fmla="*/ 322897 h 695325"/>
                  <a:gd name="connsiteX1319" fmla="*/ 290036 w 962025"/>
                  <a:gd name="connsiteY1319" fmla="*/ 321183 h 695325"/>
                  <a:gd name="connsiteX1320" fmla="*/ 289179 w 962025"/>
                  <a:gd name="connsiteY1320" fmla="*/ 320326 h 695325"/>
                  <a:gd name="connsiteX1321" fmla="*/ 289179 w 962025"/>
                  <a:gd name="connsiteY1321" fmla="*/ 319468 h 695325"/>
                  <a:gd name="connsiteX1322" fmla="*/ 290036 w 962025"/>
                  <a:gd name="connsiteY1322" fmla="*/ 318611 h 695325"/>
                  <a:gd name="connsiteX1323" fmla="*/ 290894 w 962025"/>
                  <a:gd name="connsiteY1323" fmla="*/ 316897 h 695325"/>
                  <a:gd name="connsiteX1324" fmla="*/ 291751 w 962025"/>
                  <a:gd name="connsiteY1324" fmla="*/ 315182 h 695325"/>
                  <a:gd name="connsiteX1325" fmla="*/ 291751 w 962025"/>
                  <a:gd name="connsiteY1325" fmla="*/ 314325 h 695325"/>
                  <a:gd name="connsiteX1326" fmla="*/ 291751 w 962025"/>
                  <a:gd name="connsiteY1326" fmla="*/ 312706 h 695325"/>
                  <a:gd name="connsiteX1327" fmla="*/ 290036 w 962025"/>
                  <a:gd name="connsiteY1327" fmla="*/ 312706 h 695325"/>
                  <a:gd name="connsiteX1328" fmla="*/ 289179 w 962025"/>
                  <a:gd name="connsiteY1328" fmla="*/ 312706 h 695325"/>
                  <a:gd name="connsiteX1329" fmla="*/ 285845 w 962025"/>
                  <a:gd name="connsiteY1329" fmla="*/ 313563 h 695325"/>
                  <a:gd name="connsiteX1330" fmla="*/ 283273 w 962025"/>
                  <a:gd name="connsiteY1330" fmla="*/ 315182 h 695325"/>
                  <a:gd name="connsiteX1331" fmla="*/ 281559 w 962025"/>
                  <a:gd name="connsiteY1331" fmla="*/ 316039 h 695325"/>
                  <a:gd name="connsiteX1332" fmla="*/ 280702 w 962025"/>
                  <a:gd name="connsiteY1332" fmla="*/ 316897 h 695325"/>
                  <a:gd name="connsiteX1333" fmla="*/ 279844 w 962025"/>
                  <a:gd name="connsiteY1333" fmla="*/ 317754 h 695325"/>
                  <a:gd name="connsiteX1334" fmla="*/ 278987 w 962025"/>
                  <a:gd name="connsiteY1334" fmla="*/ 322040 h 695325"/>
                  <a:gd name="connsiteX1335" fmla="*/ 278225 w 962025"/>
                  <a:gd name="connsiteY1335" fmla="*/ 322897 h 695325"/>
                  <a:gd name="connsiteX1336" fmla="*/ 277368 w 962025"/>
                  <a:gd name="connsiteY1336" fmla="*/ 323755 h 695325"/>
                  <a:gd name="connsiteX1337" fmla="*/ 275654 w 962025"/>
                  <a:gd name="connsiteY1337" fmla="*/ 324612 h 695325"/>
                  <a:gd name="connsiteX1338" fmla="*/ 273939 w 962025"/>
                  <a:gd name="connsiteY1338" fmla="*/ 324612 h 695325"/>
                  <a:gd name="connsiteX1339" fmla="*/ 273082 w 962025"/>
                  <a:gd name="connsiteY1339" fmla="*/ 324612 h 695325"/>
                  <a:gd name="connsiteX1340" fmla="*/ 272225 w 962025"/>
                  <a:gd name="connsiteY1340" fmla="*/ 323755 h 695325"/>
                  <a:gd name="connsiteX1341" fmla="*/ 271463 w 962025"/>
                  <a:gd name="connsiteY1341" fmla="*/ 322897 h 695325"/>
                  <a:gd name="connsiteX1342" fmla="*/ 270605 w 962025"/>
                  <a:gd name="connsiteY1342" fmla="*/ 320326 h 695325"/>
                  <a:gd name="connsiteX1343" fmla="*/ 270605 w 962025"/>
                  <a:gd name="connsiteY1343" fmla="*/ 319468 h 695325"/>
                  <a:gd name="connsiteX1344" fmla="*/ 268891 w 962025"/>
                  <a:gd name="connsiteY1344" fmla="*/ 317754 h 695325"/>
                  <a:gd name="connsiteX1345" fmla="*/ 268034 w 962025"/>
                  <a:gd name="connsiteY1345" fmla="*/ 317754 h 695325"/>
                  <a:gd name="connsiteX1346" fmla="*/ 262128 w 962025"/>
                  <a:gd name="connsiteY1346" fmla="*/ 318611 h 695325"/>
                  <a:gd name="connsiteX1347" fmla="*/ 259556 w 962025"/>
                  <a:gd name="connsiteY1347" fmla="*/ 318611 h 695325"/>
                  <a:gd name="connsiteX1348" fmla="*/ 257080 w 962025"/>
                  <a:gd name="connsiteY1348" fmla="*/ 317754 h 695325"/>
                  <a:gd name="connsiteX1349" fmla="*/ 251174 w 962025"/>
                  <a:gd name="connsiteY1349" fmla="*/ 316039 h 695325"/>
                  <a:gd name="connsiteX1350" fmla="*/ 248602 w 962025"/>
                  <a:gd name="connsiteY1350" fmla="*/ 315182 h 695325"/>
                  <a:gd name="connsiteX1351" fmla="*/ 245173 w 962025"/>
                  <a:gd name="connsiteY1351" fmla="*/ 316039 h 695325"/>
                  <a:gd name="connsiteX1352" fmla="*/ 242697 w 962025"/>
                  <a:gd name="connsiteY1352" fmla="*/ 316039 h 695325"/>
                  <a:gd name="connsiteX1353" fmla="*/ 240983 w 962025"/>
                  <a:gd name="connsiteY1353" fmla="*/ 315182 h 695325"/>
                  <a:gd name="connsiteX1354" fmla="*/ 240125 w 962025"/>
                  <a:gd name="connsiteY1354" fmla="*/ 314325 h 695325"/>
                  <a:gd name="connsiteX1355" fmla="*/ 238411 w 962025"/>
                  <a:gd name="connsiteY1355" fmla="*/ 313563 h 695325"/>
                  <a:gd name="connsiteX1356" fmla="*/ 238411 w 962025"/>
                  <a:gd name="connsiteY1356" fmla="*/ 312706 h 695325"/>
                  <a:gd name="connsiteX1357" fmla="*/ 238411 w 962025"/>
                  <a:gd name="connsiteY1357" fmla="*/ 311848 h 695325"/>
                  <a:gd name="connsiteX1358" fmla="*/ 238411 w 962025"/>
                  <a:gd name="connsiteY1358" fmla="*/ 310991 h 695325"/>
                  <a:gd name="connsiteX1359" fmla="*/ 238411 w 962025"/>
                  <a:gd name="connsiteY1359" fmla="*/ 309277 h 695325"/>
                  <a:gd name="connsiteX1360" fmla="*/ 238411 w 962025"/>
                  <a:gd name="connsiteY1360" fmla="*/ 308419 h 695325"/>
                  <a:gd name="connsiteX1361" fmla="*/ 238411 w 962025"/>
                  <a:gd name="connsiteY1361" fmla="*/ 307562 h 695325"/>
                  <a:gd name="connsiteX1362" fmla="*/ 237649 w 962025"/>
                  <a:gd name="connsiteY1362" fmla="*/ 307562 h 695325"/>
                  <a:gd name="connsiteX1363" fmla="*/ 236792 w 962025"/>
                  <a:gd name="connsiteY1363" fmla="*/ 307562 h 695325"/>
                  <a:gd name="connsiteX1364" fmla="*/ 234220 w 962025"/>
                  <a:gd name="connsiteY1364" fmla="*/ 308419 h 695325"/>
                  <a:gd name="connsiteX1365" fmla="*/ 233363 w 962025"/>
                  <a:gd name="connsiteY1365" fmla="*/ 309277 h 695325"/>
                  <a:gd name="connsiteX1366" fmla="*/ 232505 w 962025"/>
                  <a:gd name="connsiteY1366" fmla="*/ 310134 h 695325"/>
                  <a:gd name="connsiteX1367" fmla="*/ 231648 w 962025"/>
                  <a:gd name="connsiteY1367" fmla="*/ 310991 h 695325"/>
                  <a:gd name="connsiteX1368" fmla="*/ 230791 w 962025"/>
                  <a:gd name="connsiteY1368" fmla="*/ 311848 h 695325"/>
                  <a:gd name="connsiteX1369" fmla="*/ 230791 w 962025"/>
                  <a:gd name="connsiteY1369" fmla="*/ 316039 h 695325"/>
                  <a:gd name="connsiteX1370" fmla="*/ 230791 w 962025"/>
                  <a:gd name="connsiteY1370" fmla="*/ 318611 h 695325"/>
                  <a:gd name="connsiteX1371" fmla="*/ 230791 w 962025"/>
                  <a:gd name="connsiteY1371" fmla="*/ 319468 h 695325"/>
                  <a:gd name="connsiteX1372" fmla="*/ 230791 w 962025"/>
                  <a:gd name="connsiteY1372" fmla="*/ 322040 h 695325"/>
                  <a:gd name="connsiteX1373" fmla="*/ 230029 w 962025"/>
                  <a:gd name="connsiteY1373" fmla="*/ 326326 h 695325"/>
                  <a:gd name="connsiteX1374" fmla="*/ 230029 w 962025"/>
                  <a:gd name="connsiteY1374" fmla="*/ 328041 h 695325"/>
                  <a:gd name="connsiteX1375" fmla="*/ 230791 w 962025"/>
                  <a:gd name="connsiteY1375" fmla="*/ 330517 h 695325"/>
                  <a:gd name="connsiteX1376" fmla="*/ 230791 w 962025"/>
                  <a:gd name="connsiteY1376" fmla="*/ 331375 h 695325"/>
                  <a:gd name="connsiteX1377" fmla="*/ 230029 w 962025"/>
                  <a:gd name="connsiteY1377" fmla="*/ 333946 h 695325"/>
                  <a:gd name="connsiteX1378" fmla="*/ 226600 w 962025"/>
                  <a:gd name="connsiteY1378" fmla="*/ 338233 h 695325"/>
                  <a:gd name="connsiteX1379" fmla="*/ 217265 w 962025"/>
                  <a:gd name="connsiteY1379" fmla="*/ 343376 h 695325"/>
                  <a:gd name="connsiteX1380" fmla="*/ 215646 w 962025"/>
                  <a:gd name="connsiteY1380" fmla="*/ 345091 h 695325"/>
                  <a:gd name="connsiteX1381" fmla="*/ 215646 w 962025"/>
                  <a:gd name="connsiteY1381" fmla="*/ 346710 h 695325"/>
                  <a:gd name="connsiteX1382" fmla="*/ 215646 w 962025"/>
                  <a:gd name="connsiteY1382" fmla="*/ 347567 h 695325"/>
                  <a:gd name="connsiteX1383" fmla="*/ 217265 w 962025"/>
                  <a:gd name="connsiteY1383" fmla="*/ 349282 h 695325"/>
                  <a:gd name="connsiteX1384" fmla="*/ 217265 w 962025"/>
                  <a:gd name="connsiteY1384" fmla="*/ 350139 h 695325"/>
                  <a:gd name="connsiteX1385" fmla="*/ 217265 w 962025"/>
                  <a:gd name="connsiteY1385" fmla="*/ 350139 h 695325"/>
                  <a:gd name="connsiteX1386" fmla="*/ 217265 w 962025"/>
                  <a:gd name="connsiteY1386" fmla="*/ 350139 h 695325"/>
                  <a:gd name="connsiteX1387" fmla="*/ 217265 w 962025"/>
                  <a:gd name="connsiteY1387" fmla="*/ 351854 h 695325"/>
                  <a:gd name="connsiteX1388" fmla="*/ 216503 w 962025"/>
                  <a:gd name="connsiteY1388" fmla="*/ 352711 h 695325"/>
                  <a:gd name="connsiteX1389" fmla="*/ 215646 w 962025"/>
                  <a:gd name="connsiteY1389" fmla="*/ 354425 h 695325"/>
                  <a:gd name="connsiteX1390" fmla="*/ 214789 w 962025"/>
                  <a:gd name="connsiteY1390" fmla="*/ 355282 h 695325"/>
                  <a:gd name="connsiteX1391" fmla="*/ 206311 w 962025"/>
                  <a:gd name="connsiteY1391" fmla="*/ 359569 h 695325"/>
                  <a:gd name="connsiteX1392" fmla="*/ 200406 w 962025"/>
                  <a:gd name="connsiteY1392" fmla="*/ 361188 h 695325"/>
                  <a:gd name="connsiteX1393" fmla="*/ 196977 w 962025"/>
                  <a:gd name="connsiteY1393" fmla="*/ 363760 h 695325"/>
                  <a:gd name="connsiteX1394" fmla="*/ 194500 w 962025"/>
                  <a:gd name="connsiteY1394" fmla="*/ 363760 h 695325"/>
                  <a:gd name="connsiteX1395" fmla="*/ 192786 w 962025"/>
                  <a:gd name="connsiteY1395" fmla="*/ 363760 h 695325"/>
                  <a:gd name="connsiteX1396" fmla="*/ 191929 w 962025"/>
                  <a:gd name="connsiteY1396" fmla="*/ 362902 h 695325"/>
                  <a:gd name="connsiteX1397" fmla="*/ 191071 w 962025"/>
                  <a:gd name="connsiteY1397" fmla="*/ 361188 h 695325"/>
                  <a:gd name="connsiteX1398" fmla="*/ 189452 w 962025"/>
                  <a:gd name="connsiteY1398" fmla="*/ 360426 h 695325"/>
                  <a:gd name="connsiteX1399" fmla="*/ 188595 w 962025"/>
                  <a:gd name="connsiteY1399" fmla="*/ 359569 h 695325"/>
                  <a:gd name="connsiteX1400" fmla="*/ 187738 w 962025"/>
                  <a:gd name="connsiteY1400" fmla="*/ 360426 h 695325"/>
                  <a:gd name="connsiteX1401" fmla="*/ 186881 w 962025"/>
                  <a:gd name="connsiteY1401" fmla="*/ 360426 h 695325"/>
                  <a:gd name="connsiteX1402" fmla="*/ 186881 w 962025"/>
                  <a:gd name="connsiteY1402" fmla="*/ 361188 h 695325"/>
                  <a:gd name="connsiteX1403" fmla="*/ 186881 w 962025"/>
                  <a:gd name="connsiteY1403" fmla="*/ 362045 h 695325"/>
                  <a:gd name="connsiteX1404" fmla="*/ 187738 w 962025"/>
                  <a:gd name="connsiteY1404" fmla="*/ 364617 h 695325"/>
                  <a:gd name="connsiteX1405" fmla="*/ 187738 w 962025"/>
                  <a:gd name="connsiteY1405" fmla="*/ 366331 h 695325"/>
                  <a:gd name="connsiteX1406" fmla="*/ 186881 w 962025"/>
                  <a:gd name="connsiteY1406" fmla="*/ 367189 h 695325"/>
                  <a:gd name="connsiteX1407" fmla="*/ 186023 w 962025"/>
                  <a:gd name="connsiteY1407" fmla="*/ 370618 h 695325"/>
                  <a:gd name="connsiteX1408" fmla="*/ 185166 w 962025"/>
                  <a:gd name="connsiteY1408" fmla="*/ 371475 h 695325"/>
                  <a:gd name="connsiteX1409" fmla="*/ 185166 w 962025"/>
                  <a:gd name="connsiteY1409" fmla="*/ 372332 h 695325"/>
                  <a:gd name="connsiteX1410" fmla="*/ 185166 w 962025"/>
                  <a:gd name="connsiteY1410" fmla="*/ 374047 h 695325"/>
                  <a:gd name="connsiteX1411" fmla="*/ 184309 w 962025"/>
                  <a:gd name="connsiteY1411" fmla="*/ 374904 h 695325"/>
                  <a:gd name="connsiteX1412" fmla="*/ 183452 w 962025"/>
                  <a:gd name="connsiteY1412" fmla="*/ 375761 h 695325"/>
                  <a:gd name="connsiteX1413" fmla="*/ 182594 w 962025"/>
                  <a:gd name="connsiteY1413" fmla="*/ 374904 h 695325"/>
                  <a:gd name="connsiteX1414" fmla="*/ 180975 w 962025"/>
                  <a:gd name="connsiteY1414" fmla="*/ 373189 h 695325"/>
                  <a:gd name="connsiteX1415" fmla="*/ 179261 w 962025"/>
                  <a:gd name="connsiteY1415" fmla="*/ 373189 h 695325"/>
                  <a:gd name="connsiteX1416" fmla="*/ 177546 w 962025"/>
                  <a:gd name="connsiteY1416" fmla="*/ 372332 h 695325"/>
                  <a:gd name="connsiteX1417" fmla="*/ 173355 w 962025"/>
                  <a:gd name="connsiteY1417" fmla="*/ 372332 h 695325"/>
                  <a:gd name="connsiteX1418" fmla="*/ 172498 w 962025"/>
                  <a:gd name="connsiteY1418" fmla="*/ 369760 h 695325"/>
                  <a:gd name="connsiteX1419" fmla="*/ 172498 w 962025"/>
                  <a:gd name="connsiteY1419" fmla="*/ 367189 h 695325"/>
                  <a:gd name="connsiteX1420" fmla="*/ 171640 w 962025"/>
                  <a:gd name="connsiteY1420" fmla="*/ 366331 h 695325"/>
                  <a:gd name="connsiteX1421" fmla="*/ 170783 w 962025"/>
                  <a:gd name="connsiteY1421" fmla="*/ 364617 h 695325"/>
                  <a:gd name="connsiteX1422" fmla="*/ 164878 w 962025"/>
                  <a:gd name="connsiteY1422" fmla="*/ 361188 h 695325"/>
                  <a:gd name="connsiteX1423" fmla="*/ 163163 w 962025"/>
                  <a:gd name="connsiteY1423" fmla="*/ 360426 h 695325"/>
                  <a:gd name="connsiteX1424" fmla="*/ 162306 w 962025"/>
                  <a:gd name="connsiteY1424" fmla="*/ 359569 h 695325"/>
                  <a:gd name="connsiteX1425" fmla="*/ 161544 w 962025"/>
                  <a:gd name="connsiteY1425" fmla="*/ 356997 h 695325"/>
                  <a:gd name="connsiteX1426" fmla="*/ 160687 w 962025"/>
                  <a:gd name="connsiteY1426" fmla="*/ 352711 h 695325"/>
                  <a:gd name="connsiteX1427" fmla="*/ 160687 w 962025"/>
                  <a:gd name="connsiteY1427" fmla="*/ 350996 h 695325"/>
                  <a:gd name="connsiteX1428" fmla="*/ 162306 w 962025"/>
                  <a:gd name="connsiteY1428" fmla="*/ 348425 h 695325"/>
                  <a:gd name="connsiteX1429" fmla="*/ 164021 w 962025"/>
                  <a:gd name="connsiteY1429" fmla="*/ 345853 h 695325"/>
                  <a:gd name="connsiteX1430" fmla="*/ 164878 w 962025"/>
                  <a:gd name="connsiteY1430" fmla="*/ 345091 h 695325"/>
                  <a:gd name="connsiteX1431" fmla="*/ 165735 w 962025"/>
                  <a:gd name="connsiteY1431" fmla="*/ 345091 h 695325"/>
                  <a:gd name="connsiteX1432" fmla="*/ 166592 w 962025"/>
                  <a:gd name="connsiteY1432" fmla="*/ 345091 h 695325"/>
                  <a:gd name="connsiteX1433" fmla="*/ 168307 w 962025"/>
                  <a:gd name="connsiteY1433" fmla="*/ 345853 h 695325"/>
                  <a:gd name="connsiteX1434" fmla="*/ 169926 w 962025"/>
                  <a:gd name="connsiteY1434" fmla="*/ 347567 h 695325"/>
                  <a:gd name="connsiteX1435" fmla="*/ 170783 w 962025"/>
                  <a:gd name="connsiteY1435" fmla="*/ 347567 h 695325"/>
                  <a:gd name="connsiteX1436" fmla="*/ 172498 w 962025"/>
                  <a:gd name="connsiteY1436" fmla="*/ 348425 h 695325"/>
                  <a:gd name="connsiteX1437" fmla="*/ 173355 w 962025"/>
                  <a:gd name="connsiteY1437" fmla="*/ 348425 h 695325"/>
                  <a:gd name="connsiteX1438" fmla="*/ 174212 w 962025"/>
                  <a:gd name="connsiteY1438" fmla="*/ 350139 h 695325"/>
                  <a:gd name="connsiteX1439" fmla="*/ 175831 w 962025"/>
                  <a:gd name="connsiteY1439" fmla="*/ 350139 h 695325"/>
                  <a:gd name="connsiteX1440" fmla="*/ 176689 w 962025"/>
                  <a:gd name="connsiteY1440" fmla="*/ 350139 h 695325"/>
                  <a:gd name="connsiteX1441" fmla="*/ 178403 w 962025"/>
                  <a:gd name="connsiteY1441" fmla="*/ 350139 h 695325"/>
                  <a:gd name="connsiteX1442" fmla="*/ 181832 w 962025"/>
                  <a:gd name="connsiteY1442" fmla="*/ 346710 h 695325"/>
                  <a:gd name="connsiteX1443" fmla="*/ 182594 w 962025"/>
                  <a:gd name="connsiteY1443" fmla="*/ 346710 h 695325"/>
                  <a:gd name="connsiteX1444" fmla="*/ 183452 w 962025"/>
                  <a:gd name="connsiteY1444" fmla="*/ 347567 h 695325"/>
                  <a:gd name="connsiteX1445" fmla="*/ 186023 w 962025"/>
                  <a:gd name="connsiteY1445" fmla="*/ 349282 h 695325"/>
                  <a:gd name="connsiteX1446" fmla="*/ 186881 w 962025"/>
                  <a:gd name="connsiteY1446" fmla="*/ 349282 h 695325"/>
                  <a:gd name="connsiteX1447" fmla="*/ 187738 w 962025"/>
                  <a:gd name="connsiteY1447" fmla="*/ 350139 h 695325"/>
                  <a:gd name="connsiteX1448" fmla="*/ 187738 w 962025"/>
                  <a:gd name="connsiteY1448" fmla="*/ 350139 h 695325"/>
                  <a:gd name="connsiteX1449" fmla="*/ 188595 w 962025"/>
                  <a:gd name="connsiteY1449" fmla="*/ 348425 h 695325"/>
                  <a:gd name="connsiteX1450" fmla="*/ 189452 w 962025"/>
                  <a:gd name="connsiteY1450" fmla="*/ 347567 h 695325"/>
                  <a:gd name="connsiteX1451" fmla="*/ 190214 w 962025"/>
                  <a:gd name="connsiteY1451" fmla="*/ 345853 h 695325"/>
                  <a:gd name="connsiteX1452" fmla="*/ 191929 w 962025"/>
                  <a:gd name="connsiteY1452" fmla="*/ 343376 h 695325"/>
                  <a:gd name="connsiteX1453" fmla="*/ 194500 w 962025"/>
                  <a:gd name="connsiteY1453" fmla="*/ 339947 h 695325"/>
                  <a:gd name="connsiteX1454" fmla="*/ 196215 w 962025"/>
                  <a:gd name="connsiteY1454" fmla="*/ 338233 h 695325"/>
                  <a:gd name="connsiteX1455" fmla="*/ 196215 w 962025"/>
                  <a:gd name="connsiteY1455" fmla="*/ 336518 h 695325"/>
                  <a:gd name="connsiteX1456" fmla="*/ 196215 w 962025"/>
                  <a:gd name="connsiteY1456" fmla="*/ 335661 h 695325"/>
                  <a:gd name="connsiteX1457" fmla="*/ 191071 w 962025"/>
                  <a:gd name="connsiteY1457" fmla="*/ 333089 h 695325"/>
                  <a:gd name="connsiteX1458" fmla="*/ 190214 w 962025"/>
                  <a:gd name="connsiteY1458" fmla="*/ 331375 h 695325"/>
                  <a:gd name="connsiteX1459" fmla="*/ 189452 w 962025"/>
                  <a:gd name="connsiteY1459" fmla="*/ 328898 h 695325"/>
                  <a:gd name="connsiteX1460" fmla="*/ 189452 w 962025"/>
                  <a:gd name="connsiteY1460" fmla="*/ 327184 h 695325"/>
                  <a:gd name="connsiteX1461" fmla="*/ 191071 w 962025"/>
                  <a:gd name="connsiteY1461" fmla="*/ 324612 h 695325"/>
                  <a:gd name="connsiteX1462" fmla="*/ 194500 w 962025"/>
                  <a:gd name="connsiteY1462" fmla="*/ 319468 h 695325"/>
                  <a:gd name="connsiteX1463" fmla="*/ 195358 w 962025"/>
                  <a:gd name="connsiteY1463" fmla="*/ 316897 h 695325"/>
                  <a:gd name="connsiteX1464" fmla="*/ 196215 w 962025"/>
                  <a:gd name="connsiteY1464" fmla="*/ 314325 h 695325"/>
                  <a:gd name="connsiteX1465" fmla="*/ 195358 w 962025"/>
                  <a:gd name="connsiteY1465" fmla="*/ 312706 h 695325"/>
                  <a:gd name="connsiteX1466" fmla="*/ 195358 w 962025"/>
                  <a:gd name="connsiteY1466" fmla="*/ 311848 h 695325"/>
                  <a:gd name="connsiteX1467" fmla="*/ 194500 w 962025"/>
                  <a:gd name="connsiteY1467" fmla="*/ 310991 h 695325"/>
                  <a:gd name="connsiteX1468" fmla="*/ 193643 w 962025"/>
                  <a:gd name="connsiteY1468" fmla="*/ 310134 h 695325"/>
                  <a:gd name="connsiteX1469" fmla="*/ 191929 w 962025"/>
                  <a:gd name="connsiteY1469" fmla="*/ 310134 h 695325"/>
                  <a:gd name="connsiteX1470" fmla="*/ 191071 w 962025"/>
                  <a:gd name="connsiteY1470" fmla="*/ 309277 h 695325"/>
                  <a:gd name="connsiteX1471" fmla="*/ 190214 w 962025"/>
                  <a:gd name="connsiteY1471" fmla="*/ 308419 h 695325"/>
                  <a:gd name="connsiteX1472" fmla="*/ 189452 w 962025"/>
                  <a:gd name="connsiteY1472" fmla="*/ 306705 h 695325"/>
                  <a:gd name="connsiteX1473" fmla="*/ 189452 w 962025"/>
                  <a:gd name="connsiteY1473" fmla="*/ 301561 h 695325"/>
                  <a:gd name="connsiteX1474" fmla="*/ 188595 w 962025"/>
                  <a:gd name="connsiteY1474" fmla="*/ 299847 h 695325"/>
                  <a:gd name="connsiteX1475" fmla="*/ 187738 w 962025"/>
                  <a:gd name="connsiteY1475" fmla="*/ 298990 h 695325"/>
                  <a:gd name="connsiteX1476" fmla="*/ 188595 w 962025"/>
                  <a:gd name="connsiteY1476" fmla="*/ 296513 h 695325"/>
                  <a:gd name="connsiteX1477" fmla="*/ 189452 w 962025"/>
                  <a:gd name="connsiteY1477" fmla="*/ 293084 h 695325"/>
                  <a:gd name="connsiteX1478" fmla="*/ 190214 w 962025"/>
                  <a:gd name="connsiteY1478" fmla="*/ 291370 h 695325"/>
                  <a:gd name="connsiteX1479" fmla="*/ 191929 w 962025"/>
                  <a:gd name="connsiteY1479" fmla="*/ 290513 h 695325"/>
                  <a:gd name="connsiteX1480" fmla="*/ 192786 w 962025"/>
                  <a:gd name="connsiteY1480" fmla="*/ 289655 h 695325"/>
                  <a:gd name="connsiteX1481" fmla="*/ 194500 w 962025"/>
                  <a:gd name="connsiteY1481" fmla="*/ 289655 h 695325"/>
                  <a:gd name="connsiteX1482" fmla="*/ 197834 w 962025"/>
                  <a:gd name="connsiteY1482" fmla="*/ 292227 h 695325"/>
                  <a:gd name="connsiteX1483" fmla="*/ 199549 w 962025"/>
                  <a:gd name="connsiteY1483" fmla="*/ 293084 h 695325"/>
                  <a:gd name="connsiteX1484" fmla="*/ 201263 w 962025"/>
                  <a:gd name="connsiteY1484" fmla="*/ 292227 h 695325"/>
                  <a:gd name="connsiteX1485" fmla="*/ 202121 w 962025"/>
                  <a:gd name="connsiteY1485" fmla="*/ 291370 h 695325"/>
                  <a:gd name="connsiteX1486" fmla="*/ 202978 w 962025"/>
                  <a:gd name="connsiteY1486" fmla="*/ 290513 h 695325"/>
                  <a:gd name="connsiteX1487" fmla="*/ 203740 w 962025"/>
                  <a:gd name="connsiteY1487" fmla="*/ 289655 h 695325"/>
                  <a:gd name="connsiteX1488" fmla="*/ 203740 w 962025"/>
                  <a:gd name="connsiteY1488" fmla="*/ 289655 h 695325"/>
                  <a:gd name="connsiteX1489" fmla="*/ 203740 w 962025"/>
                  <a:gd name="connsiteY1489" fmla="*/ 287941 h 695325"/>
                  <a:gd name="connsiteX1490" fmla="*/ 202978 w 962025"/>
                  <a:gd name="connsiteY1490" fmla="*/ 276892 h 695325"/>
                  <a:gd name="connsiteX1491" fmla="*/ 199549 w 962025"/>
                  <a:gd name="connsiteY1491" fmla="*/ 273463 h 695325"/>
                  <a:gd name="connsiteX1492" fmla="*/ 197834 w 962025"/>
                  <a:gd name="connsiteY1492" fmla="*/ 270891 h 695325"/>
                  <a:gd name="connsiteX1493" fmla="*/ 196977 w 962025"/>
                  <a:gd name="connsiteY1493" fmla="*/ 269176 h 695325"/>
                  <a:gd name="connsiteX1494" fmla="*/ 196977 w 962025"/>
                  <a:gd name="connsiteY1494" fmla="*/ 268319 h 695325"/>
                  <a:gd name="connsiteX1495" fmla="*/ 196977 w 962025"/>
                  <a:gd name="connsiteY1495" fmla="*/ 266700 h 695325"/>
                  <a:gd name="connsiteX1496" fmla="*/ 196977 w 962025"/>
                  <a:gd name="connsiteY1496" fmla="*/ 264985 h 695325"/>
                  <a:gd name="connsiteX1497" fmla="*/ 196977 w 962025"/>
                  <a:gd name="connsiteY1497" fmla="*/ 263271 h 695325"/>
                  <a:gd name="connsiteX1498" fmla="*/ 193643 w 962025"/>
                  <a:gd name="connsiteY1498" fmla="*/ 258127 h 695325"/>
                  <a:gd name="connsiteX1499" fmla="*/ 191929 w 962025"/>
                  <a:gd name="connsiteY1499" fmla="*/ 256413 h 695325"/>
                  <a:gd name="connsiteX1500" fmla="*/ 191071 w 962025"/>
                  <a:gd name="connsiteY1500" fmla="*/ 255556 h 695325"/>
                  <a:gd name="connsiteX1501" fmla="*/ 189452 w 962025"/>
                  <a:gd name="connsiteY1501" fmla="*/ 255556 h 695325"/>
                  <a:gd name="connsiteX1502" fmla="*/ 187738 w 962025"/>
                  <a:gd name="connsiteY1502" fmla="*/ 255556 h 695325"/>
                  <a:gd name="connsiteX1503" fmla="*/ 186023 w 962025"/>
                  <a:gd name="connsiteY1503" fmla="*/ 255556 h 695325"/>
                  <a:gd name="connsiteX1504" fmla="*/ 179261 w 962025"/>
                  <a:gd name="connsiteY1504" fmla="*/ 260699 h 695325"/>
                  <a:gd name="connsiteX1505" fmla="*/ 173355 w 962025"/>
                  <a:gd name="connsiteY1505" fmla="*/ 261556 h 695325"/>
                  <a:gd name="connsiteX1506" fmla="*/ 168307 w 962025"/>
                  <a:gd name="connsiteY1506" fmla="*/ 261556 h 695325"/>
                  <a:gd name="connsiteX1507" fmla="*/ 156400 w 962025"/>
                  <a:gd name="connsiteY1507" fmla="*/ 264985 h 695325"/>
                  <a:gd name="connsiteX1508" fmla="*/ 153067 w 962025"/>
                  <a:gd name="connsiteY1508" fmla="*/ 264985 h 695325"/>
                  <a:gd name="connsiteX1509" fmla="*/ 149638 w 962025"/>
                  <a:gd name="connsiteY1509" fmla="*/ 264128 h 695325"/>
                  <a:gd name="connsiteX1510" fmla="*/ 144590 w 962025"/>
                  <a:gd name="connsiteY1510" fmla="*/ 262414 h 695325"/>
                  <a:gd name="connsiteX1511" fmla="*/ 141256 w 962025"/>
                  <a:gd name="connsiteY1511" fmla="*/ 262414 h 695325"/>
                  <a:gd name="connsiteX1512" fmla="*/ 137827 w 962025"/>
                  <a:gd name="connsiteY1512" fmla="*/ 262414 h 695325"/>
                  <a:gd name="connsiteX1513" fmla="*/ 133636 w 962025"/>
                  <a:gd name="connsiteY1513" fmla="*/ 262414 h 695325"/>
                  <a:gd name="connsiteX1514" fmla="*/ 131921 w 962025"/>
                  <a:gd name="connsiteY1514" fmla="*/ 262414 h 695325"/>
                  <a:gd name="connsiteX1515" fmla="*/ 130207 w 962025"/>
                  <a:gd name="connsiteY1515" fmla="*/ 262414 h 695325"/>
                  <a:gd name="connsiteX1516" fmla="*/ 128492 w 962025"/>
                  <a:gd name="connsiteY1516" fmla="*/ 261556 h 695325"/>
                  <a:gd name="connsiteX1517" fmla="*/ 127635 w 962025"/>
                  <a:gd name="connsiteY1517" fmla="*/ 259842 h 695325"/>
                  <a:gd name="connsiteX1518" fmla="*/ 126873 w 962025"/>
                  <a:gd name="connsiteY1518" fmla="*/ 258985 h 695325"/>
                  <a:gd name="connsiteX1519" fmla="*/ 126016 w 962025"/>
                  <a:gd name="connsiteY1519" fmla="*/ 257270 h 695325"/>
                  <a:gd name="connsiteX1520" fmla="*/ 126016 w 962025"/>
                  <a:gd name="connsiteY1520" fmla="*/ 255556 h 695325"/>
                  <a:gd name="connsiteX1521" fmla="*/ 127635 w 962025"/>
                  <a:gd name="connsiteY1521" fmla="*/ 254698 h 695325"/>
                  <a:gd name="connsiteX1522" fmla="*/ 129350 w 962025"/>
                  <a:gd name="connsiteY1522" fmla="*/ 252984 h 695325"/>
                  <a:gd name="connsiteX1523" fmla="*/ 130207 w 962025"/>
                  <a:gd name="connsiteY1523" fmla="*/ 251365 h 695325"/>
                  <a:gd name="connsiteX1524" fmla="*/ 130207 w 962025"/>
                  <a:gd name="connsiteY1524" fmla="*/ 250507 h 695325"/>
                  <a:gd name="connsiteX1525" fmla="*/ 130207 w 962025"/>
                  <a:gd name="connsiteY1525" fmla="*/ 248793 h 695325"/>
                  <a:gd name="connsiteX1526" fmla="*/ 129350 w 962025"/>
                  <a:gd name="connsiteY1526" fmla="*/ 247079 h 695325"/>
                  <a:gd name="connsiteX1527" fmla="*/ 128492 w 962025"/>
                  <a:gd name="connsiteY1527" fmla="*/ 244507 h 695325"/>
                  <a:gd name="connsiteX1528" fmla="*/ 127635 w 962025"/>
                  <a:gd name="connsiteY1528" fmla="*/ 243650 h 695325"/>
                  <a:gd name="connsiteX1529" fmla="*/ 127635 w 962025"/>
                  <a:gd name="connsiteY1529" fmla="*/ 241935 h 695325"/>
                  <a:gd name="connsiteX1530" fmla="*/ 127635 w 962025"/>
                  <a:gd name="connsiteY1530" fmla="*/ 241078 h 695325"/>
                  <a:gd name="connsiteX1531" fmla="*/ 128492 w 962025"/>
                  <a:gd name="connsiteY1531" fmla="*/ 241078 h 695325"/>
                  <a:gd name="connsiteX1532" fmla="*/ 129350 w 962025"/>
                  <a:gd name="connsiteY1532" fmla="*/ 241078 h 695325"/>
                  <a:gd name="connsiteX1533" fmla="*/ 131064 w 962025"/>
                  <a:gd name="connsiteY1533" fmla="*/ 242792 h 695325"/>
                  <a:gd name="connsiteX1534" fmla="*/ 132779 w 962025"/>
                  <a:gd name="connsiteY1534" fmla="*/ 245364 h 695325"/>
                  <a:gd name="connsiteX1535" fmla="*/ 134398 w 962025"/>
                  <a:gd name="connsiteY1535" fmla="*/ 246221 h 695325"/>
                  <a:gd name="connsiteX1536" fmla="*/ 136112 w 962025"/>
                  <a:gd name="connsiteY1536" fmla="*/ 247079 h 695325"/>
                  <a:gd name="connsiteX1537" fmla="*/ 137827 w 962025"/>
                  <a:gd name="connsiteY1537" fmla="*/ 247936 h 695325"/>
                  <a:gd name="connsiteX1538" fmla="*/ 140398 w 962025"/>
                  <a:gd name="connsiteY1538" fmla="*/ 247936 h 695325"/>
                  <a:gd name="connsiteX1539" fmla="*/ 142018 w 962025"/>
                  <a:gd name="connsiteY1539" fmla="*/ 247936 h 695325"/>
                  <a:gd name="connsiteX1540" fmla="*/ 144590 w 962025"/>
                  <a:gd name="connsiteY1540" fmla="*/ 247936 h 695325"/>
                  <a:gd name="connsiteX1541" fmla="*/ 146304 w 962025"/>
                  <a:gd name="connsiteY1541" fmla="*/ 247079 h 695325"/>
                  <a:gd name="connsiteX1542" fmla="*/ 148019 w 962025"/>
                  <a:gd name="connsiteY1542" fmla="*/ 246221 h 695325"/>
                  <a:gd name="connsiteX1543" fmla="*/ 149638 w 962025"/>
                  <a:gd name="connsiteY1543" fmla="*/ 245364 h 695325"/>
                  <a:gd name="connsiteX1544" fmla="*/ 150495 w 962025"/>
                  <a:gd name="connsiteY1544" fmla="*/ 243650 h 695325"/>
                  <a:gd name="connsiteX1545" fmla="*/ 151352 w 962025"/>
                  <a:gd name="connsiteY1545" fmla="*/ 242792 h 695325"/>
                  <a:gd name="connsiteX1546" fmla="*/ 152210 w 962025"/>
                  <a:gd name="connsiteY1546" fmla="*/ 241935 h 695325"/>
                  <a:gd name="connsiteX1547" fmla="*/ 152210 w 962025"/>
                  <a:gd name="connsiteY1547" fmla="*/ 241078 h 695325"/>
                  <a:gd name="connsiteX1548" fmla="*/ 152210 w 962025"/>
                  <a:gd name="connsiteY1548" fmla="*/ 240221 h 695325"/>
                  <a:gd name="connsiteX1549" fmla="*/ 151352 w 962025"/>
                  <a:gd name="connsiteY1549" fmla="*/ 240221 h 695325"/>
                  <a:gd name="connsiteX1550" fmla="*/ 149638 w 962025"/>
                  <a:gd name="connsiteY1550" fmla="*/ 240221 h 695325"/>
                  <a:gd name="connsiteX1551" fmla="*/ 145447 w 962025"/>
                  <a:gd name="connsiteY1551" fmla="*/ 241935 h 695325"/>
                  <a:gd name="connsiteX1552" fmla="*/ 142875 w 962025"/>
                  <a:gd name="connsiteY1552" fmla="*/ 241935 h 695325"/>
                  <a:gd name="connsiteX1553" fmla="*/ 140398 w 962025"/>
                  <a:gd name="connsiteY1553" fmla="*/ 241935 h 695325"/>
                  <a:gd name="connsiteX1554" fmla="*/ 136969 w 962025"/>
                  <a:gd name="connsiteY1554" fmla="*/ 241078 h 695325"/>
                  <a:gd name="connsiteX1555" fmla="*/ 135255 w 962025"/>
                  <a:gd name="connsiteY1555" fmla="*/ 240221 h 695325"/>
                  <a:gd name="connsiteX1556" fmla="*/ 134398 w 962025"/>
                  <a:gd name="connsiteY1556" fmla="*/ 239363 h 695325"/>
                  <a:gd name="connsiteX1557" fmla="*/ 134398 w 962025"/>
                  <a:gd name="connsiteY1557" fmla="*/ 238506 h 695325"/>
                  <a:gd name="connsiteX1558" fmla="*/ 134398 w 962025"/>
                  <a:gd name="connsiteY1558" fmla="*/ 237649 h 695325"/>
                  <a:gd name="connsiteX1559" fmla="*/ 134398 w 962025"/>
                  <a:gd name="connsiteY1559" fmla="*/ 236792 h 695325"/>
                  <a:gd name="connsiteX1560" fmla="*/ 135255 w 962025"/>
                  <a:gd name="connsiteY1560" fmla="*/ 236029 h 695325"/>
                  <a:gd name="connsiteX1561" fmla="*/ 135255 w 962025"/>
                  <a:gd name="connsiteY1561" fmla="*/ 236029 h 695325"/>
                  <a:gd name="connsiteX1562" fmla="*/ 136969 w 962025"/>
                  <a:gd name="connsiteY1562" fmla="*/ 236029 h 695325"/>
                  <a:gd name="connsiteX1563" fmla="*/ 138684 w 962025"/>
                  <a:gd name="connsiteY1563" fmla="*/ 236792 h 695325"/>
                  <a:gd name="connsiteX1564" fmla="*/ 139541 w 962025"/>
                  <a:gd name="connsiteY1564" fmla="*/ 237649 h 695325"/>
                  <a:gd name="connsiteX1565" fmla="*/ 141256 w 962025"/>
                  <a:gd name="connsiteY1565" fmla="*/ 237649 h 695325"/>
                  <a:gd name="connsiteX1566" fmla="*/ 142018 w 962025"/>
                  <a:gd name="connsiteY1566" fmla="*/ 236792 h 695325"/>
                  <a:gd name="connsiteX1567" fmla="*/ 142875 w 962025"/>
                  <a:gd name="connsiteY1567" fmla="*/ 236792 h 695325"/>
                  <a:gd name="connsiteX1568" fmla="*/ 142875 w 962025"/>
                  <a:gd name="connsiteY1568" fmla="*/ 235172 h 695325"/>
                  <a:gd name="connsiteX1569" fmla="*/ 142018 w 962025"/>
                  <a:gd name="connsiteY1569" fmla="*/ 234315 h 695325"/>
                  <a:gd name="connsiteX1570" fmla="*/ 140398 w 962025"/>
                  <a:gd name="connsiteY1570" fmla="*/ 231743 h 695325"/>
                  <a:gd name="connsiteX1571" fmla="*/ 139541 w 962025"/>
                  <a:gd name="connsiteY1571" fmla="*/ 230029 h 695325"/>
                  <a:gd name="connsiteX1572" fmla="*/ 139541 w 962025"/>
                  <a:gd name="connsiteY1572" fmla="*/ 230029 h 695325"/>
                  <a:gd name="connsiteX1573" fmla="*/ 139541 w 962025"/>
                  <a:gd name="connsiteY1573" fmla="*/ 229171 h 695325"/>
                  <a:gd name="connsiteX1574" fmla="*/ 141256 w 962025"/>
                  <a:gd name="connsiteY1574" fmla="*/ 224885 h 695325"/>
                  <a:gd name="connsiteX1575" fmla="*/ 142875 w 962025"/>
                  <a:gd name="connsiteY1575" fmla="*/ 223171 h 695325"/>
                  <a:gd name="connsiteX1576" fmla="*/ 142875 w 962025"/>
                  <a:gd name="connsiteY1576" fmla="*/ 222313 h 695325"/>
                  <a:gd name="connsiteX1577" fmla="*/ 142875 w 962025"/>
                  <a:gd name="connsiteY1577" fmla="*/ 221456 h 695325"/>
                  <a:gd name="connsiteX1578" fmla="*/ 142875 w 962025"/>
                  <a:gd name="connsiteY1578" fmla="*/ 221456 h 695325"/>
                  <a:gd name="connsiteX1579" fmla="*/ 142018 w 962025"/>
                  <a:gd name="connsiteY1579" fmla="*/ 221456 h 695325"/>
                  <a:gd name="connsiteX1580" fmla="*/ 141256 w 962025"/>
                  <a:gd name="connsiteY1580" fmla="*/ 221456 h 695325"/>
                  <a:gd name="connsiteX1581" fmla="*/ 136969 w 962025"/>
                  <a:gd name="connsiteY1581" fmla="*/ 222313 h 695325"/>
                  <a:gd name="connsiteX1582" fmla="*/ 133636 w 962025"/>
                  <a:gd name="connsiteY1582" fmla="*/ 223171 h 695325"/>
                  <a:gd name="connsiteX1583" fmla="*/ 130207 w 962025"/>
                  <a:gd name="connsiteY1583" fmla="*/ 223171 h 695325"/>
                  <a:gd name="connsiteX1584" fmla="*/ 124301 w 962025"/>
                  <a:gd name="connsiteY1584" fmla="*/ 223171 h 695325"/>
                  <a:gd name="connsiteX1585" fmla="*/ 122587 w 962025"/>
                  <a:gd name="connsiteY1585" fmla="*/ 223171 h 695325"/>
                  <a:gd name="connsiteX1586" fmla="*/ 121729 w 962025"/>
                  <a:gd name="connsiteY1586" fmla="*/ 224028 h 695325"/>
                  <a:gd name="connsiteX1587" fmla="*/ 121729 w 962025"/>
                  <a:gd name="connsiteY1587" fmla="*/ 224028 h 695325"/>
                  <a:gd name="connsiteX1588" fmla="*/ 121729 w 962025"/>
                  <a:gd name="connsiteY1588" fmla="*/ 224885 h 695325"/>
                  <a:gd name="connsiteX1589" fmla="*/ 120872 w 962025"/>
                  <a:gd name="connsiteY1589" fmla="*/ 226600 h 695325"/>
                  <a:gd name="connsiteX1590" fmla="*/ 120872 w 962025"/>
                  <a:gd name="connsiteY1590" fmla="*/ 226600 h 695325"/>
                  <a:gd name="connsiteX1591" fmla="*/ 120110 w 962025"/>
                  <a:gd name="connsiteY1591" fmla="*/ 227457 h 695325"/>
                  <a:gd name="connsiteX1592" fmla="*/ 120110 w 962025"/>
                  <a:gd name="connsiteY1592" fmla="*/ 228314 h 695325"/>
                  <a:gd name="connsiteX1593" fmla="*/ 118396 w 962025"/>
                  <a:gd name="connsiteY1593" fmla="*/ 229171 h 695325"/>
                  <a:gd name="connsiteX1594" fmla="*/ 118396 w 962025"/>
                  <a:gd name="connsiteY1594" fmla="*/ 230029 h 695325"/>
                  <a:gd name="connsiteX1595" fmla="*/ 118396 w 962025"/>
                  <a:gd name="connsiteY1595" fmla="*/ 230029 h 695325"/>
                  <a:gd name="connsiteX1596" fmla="*/ 117538 w 962025"/>
                  <a:gd name="connsiteY1596" fmla="*/ 231743 h 695325"/>
                  <a:gd name="connsiteX1597" fmla="*/ 118396 w 962025"/>
                  <a:gd name="connsiteY1597" fmla="*/ 236029 h 695325"/>
                  <a:gd name="connsiteX1598" fmla="*/ 119253 w 962025"/>
                  <a:gd name="connsiteY1598" fmla="*/ 237649 h 695325"/>
                  <a:gd name="connsiteX1599" fmla="*/ 118396 w 962025"/>
                  <a:gd name="connsiteY1599" fmla="*/ 240221 h 695325"/>
                  <a:gd name="connsiteX1600" fmla="*/ 117538 w 962025"/>
                  <a:gd name="connsiteY1600" fmla="*/ 241078 h 695325"/>
                  <a:gd name="connsiteX1601" fmla="*/ 117538 w 962025"/>
                  <a:gd name="connsiteY1601" fmla="*/ 241935 h 695325"/>
                  <a:gd name="connsiteX1602" fmla="*/ 116681 w 962025"/>
                  <a:gd name="connsiteY1602" fmla="*/ 241935 h 695325"/>
                  <a:gd name="connsiteX1603" fmla="*/ 115824 w 962025"/>
                  <a:gd name="connsiteY1603" fmla="*/ 241935 h 695325"/>
                  <a:gd name="connsiteX1604" fmla="*/ 114967 w 962025"/>
                  <a:gd name="connsiteY1604" fmla="*/ 241935 h 695325"/>
                  <a:gd name="connsiteX1605" fmla="*/ 113348 w 962025"/>
                  <a:gd name="connsiteY1605" fmla="*/ 241078 h 695325"/>
                  <a:gd name="connsiteX1606" fmla="*/ 112490 w 962025"/>
                  <a:gd name="connsiteY1606" fmla="*/ 241078 h 695325"/>
                  <a:gd name="connsiteX1607" fmla="*/ 112490 w 962025"/>
                  <a:gd name="connsiteY1607" fmla="*/ 241078 h 695325"/>
                  <a:gd name="connsiteX1608" fmla="*/ 109061 w 962025"/>
                  <a:gd name="connsiteY1608" fmla="*/ 243650 h 695325"/>
                  <a:gd name="connsiteX1609" fmla="*/ 107347 w 962025"/>
                  <a:gd name="connsiteY1609" fmla="*/ 244507 h 695325"/>
                  <a:gd name="connsiteX1610" fmla="*/ 106585 w 962025"/>
                  <a:gd name="connsiteY1610" fmla="*/ 245364 h 695325"/>
                  <a:gd name="connsiteX1611" fmla="*/ 104870 w 962025"/>
                  <a:gd name="connsiteY1611" fmla="*/ 245364 h 695325"/>
                  <a:gd name="connsiteX1612" fmla="*/ 104013 w 962025"/>
                  <a:gd name="connsiteY1612" fmla="*/ 244507 h 695325"/>
                  <a:gd name="connsiteX1613" fmla="*/ 102298 w 962025"/>
                  <a:gd name="connsiteY1613" fmla="*/ 243650 h 695325"/>
                  <a:gd name="connsiteX1614" fmla="*/ 99822 w 962025"/>
                  <a:gd name="connsiteY1614" fmla="*/ 241935 h 695325"/>
                  <a:gd name="connsiteX1615" fmla="*/ 98965 w 962025"/>
                  <a:gd name="connsiteY1615" fmla="*/ 241935 h 695325"/>
                  <a:gd name="connsiteX1616" fmla="*/ 97250 w 962025"/>
                  <a:gd name="connsiteY1616" fmla="*/ 241078 h 695325"/>
                  <a:gd name="connsiteX1617" fmla="*/ 96393 w 962025"/>
                  <a:gd name="connsiteY1617" fmla="*/ 241078 h 695325"/>
                  <a:gd name="connsiteX1618" fmla="*/ 95536 w 962025"/>
                  <a:gd name="connsiteY1618" fmla="*/ 240221 h 695325"/>
                  <a:gd name="connsiteX1619" fmla="*/ 93821 w 962025"/>
                  <a:gd name="connsiteY1619" fmla="*/ 238506 h 695325"/>
                  <a:gd name="connsiteX1620" fmla="*/ 92202 w 962025"/>
                  <a:gd name="connsiteY1620" fmla="*/ 237649 h 695325"/>
                  <a:gd name="connsiteX1621" fmla="*/ 90488 w 962025"/>
                  <a:gd name="connsiteY1621" fmla="*/ 236792 h 695325"/>
                  <a:gd name="connsiteX1622" fmla="*/ 87916 w 962025"/>
                  <a:gd name="connsiteY1622" fmla="*/ 236792 h 695325"/>
                  <a:gd name="connsiteX1623" fmla="*/ 87058 w 962025"/>
                  <a:gd name="connsiteY1623" fmla="*/ 237649 h 695325"/>
                  <a:gd name="connsiteX1624" fmla="*/ 87058 w 962025"/>
                  <a:gd name="connsiteY1624" fmla="*/ 238506 h 695325"/>
                  <a:gd name="connsiteX1625" fmla="*/ 88773 w 962025"/>
                  <a:gd name="connsiteY1625" fmla="*/ 243650 h 695325"/>
                  <a:gd name="connsiteX1626" fmla="*/ 89630 w 962025"/>
                  <a:gd name="connsiteY1626" fmla="*/ 245364 h 695325"/>
                  <a:gd name="connsiteX1627" fmla="*/ 89630 w 962025"/>
                  <a:gd name="connsiteY1627" fmla="*/ 247079 h 695325"/>
                  <a:gd name="connsiteX1628" fmla="*/ 89630 w 962025"/>
                  <a:gd name="connsiteY1628" fmla="*/ 248793 h 695325"/>
                  <a:gd name="connsiteX1629" fmla="*/ 88773 w 962025"/>
                  <a:gd name="connsiteY1629" fmla="*/ 252222 h 695325"/>
                  <a:gd name="connsiteX1630" fmla="*/ 88773 w 962025"/>
                  <a:gd name="connsiteY1630" fmla="*/ 252984 h 695325"/>
                  <a:gd name="connsiteX1631" fmla="*/ 89630 w 962025"/>
                  <a:gd name="connsiteY1631" fmla="*/ 252984 h 695325"/>
                  <a:gd name="connsiteX1632" fmla="*/ 90488 w 962025"/>
                  <a:gd name="connsiteY1632" fmla="*/ 252984 h 695325"/>
                  <a:gd name="connsiteX1633" fmla="*/ 93821 w 962025"/>
                  <a:gd name="connsiteY1633" fmla="*/ 252984 h 695325"/>
                  <a:gd name="connsiteX1634" fmla="*/ 95536 w 962025"/>
                  <a:gd name="connsiteY1634" fmla="*/ 253841 h 695325"/>
                  <a:gd name="connsiteX1635" fmla="*/ 98108 w 962025"/>
                  <a:gd name="connsiteY1635" fmla="*/ 254698 h 695325"/>
                  <a:gd name="connsiteX1636" fmla="*/ 99822 w 962025"/>
                  <a:gd name="connsiteY1636" fmla="*/ 254698 h 695325"/>
                  <a:gd name="connsiteX1637" fmla="*/ 100584 w 962025"/>
                  <a:gd name="connsiteY1637" fmla="*/ 254698 h 695325"/>
                  <a:gd name="connsiteX1638" fmla="*/ 101441 w 962025"/>
                  <a:gd name="connsiteY1638" fmla="*/ 253841 h 695325"/>
                  <a:gd name="connsiteX1639" fmla="*/ 102298 w 962025"/>
                  <a:gd name="connsiteY1639" fmla="*/ 253841 h 695325"/>
                  <a:gd name="connsiteX1640" fmla="*/ 104013 w 962025"/>
                  <a:gd name="connsiteY1640" fmla="*/ 253841 h 695325"/>
                  <a:gd name="connsiteX1641" fmla="*/ 104013 w 962025"/>
                  <a:gd name="connsiteY1641" fmla="*/ 254698 h 695325"/>
                  <a:gd name="connsiteX1642" fmla="*/ 104870 w 962025"/>
                  <a:gd name="connsiteY1642" fmla="*/ 255556 h 695325"/>
                  <a:gd name="connsiteX1643" fmla="*/ 104870 w 962025"/>
                  <a:gd name="connsiteY1643" fmla="*/ 257270 h 695325"/>
                  <a:gd name="connsiteX1644" fmla="*/ 104013 w 962025"/>
                  <a:gd name="connsiteY1644" fmla="*/ 258985 h 695325"/>
                  <a:gd name="connsiteX1645" fmla="*/ 104013 w 962025"/>
                  <a:gd name="connsiteY1645" fmla="*/ 260699 h 695325"/>
                  <a:gd name="connsiteX1646" fmla="*/ 104013 w 962025"/>
                  <a:gd name="connsiteY1646" fmla="*/ 262414 h 695325"/>
                  <a:gd name="connsiteX1647" fmla="*/ 104013 w 962025"/>
                  <a:gd name="connsiteY1647" fmla="*/ 263271 h 695325"/>
                  <a:gd name="connsiteX1648" fmla="*/ 103156 w 962025"/>
                  <a:gd name="connsiteY1648" fmla="*/ 265843 h 695325"/>
                  <a:gd name="connsiteX1649" fmla="*/ 102298 w 962025"/>
                  <a:gd name="connsiteY1649" fmla="*/ 266700 h 695325"/>
                  <a:gd name="connsiteX1650" fmla="*/ 101441 w 962025"/>
                  <a:gd name="connsiteY1650" fmla="*/ 268319 h 695325"/>
                  <a:gd name="connsiteX1651" fmla="*/ 99822 w 962025"/>
                  <a:gd name="connsiteY1651" fmla="*/ 268319 h 695325"/>
                  <a:gd name="connsiteX1652" fmla="*/ 98108 w 962025"/>
                  <a:gd name="connsiteY1652" fmla="*/ 269176 h 695325"/>
                  <a:gd name="connsiteX1653" fmla="*/ 93821 w 962025"/>
                  <a:gd name="connsiteY1653" fmla="*/ 269176 h 695325"/>
                  <a:gd name="connsiteX1654" fmla="*/ 93059 w 962025"/>
                  <a:gd name="connsiteY1654" fmla="*/ 269176 h 695325"/>
                  <a:gd name="connsiteX1655" fmla="*/ 91345 w 962025"/>
                  <a:gd name="connsiteY1655" fmla="*/ 268319 h 695325"/>
                  <a:gd name="connsiteX1656" fmla="*/ 91345 w 962025"/>
                  <a:gd name="connsiteY1656" fmla="*/ 267557 h 695325"/>
                  <a:gd name="connsiteX1657" fmla="*/ 89630 w 962025"/>
                  <a:gd name="connsiteY1657" fmla="*/ 264128 h 695325"/>
                  <a:gd name="connsiteX1658" fmla="*/ 88773 w 962025"/>
                  <a:gd name="connsiteY1658" fmla="*/ 264128 h 695325"/>
                  <a:gd name="connsiteX1659" fmla="*/ 87058 w 962025"/>
                  <a:gd name="connsiteY1659" fmla="*/ 262414 h 695325"/>
                  <a:gd name="connsiteX1660" fmla="*/ 86201 w 962025"/>
                  <a:gd name="connsiteY1660" fmla="*/ 261556 h 695325"/>
                  <a:gd name="connsiteX1661" fmla="*/ 86201 w 962025"/>
                  <a:gd name="connsiteY1661" fmla="*/ 260699 h 695325"/>
                  <a:gd name="connsiteX1662" fmla="*/ 85439 w 962025"/>
                  <a:gd name="connsiteY1662" fmla="*/ 257270 h 695325"/>
                  <a:gd name="connsiteX1663" fmla="*/ 84582 w 962025"/>
                  <a:gd name="connsiteY1663" fmla="*/ 255556 h 695325"/>
                  <a:gd name="connsiteX1664" fmla="*/ 84582 w 962025"/>
                  <a:gd name="connsiteY1664" fmla="*/ 254698 h 695325"/>
                  <a:gd name="connsiteX1665" fmla="*/ 82867 w 962025"/>
                  <a:gd name="connsiteY1665" fmla="*/ 254698 h 695325"/>
                  <a:gd name="connsiteX1666" fmla="*/ 82867 w 962025"/>
                  <a:gd name="connsiteY1666" fmla="*/ 255556 h 695325"/>
                  <a:gd name="connsiteX1667" fmla="*/ 82010 w 962025"/>
                  <a:gd name="connsiteY1667" fmla="*/ 257270 h 695325"/>
                  <a:gd name="connsiteX1668" fmla="*/ 82010 w 962025"/>
                  <a:gd name="connsiteY1668" fmla="*/ 261556 h 695325"/>
                  <a:gd name="connsiteX1669" fmla="*/ 82010 w 962025"/>
                  <a:gd name="connsiteY1669" fmla="*/ 264128 h 695325"/>
                  <a:gd name="connsiteX1670" fmla="*/ 82010 w 962025"/>
                  <a:gd name="connsiteY1670" fmla="*/ 265843 h 695325"/>
                  <a:gd name="connsiteX1671" fmla="*/ 83725 w 962025"/>
                  <a:gd name="connsiteY1671" fmla="*/ 267557 h 695325"/>
                  <a:gd name="connsiteX1672" fmla="*/ 83725 w 962025"/>
                  <a:gd name="connsiteY1672" fmla="*/ 269176 h 695325"/>
                  <a:gd name="connsiteX1673" fmla="*/ 79438 w 962025"/>
                  <a:gd name="connsiteY1673" fmla="*/ 278606 h 695325"/>
                  <a:gd name="connsiteX1674" fmla="*/ 76105 w 962025"/>
                  <a:gd name="connsiteY1674" fmla="*/ 283655 h 695325"/>
                  <a:gd name="connsiteX1675" fmla="*/ 76105 w 962025"/>
                  <a:gd name="connsiteY1675" fmla="*/ 285369 h 695325"/>
                  <a:gd name="connsiteX1676" fmla="*/ 75248 w 962025"/>
                  <a:gd name="connsiteY1676" fmla="*/ 286226 h 695325"/>
                  <a:gd name="connsiteX1677" fmla="*/ 75248 w 962025"/>
                  <a:gd name="connsiteY1677" fmla="*/ 287941 h 695325"/>
                  <a:gd name="connsiteX1678" fmla="*/ 76105 w 962025"/>
                  <a:gd name="connsiteY1678" fmla="*/ 288798 h 695325"/>
                  <a:gd name="connsiteX1679" fmla="*/ 76962 w 962025"/>
                  <a:gd name="connsiteY1679" fmla="*/ 289655 h 695325"/>
                  <a:gd name="connsiteX1680" fmla="*/ 87058 w 962025"/>
                  <a:gd name="connsiteY1680" fmla="*/ 292227 h 695325"/>
                  <a:gd name="connsiteX1681" fmla="*/ 88773 w 962025"/>
                  <a:gd name="connsiteY1681" fmla="*/ 293084 h 695325"/>
                  <a:gd name="connsiteX1682" fmla="*/ 90488 w 962025"/>
                  <a:gd name="connsiteY1682" fmla="*/ 294799 h 695325"/>
                  <a:gd name="connsiteX1683" fmla="*/ 90488 w 962025"/>
                  <a:gd name="connsiteY1683" fmla="*/ 297371 h 695325"/>
                  <a:gd name="connsiteX1684" fmla="*/ 89630 w 962025"/>
                  <a:gd name="connsiteY1684" fmla="*/ 298990 h 695325"/>
                  <a:gd name="connsiteX1685" fmla="*/ 87916 w 962025"/>
                  <a:gd name="connsiteY1685" fmla="*/ 300704 h 695325"/>
                  <a:gd name="connsiteX1686" fmla="*/ 81153 w 962025"/>
                  <a:gd name="connsiteY1686" fmla="*/ 306705 h 695325"/>
                  <a:gd name="connsiteX1687" fmla="*/ 81153 w 962025"/>
                  <a:gd name="connsiteY1687" fmla="*/ 307562 h 695325"/>
                  <a:gd name="connsiteX1688" fmla="*/ 81153 w 962025"/>
                  <a:gd name="connsiteY1688" fmla="*/ 309277 h 695325"/>
                  <a:gd name="connsiteX1689" fmla="*/ 81153 w 962025"/>
                  <a:gd name="connsiteY1689" fmla="*/ 310991 h 695325"/>
                  <a:gd name="connsiteX1690" fmla="*/ 80296 w 962025"/>
                  <a:gd name="connsiteY1690" fmla="*/ 313563 h 695325"/>
                  <a:gd name="connsiteX1691" fmla="*/ 79438 w 962025"/>
                  <a:gd name="connsiteY1691" fmla="*/ 314325 h 695325"/>
                  <a:gd name="connsiteX1692" fmla="*/ 77819 w 962025"/>
                  <a:gd name="connsiteY1692" fmla="*/ 316039 h 695325"/>
                  <a:gd name="connsiteX1693" fmla="*/ 77819 w 962025"/>
                  <a:gd name="connsiteY1693" fmla="*/ 317754 h 695325"/>
                  <a:gd name="connsiteX1694" fmla="*/ 77819 w 962025"/>
                  <a:gd name="connsiteY1694" fmla="*/ 318611 h 695325"/>
                  <a:gd name="connsiteX1695" fmla="*/ 79438 w 962025"/>
                  <a:gd name="connsiteY1695" fmla="*/ 318611 h 695325"/>
                  <a:gd name="connsiteX1696" fmla="*/ 81153 w 962025"/>
                  <a:gd name="connsiteY1696" fmla="*/ 318611 h 695325"/>
                  <a:gd name="connsiteX1697" fmla="*/ 86201 w 962025"/>
                  <a:gd name="connsiteY1697" fmla="*/ 317754 h 695325"/>
                  <a:gd name="connsiteX1698" fmla="*/ 87916 w 962025"/>
                  <a:gd name="connsiteY1698" fmla="*/ 318611 h 695325"/>
                  <a:gd name="connsiteX1699" fmla="*/ 89630 w 962025"/>
                  <a:gd name="connsiteY1699" fmla="*/ 318611 h 695325"/>
                  <a:gd name="connsiteX1700" fmla="*/ 91345 w 962025"/>
                  <a:gd name="connsiteY1700" fmla="*/ 320326 h 695325"/>
                  <a:gd name="connsiteX1701" fmla="*/ 93059 w 962025"/>
                  <a:gd name="connsiteY1701" fmla="*/ 321183 h 695325"/>
                  <a:gd name="connsiteX1702" fmla="*/ 93821 w 962025"/>
                  <a:gd name="connsiteY1702" fmla="*/ 322897 h 695325"/>
                  <a:gd name="connsiteX1703" fmla="*/ 94679 w 962025"/>
                  <a:gd name="connsiteY1703" fmla="*/ 325469 h 695325"/>
                  <a:gd name="connsiteX1704" fmla="*/ 94679 w 962025"/>
                  <a:gd name="connsiteY1704" fmla="*/ 331375 h 695325"/>
                  <a:gd name="connsiteX1705" fmla="*/ 95536 w 962025"/>
                  <a:gd name="connsiteY1705" fmla="*/ 333946 h 695325"/>
                  <a:gd name="connsiteX1706" fmla="*/ 96393 w 962025"/>
                  <a:gd name="connsiteY1706" fmla="*/ 335661 h 695325"/>
                  <a:gd name="connsiteX1707" fmla="*/ 97250 w 962025"/>
                  <a:gd name="connsiteY1707" fmla="*/ 337375 h 695325"/>
                  <a:gd name="connsiteX1708" fmla="*/ 98108 w 962025"/>
                  <a:gd name="connsiteY1708" fmla="*/ 339090 h 695325"/>
                  <a:gd name="connsiteX1709" fmla="*/ 99822 w 962025"/>
                  <a:gd name="connsiteY1709" fmla="*/ 340805 h 695325"/>
                  <a:gd name="connsiteX1710" fmla="*/ 102298 w 962025"/>
                  <a:gd name="connsiteY1710" fmla="*/ 342519 h 695325"/>
                  <a:gd name="connsiteX1711" fmla="*/ 103156 w 962025"/>
                  <a:gd name="connsiteY1711" fmla="*/ 343376 h 695325"/>
                  <a:gd name="connsiteX1712" fmla="*/ 104013 w 962025"/>
                  <a:gd name="connsiteY1712" fmla="*/ 345091 h 695325"/>
                  <a:gd name="connsiteX1713" fmla="*/ 104013 w 962025"/>
                  <a:gd name="connsiteY1713" fmla="*/ 345853 h 695325"/>
                  <a:gd name="connsiteX1714" fmla="*/ 103156 w 962025"/>
                  <a:gd name="connsiteY1714" fmla="*/ 346710 h 695325"/>
                  <a:gd name="connsiteX1715" fmla="*/ 102298 w 962025"/>
                  <a:gd name="connsiteY1715" fmla="*/ 348425 h 695325"/>
                  <a:gd name="connsiteX1716" fmla="*/ 101441 w 962025"/>
                  <a:gd name="connsiteY1716" fmla="*/ 349282 h 695325"/>
                  <a:gd name="connsiteX1717" fmla="*/ 97250 w 962025"/>
                  <a:gd name="connsiteY1717" fmla="*/ 362045 h 695325"/>
                  <a:gd name="connsiteX1718" fmla="*/ 96393 w 962025"/>
                  <a:gd name="connsiteY1718" fmla="*/ 367189 h 695325"/>
                  <a:gd name="connsiteX1719" fmla="*/ 96393 w 962025"/>
                  <a:gd name="connsiteY1719" fmla="*/ 371475 h 695325"/>
                  <a:gd name="connsiteX1720" fmla="*/ 96393 w 962025"/>
                  <a:gd name="connsiteY1720" fmla="*/ 373189 h 695325"/>
                  <a:gd name="connsiteX1721" fmla="*/ 97250 w 962025"/>
                  <a:gd name="connsiteY1721" fmla="*/ 374904 h 695325"/>
                  <a:gd name="connsiteX1722" fmla="*/ 98108 w 962025"/>
                  <a:gd name="connsiteY1722" fmla="*/ 376523 h 695325"/>
                  <a:gd name="connsiteX1723" fmla="*/ 99822 w 962025"/>
                  <a:gd name="connsiteY1723" fmla="*/ 379952 h 695325"/>
                  <a:gd name="connsiteX1724" fmla="*/ 100584 w 962025"/>
                  <a:gd name="connsiteY1724" fmla="*/ 383381 h 695325"/>
                  <a:gd name="connsiteX1725" fmla="*/ 100584 w 962025"/>
                  <a:gd name="connsiteY1725" fmla="*/ 385953 h 695325"/>
                  <a:gd name="connsiteX1726" fmla="*/ 100584 w 962025"/>
                  <a:gd name="connsiteY1726" fmla="*/ 387667 h 695325"/>
                  <a:gd name="connsiteX1727" fmla="*/ 99822 w 962025"/>
                  <a:gd name="connsiteY1727" fmla="*/ 390239 h 695325"/>
                  <a:gd name="connsiteX1728" fmla="*/ 98965 w 962025"/>
                  <a:gd name="connsiteY1728" fmla="*/ 391859 h 695325"/>
                  <a:gd name="connsiteX1729" fmla="*/ 98108 w 962025"/>
                  <a:gd name="connsiteY1729" fmla="*/ 393573 h 695325"/>
                  <a:gd name="connsiteX1730" fmla="*/ 97250 w 962025"/>
                  <a:gd name="connsiteY1730" fmla="*/ 394430 h 695325"/>
                  <a:gd name="connsiteX1731" fmla="*/ 96393 w 962025"/>
                  <a:gd name="connsiteY1731" fmla="*/ 396145 h 695325"/>
                  <a:gd name="connsiteX1732" fmla="*/ 95536 w 962025"/>
                  <a:gd name="connsiteY1732" fmla="*/ 397002 h 695325"/>
                  <a:gd name="connsiteX1733" fmla="*/ 93821 w 962025"/>
                  <a:gd name="connsiteY1733" fmla="*/ 402146 h 695325"/>
                  <a:gd name="connsiteX1734" fmla="*/ 93059 w 962025"/>
                  <a:gd name="connsiteY1734" fmla="*/ 403860 h 695325"/>
                  <a:gd name="connsiteX1735" fmla="*/ 92202 w 962025"/>
                  <a:gd name="connsiteY1735" fmla="*/ 405575 h 695325"/>
                  <a:gd name="connsiteX1736" fmla="*/ 91345 w 962025"/>
                  <a:gd name="connsiteY1736" fmla="*/ 407194 h 695325"/>
                  <a:gd name="connsiteX1737" fmla="*/ 87916 w 962025"/>
                  <a:gd name="connsiteY1737" fmla="*/ 410623 h 695325"/>
                  <a:gd name="connsiteX1738" fmla="*/ 87058 w 962025"/>
                  <a:gd name="connsiteY1738" fmla="*/ 410623 h 695325"/>
                  <a:gd name="connsiteX1739" fmla="*/ 83725 w 962025"/>
                  <a:gd name="connsiteY1739" fmla="*/ 411480 h 695325"/>
                  <a:gd name="connsiteX1740" fmla="*/ 82867 w 962025"/>
                  <a:gd name="connsiteY1740" fmla="*/ 411480 h 695325"/>
                  <a:gd name="connsiteX1741" fmla="*/ 76962 w 962025"/>
                  <a:gd name="connsiteY1741" fmla="*/ 415766 h 695325"/>
                  <a:gd name="connsiteX1742" fmla="*/ 74390 w 962025"/>
                  <a:gd name="connsiteY1742" fmla="*/ 416623 h 695325"/>
                  <a:gd name="connsiteX1743" fmla="*/ 68485 w 962025"/>
                  <a:gd name="connsiteY1743" fmla="*/ 418338 h 695325"/>
                  <a:gd name="connsiteX1744" fmla="*/ 66770 w 962025"/>
                  <a:gd name="connsiteY1744" fmla="*/ 420052 h 695325"/>
                  <a:gd name="connsiteX1745" fmla="*/ 60008 w 962025"/>
                  <a:gd name="connsiteY1745" fmla="*/ 425958 h 695325"/>
                  <a:gd name="connsiteX1746" fmla="*/ 58388 w 962025"/>
                  <a:gd name="connsiteY1746" fmla="*/ 427672 h 695325"/>
                  <a:gd name="connsiteX1747" fmla="*/ 54102 w 962025"/>
                  <a:gd name="connsiteY1747" fmla="*/ 435388 h 695325"/>
                  <a:gd name="connsiteX1748" fmla="*/ 54102 w 962025"/>
                  <a:gd name="connsiteY1748" fmla="*/ 437102 h 695325"/>
                  <a:gd name="connsiteX1749" fmla="*/ 54959 w 962025"/>
                  <a:gd name="connsiteY1749" fmla="*/ 438721 h 695325"/>
                  <a:gd name="connsiteX1750" fmla="*/ 55817 w 962025"/>
                  <a:gd name="connsiteY1750" fmla="*/ 439579 h 695325"/>
                  <a:gd name="connsiteX1751" fmla="*/ 56674 w 962025"/>
                  <a:gd name="connsiteY1751" fmla="*/ 440436 h 695325"/>
                  <a:gd name="connsiteX1752" fmla="*/ 56674 w 962025"/>
                  <a:gd name="connsiteY1752" fmla="*/ 440436 h 695325"/>
                  <a:gd name="connsiteX1753" fmla="*/ 57531 w 962025"/>
                  <a:gd name="connsiteY1753" fmla="*/ 441293 h 695325"/>
                  <a:gd name="connsiteX1754" fmla="*/ 60865 w 962025"/>
                  <a:gd name="connsiteY1754" fmla="*/ 441293 h 695325"/>
                  <a:gd name="connsiteX1755" fmla="*/ 64294 w 962025"/>
                  <a:gd name="connsiteY1755" fmla="*/ 443008 h 695325"/>
                  <a:gd name="connsiteX1756" fmla="*/ 65913 w 962025"/>
                  <a:gd name="connsiteY1756" fmla="*/ 443008 h 695325"/>
                  <a:gd name="connsiteX1757" fmla="*/ 68485 w 962025"/>
                  <a:gd name="connsiteY1757" fmla="*/ 443008 h 695325"/>
                  <a:gd name="connsiteX1758" fmla="*/ 69342 w 962025"/>
                  <a:gd name="connsiteY1758" fmla="*/ 443008 h 695325"/>
                  <a:gd name="connsiteX1759" fmla="*/ 71056 w 962025"/>
                  <a:gd name="connsiteY1759" fmla="*/ 443865 h 695325"/>
                  <a:gd name="connsiteX1760" fmla="*/ 71914 w 962025"/>
                  <a:gd name="connsiteY1760" fmla="*/ 444722 h 695325"/>
                  <a:gd name="connsiteX1761" fmla="*/ 72676 w 962025"/>
                  <a:gd name="connsiteY1761" fmla="*/ 446437 h 695325"/>
                  <a:gd name="connsiteX1762" fmla="*/ 73533 w 962025"/>
                  <a:gd name="connsiteY1762" fmla="*/ 447294 h 695325"/>
                  <a:gd name="connsiteX1763" fmla="*/ 76105 w 962025"/>
                  <a:gd name="connsiteY1763" fmla="*/ 449009 h 695325"/>
                  <a:gd name="connsiteX1764" fmla="*/ 76105 w 962025"/>
                  <a:gd name="connsiteY1764" fmla="*/ 449866 h 695325"/>
                  <a:gd name="connsiteX1765" fmla="*/ 75248 w 962025"/>
                  <a:gd name="connsiteY1765" fmla="*/ 450723 h 695325"/>
                  <a:gd name="connsiteX1766" fmla="*/ 71056 w 962025"/>
                  <a:gd name="connsiteY1766" fmla="*/ 452438 h 695325"/>
                  <a:gd name="connsiteX1767" fmla="*/ 64294 w 962025"/>
                  <a:gd name="connsiteY1767" fmla="*/ 456629 h 695325"/>
                  <a:gd name="connsiteX1768" fmla="*/ 57531 w 962025"/>
                  <a:gd name="connsiteY1768" fmla="*/ 458343 h 695325"/>
                  <a:gd name="connsiteX1769" fmla="*/ 49911 w 962025"/>
                  <a:gd name="connsiteY1769" fmla="*/ 462629 h 695325"/>
                  <a:gd name="connsiteX1770" fmla="*/ 47339 w 962025"/>
                  <a:gd name="connsiteY1770" fmla="*/ 463486 h 695325"/>
                  <a:gd name="connsiteX1771" fmla="*/ 45625 w 962025"/>
                  <a:gd name="connsiteY1771" fmla="*/ 462629 h 695325"/>
                  <a:gd name="connsiteX1772" fmla="*/ 44006 w 962025"/>
                  <a:gd name="connsiteY1772" fmla="*/ 461772 h 695325"/>
                  <a:gd name="connsiteX1773" fmla="*/ 42291 w 962025"/>
                  <a:gd name="connsiteY1773" fmla="*/ 461772 h 695325"/>
                  <a:gd name="connsiteX1774" fmla="*/ 39719 w 962025"/>
                  <a:gd name="connsiteY1774" fmla="*/ 461772 h 695325"/>
                  <a:gd name="connsiteX1775" fmla="*/ 38862 w 962025"/>
                  <a:gd name="connsiteY1775" fmla="*/ 461772 h 695325"/>
                  <a:gd name="connsiteX1776" fmla="*/ 37243 w 962025"/>
                  <a:gd name="connsiteY1776" fmla="*/ 462629 h 695325"/>
                  <a:gd name="connsiteX1777" fmla="*/ 36385 w 962025"/>
                  <a:gd name="connsiteY1777" fmla="*/ 463486 h 695325"/>
                  <a:gd name="connsiteX1778" fmla="*/ 34671 w 962025"/>
                  <a:gd name="connsiteY1778" fmla="*/ 465201 h 695325"/>
                  <a:gd name="connsiteX1779" fmla="*/ 32956 w 962025"/>
                  <a:gd name="connsiteY1779" fmla="*/ 466058 h 695325"/>
                  <a:gd name="connsiteX1780" fmla="*/ 34671 w 962025"/>
                  <a:gd name="connsiteY1780" fmla="*/ 471964 h 695325"/>
                  <a:gd name="connsiteX1781" fmla="*/ 36385 w 962025"/>
                  <a:gd name="connsiteY1781" fmla="*/ 482251 h 695325"/>
                  <a:gd name="connsiteX1782" fmla="*/ 37243 w 962025"/>
                  <a:gd name="connsiteY1782" fmla="*/ 483965 h 695325"/>
                  <a:gd name="connsiteX1783" fmla="*/ 37243 w 962025"/>
                  <a:gd name="connsiteY1783" fmla="*/ 485584 h 695325"/>
                  <a:gd name="connsiteX1784" fmla="*/ 38005 w 962025"/>
                  <a:gd name="connsiteY1784" fmla="*/ 485584 h 695325"/>
                  <a:gd name="connsiteX1785" fmla="*/ 38862 w 962025"/>
                  <a:gd name="connsiteY1785" fmla="*/ 485584 h 695325"/>
                  <a:gd name="connsiteX1786" fmla="*/ 39719 w 962025"/>
                  <a:gd name="connsiteY1786" fmla="*/ 485584 h 695325"/>
                  <a:gd name="connsiteX1787" fmla="*/ 40577 w 962025"/>
                  <a:gd name="connsiteY1787" fmla="*/ 485584 h 695325"/>
                  <a:gd name="connsiteX1788" fmla="*/ 41434 w 962025"/>
                  <a:gd name="connsiteY1788" fmla="*/ 484727 h 695325"/>
                  <a:gd name="connsiteX1789" fmla="*/ 42291 w 962025"/>
                  <a:gd name="connsiteY1789" fmla="*/ 484727 h 695325"/>
                  <a:gd name="connsiteX1790" fmla="*/ 44006 w 962025"/>
                  <a:gd name="connsiteY1790" fmla="*/ 485584 h 695325"/>
                  <a:gd name="connsiteX1791" fmla="*/ 47339 w 962025"/>
                  <a:gd name="connsiteY1791" fmla="*/ 489871 h 695325"/>
                  <a:gd name="connsiteX1792" fmla="*/ 48196 w 962025"/>
                  <a:gd name="connsiteY1792" fmla="*/ 491585 h 695325"/>
                  <a:gd name="connsiteX1793" fmla="*/ 47339 w 962025"/>
                  <a:gd name="connsiteY1793" fmla="*/ 494157 h 695325"/>
                  <a:gd name="connsiteX1794" fmla="*/ 38862 w 962025"/>
                  <a:gd name="connsiteY1794" fmla="*/ 512064 h 695325"/>
                  <a:gd name="connsiteX1795" fmla="*/ 38005 w 962025"/>
                  <a:gd name="connsiteY1795" fmla="*/ 513779 h 695325"/>
                  <a:gd name="connsiteX1796" fmla="*/ 37243 w 962025"/>
                  <a:gd name="connsiteY1796" fmla="*/ 514636 h 695325"/>
                  <a:gd name="connsiteX1797" fmla="*/ 35528 w 962025"/>
                  <a:gd name="connsiteY1797" fmla="*/ 515398 h 695325"/>
                  <a:gd name="connsiteX1798" fmla="*/ 34671 w 962025"/>
                  <a:gd name="connsiteY1798" fmla="*/ 516255 h 695325"/>
                  <a:gd name="connsiteX1799" fmla="*/ 33814 w 962025"/>
                  <a:gd name="connsiteY1799" fmla="*/ 516255 h 695325"/>
                  <a:gd name="connsiteX1800" fmla="*/ 32099 w 962025"/>
                  <a:gd name="connsiteY1800" fmla="*/ 516255 h 695325"/>
                  <a:gd name="connsiteX1801" fmla="*/ 29623 w 962025"/>
                  <a:gd name="connsiteY1801" fmla="*/ 516255 h 695325"/>
                  <a:gd name="connsiteX1802" fmla="*/ 27908 w 962025"/>
                  <a:gd name="connsiteY1802" fmla="*/ 517112 h 695325"/>
                  <a:gd name="connsiteX1803" fmla="*/ 27051 w 962025"/>
                  <a:gd name="connsiteY1803" fmla="*/ 517112 h 695325"/>
                  <a:gd name="connsiteX1804" fmla="*/ 18574 w 962025"/>
                  <a:gd name="connsiteY1804" fmla="*/ 523970 h 695325"/>
                  <a:gd name="connsiteX1805" fmla="*/ 14383 w 962025"/>
                  <a:gd name="connsiteY1805" fmla="*/ 528256 h 695325"/>
                  <a:gd name="connsiteX1806" fmla="*/ 13525 w 962025"/>
                  <a:gd name="connsiteY1806" fmla="*/ 529114 h 695325"/>
                  <a:gd name="connsiteX1807" fmla="*/ 12668 w 962025"/>
                  <a:gd name="connsiteY1807" fmla="*/ 529971 h 695325"/>
                  <a:gd name="connsiteX1808" fmla="*/ 10954 w 962025"/>
                  <a:gd name="connsiteY1808" fmla="*/ 529971 h 695325"/>
                  <a:gd name="connsiteX1809" fmla="*/ 10192 w 962025"/>
                  <a:gd name="connsiteY1809" fmla="*/ 529971 h 695325"/>
                  <a:gd name="connsiteX1810" fmla="*/ 4191 w 962025"/>
                  <a:gd name="connsiteY1810" fmla="*/ 528256 h 695325"/>
                  <a:gd name="connsiteX1811" fmla="*/ 3429 w 962025"/>
                  <a:gd name="connsiteY1811" fmla="*/ 527399 h 695325"/>
                  <a:gd name="connsiteX1812" fmla="*/ 2572 w 962025"/>
                  <a:gd name="connsiteY1812" fmla="*/ 528256 h 695325"/>
                  <a:gd name="connsiteX1813" fmla="*/ 1715 w 962025"/>
                  <a:gd name="connsiteY1813" fmla="*/ 528256 h 695325"/>
                  <a:gd name="connsiteX1814" fmla="*/ 857 w 962025"/>
                  <a:gd name="connsiteY1814" fmla="*/ 529114 h 695325"/>
                  <a:gd name="connsiteX1815" fmla="*/ 0 w 962025"/>
                  <a:gd name="connsiteY1815" fmla="*/ 531590 h 695325"/>
                  <a:gd name="connsiteX1816" fmla="*/ 0 w 962025"/>
                  <a:gd name="connsiteY1816" fmla="*/ 532447 h 695325"/>
                  <a:gd name="connsiteX1817" fmla="*/ 857 w 962025"/>
                  <a:gd name="connsiteY1817" fmla="*/ 534162 h 695325"/>
                  <a:gd name="connsiteX1818" fmla="*/ 5906 w 962025"/>
                  <a:gd name="connsiteY1818" fmla="*/ 539305 h 695325"/>
                  <a:gd name="connsiteX1819" fmla="*/ 7620 w 962025"/>
                  <a:gd name="connsiteY1819" fmla="*/ 540163 h 695325"/>
                  <a:gd name="connsiteX1820" fmla="*/ 9335 w 962025"/>
                  <a:gd name="connsiteY1820" fmla="*/ 541020 h 695325"/>
                  <a:gd name="connsiteX1821" fmla="*/ 10954 w 962025"/>
                  <a:gd name="connsiteY1821" fmla="*/ 541020 h 695325"/>
                  <a:gd name="connsiteX1822" fmla="*/ 15240 w 962025"/>
                  <a:gd name="connsiteY1822" fmla="*/ 540163 h 695325"/>
                  <a:gd name="connsiteX1823" fmla="*/ 18574 w 962025"/>
                  <a:gd name="connsiteY1823" fmla="*/ 540163 h 695325"/>
                  <a:gd name="connsiteX1824" fmla="*/ 21146 w 962025"/>
                  <a:gd name="connsiteY1824" fmla="*/ 541020 h 695325"/>
                  <a:gd name="connsiteX1825" fmla="*/ 22860 w 962025"/>
                  <a:gd name="connsiteY1825" fmla="*/ 541877 h 695325"/>
                  <a:gd name="connsiteX1826" fmla="*/ 23717 w 962025"/>
                  <a:gd name="connsiteY1826" fmla="*/ 542734 h 695325"/>
                  <a:gd name="connsiteX1827" fmla="*/ 24479 w 962025"/>
                  <a:gd name="connsiteY1827" fmla="*/ 543592 h 695325"/>
                  <a:gd name="connsiteX1828" fmla="*/ 23717 w 962025"/>
                  <a:gd name="connsiteY1828" fmla="*/ 545306 h 695325"/>
                  <a:gd name="connsiteX1829" fmla="*/ 23717 w 962025"/>
                  <a:gd name="connsiteY1829" fmla="*/ 546163 h 695325"/>
                  <a:gd name="connsiteX1830" fmla="*/ 22860 w 962025"/>
                  <a:gd name="connsiteY1830" fmla="*/ 546926 h 695325"/>
                  <a:gd name="connsiteX1831" fmla="*/ 22003 w 962025"/>
                  <a:gd name="connsiteY1831" fmla="*/ 548640 h 695325"/>
                  <a:gd name="connsiteX1832" fmla="*/ 20288 w 962025"/>
                  <a:gd name="connsiteY1832" fmla="*/ 549497 h 695325"/>
                  <a:gd name="connsiteX1833" fmla="*/ 18574 w 962025"/>
                  <a:gd name="connsiteY1833" fmla="*/ 550355 h 695325"/>
                  <a:gd name="connsiteX1834" fmla="*/ 16954 w 962025"/>
                  <a:gd name="connsiteY1834" fmla="*/ 551212 h 695325"/>
                  <a:gd name="connsiteX1835" fmla="*/ 13525 w 962025"/>
                  <a:gd name="connsiteY1835" fmla="*/ 552069 h 695325"/>
                  <a:gd name="connsiteX1836" fmla="*/ 11811 w 962025"/>
                  <a:gd name="connsiteY1836" fmla="*/ 552069 h 695325"/>
                  <a:gd name="connsiteX1837" fmla="*/ 10954 w 962025"/>
                  <a:gd name="connsiteY1837" fmla="*/ 551212 h 695325"/>
                  <a:gd name="connsiteX1838" fmla="*/ 10192 w 962025"/>
                  <a:gd name="connsiteY1838" fmla="*/ 551212 h 695325"/>
                  <a:gd name="connsiteX1839" fmla="*/ 8477 w 962025"/>
                  <a:gd name="connsiteY1839" fmla="*/ 549497 h 695325"/>
                  <a:gd name="connsiteX1840" fmla="*/ 7620 w 962025"/>
                  <a:gd name="connsiteY1840" fmla="*/ 548640 h 695325"/>
                  <a:gd name="connsiteX1841" fmla="*/ 7620 w 962025"/>
                  <a:gd name="connsiteY1841" fmla="*/ 548640 h 695325"/>
                  <a:gd name="connsiteX1842" fmla="*/ 6763 w 962025"/>
                  <a:gd name="connsiteY1842" fmla="*/ 547783 h 695325"/>
                  <a:gd name="connsiteX1843" fmla="*/ 5906 w 962025"/>
                  <a:gd name="connsiteY1843" fmla="*/ 548640 h 695325"/>
                  <a:gd name="connsiteX1844" fmla="*/ 5048 w 962025"/>
                  <a:gd name="connsiteY1844" fmla="*/ 548640 h 695325"/>
                  <a:gd name="connsiteX1845" fmla="*/ 4191 w 962025"/>
                  <a:gd name="connsiteY1845" fmla="*/ 549497 h 695325"/>
                  <a:gd name="connsiteX1846" fmla="*/ 3429 w 962025"/>
                  <a:gd name="connsiteY1846" fmla="*/ 552069 h 695325"/>
                  <a:gd name="connsiteX1847" fmla="*/ 3429 w 962025"/>
                  <a:gd name="connsiteY1847" fmla="*/ 554641 h 695325"/>
                  <a:gd name="connsiteX1848" fmla="*/ 3429 w 962025"/>
                  <a:gd name="connsiteY1848" fmla="*/ 557213 h 695325"/>
                  <a:gd name="connsiteX1849" fmla="*/ 4191 w 962025"/>
                  <a:gd name="connsiteY1849" fmla="*/ 558927 h 695325"/>
                  <a:gd name="connsiteX1850" fmla="*/ 4191 w 962025"/>
                  <a:gd name="connsiteY1850" fmla="*/ 560642 h 695325"/>
                  <a:gd name="connsiteX1851" fmla="*/ 4191 w 962025"/>
                  <a:gd name="connsiteY1851" fmla="*/ 563975 h 695325"/>
                  <a:gd name="connsiteX1852" fmla="*/ 4191 w 962025"/>
                  <a:gd name="connsiteY1852" fmla="*/ 565690 h 695325"/>
                  <a:gd name="connsiteX1853" fmla="*/ 5048 w 962025"/>
                  <a:gd name="connsiteY1853" fmla="*/ 566547 h 695325"/>
                  <a:gd name="connsiteX1854" fmla="*/ 6763 w 962025"/>
                  <a:gd name="connsiteY1854" fmla="*/ 568261 h 695325"/>
                  <a:gd name="connsiteX1855" fmla="*/ 7620 w 962025"/>
                  <a:gd name="connsiteY1855" fmla="*/ 569119 h 695325"/>
                  <a:gd name="connsiteX1856" fmla="*/ 9335 w 962025"/>
                  <a:gd name="connsiteY1856" fmla="*/ 571690 h 695325"/>
                  <a:gd name="connsiteX1857" fmla="*/ 9335 w 962025"/>
                  <a:gd name="connsiteY1857" fmla="*/ 573405 h 695325"/>
                  <a:gd name="connsiteX1858" fmla="*/ 9335 w 962025"/>
                  <a:gd name="connsiteY1858" fmla="*/ 576834 h 695325"/>
                  <a:gd name="connsiteX1859" fmla="*/ 10192 w 962025"/>
                  <a:gd name="connsiteY1859" fmla="*/ 577596 h 695325"/>
                  <a:gd name="connsiteX1860" fmla="*/ 10954 w 962025"/>
                  <a:gd name="connsiteY1860" fmla="*/ 579310 h 695325"/>
                  <a:gd name="connsiteX1861" fmla="*/ 11811 w 962025"/>
                  <a:gd name="connsiteY1861" fmla="*/ 580168 h 695325"/>
                  <a:gd name="connsiteX1862" fmla="*/ 12668 w 962025"/>
                  <a:gd name="connsiteY1862" fmla="*/ 581882 h 695325"/>
                  <a:gd name="connsiteX1863" fmla="*/ 12668 w 962025"/>
                  <a:gd name="connsiteY1863" fmla="*/ 582739 h 695325"/>
                  <a:gd name="connsiteX1864" fmla="*/ 10954 w 962025"/>
                  <a:gd name="connsiteY1864" fmla="*/ 587026 h 695325"/>
                  <a:gd name="connsiteX1865" fmla="*/ 10954 w 962025"/>
                  <a:gd name="connsiteY1865" fmla="*/ 595503 h 695325"/>
                  <a:gd name="connsiteX1866" fmla="*/ 13525 w 962025"/>
                  <a:gd name="connsiteY1866" fmla="*/ 596360 h 695325"/>
                  <a:gd name="connsiteX1867" fmla="*/ 17717 w 962025"/>
                  <a:gd name="connsiteY1867" fmla="*/ 598075 h 695325"/>
                  <a:gd name="connsiteX1868" fmla="*/ 19431 w 962025"/>
                  <a:gd name="connsiteY1868" fmla="*/ 598932 h 695325"/>
                  <a:gd name="connsiteX1869" fmla="*/ 22003 w 962025"/>
                  <a:gd name="connsiteY1869" fmla="*/ 598932 h 695325"/>
                  <a:gd name="connsiteX1870" fmla="*/ 24479 w 962025"/>
                  <a:gd name="connsiteY1870" fmla="*/ 598075 h 695325"/>
                  <a:gd name="connsiteX1871" fmla="*/ 27051 w 962025"/>
                  <a:gd name="connsiteY1871" fmla="*/ 597218 h 695325"/>
                  <a:gd name="connsiteX1872" fmla="*/ 28765 w 962025"/>
                  <a:gd name="connsiteY1872" fmla="*/ 596360 h 695325"/>
                  <a:gd name="connsiteX1873" fmla="*/ 28765 w 962025"/>
                  <a:gd name="connsiteY1873" fmla="*/ 595503 h 695325"/>
                  <a:gd name="connsiteX1874" fmla="*/ 28765 w 962025"/>
                  <a:gd name="connsiteY1874" fmla="*/ 595503 h 695325"/>
                  <a:gd name="connsiteX1875" fmla="*/ 28765 w 962025"/>
                  <a:gd name="connsiteY1875" fmla="*/ 594646 h 695325"/>
                  <a:gd name="connsiteX1876" fmla="*/ 28765 w 962025"/>
                  <a:gd name="connsiteY1876" fmla="*/ 593788 h 695325"/>
                  <a:gd name="connsiteX1877" fmla="*/ 29623 w 962025"/>
                  <a:gd name="connsiteY1877" fmla="*/ 593788 h 695325"/>
                  <a:gd name="connsiteX1878" fmla="*/ 30480 w 962025"/>
                  <a:gd name="connsiteY1878" fmla="*/ 593788 h 695325"/>
                  <a:gd name="connsiteX1879" fmla="*/ 32099 w 962025"/>
                  <a:gd name="connsiteY1879" fmla="*/ 592931 h 695325"/>
                  <a:gd name="connsiteX1880" fmla="*/ 34671 w 962025"/>
                  <a:gd name="connsiteY1880" fmla="*/ 592169 h 695325"/>
                  <a:gd name="connsiteX1881" fmla="*/ 36385 w 962025"/>
                  <a:gd name="connsiteY1881" fmla="*/ 591312 h 695325"/>
                  <a:gd name="connsiteX1882" fmla="*/ 40577 w 962025"/>
                  <a:gd name="connsiteY1882" fmla="*/ 587026 h 695325"/>
                  <a:gd name="connsiteX1883" fmla="*/ 42291 w 962025"/>
                  <a:gd name="connsiteY1883" fmla="*/ 587026 h 695325"/>
                  <a:gd name="connsiteX1884" fmla="*/ 44006 w 962025"/>
                  <a:gd name="connsiteY1884" fmla="*/ 589597 h 695325"/>
                  <a:gd name="connsiteX1885" fmla="*/ 50768 w 962025"/>
                  <a:gd name="connsiteY1885" fmla="*/ 596360 h 695325"/>
                  <a:gd name="connsiteX1886" fmla="*/ 51625 w 962025"/>
                  <a:gd name="connsiteY1886" fmla="*/ 599789 h 695325"/>
                  <a:gd name="connsiteX1887" fmla="*/ 51625 w 962025"/>
                  <a:gd name="connsiteY1887" fmla="*/ 601504 h 695325"/>
                  <a:gd name="connsiteX1888" fmla="*/ 50768 w 962025"/>
                  <a:gd name="connsiteY1888" fmla="*/ 611696 h 695325"/>
                  <a:gd name="connsiteX1889" fmla="*/ 50768 w 962025"/>
                  <a:gd name="connsiteY1889" fmla="*/ 613410 h 695325"/>
                  <a:gd name="connsiteX1890" fmla="*/ 51625 w 962025"/>
                  <a:gd name="connsiteY1890" fmla="*/ 614267 h 695325"/>
                  <a:gd name="connsiteX1891" fmla="*/ 52388 w 962025"/>
                  <a:gd name="connsiteY1891" fmla="*/ 616839 h 695325"/>
                  <a:gd name="connsiteX1892" fmla="*/ 53245 w 962025"/>
                  <a:gd name="connsiteY1892" fmla="*/ 618554 h 695325"/>
                  <a:gd name="connsiteX1893" fmla="*/ 53245 w 962025"/>
                  <a:gd name="connsiteY1893" fmla="*/ 621125 h 695325"/>
                  <a:gd name="connsiteX1894" fmla="*/ 53245 w 962025"/>
                  <a:gd name="connsiteY1894" fmla="*/ 622840 h 695325"/>
                  <a:gd name="connsiteX1895" fmla="*/ 54102 w 962025"/>
                  <a:gd name="connsiteY1895" fmla="*/ 623697 h 695325"/>
                  <a:gd name="connsiteX1896" fmla="*/ 55817 w 962025"/>
                  <a:gd name="connsiteY1896" fmla="*/ 624459 h 695325"/>
                  <a:gd name="connsiteX1897" fmla="*/ 59150 w 962025"/>
                  <a:gd name="connsiteY1897" fmla="*/ 626173 h 695325"/>
                  <a:gd name="connsiteX1898" fmla="*/ 62579 w 962025"/>
                  <a:gd name="connsiteY1898" fmla="*/ 629602 h 695325"/>
                  <a:gd name="connsiteX1899" fmla="*/ 64294 w 962025"/>
                  <a:gd name="connsiteY1899" fmla="*/ 630460 h 695325"/>
                  <a:gd name="connsiteX1900" fmla="*/ 70199 w 962025"/>
                  <a:gd name="connsiteY1900" fmla="*/ 632174 h 695325"/>
                  <a:gd name="connsiteX1901" fmla="*/ 71056 w 962025"/>
                  <a:gd name="connsiteY1901" fmla="*/ 633031 h 695325"/>
                  <a:gd name="connsiteX1902" fmla="*/ 72676 w 962025"/>
                  <a:gd name="connsiteY1902" fmla="*/ 634746 h 695325"/>
                  <a:gd name="connsiteX1903" fmla="*/ 73533 w 962025"/>
                  <a:gd name="connsiteY1903" fmla="*/ 635603 h 695325"/>
                  <a:gd name="connsiteX1904" fmla="*/ 75248 w 962025"/>
                  <a:gd name="connsiteY1904" fmla="*/ 636460 h 695325"/>
                  <a:gd name="connsiteX1905" fmla="*/ 77819 w 962025"/>
                  <a:gd name="connsiteY1905" fmla="*/ 636460 h 695325"/>
                  <a:gd name="connsiteX1906" fmla="*/ 81153 w 962025"/>
                  <a:gd name="connsiteY1906" fmla="*/ 636460 h 695325"/>
                  <a:gd name="connsiteX1907" fmla="*/ 91345 w 962025"/>
                  <a:gd name="connsiteY1907" fmla="*/ 635603 h 695325"/>
                  <a:gd name="connsiteX1908" fmla="*/ 92202 w 962025"/>
                  <a:gd name="connsiteY1908" fmla="*/ 635603 h 695325"/>
                  <a:gd name="connsiteX1909" fmla="*/ 95536 w 962025"/>
                  <a:gd name="connsiteY1909" fmla="*/ 636460 h 695325"/>
                  <a:gd name="connsiteX1910" fmla="*/ 96393 w 962025"/>
                  <a:gd name="connsiteY1910" fmla="*/ 636460 h 695325"/>
                  <a:gd name="connsiteX1911" fmla="*/ 98108 w 962025"/>
                  <a:gd name="connsiteY1911" fmla="*/ 637318 h 695325"/>
                  <a:gd name="connsiteX1912" fmla="*/ 99822 w 962025"/>
                  <a:gd name="connsiteY1912" fmla="*/ 639032 h 695325"/>
                  <a:gd name="connsiteX1913" fmla="*/ 100584 w 962025"/>
                  <a:gd name="connsiteY1913" fmla="*/ 639794 h 695325"/>
                  <a:gd name="connsiteX1914" fmla="*/ 102298 w 962025"/>
                  <a:gd name="connsiteY1914" fmla="*/ 639794 h 695325"/>
                  <a:gd name="connsiteX1915" fmla="*/ 108204 w 962025"/>
                  <a:gd name="connsiteY1915" fmla="*/ 640651 h 695325"/>
                  <a:gd name="connsiteX1916" fmla="*/ 108204 w 962025"/>
                  <a:gd name="connsiteY1916" fmla="*/ 640651 h 695325"/>
                  <a:gd name="connsiteX1917" fmla="*/ 111633 w 962025"/>
                  <a:gd name="connsiteY1917" fmla="*/ 642366 h 695325"/>
                  <a:gd name="connsiteX1918" fmla="*/ 112490 w 962025"/>
                  <a:gd name="connsiteY1918" fmla="*/ 643223 h 695325"/>
                  <a:gd name="connsiteX1919" fmla="*/ 114967 w 962025"/>
                  <a:gd name="connsiteY1919" fmla="*/ 645795 h 695325"/>
                  <a:gd name="connsiteX1920" fmla="*/ 119253 w 962025"/>
                  <a:gd name="connsiteY1920" fmla="*/ 651796 h 695325"/>
                  <a:gd name="connsiteX1921" fmla="*/ 120110 w 962025"/>
                  <a:gd name="connsiteY1921" fmla="*/ 654368 h 695325"/>
                  <a:gd name="connsiteX1922" fmla="*/ 120872 w 962025"/>
                  <a:gd name="connsiteY1922" fmla="*/ 655130 h 695325"/>
                  <a:gd name="connsiteX1923" fmla="*/ 121729 w 962025"/>
                  <a:gd name="connsiteY1923" fmla="*/ 656844 h 695325"/>
                  <a:gd name="connsiteX1924" fmla="*/ 122587 w 962025"/>
                  <a:gd name="connsiteY1924" fmla="*/ 657701 h 695325"/>
                  <a:gd name="connsiteX1925" fmla="*/ 124301 w 962025"/>
                  <a:gd name="connsiteY1925" fmla="*/ 658559 h 695325"/>
                  <a:gd name="connsiteX1926" fmla="*/ 130207 w 962025"/>
                  <a:gd name="connsiteY1926" fmla="*/ 661130 h 695325"/>
                  <a:gd name="connsiteX1927" fmla="*/ 142018 w 962025"/>
                  <a:gd name="connsiteY1927" fmla="*/ 663702 h 695325"/>
                  <a:gd name="connsiteX1928" fmla="*/ 145447 w 962025"/>
                  <a:gd name="connsiteY1928" fmla="*/ 662845 h 695325"/>
                  <a:gd name="connsiteX1929" fmla="*/ 147161 w 962025"/>
                  <a:gd name="connsiteY1929" fmla="*/ 663702 h 695325"/>
                  <a:gd name="connsiteX1930" fmla="*/ 148019 w 962025"/>
                  <a:gd name="connsiteY1930" fmla="*/ 663702 h 695325"/>
                  <a:gd name="connsiteX1931" fmla="*/ 149638 w 962025"/>
                  <a:gd name="connsiteY1931" fmla="*/ 664559 h 695325"/>
                  <a:gd name="connsiteX1932" fmla="*/ 160687 w 962025"/>
                  <a:gd name="connsiteY1932" fmla="*/ 664559 h 695325"/>
                  <a:gd name="connsiteX1933" fmla="*/ 164878 w 962025"/>
                  <a:gd name="connsiteY1933" fmla="*/ 664559 h 695325"/>
                  <a:gd name="connsiteX1934" fmla="*/ 166592 w 962025"/>
                  <a:gd name="connsiteY1934" fmla="*/ 664559 h 695325"/>
                  <a:gd name="connsiteX1935" fmla="*/ 169926 w 962025"/>
                  <a:gd name="connsiteY1935" fmla="*/ 663702 h 695325"/>
                  <a:gd name="connsiteX1936" fmla="*/ 172498 w 962025"/>
                  <a:gd name="connsiteY1936" fmla="*/ 663702 h 695325"/>
                  <a:gd name="connsiteX1937" fmla="*/ 174212 w 962025"/>
                  <a:gd name="connsiteY1937" fmla="*/ 662845 h 695325"/>
                  <a:gd name="connsiteX1938" fmla="*/ 175831 w 962025"/>
                  <a:gd name="connsiteY1938" fmla="*/ 662845 h 695325"/>
                  <a:gd name="connsiteX1939" fmla="*/ 180118 w 962025"/>
                  <a:gd name="connsiteY1939" fmla="*/ 663702 h 695325"/>
                  <a:gd name="connsiteX1940" fmla="*/ 185166 w 962025"/>
                  <a:gd name="connsiteY1940" fmla="*/ 663702 h 695325"/>
                  <a:gd name="connsiteX1941" fmla="*/ 196977 w 962025"/>
                  <a:gd name="connsiteY1941" fmla="*/ 663702 h 695325"/>
                  <a:gd name="connsiteX1942" fmla="*/ 203740 w 962025"/>
                  <a:gd name="connsiteY1942" fmla="*/ 661130 h 695325"/>
                  <a:gd name="connsiteX1943" fmla="*/ 207169 w 962025"/>
                  <a:gd name="connsiteY1943" fmla="*/ 661988 h 695325"/>
                  <a:gd name="connsiteX1944" fmla="*/ 210502 w 962025"/>
                  <a:gd name="connsiteY1944" fmla="*/ 661988 h 695325"/>
                  <a:gd name="connsiteX1945" fmla="*/ 212217 w 962025"/>
                  <a:gd name="connsiteY1945" fmla="*/ 662845 h 695325"/>
                  <a:gd name="connsiteX1946" fmla="*/ 215646 w 962025"/>
                  <a:gd name="connsiteY1946" fmla="*/ 663702 h 695325"/>
                  <a:gd name="connsiteX1947" fmla="*/ 221552 w 962025"/>
                  <a:gd name="connsiteY1947" fmla="*/ 665417 h 695325"/>
                  <a:gd name="connsiteX1948" fmla="*/ 223266 w 962025"/>
                  <a:gd name="connsiteY1948" fmla="*/ 665417 h 695325"/>
                  <a:gd name="connsiteX1949" fmla="*/ 224028 w 962025"/>
                  <a:gd name="connsiteY1949" fmla="*/ 665417 h 695325"/>
                  <a:gd name="connsiteX1950" fmla="*/ 224885 w 962025"/>
                  <a:gd name="connsiteY1950" fmla="*/ 664559 h 695325"/>
                  <a:gd name="connsiteX1951" fmla="*/ 226600 w 962025"/>
                  <a:gd name="connsiteY1951" fmla="*/ 665417 h 695325"/>
                  <a:gd name="connsiteX1952" fmla="*/ 227457 w 962025"/>
                  <a:gd name="connsiteY1952" fmla="*/ 666274 h 695325"/>
                  <a:gd name="connsiteX1953" fmla="*/ 229171 w 962025"/>
                  <a:gd name="connsiteY1953" fmla="*/ 669703 h 695325"/>
                  <a:gd name="connsiteX1954" fmla="*/ 231648 w 962025"/>
                  <a:gd name="connsiteY1954" fmla="*/ 675608 h 695325"/>
                  <a:gd name="connsiteX1955" fmla="*/ 232505 w 962025"/>
                  <a:gd name="connsiteY1955" fmla="*/ 680752 h 695325"/>
                  <a:gd name="connsiteX1956" fmla="*/ 233363 w 962025"/>
                  <a:gd name="connsiteY1956" fmla="*/ 685800 h 695325"/>
                  <a:gd name="connsiteX1957" fmla="*/ 232505 w 962025"/>
                  <a:gd name="connsiteY1957" fmla="*/ 687514 h 695325"/>
                  <a:gd name="connsiteX1958" fmla="*/ 231648 w 962025"/>
                  <a:gd name="connsiteY1958" fmla="*/ 687514 h 695325"/>
                  <a:gd name="connsiteX1959" fmla="*/ 230791 w 962025"/>
                  <a:gd name="connsiteY1959" fmla="*/ 688372 h 695325"/>
                  <a:gd name="connsiteX1960" fmla="*/ 230029 w 962025"/>
                  <a:gd name="connsiteY1960" fmla="*/ 688372 h 695325"/>
                  <a:gd name="connsiteX1961" fmla="*/ 230029 w 962025"/>
                  <a:gd name="connsiteY1961" fmla="*/ 688372 h 695325"/>
                  <a:gd name="connsiteX1962" fmla="*/ 229171 w 962025"/>
                  <a:gd name="connsiteY1962" fmla="*/ 688372 h 695325"/>
                  <a:gd name="connsiteX1963" fmla="*/ 229171 w 962025"/>
                  <a:gd name="connsiteY1963" fmla="*/ 688372 h 695325"/>
                  <a:gd name="connsiteX1964" fmla="*/ 229171 w 962025"/>
                  <a:gd name="connsiteY1964" fmla="*/ 689229 h 695325"/>
                  <a:gd name="connsiteX1965" fmla="*/ 229171 w 962025"/>
                  <a:gd name="connsiteY1965" fmla="*/ 689229 h 695325"/>
                  <a:gd name="connsiteX1966" fmla="*/ 229171 w 962025"/>
                  <a:gd name="connsiteY1966" fmla="*/ 690086 h 695325"/>
                  <a:gd name="connsiteX1967" fmla="*/ 229171 w 962025"/>
                  <a:gd name="connsiteY1967" fmla="*/ 690943 h 695325"/>
                  <a:gd name="connsiteX1968" fmla="*/ 233363 w 962025"/>
                  <a:gd name="connsiteY1968" fmla="*/ 696087 h 695325"/>
                  <a:gd name="connsiteX1969" fmla="*/ 235934 w 962025"/>
                  <a:gd name="connsiteY1969" fmla="*/ 697801 h 695325"/>
                  <a:gd name="connsiteX1970" fmla="*/ 237649 w 962025"/>
                  <a:gd name="connsiteY1970" fmla="*/ 698659 h 695325"/>
                  <a:gd name="connsiteX1971" fmla="*/ 248602 w 962025"/>
                  <a:gd name="connsiteY1971" fmla="*/ 700373 h 695325"/>
                  <a:gd name="connsiteX1972" fmla="*/ 252794 w 962025"/>
                  <a:gd name="connsiteY1972" fmla="*/ 699516 h 695325"/>
                  <a:gd name="connsiteX1973" fmla="*/ 258699 w 962025"/>
                  <a:gd name="connsiteY1973" fmla="*/ 698659 h 695325"/>
                  <a:gd name="connsiteX1974" fmla="*/ 262985 w 962025"/>
                  <a:gd name="connsiteY1974" fmla="*/ 696944 h 695325"/>
                  <a:gd name="connsiteX1975" fmla="*/ 265462 w 962025"/>
                  <a:gd name="connsiteY1975" fmla="*/ 696087 h 695325"/>
                  <a:gd name="connsiteX1976" fmla="*/ 267176 w 962025"/>
                  <a:gd name="connsiteY1976" fmla="*/ 694372 h 695325"/>
                  <a:gd name="connsiteX1977" fmla="*/ 268891 w 962025"/>
                  <a:gd name="connsiteY1977" fmla="*/ 690943 h 695325"/>
                  <a:gd name="connsiteX1978" fmla="*/ 270605 w 962025"/>
                  <a:gd name="connsiteY1978" fmla="*/ 689229 h 695325"/>
                  <a:gd name="connsiteX1979" fmla="*/ 272225 w 962025"/>
                  <a:gd name="connsiteY1979" fmla="*/ 687514 h 695325"/>
                  <a:gd name="connsiteX1980" fmla="*/ 274796 w 962025"/>
                  <a:gd name="connsiteY1980" fmla="*/ 685800 h 695325"/>
                  <a:gd name="connsiteX1981" fmla="*/ 277368 w 962025"/>
                  <a:gd name="connsiteY1981" fmla="*/ 685800 h 695325"/>
                  <a:gd name="connsiteX1982" fmla="*/ 284988 w 962025"/>
                  <a:gd name="connsiteY1982" fmla="*/ 685038 h 695325"/>
                  <a:gd name="connsiteX1983" fmla="*/ 286607 w 962025"/>
                  <a:gd name="connsiteY1983" fmla="*/ 684181 h 695325"/>
                  <a:gd name="connsiteX1984" fmla="*/ 287465 w 962025"/>
                  <a:gd name="connsiteY1984" fmla="*/ 682466 h 695325"/>
                  <a:gd name="connsiteX1985" fmla="*/ 288322 w 962025"/>
                  <a:gd name="connsiteY1985" fmla="*/ 680752 h 695325"/>
                  <a:gd name="connsiteX1986" fmla="*/ 289179 w 962025"/>
                  <a:gd name="connsiteY1986" fmla="*/ 679037 h 695325"/>
                  <a:gd name="connsiteX1987" fmla="*/ 289179 w 962025"/>
                  <a:gd name="connsiteY1987" fmla="*/ 673894 h 695325"/>
                  <a:gd name="connsiteX1988" fmla="*/ 287465 w 962025"/>
                  <a:gd name="connsiteY1988" fmla="*/ 670465 h 695325"/>
                  <a:gd name="connsiteX1989" fmla="*/ 287465 w 962025"/>
                  <a:gd name="connsiteY1989" fmla="*/ 669703 h 695325"/>
                  <a:gd name="connsiteX1990" fmla="*/ 287465 w 962025"/>
                  <a:gd name="connsiteY1990" fmla="*/ 667988 h 695325"/>
                  <a:gd name="connsiteX1991" fmla="*/ 287465 w 962025"/>
                  <a:gd name="connsiteY1991" fmla="*/ 667131 h 695325"/>
                  <a:gd name="connsiteX1992" fmla="*/ 288322 w 962025"/>
                  <a:gd name="connsiteY1992" fmla="*/ 666274 h 695325"/>
                  <a:gd name="connsiteX1993" fmla="*/ 291751 w 962025"/>
                  <a:gd name="connsiteY1993" fmla="*/ 664559 h 695325"/>
                  <a:gd name="connsiteX1994" fmla="*/ 295942 w 962025"/>
                  <a:gd name="connsiteY1994" fmla="*/ 661988 h 695325"/>
                  <a:gd name="connsiteX1995" fmla="*/ 296799 w 962025"/>
                  <a:gd name="connsiteY1995" fmla="*/ 661130 h 695325"/>
                  <a:gd name="connsiteX1996" fmla="*/ 297656 w 962025"/>
                  <a:gd name="connsiteY1996" fmla="*/ 659416 h 695325"/>
                  <a:gd name="connsiteX1997" fmla="*/ 300133 w 962025"/>
                  <a:gd name="connsiteY1997" fmla="*/ 655130 h 695325"/>
                  <a:gd name="connsiteX1998" fmla="*/ 300990 w 962025"/>
                  <a:gd name="connsiteY1998" fmla="*/ 654368 h 695325"/>
                  <a:gd name="connsiteX1999" fmla="*/ 301847 w 962025"/>
                  <a:gd name="connsiteY1999" fmla="*/ 652653 h 695325"/>
                  <a:gd name="connsiteX2000" fmla="*/ 303562 w 962025"/>
                  <a:gd name="connsiteY2000" fmla="*/ 651796 h 695325"/>
                  <a:gd name="connsiteX2001" fmla="*/ 303562 w 962025"/>
                  <a:gd name="connsiteY2001" fmla="*/ 650081 h 695325"/>
                  <a:gd name="connsiteX2002" fmla="*/ 304419 w 962025"/>
                  <a:gd name="connsiteY2002" fmla="*/ 650081 h 695325"/>
                  <a:gd name="connsiteX2003" fmla="*/ 304419 w 962025"/>
                  <a:gd name="connsiteY2003" fmla="*/ 649224 h 695325"/>
                  <a:gd name="connsiteX2004" fmla="*/ 304419 w 962025"/>
                  <a:gd name="connsiteY2004" fmla="*/ 649224 h 695325"/>
                  <a:gd name="connsiteX2005" fmla="*/ 304419 w 962025"/>
                  <a:gd name="connsiteY2005" fmla="*/ 648367 h 695325"/>
                  <a:gd name="connsiteX2006" fmla="*/ 304419 w 962025"/>
                  <a:gd name="connsiteY2006" fmla="*/ 645795 h 695325"/>
                  <a:gd name="connsiteX2007" fmla="*/ 304419 w 962025"/>
                  <a:gd name="connsiteY2007" fmla="*/ 644938 h 695325"/>
                  <a:gd name="connsiteX2008" fmla="*/ 304419 w 962025"/>
                  <a:gd name="connsiteY2008" fmla="*/ 643223 h 695325"/>
                  <a:gd name="connsiteX2009" fmla="*/ 305276 w 962025"/>
                  <a:gd name="connsiteY2009" fmla="*/ 639794 h 695325"/>
                  <a:gd name="connsiteX2010" fmla="*/ 306896 w 962025"/>
                  <a:gd name="connsiteY2010" fmla="*/ 637318 h 695325"/>
                  <a:gd name="connsiteX2011" fmla="*/ 310325 w 962025"/>
                  <a:gd name="connsiteY2011" fmla="*/ 636460 h 695325"/>
                  <a:gd name="connsiteX2012" fmla="*/ 316230 w 962025"/>
                  <a:gd name="connsiteY2012" fmla="*/ 636460 h 695325"/>
                  <a:gd name="connsiteX2013" fmla="*/ 318802 w 962025"/>
                  <a:gd name="connsiteY2013" fmla="*/ 635603 h 695325"/>
                  <a:gd name="connsiteX2014" fmla="*/ 330613 w 962025"/>
                  <a:gd name="connsiteY2014" fmla="*/ 626173 h 695325"/>
                  <a:gd name="connsiteX2015" fmla="*/ 335661 w 962025"/>
                  <a:gd name="connsiteY2015" fmla="*/ 624459 h 695325"/>
                  <a:gd name="connsiteX2016" fmla="*/ 339947 w 962025"/>
                  <a:gd name="connsiteY2016" fmla="*/ 622840 h 695325"/>
                  <a:gd name="connsiteX2017" fmla="*/ 345853 w 962025"/>
                  <a:gd name="connsiteY2017" fmla="*/ 621982 h 695325"/>
                  <a:gd name="connsiteX2018" fmla="*/ 347567 w 962025"/>
                  <a:gd name="connsiteY2018" fmla="*/ 622840 h 695325"/>
                  <a:gd name="connsiteX2019" fmla="*/ 348329 w 962025"/>
                  <a:gd name="connsiteY2019" fmla="*/ 622840 h 695325"/>
                  <a:gd name="connsiteX2020" fmla="*/ 348329 w 962025"/>
                  <a:gd name="connsiteY2020" fmla="*/ 623697 h 695325"/>
                  <a:gd name="connsiteX2021" fmla="*/ 349186 w 962025"/>
                  <a:gd name="connsiteY2021" fmla="*/ 624459 h 695325"/>
                  <a:gd name="connsiteX2022" fmla="*/ 349186 w 962025"/>
                  <a:gd name="connsiteY2022" fmla="*/ 624459 h 695325"/>
                  <a:gd name="connsiteX2023" fmla="*/ 350044 w 962025"/>
                  <a:gd name="connsiteY2023" fmla="*/ 625316 h 695325"/>
                  <a:gd name="connsiteX2024" fmla="*/ 350901 w 962025"/>
                  <a:gd name="connsiteY2024" fmla="*/ 625316 h 695325"/>
                  <a:gd name="connsiteX2025" fmla="*/ 351758 w 962025"/>
                  <a:gd name="connsiteY2025" fmla="*/ 625316 h 695325"/>
                  <a:gd name="connsiteX2026" fmla="*/ 353473 w 962025"/>
                  <a:gd name="connsiteY2026" fmla="*/ 625316 h 695325"/>
                  <a:gd name="connsiteX2027" fmla="*/ 353473 w 962025"/>
                  <a:gd name="connsiteY2027" fmla="*/ 624459 h 695325"/>
                  <a:gd name="connsiteX2028" fmla="*/ 354330 w 962025"/>
                  <a:gd name="connsiteY2028" fmla="*/ 623697 h 695325"/>
                  <a:gd name="connsiteX2029" fmla="*/ 355092 w 962025"/>
                  <a:gd name="connsiteY2029" fmla="*/ 621982 h 695325"/>
                  <a:gd name="connsiteX2030" fmla="*/ 355949 w 962025"/>
                  <a:gd name="connsiteY2030" fmla="*/ 621982 h 695325"/>
                  <a:gd name="connsiteX2031" fmla="*/ 359378 w 962025"/>
                  <a:gd name="connsiteY2031" fmla="*/ 621125 h 695325"/>
                  <a:gd name="connsiteX2032" fmla="*/ 360236 w 962025"/>
                  <a:gd name="connsiteY2032" fmla="*/ 620268 h 695325"/>
                  <a:gd name="connsiteX2033" fmla="*/ 361093 w 962025"/>
                  <a:gd name="connsiteY2033" fmla="*/ 618554 h 695325"/>
                  <a:gd name="connsiteX2034" fmla="*/ 362712 w 962025"/>
                  <a:gd name="connsiteY2034" fmla="*/ 617696 h 695325"/>
                  <a:gd name="connsiteX2035" fmla="*/ 364427 w 962025"/>
                  <a:gd name="connsiteY2035" fmla="*/ 616839 h 695325"/>
                  <a:gd name="connsiteX2036" fmla="*/ 377952 w 962025"/>
                  <a:gd name="connsiteY2036" fmla="*/ 616839 h 695325"/>
                  <a:gd name="connsiteX2037" fmla="*/ 379667 w 962025"/>
                  <a:gd name="connsiteY2037" fmla="*/ 617696 h 695325"/>
                  <a:gd name="connsiteX2038" fmla="*/ 381381 w 962025"/>
                  <a:gd name="connsiteY2038" fmla="*/ 618554 h 695325"/>
                  <a:gd name="connsiteX2039" fmla="*/ 382238 w 962025"/>
                  <a:gd name="connsiteY2039" fmla="*/ 619411 h 695325"/>
                  <a:gd name="connsiteX2040" fmla="*/ 382238 w 962025"/>
                  <a:gd name="connsiteY2040" fmla="*/ 620268 h 695325"/>
                  <a:gd name="connsiteX2041" fmla="*/ 383000 w 962025"/>
                  <a:gd name="connsiteY2041" fmla="*/ 621125 h 695325"/>
                  <a:gd name="connsiteX2042" fmla="*/ 383000 w 962025"/>
                  <a:gd name="connsiteY2042" fmla="*/ 621125 h 695325"/>
                  <a:gd name="connsiteX2043" fmla="*/ 383000 w 962025"/>
                  <a:gd name="connsiteY2043" fmla="*/ 621982 h 695325"/>
                  <a:gd name="connsiteX2044" fmla="*/ 383858 w 962025"/>
                  <a:gd name="connsiteY2044" fmla="*/ 621982 h 695325"/>
                  <a:gd name="connsiteX2045" fmla="*/ 386429 w 962025"/>
                  <a:gd name="connsiteY2045" fmla="*/ 622840 h 695325"/>
                  <a:gd name="connsiteX2046" fmla="*/ 387286 w 962025"/>
                  <a:gd name="connsiteY2046" fmla="*/ 623697 h 695325"/>
                  <a:gd name="connsiteX2047" fmla="*/ 388144 w 962025"/>
                  <a:gd name="connsiteY2047" fmla="*/ 624459 h 695325"/>
                  <a:gd name="connsiteX2048" fmla="*/ 388144 w 962025"/>
                  <a:gd name="connsiteY2048" fmla="*/ 626173 h 695325"/>
                  <a:gd name="connsiteX2049" fmla="*/ 389763 w 962025"/>
                  <a:gd name="connsiteY2049" fmla="*/ 634746 h 695325"/>
                  <a:gd name="connsiteX2050" fmla="*/ 389763 w 962025"/>
                  <a:gd name="connsiteY2050" fmla="*/ 636460 h 695325"/>
                  <a:gd name="connsiteX2051" fmla="*/ 389001 w 962025"/>
                  <a:gd name="connsiteY2051" fmla="*/ 638175 h 695325"/>
                  <a:gd name="connsiteX2052" fmla="*/ 389763 w 962025"/>
                  <a:gd name="connsiteY2052" fmla="*/ 639794 h 695325"/>
                  <a:gd name="connsiteX2053" fmla="*/ 389763 w 962025"/>
                  <a:gd name="connsiteY2053" fmla="*/ 640651 h 695325"/>
                  <a:gd name="connsiteX2054" fmla="*/ 390620 w 962025"/>
                  <a:gd name="connsiteY2054" fmla="*/ 641509 h 695325"/>
                  <a:gd name="connsiteX2055" fmla="*/ 391478 w 962025"/>
                  <a:gd name="connsiteY2055" fmla="*/ 642366 h 695325"/>
                  <a:gd name="connsiteX2056" fmla="*/ 390620 w 962025"/>
                  <a:gd name="connsiteY2056" fmla="*/ 643223 h 695325"/>
                  <a:gd name="connsiteX2057" fmla="*/ 389763 w 962025"/>
                  <a:gd name="connsiteY2057" fmla="*/ 644080 h 695325"/>
                  <a:gd name="connsiteX2058" fmla="*/ 389001 w 962025"/>
                  <a:gd name="connsiteY2058" fmla="*/ 644080 h 695325"/>
                  <a:gd name="connsiteX2059" fmla="*/ 377952 w 962025"/>
                  <a:gd name="connsiteY2059" fmla="*/ 643223 h 695325"/>
                  <a:gd name="connsiteX2060" fmla="*/ 376238 w 962025"/>
                  <a:gd name="connsiteY2060" fmla="*/ 644080 h 695325"/>
                  <a:gd name="connsiteX2061" fmla="*/ 375380 w 962025"/>
                  <a:gd name="connsiteY2061" fmla="*/ 644080 h 695325"/>
                  <a:gd name="connsiteX2062" fmla="*/ 375380 w 962025"/>
                  <a:gd name="connsiteY2062" fmla="*/ 645795 h 695325"/>
                  <a:gd name="connsiteX2063" fmla="*/ 375380 w 962025"/>
                  <a:gd name="connsiteY2063" fmla="*/ 646652 h 695325"/>
                  <a:gd name="connsiteX2064" fmla="*/ 375380 w 962025"/>
                  <a:gd name="connsiteY2064" fmla="*/ 648367 h 695325"/>
                  <a:gd name="connsiteX2065" fmla="*/ 375380 w 962025"/>
                  <a:gd name="connsiteY2065" fmla="*/ 649224 h 695325"/>
                  <a:gd name="connsiteX2066" fmla="*/ 375380 w 962025"/>
                  <a:gd name="connsiteY2066" fmla="*/ 649224 h 695325"/>
                  <a:gd name="connsiteX2067" fmla="*/ 377952 w 962025"/>
                  <a:gd name="connsiteY2067" fmla="*/ 654368 h 695325"/>
                  <a:gd name="connsiteX2068" fmla="*/ 380524 w 962025"/>
                  <a:gd name="connsiteY2068" fmla="*/ 658559 h 695325"/>
                  <a:gd name="connsiteX2069" fmla="*/ 381381 w 962025"/>
                  <a:gd name="connsiteY2069" fmla="*/ 660273 h 695325"/>
                  <a:gd name="connsiteX2070" fmla="*/ 381381 w 962025"/>
                  <a:gd name="connsiteY2070" fmla="*/ 661130 h 695325"/>
                  <a:gd name="connsiteX2071" fmla="*/ 381381 w 962025"/>
                  <a:gd name="connsiteY2071" fmla="*/ 661988 h 695325"/>
                  <a:gd name="connsiteX2072" fmla="*/ 382238 w 962025"/>
                  <a:gd name="connsiteY2072" fmla="*/ 661988 h 695325"/>
                  <a:gd name="connsiteX2073" fmla="*/ 383000 w 962025"/>
                  <a:gd name="connsiteY2073" fmla="*/ 661988 h 695325"/>
                  <a:gd name="connsiteX2074" fmla="*/ 383858 w 962025"/>
                  <a:gd name="connsiteY2074" fmla="*/ 660273 h 695325"/>
                  <a:gd name="connsiteX2075" fmla="*/ 384715 w 962025"/>
                  <a:gd name="connsiteY2075" fmla="*/ 659416 h 695325"/>
                  <a:gd name="connsiteX2076" fmla="*/ 384715 w 962025"/>
                  <a:gd name="connsiteY2076" fmla="*/ 659416 h 695325"/>
                  <a:gd name="connsiteX2077" fmla="*/ 386429 w 962025"/>
                  <a:gd name="connsiteY2077" fmla="*/ 659416 h 695325"/>
                  <a:gd name="connsiteX2078" fmla="*/ 387286 w 962025"/>
                  <a:gd name="connsiteY2078" fmla="*/ 660273 h 695325"/>
                  <a:gd name="connsiteX2079" fmla="*/ 388144 w 962025"/>
                  <a:gd name="connsiteY2079" fmla="*/ 660273 h 695325"/>
                  <a:gd name="connsiteX2080" fmla="*/ 389001 w 962025"/>
                  <a:gd name="connsiteY2080" fmla="*/ 661988 h 695325"/>
                  <a:gd name="connsiteX2081" fmla="*/ 389001 w 962025"/>
                  <a:gd name="connsiteY2081" fmla="*/ 662845 h 695325"/>
                  <a:gd name="connsiteX2082" fmla="*/ 389763 w 962025"/>
                  <a:gd name="connsiteY2082" fmla="*/ 662845 h 695325"/>
                  <a:gd name="connsiteX2083" fmla="*/ 391478 w 962025"/>
                  <a:gd name="connsiteY2083" fmla="*/ 662845 h 695325"/>
                  <a:gd name="connsiteX2084" fmla="*/ 393192 w 962025"/>
                  <a:gd name="connsiteY2084" fmla="*/ 662845 h 695325"/>
                  <a:gd name="connsiteX2085" fmla="*/ 394049 w 962025"/>
                  <a:gd name="connsiteY2085" fmla="*/ 662845 h 695325"/>
                  <a:gd name="connsiteX2086" fmla="*/ 395764 w 962025"/>
                  <a:gd name="connsiteY2086" fmla="*/ 661988 h 695325"/>
                  <a:gd name="connsiteX2087" fmla="*/ 396526 w 962025"/>
                  <a:gd name="connsiteY2087" fmla="*/ 661130 h 695325"/>
                  <a:gd name="connsiteX2088" fmla="*/ 398240 w 962025"/>
                  <a:gd name="connsiteY2088" fmla="*/ 661130 h 695325"/>
                  <a:gd name="connsiteX2089" fmla="*/ 399098 w 962025"/>
                  <a:gd name="connsiteY2089" fmla="*/ 661988 h 695325"/>
                  <a:gd name="connsiteX2090" fmla="*/ 401669 w 962025"/>
                  <a:gd name="connsiteY2090" fmla="*/ 661988 h 695325"/>
                  <a:gd name="connsiteX2091" fmla="*/ 403288 w 962025"/>
                  <a:gd name="connsiteY2091" fmla="*/ 661988 h 695325"/>
                  <a:gd name="connsiteX2092" fmla="*/ 404146 w 962025"/>
                  <a:gd name="connsiteY2092" fmla="*/ 662845 h 695325"/>
                  <a:gd name="connsiteX2093" fmla="*/ 404146 w 962025"/>
                  <a:gd name="connsiteY2093" fmla="*/ 663702 h 695325"/>
                  <a:gd name="connsiteX2094" fmla="*/ 405003 w 962025"/>
                  <a:gd name="connsiteY2094" fmla="*/ 663702 h 695325"/>
                  <a:gd name="connsiteX2095" fmla="*/ 405860 w 962025"/>
                  <a:gd name="connsiteY2095" fmla="*/ 663702 h 695325"/>
                  <a:gd name="connsiteX2096" fmla="*/ 409289 w 962025"/>
                  <a:gd name="connsiteY2096" fmla="*/ 661130 h 695325"/>
                  <a:gd name="connsiteX2097" fmla="*/ 411766 w 962025"/>
                  <a:gd name="connsiteY2097" fmla="*/ 660273 h 695325"/>
                  <a:gd name="connsiteX2098" fmla="*/ 414338 w 962025"/>
                  <a:gd name="connsiteY2098" fmla="*/ 658559 h 695325"/>
                  <a:gd name="connsiteX2099" fmla="*/ 415195 w 962025"/>
                  <a:gd name="connsiteY2099" fmla="*/ 658559 h 695325"/>
                  <a:gd name="connsiteX2100" fmla="*/ 416052 w 962025"/>
                  <a:gd name="connsiteY2100" fmla="*/ 658559 h 695325"/>
                  <a:gd name="connsiteX2101" fmla="*/ 421958 w 962025"/>
                  <a:gd name="connsiteY2101" fmla="*/ 661130 h 695325"/>
                  <a:gd name="connsiteX2102" fmla="*/ 423577 w 962025"/>
                  <a:gd name="connsiteY2102" fmla="*/ 661988 h 695325"/>
                  <a:gd name="connsiteX2103" fmla="*/ 426148 w 962025"/>
                  <a:gd name="connsiteY2103" fmla="*/ 661988 h 695325"/>
                  <a:gd name="connsiteX2104" fmla="*/ 427863 w 962025"/>
                  <a:gd name="connsiteY2104" fmla="*/ 661130 h 695325"/>
                  <a:gd name="connsiteX2105" fmla="*/ 441388 w 962025"/>
                  <a:gd name="connsiteY2105" fmla="*/ 656844 h 695325"/>
                  <a:gd name="connsiteX2106" fmla="*/ 447294 w 962025"/>
                  <a:gd name="connsiteY2106" fmla="*/ 653510 h 695325"/>
                  <a:gd name="connsiteX2107" fmla="*/ 451485 w 962025"/>
                  <a:gd name="connsiteY2107" fmla="*/ 650938 h 695325"/>
                  <a:gd name="connsiteX2108" fmla="*/ 454057 w 962025"/>
                  <a:gd name="connsiteY2108" fmla="*/ 649224 h 695325"/>
                  <a:gd name="connsiteX2109" fmla="*/ 456629 w 962025"/>
                  <a:gd name="connsiteY2109" fmla="*/ 646652 h 695325"/>
                  <a:gd name="connsiteX2110" fmla="*/ 457486 w 962025"/>
                  <a:gd name="connsiteY2110" fmla="*/ 644938 h 695325"/>
                  <a:gd name="connsiteX2111" fmla="*/ 459105 w 962025"/>
                  <a:gd name="connsiteY2111" fmla="*/ 643223 h 695325"/>
                  <a:gd name="connsiteX2112" fmla="*/ 460819 w 962025"/>
                  <a:gd name="connsiteY2112" fmla="*/ 642366 h 695325"/>
                  <a:gd name="connsiteX2113" fmla="*/ 466725 w 962025"/>
                  <a:gd name="connsiteY2113" fmla="*/ 640651 h 695325"/>
                  <a:gd name="connsiteX2114" fmla="*/ 471773 w 962025"/>
                  <a:gd name="connsiteY2114" fmla="*/ 639032 h 695325"/>
                  <a:gd name="connsiteX2115" fmla="*/ 474345 w 962025"/>
                  <a:gd name="connsiteY2115" fmla="*/ 635603 h 695325"/>
                  <a:gd name="connsiteX2116" fmla="*/ 475202 w 962025"/>
                  <a:gd name="connsiteY2116" fmla="*/ 635603 h 695325"/>
                  <a:gd name="connsiteX2117" fmla="*/ 476060 w 962025"/>
                  <a:gd name="connsiteY2117" fmla="*/ 634746 h 695325"/>
                  <a:gd name="connsiteX2118" fmla="*/ 476917 w 962025"/>
                  <a:gd name="connsiteY2118" fmla="*/ 634746 h 695325"/>
                  <a:gd name="connsiteX2119" fmla="*/ 477774 w 962025"/>
                  <a:gd name="connsiteY2119" fmla="*/ 634746 h 695325"/>
                  <a:gd name="connsiteX2120" fmla="*/ 480250 w 962025"/>
                  <a:gd name="connsiteY2120" fmla="*/ 634746 h 695325"/>
                  <a:gd name="connsiteX2121" fmla="*/ 481108 w 962025"/>
                  <a:gd name="connsiteY2121" fmla="*/ 634746 h 695325"/>
                  <a:gd name="connsiteX2122" fmla="*/ 482822 w 962025"/>
                  <a:gd name="connsiteY2122" fmla="*/ 635603 h 695325"/>
                  <a:gd name="connsiteX2123" fmla="*/ 483680 w 962025"/>
                  <a:gd name="connsiteY2123" fmla="*/ 636460 h 695325"/>
                  <a:gd name="connsiteX2124" fmla="*/ 483680 w 962025"/>
                  <a:gd name="connsiteY2124" fmla="*/ 639794 h 695325"/>
                  <a:gd name="connsiteX2125" fmla="*/ 484537 w 962025"/>
                  <a:gd name="connsiteY2125" fmla="*/ 641509 h 695325"/>
                  <a:gd name="connsiteX2126" fmla="*/ 484537 w 962025"/>
                  <a:gd name="connsiteY2126" fmla="*/ 643223 h 695325"/>
                  <a:gd name="connsiteX2127" fmla="*/ 485394 w 962025"/>
                  <a:gd name="connsiteY2127" fmla="*/ 646652 h 695325"/>
                  <a:gd name="connsiteX2128" fmla="*/ 485394 w 962025"/>
                  <a:gd name="connsiteY2128" fmla="*/ 647509 h 695325"/>
                  <a:gd name="connsiteX2129" fmla="*/ 485394 w 962025"/>
                  <a:gd name="connsiteY2129" fmla="*/ 648367 h 695325"/>
                  <a:gd name="connsiteX2130" fmla="*/ 485394 w 962025"/>
                  <a:gd name="connsiteY2130" fmla="*/ 648367 h 695325"/>
                  <a:gd name="connsiteX2131" fmla="*/ 485394 w 962025"/>
                  <a:gd name="connsiteY2131" fmla="*/ 648367 h 695325"/>
                  <a:gd name="connsiteX2132" fmla="*/ 485394 w 962025"/>
                  <a:gd name="connsiteY2132" fmla="*/ 648367 h 695325"/>
                  <a:gd name="connsiteX2133" fmla="*/ 486156 w 962025"/>
                  <a:gd name="connsiteY2133" fmla="*/ 648367 h 695325"/>
                  <a:gd name="connsiteX2134" fmla="*/ 487013 w 962025"/>
                  <a:gd name="connsiteY2134" fmla="*/ 648367 h 695325"/>
                  <a:gd name="connsiteX2135" fmla="*/ 487871 w 962025"/>
                  <a:gd name="connsiteY2135" fmla="*/ 648367 h 695325"/>
                  <a:gd name="connsiteX2136" fmla="*/ 489585 w 962025"/>
                  <a:gd name="connsiteY2136" fmla="*/ 647509 h 695325"/>
                  <a:gd name="connsiteX2137" fmla="*/ 490442 w 962025"/>
                  <a:gd name="connsiteY2137" fmla="*/ 646652 h 695325"/>
                  <a:gd name="connsiteX2138" fmla="*/ 491300 w 962025"/>
                  <a:gd name="connsiteY2138" fmla="*/ 646652 h 695325"/>
                  <a:gd name="connsiteX2139" fmla="*/ 492157 w 962025"/>
                  <a:gd name="connsiteY2139" fmla="*/ 645795 h 695325"/>
                  <a:gd name="connsiteX2140" fmla="*/ 494633 w 962025"/>
                  <a:gd name="connsiteY2140" fmla="*/ 646652 h 695325"/>
                  <a:gd name="connsiteX2141" fmla="*/ 495490 w 962025"/>
                  <a:gd name="connsiteY2141" fmla="*/ 646652 h 695325"/>
                  <a:gd name="connsiteX2142" fmla="*/ 497205 w 962025"/>
                  <a:gd name="connsiteY2142" fmla="*/ 647509 h 695325"/>
                  <a:gd name="connsiteX2143" fmla="*/ 498919 w 962025"/>
                  <a:gd name="connsiteY2143" fmla="*/ 649224 h 695325"/>
                  <a:gd name="connsiteX2144" fmla="*/ 499682 w 962025"/>
                  <a:gd name="connsiteY2144" fmla="*/ 650081 h 695325"/>
                  <a:gd name="connsiteX2145" fmla="*/ 507302 w 962025"/>
                  <a:gd name="connsiteY2145" fmla="*/ 651796 h 695325"/>
                  <a:gd name="connsiteX2146" fmla="*/ 514921 w 962025"/>
                  <a:gd name="connsiteY2146" fmla="*/ 652653 h 695325"/>
                  <a:gd name="connsiteX2147" fmla="*/ 516636 w 962025"/>
                  <a:gd name="connsiteY2147" fmla="*/ 652653 h 695325"/>
                  <a:gd name="connsiteX2148" fmla="*/ 519208 w 962025"/>
                  <a:gd name="connsiteY2148" fmla="*/ 651796 h 695325"/>
                  <a:gd name="connsiteX2149" fmla="*/ 525971 w 962025"/>
                  <a:gd name="connsiteY2149" fmla="*/ 650938 h 695325"/>
                  <a:gd name="connsiteX2150" fmla="*/ 530161 w 962025"/>
                  <a:gd name="connsiteY2150" fmla="*/ 649224 h 695325"/>
                  <a:gd name="connsiteX2151" fmla="*/ 532733 w 962025"/>
                  <a:gd name="connsiteY2151" fmla="*/ 648367 h 695325"/>
                  <a:gd name="connsiteX2152" fmla="*/ 537782 w 962025"/>
                  <a:gd name="connsiteY2152" fmla="*/ 648367 h 695325"/>
                  <a:gd name="connsiteX2153" fmla="*/ 538639 w 962025"/>
                  <a:gd name="connsiteY2153" fmla="*/ 647509 h 695325"/>
                  <a:gd name="connsiteX2154" fmla="*/ 540353 w 962025"/>
                  <a:gd name="connsiteY2154" fmla="*/ 646652 h 695325"/>
                  <a:gd name="connsiteX2155" fmla="*/ 540353 w 962025"/>
                  <a:gd name="connsiteY2155" fmla="*/ 645795 h 695325"/>
                  <a:gd name="connsiteX2156" fmla="*/ 540353 w 962025"/>
                  <a:gd name="connsiteY2156" fmla="*/ 644080 h 695325"/>
                  <a:gd name="connsiteX2157" fmla="*/ 540353 w 962025"/>
                  <a:gd name="connsiteY2157" fmla="*/ 643223 h 695325"/>
                  <a:gd name="connsiteX2158" fmla="*/ 539496 w 962025"/>
                  <a:gd name="connsiteY2158" fmla="*/ 641509 h 695325"/>
                  <a:gd name="connsiteX2159" fmla="*/ 539496 w 962025"/>
                  <a:gd name="connsiteY2159" fmla="*/ 640651 h 695325"/>
                  <a:gd name="connsiteX2160" fmla="*/ 540353 w 962025"/>
                  <a:gd name="connsiteY2160" fmla="*/ 639794 h 695325"/>
                  <a:gd name="connsiteX2161" fmla="*/ 542830 w 962025"/>
                  <a:gd name="connsiteY2161" fmla="*/ 639032 h 695325"/>
                  <a:gd name="connsiteX2162" fmla="*/ 547878 w 962025"/>
                  <a:gd name="connsiteY2162" fmla="*/ 637318 h 695325"/>
                  <a:gd name="connsiteX2163" fmla="*/ 557213 w 962025"/>
                  <a:gd name="connsiteY2163" fmla="*/ 636460 h 695325"/>
                  <a:gd name="connsiteX2164" fmla="*/ 560642 w 962025"/>
                  <a:gd name="connsiteY2164" fmla="*/ 634746 h 695325"/>
                  <a:gd name="connsiteX2165" fmla="*/ 566547 w 962025"/>
                  <a:gd name="connsiteY2165" fmla="*/ 633031 h 695325"/>
                  <a:gd name="connsiteX2166" fmla="*/ 569024 w 962025"/>
                  <a:gd name="connsiteY2166" fmla="*/ 632174 h 695325"/>
                  <a:gd name="connsiteX2167" fmla="*/ 571595 w 962025"/>
                  <a:gd name="connsiteY2167" fmla="*/ 631317 h 695325"/>
                  <a:gd name="connsiteX2168" fmla="*/ 573310 w 962025"/>
                  <a:gd name="connsiteY2168" fmla="*/ 629602 h 695325"/>
                  <a:gd name="connsiteX2169" fmla="*/ 574167 w 962025"/>
                  <a:gd name="connsiteY2169" fmla="*/ 627888 h 695325"/>
                  <a:gd name="connsiteX2170" fmla="*/ 574167 w 962025"/>
                  <a:gd name="connsiteY2170" fmla="*/ 626173 h 695325"/>
                  <a:gd name="connsiteX2171" fmla="*/ 574167 w 962025"/>
                  <a:gd name="connsiteY2171" fmla="*/ 625316 h 695325"/>
                  <a:gd name="connsiteX2172" fmla="*/ 574167 w 962025"/>
                  <a:gd name="connsiteY2172" fmla="*/ 624459 h 695325"/>
                  <a:gd name="connsiteX2173" fmla="*/ 574167 w 962025"/>
                  <a:gd name="connsiteY2173" fmla="*/ 624459 h 695325"/>
                  <a:gd name="connsiteX2174" fmla="*/ 576644 w 962025"/>
                  <a:gd name="connsiteY2174" fmla="*/ 623697 h 695325"/>
                  <a:gd name="connsiteX2175" fmla="*/ 580930 w 962025"/>
                  <a:gd name="connsiteY2175" fmla="*/ 626173 h 695325"/>
                  <a:gd name="connsiteX2176" fmla="*/ 581787 w 962025"/>
                  <a:gd name="connsiteY2176" fmla="*/ 626173 h 695325"/>
                  <a:gd name="connsiteX2177" fmla="*/ 584264 w 962025"/>
                  <a:gd name="connsiteY2177" fmla="*/ 627031 h 695325"/>
                  <a:gd name="connsiteX2178" fmla="*/ 588550 w 962025"/>
                  <a:gd name="connsiteY2178" fmla="*/ 627031 h 695325"/>
                  <a:gd name="connsiteX2179" fmla="*/ 590169 w 962025"/>
                  <a:gd name="connsiteY2179" fmla="*/ 627031 h 695325"/>
                  <a:gd name="connsiteX2180" fmla="*/ 591884 w 962025"/>
                  <a:gd name="connsiteY2180" fmla="*/ 627031 h 695325"/>
                  <a:gd name="connsiteX2181" fmla="*/ 593598 w 962025"/>
                  <a:gd name="connsiteY2181" fmla="*/ 627031 h 695325"/>
                  <a:gd name="connsiteX2182" fmla="*/ 595312 w 962025"/>
                  <a:gd name="connsiteY2182" fmla="*/ 627031 h 695325"/>
                  <a:gd name="connsiteX2183" fmla="*/ 599503 w 962025"/>
                  <a:gd name="connsiteY2183" fmla="*/ 628745 h 695325"/>
                  <a:gd name="connsiteX2184" fmla="*/ 601218 w 962025"/>
                  <a:gd name="connsiteY2184" fmla="*/ 629602 h 695325"/>
                  <a:gd name="connsiteX2185" fmla="*/ 602837 w 962025"/>
                  <a:gd name="connsiteY2185" fmla="*/ 633031 h 695325"/>
                  <a:gd name="connsiteX2186" fmla="*/ 607124 w 962025"/>
                  <a:gd name="connsiteY2186" fmla="*/ 635603 h 695325"/>
                  <a:gd name="connsiteX2187" fmla="*/ 607124 w 962025"/>
                  <a:gd name="connsiteY2187" fmla="*/ 638175 h 695325"/>
                  <a:gd name="connsiteX2188" fmla="*/ 607981 w 962025"/>
                  <a:gd name="connsiteY2188" fmla="*/ 639032 h 695325"/>
                  <a:gd name="connsiteX2189" fmla="*/ 607981 w 962025"/>
                  <a:gd name="connsiteY2189" fmla="*/ 639032 h 695325"/>
                  <a:gd name="connsiteX2190" fmla="*/ 607981 w 962025"/>
                  <a:gd name="connsiteY2190" fmla="*/ 639794 h 695325"/>
                  <a:gd name="connsiteX2191" fmla="*/ 608838 w 962025"/>
                  <a:gd name="connsiteY2191" fmla="*/ 640651 h 695325"/>
                  <a:gd name="connsiteX2192" fmla="*/ 608838 w 962025"/>
                  <a:gd name="connsiteY2192" fmla="*/ 643223 h 695325"/>
                  <a:gd name="connsiteX2193" fmla="*/ 609600 w 962025"/>
                  <a:gd name="connsiteY2193" fmla="*/ 644080 h 695325"/>
                  <a:gd name="connsiteX2194" fmla="*/ 610457 w 962025"/>
                  <a:gd name="connsiteY2194" fmla="*/ 644938 h 695325"/>
                  <a:gd name="connsiteX2195" fmla="*/ 611315 w 962025"/>
                  <a:gd name="connsiteY2195" fmla="*/ 644938 h 695325"/>
                  <a:gd name="connsiteX2196" fmla="*/ 613886 w 962025"/>
                  <a:gd name="connsiteY2196" fmla="*/ 644080 h 695325"/>
                  <a:gd name="connsiteX2197" fmla="*/ 615601 w 962025"/>
                  <a:gd name="connsiteY2197" fmla="*/ 642366 h 695325"/>
                  <a:gd name="connsiteX2198" fmla="*/ 618077 w 962025"/>
                  <a:gd name="connsiteY2198" fmla="*/ 640651 h 695325"/>
                  <a:gd name="connsiteX2199" fmla="*/ 619792 w 962025"/>
                  <a:gd name="connsiteY2199" fmla="*/ 639794 h 695325"/>
                  <a:gd name="connsiteX2200" fmla="*/ 620649 w 962025"/>
                  <a:gd name="connsiteY2200" fmla="*/ 639032 h 695325"/>
                  <a:gd name="connsiteX2201" fmla="*/ 622364 w 962025"/>
                  <a:gd name="connsiteY2201" fmla="*/ 639032 h 695325"/>
                  <a:gd name="connsiteX2202" fmla="*/ 625697 w 962025"/>
                  <a:gd name="connsiteY2202" fmla="*/ 639794 h 695325"/>
                  <a:gd name="connsiteX2203" fmla="*/ 631603 w 962025"/>
                  <a:gd name="connsiteY2203" fmla="*/ 638175 h 695325"/>
                  <a:gd name="connsiteX2204" fmla="*/ 634174 w 962025"/>
                  <a:gd name="connsiteY2204" fmla="*/ 638175 h 695325"/>
                  <a:gd name="connsiteX2205" fmla="*/ 635889 w 962025"/>
                  <a:gd name="connsiteY2205" fmla="*/ 639032 h 695325"/>
                  <a:gd name="connsiteX2206" fmla="*/ 637508 w 962025"/>
                  <a:gd name="connsiteY2206" fmla="*/ 639794 h 695325"/>
                  <a:gd name="connsiteX2207" fmla="*/ 638365 w 962025"/>
                  <a:gd name="connsiteY2207" fmla="*/ 641509 h 695325"/>
                  <a:gd name="connsiteX2208" fmla="*/ 639223 w 962025"/>
                  <a:gd name="connsiteY2208" fmla="*/ 642366 h 695325"/>
                  <a:gd name="connsiteX2209" fmla="*/ 640080 w 962025"/>
                  <a:gd name="connsiteY2209" fmla="*/ 644080 h 695325"/>
                  <a:gd name="connsiteX2210" fmla="*/ 640937 w 962025"/>
                  <a:gd name="connsiteY2210" fmla="*/ 645795 h 695325"/>
                  <a:gd name="connsiteX2211" fmla="*/ 641795 w 962025"/>
                  <a:gd name="connsiteY2211" fmla="*/ 645795 h 695325"/>
                  <a:gd name="connsiteX2212" fmla="*/ 642652 w 962025"/>
                  <a:gd name="connsiteY2212" fmla="*/ 645795 h 695325"/>
                  <a:gd name="connsiteX2213" fmla="*/ 645128 w 962025"/>
                  <a:gd name="connsiteY2213" fmla="*/ 645795 h 695325"/>
                  <a:gd name="connsiteX2214" fmla="*/ 646843 w 962025"/>
                  <a:gd name="connsiteY2214" fmla="*/ 645795 h 695325"/>
                  <a:gd name="connsiteX2215" fmla="*/ 648557 w 962025"/>
                  <a:gd name="connsiteY2215" fmla="*/ 644938 h 695325"/>
                  <a:gd name="connsiteX2216" fmla="*/ 649415 w 962025"/>
                  <a:gd name="connsiteY2216" fmla="*/ 644080 h 695325"/>
                  <a:gd name="connsiteX2217" fmla="*/ 651034 w 962025"/>
                  <a:gd name="connsiteY2217" fmla="*/ 643223 h 695325"/>
                  <a:gd name="connsiteX2218" fmla="*/ 651891 w 962025"/>
                  <a:gd name="connsiteY2218" fmla="*/ 642366 h 695325"/>
                  <a:gd name="connsiteX2219" fmla="*/ 654463 w 962025"/>
                  <a:gd name="connsiteY2219" fmla="*/ 641509 h 695325"/>
                  <a:gd name="connsiteX2220" fmla="*/ 655320 w 962025"/>
                  <a:gd name="connsiteY2220" fmla="*/ 642366 h 695325"/>
                  <a:gd name="connsiteX2221" fmla="*/ 656177 w 962025"/>
                  <a:gd name="connsiteY2221" fmla="*/ 642366 h 695325"/>
                  <a:gd name="connsiteX2222" fmla="*/ 656177 w 962025"/>
                  <a:gd name="connsiteY2222" fmla="*/ 642366 h 695325"/>
                  <a:gd name="connsiteX2223" fmla="*/ 656177 w 962025"/>
                  <a:gd name="connsiteY2223" fmla="*/ 643223 h 695325"/>
                  <a:gd name="connsiteX2224" fmla="*/ 656177 w 962025"/>
                  <a:gd name="connsiteY2224" fmla="*/ 643223 h 695325"/>
                  <a:gd name="connsiteX2225" fmla="*/ 657035 w 962025"/>
                  <a:gd name="connsiteY2225" fmla="*/ 643223 h 695325"/>
                  <a:gd name="connsiteX2226" fmla="*/ 658654 w 962025"/>
                  <a:gd name="connsiteY2226" fmla="*/ 643223 h 695325"/>
                  <a:gd name="connsiteX2227" fmla="*/ 667131 w 962025"/>
                  <a:gd name="connsiteY2227" fmla="*/ 640651 h 695325"/>
                  <a:gd name="connsiteX2228" fmla="*/ 667988 w 962025"/>
                  <a:gd name="connsiteY2228" fmla="*/ 638175 h 695325"/>
                  <a:gd name="connsiteX2229" fmla="*/ 670560 w 962025"/>
                  <a:gd name="connsiteY2229" fmla="*/ 637318 h 695325"/>
                  <a:gd name="connsiteX2230" fmla="*/ 676465 w 962025"/>
                  <a:gd name="connsiteY2230" fmla="*/ 634746 h 695325"/>
                  <a:gd name="connsiteX2231" fmla="*/ 677323 w 962025"/>
                  <a:gd name="connsiteY2231" fmla="*/ 634746 h 695325"/>
                  <a:gd name="connsiteX2232" fmla="*/ 678180 w 962025"/>
                  <a:gd name="connsiteY2232" fmla="*/ 633889 h 695325"/>
                  <a:gd name="connsiteX2233" fmla="*/ 678942 w 962025"/>
                  <a:gd name="connsiteY2233" fmla="*/ 633031 h 695325"/>
                  <a:gd name="connsiteX2234" fmla="*/ 680657 w 962025"/>
                  <a:gd name="connsiteY2234" fmla="*/ 634746 h 695325"/>
                  <a:gd name="connsiteX2235" fmla="*/ 685705 w 962025"/>
                  <a:gd name="connsiteY2235" fmla="*/ 638175 h 695325"/>
                  <a:gd name="connsiteX2236" fmla="*/ 688277 w 962025"/>
                  <a:gd name="connsiteY2236" fmla="*/ 639032 h 695325"/>
                  <a:gd name="connsiteX2237" fmla="*/ 692468 w 962025"/>
                  <a:gd name="connsiteY2237" fmla="*/ 639794 h 695325"/>
                  <a:gd name="connsiteX2238" fmla="*/ 693325 w 962025"/>
                  <a:gd name="connsiteY2238" fmla="*/ 640651 h 695325"/>
                  <a:gd name="connsiteX2239" fmla="*/ 693325 w 962025"/>
                  <a:gd name="connsiteY2239" fmla="*/ 641509 h 695325"/>
                  <a:gd name="connsiteX2240" fmla="*/ 693325 w 962025"/>
                  <a:gd name="connsiteY2240" fmla="*/ 642366 h 695325"/>
                  <a:gd name="connsiteX2241" fmla="*/ 693325 w 962025"/>
                  <a:gd name="connsiteY2241" fmla="*/ 643223 h 695325"/>
                  <a:gd name="connsiteX2242" fmla="*/ 694182 w 962025"/>
                  <a:gd name="connsiteY2242" fmla="*/ 644938 h 695325"/>
                  <a:gd name="connsiteX2243" fmla="*/ 695039 w 962025"/>
                  <a:gd name="connsiteY2243" fmla="*/ 646652 h 695325"/>
                  <a:gd name="connsiteX2244" fmla="*/ 700945 w 962025"/>
                  <a:gd name="connsiteY2244" fmla="*/ 650081 h 695325"/>
                  <a:gd name="connsiteX2245" fmla="*/ 702659 w 962025"/>
                  <a:gd name="connsiteY2245" fmla="*/ 651796 h 695325"/>
                  <a:gd name="connsiteX2246" fmla="*/ 703516 w 962025"/>
                  <a:gd name="connsiteY2246" fmla="*/ 653510 h 695325"/>
                  <a:gd name="connsiteX2247" fmla="*/ 703516 w 962025"/>
                  <a:gd name="connsiteY2247" fmla="*/ 654368 h 695325"/>
                  <a:gd name="connsiteX2248" fmla="*/ 704374 w 962025"/>
                  <a:gd name="connsiteY2248" fmla="*/ 655987 h 695325"/>
                  <a:gd name="connsiteX2249" fmla="*/ 704374 w 962025"/>
                  <a:gd name="connsiteY2249" fmla="*/ 655987 h 695325"/>
                  <a:gd name="connsiteX2250" fmla="*/ 704374 w 962025"/>
                  <a:gd name="connsiteY2250" fmla="*/ 656844 h 695325"/>
                  <a:gd name="connsiteX2251" fmla="*/ 703516 w 962025"/>
                  <a:gd name="connsiteY2251" fmla="*/ 656844 h 695325"/>
                  <a:gd name="connsiteX2252" fmla="*/ 701802 w 962025"/>
                  <a:gd name="connsiteY2252" fmla="*/ 659416 h 695325"/>
                  <a:gd name="connsiteX2253" fmla="*/ 701802 w 962025"/>
                  <a:gd name="connsiteY2253" fmla="*/ 660273 h 695325"/>
                  <a:gd name="connsiteX2254" fmla="*/ 701802 w 962025"/>
                  <a:gd name="connsiteY2254" fmla="*/ 661130 h 695325"/>
                  <a:gd name="connsiteX2255" fmla="*/ 702659 w 962025"/>
                  <a:gd name="connsiteY2255" fmla="*/ 661988 h 695325"/>
                  <a:gd name="connsiteX2256" fmla="*/ 703516 w 962025"/>
                  <a:gd name="connsiteY2256" fmla="*/ 661988 h 695325"/>
                  <a:gd name="connsiteX2257" fmla="*/ 704374 w 962025"/>
                  <a:gd name="connsiteY2257" fmla="*/ 661988 h 695325"/>
                  <a:gd name="connsiteX2258" fmla="*/ 705231 w 962025"/>
                  <a:gd name="connsiteY2258" fmla="*/ 661988 h 695325"/>
                  <a:gd name="connsiteX2259" fmla="*/ 708565 w 962025"/>
                  <a:gd name="connsiteY2259" fmla="*/ 661130 h 695325"/>
                  <a:gd name="connsiteX2260" fmla="*/ 709422 w 962025"/>
                  <a:gd name="connsiteY2260" fmla="*/ 661130 h 695325"/>
                  <a:gd name="connsiteX2261" fmla="*/ 710279 w 962025"/>
                  <a:gd name="connsiteY2261" fmla="*/ 661130 h 695325"/>
                  <a:gd name="connsiteX2262" fmla="*/ 711994 w 962025"/>
                  <a:gd name="connsiteY2262" fmla="*/ 661130 h 695325"/>
                  <a:gd name="connsiteX2263" fmla="*/ 713613 w 962025"/>
                  <a:gd name="connsiteY2263" fmla="*/ 661988 h 695325"/>
                  <a:gd name="connsiteX2264" fmla="*/ 725519 w 962025"/>
                  <a:gd name="connsiteY2264" fmla="*/ 669703 h 695325"/>
                  <a:gd name="connsiteX2265" fmla="*/ 727139 w 962025"/>
                  <a:gd name="connsiteY2265" fmla="*/ 669703 h 695325"/>
                  <a:gd name="connsiteX2266" fmla="*/ 727996 w 962025"/>
                  <a:gd name="connsiteY2266" fmla="*/ 669703 h 695325"/>
                  <a:gd name="connsiteX2267" fmla="*/ 728853 w 962025"/>
                  <a:gd name="connsiteY2267" fmla="*/ 669703 h 695325"/>
                  <a:gd name="connsiteX2268" fmla="*/ 728853 w 962025"/>
                  <a:gd name="connsiteY2268" fmla="*/ 669703 h 695325"/>
                  <a:gd name="connsiteX2269" fmla="*/ 731425 w 962025"/>
                  <a:gd name="connsiteY2269" fmla="*/ 667988 h 695325"/>
                  <a:gd name="connsiteX2270" fmla="*/ 733139 w 962025"/>
                  <a:gd name="connsiteY2270" fmla="*/ 667131 h 695325"/>
                  <a:gd name="connsiteX2271" fmla="*/ 734759 w 962025"/>
                  <a:gd name="connsiteY2271" fmla="*/ 661130 h 695325"/>
                  <a:gd name="connsiteX2272" fmla="*/ 735616 w 962025"/>
                  <a:gd name="connsiteY2272" fmla="*/ 656844 h 695325"/>
                  <a:gd name="connsiteX2273" fmla="*/ 737330 w 962025"/>
                  <a:gd name="connsiteY2273" fmla="*/ 652653 h 695325"/>
                  <a:gd name="connsiteX2274" fmla="*/ 738187 w 962025"/>
                  <a:gd name="connsiteY2274" fmla="*/ 650081 h 695325"/>
                  <a:gd name="connsiteX2275" fmla="*/ 737330 w 962025"/>
                  <a:gd name="connsiteY2275" fmla="*/ 639032 h 695325"/>
                  <a:gd name="connsiteX2276" fmla="*/ 737330 w 962025"/>
                  <a:gd name="connsiteY2276" fmla="*/ 637318 h 695325"/>
                  <a:gd name="connsiteX2277" fmla="*/ 738187 w 962025"/>
                  <a:gd name="connsiteY2277" fmla="*/ 635603 h 695325"/>
                  <a:gd name="connsiteX2278" fmla="*/ 739045 w 962025"/>
                  <a:gd name="connsiteY2278" fmla="*/ 623697 h 695325"/>
                  <a:gd name="connsiteX2279" fmla="*/ 739902 w 962025"/>
                  <a:gd name="connsiteY2279" fmla="*/ 621125 h 695325"/>
                  <a:gd name="connsiteX2280" fmla="*/ 741521 w 962025"/>
                  <a:gd name="connsiteY2280" fmla="*/ 619411 h 695325"/>
                  <a:gd name="connsiteX2281" fmla="*/ 744950 w 962025"/>
                  <a:gd name="connsiteY2281" fmla="*/ 618554 h 695325"/>
                  <a:gd name="connsiteX2282" fmla="*/ 746665 w 962025"/>
                  <a:gd name="connsiteY2282" fmla="*/ 616839 h 695325"/>
                  <a:gd name="connsiteX2283" fmla="*/ 749141 w 962025"/>
                  <a:gd name="connsiteY2283" fmla="*/ 613410 h 695325"/>
                  <a:gd name="connsiteX2284" fmla="*/ 750856 w 962025"/>
                  <a:gd name="connsiteY2284" fmla="*/ 608267 h 695325"/>
                  <a:gd name="connsiteX2285" fmla="*/ 749999 w 962025"/>
                  <a:gd name="connsiteY2285" fmla="*/ 600647 h 695325"/>
                  <a:gd name="connsiteX2286" fmla="*/ 749999 w 962025"/>
                  <a:gd name="connsiteY2286" fmla="*/ 595503 h 695325"/>
                  <a:gd name="connsiteX2287" fmla="*/ 750856 w 962025"/>
                  <a:gd name="connsiteY2287" fmla="*/ 592931 h 695325"/>
                  <a:gd name="connsiteX2288" fmla="*/ 755904 w 962025"/>
                  <a:gd name="connsiteY2288" fmla="*/ 582739 h 695325"/>
                  <a:gd name="connsiteX2289" fmla="*/ 757619 w 962025"/>
                  <a:gd name="connsiteY2289" fmla="*/ 580168 h 695325"/>
                  <a:gd name="connsiteX2290" fmla="*/ 759333 w 962025"/>
                  <a:gd name="connsiteY2290" fmla="*/ 578453 h 695325"/>
                  <a:gd name="connsiteX2291" fmla="*/ 760952 w 962025"/>
                  <a:gd name="connsiteY2291" fmla="*/ 578453 h 695325"/>
                  <a:gd name="connsiteX2292" fmla="*/ 762667 w 962025"/>
                  <a:gd name="connsiteY2292" fmla="*/ 579310 h 695325"/>
                  <a:gd name="connsiteX2293" fmla="*/ 766096 w 962025"/>
                  <a:gd name="connsiteY2293" fmla="*/ 583597 h 695325"/>
                  <a:gd name="connsiteX2294" fmla="*/ 766953 w 962025"/>
                  <a:gd name="connsiteY2294" fmla="*/ 584454 h 695325"/>
                  <a:gd name="connsiteX2295" fmla="*/ 767810 w 962025"/>
                  <a:gd name="connsiteY2295" fmla="*/ 583597 h 695325"/>
                  <a:gd name="connsiteX2296" fmla="*/ 768572 w 962025"/>
                  <a:gd name="connsiteY2296" fmla="*/ 582739 h 695325"/>
                  <a:gd name="connsiteX2297" fmla="*/ 768572 w 962025"/>
                  <a:gd name="connsiteY2297" fmla="*/ 581025 h 695325"/>
                  <a:gd name="connsiteX2298" fmla="*/ 767810 w 962025"/>
                  <a:gd name="connsiteY2298" fmla="*/ 579310 h 695325"/>
                  <a:gd name="connsiteX2299" fmla="*/ 766953 w 962025"/>
                  <a:gd name="connsiteY2299" fmla="*/ 576834 h 695325"/>
                  <a:gd name="connsiteX2300" fmla="*/ 766953 w 962025"/>
                  <a:gd name="connsiteY2300" fmla="*/ 575977 h 695325"/>
                  <a:gd name="connsiteX2301" fmla="*/ 766953 w 962025"/>
                  <a:gd name="connsiteY2301" fmla="*/ 575977 h 695325"/>
                  <a:gd name="connsiteX2302" fmla="*/ 769430 w 962025"/>
                  <a:gd name="connsiteY2302" fmla="*/ 575119 h 695325"/>
                  <a:gd name="connsiteX2303" fmla="*/ 770287 w 962025"/>
                  <a:gd name="connsiteY2303" fmla="*/ 574262 h 695325"/>
                  <a:gd name="connsiteX2304" fmla="*/ 770287 w 962025"/>
                  <a:gd name="connsiteY2304" fmla="*/ 573405 h 695325"/>
                  <a:gd name="connsiteX2305" fmla="*/ 771144 w 962025"/>
                  <a:gd name="connsiteY2305" fmla="*/ 566547 h 695325"/>
                  <a:gd name="connsiteX2306" fmla="*/ 772001 w 962025"/>
                  <a:gd name="connsiteY2306" fmla="*/ 564832 h 695325"/>
                  <a:gd name="connsiteX2307" fmla="*/ 772859 w 962025"/>
                  <a:gd name="connsiteY2307" fmla="*/ 563118 h 695325"/>
                  <a:gd name="connsiteX2308" fmla="*/ 774573 w 962025"/>
                  <a:gd name="connsiteY2308" fmla="*/ 562261 h 695325"/>
                  <a:gd name="connsiteX2309" fmla="*/ 778764 w 962025"/>
                  <a:gd name="connsiteY2309" fmla="*/ 559784 h 695325"/>
                  <a:gd name="connsiteX2310" fmla="*/ 781336 w 962025"/>
                  <a:gd name="connsiteY2310" fmla="*/ 554641 h 695325"/>
                  <a:gd name="connsiteX2311" fmla="*/ 782098 w 962025"/>
                  <a:gd name="connsiteY2311" fmla="*/ 552926 h 695325"/>
                  <a:gd name="connsiteX2312" fmla="*/ 782098 w 962025"/>
                  <a:gd name="connsiteY2312" fmla="*/ 549497 h 695325"/>
                  <a:gd name="connsiteX2313" fmla="*/ 781336 w 962025"/>
                  <a:gd name="connsiteY2313" fmla="*/ 546163 h 695325"/>
                  <a:gd name="connsiteX2314" fmla="*/ 782098 w 962025"/>
                  <a:gd name="connsiteY2314" fmla="*/ 541877 h 695325"/>
                  <a:gd name="connsiteX2315" fmla="*/ 782955 w 962025"/>
                  <a:gd name="connsiteY2315" fmla="*/ 539305 h 695325"/>
                  <a:gd name="connsiteX2316" fmla="*/ 786384 w 962025"/>
                  <a:gd name="connsiteY2316" fmla="*/ 534162 h 695325"/>
                  <a:gd name="connsiteX2317" fmla="*/ 788099 w 962025"/>
                  <a:gd name="connsiteY2317" fmla="*/ 532447 h 695325"/>
                  <a:gd name="connsiteX2318" fmla="*/ 788861 w 962025"/>
                  <a:gd name="connsiteY2318" fmla="*/ 532447 h 695325"/>
                  <a:gd name="connsiteX2319" fmla="*/ 790575 w 962025"/>
                  <a:gd name="connsiteY2319" fmla="*/ 532447 h 695325"/>
                  <a:gd name="connsiteX2320" fmla="*/ 790575 w 962025"/>
                  <a:gd name="connsiteY2320" fmla="*/ 533305 h 695325"/>
                  <a:gd name="connsiteX2321" fmla="*/ 791432 w 962025"/>
                  <a:gd name="connsiteY2321" fmla="*/ 535876 h 695325"/>
                  <a:gd name="connsiteX2322" fmla="*/ 793147 w 962025"/>
                  <a:gd name="connsiteY2322" fmla="*/ 536734 h 695325"/>
                  <a:gd name="connsiteX2323" fmla="*/ 794004 w 962025"/>
                  <a:gd name="connsiteY2323" fmla="*/ 536734 h 695325"/>
                  <a:gd name="connsiteX2324" fmla="*/ 796481 w 962025"/>
                  <a:gd name="connsiteY2324" fmla="*/ 535876 h 695325"/>
                  <a:gd name="connsiteX2325" fmla="*/ 799052 w 962025"/>
                  <a:gd name="connsiteY2325" fmla="*/ 534162 h 695325"/>
                  <a:gd name="connsiteX2326" fmla="*/ 800767 w 962025"/>
                  <a:gd name="connsiteY2326" fmla="*/ 533305 h 695325"/>
                  <a:gd name="connsiteX2327" fmla="*/ 803243 w 962025"/>
                  <a:gd name="connsiteY2327" fmla="*/ 532447 h 695325"/>
                  <a:gd name="connsiteX2328" fmla="*/ 806672 w 962025"/>
                  <a:gd name="connsiteY2328" fmla="*/ 530828 h 695325"/>
                  <a:gd name="connsiteX2329" fmla="*/ 807530 w 962025"/>
                  <a:gd name="connsiteY2329" fmla="*/ 530828 h 695325"/>
                  <a:gd name="connsiteX2330" fmla="*/ 809149 w 962025"/>
                  <a:gd name="connsiteY2330" fmla="*/ 530828 h 695325"/>
                  <a:gd name="connsiteX2331" fmla="*/ 810863 w 962025"/>
                  <a:gd name="connsiteY2331" fmla="*/ 532447 h 695325"/>
                  <a:gd name="connsiteX2332" fmla="*/ 812578 w 962025"/>
                  <a:gd name="connsiteY2332" fmla="*/ 536734 h 695325"/>
                  <a:gd name="connsiteX2333" fmla="*/ 814292 w 962025"/>
                  <a:gd name="connsiteY2333" fmla="*/ 537591 h 695325"/>
                  <a:gd name="connsiteX2334" fmla="*/ 816007 w 962025"/>
                  <a:gd name="connsiteY2334" fmla="*/ 537591 h 695325"/>
                  <a:gd name="connsiteX2335" fmla="*/ 817626 w 962025"/>
                  <a:gd name="connsiteY2335" fmla="*/ 535876 h 695325"/>
                  <a:gd name="connsiteX2336" fmla="*/ 818483 w 962025"/>
                  <a:gd name="connsiteY2336" fmla="*/ 535019 h 695325"/>
                  <a:gd name="connsiteX2337" fmla="*/ 821055 w 962025"/>
                  <a:gd name="connsiteY2337" fmla="*/ 533305 h 695325"/>
                  <a:gd name="connsiteX2338" fmla="*/ 822770 w 962025"/>
                  <a:gd name="connsiteY2338" fmla="*/ 532447 h 695325"/>
                  <a:gd name="connsiteX2339" fmla="*/ 824389 w 962025"/>
                  <a:gd name="connsiteY2339" fmla="*/ 529971 h 695325"/>
                  <a:gd name="connsiteX2340" fmla="*/ 827818 w 962025"/>
                  <a:gd name="connsiteY2340" fmla="*/ 528256 h 695325"/>
                  <a:gd name="connsiteX2341" fmla="*/ 829532 w 962025"/>
                  <a:gd name="connsiteY2341" fmla="*/ 527399 h 695325"/>
                  <a:gd name="connsiteX2342" fmla="*/ 832009 w 962025"/>
                  <a:gd name="connsiteY2342" fmla="*/ 526542 h 695325"/>
                  <a:gd name="connsiteX2343" fmla="*/ 834581 w 962025"/>
                  <a:gd name="connsiteY2343" fmla="*/ 526542 h 695325"/>
                  <a:gd name="connsiteX2344" fmla="*/ 837057 w 962025"/>
                  <a:gd name="connsiteY2344" fmla="*/ 525685 h 695325"/>
                  <a:gd name="connsiteX2345" fmla="*/ 838772 w 962025"/>
                  <a:gd name="connsiteY2345" fmla="*/ 523970 h 695325"/>
                  <a:gd name="connsiteX2346" fmla="*/ 839629 w 962025"/>
                  <a:gd name="connsiteY2346" fmla="*/ 523113 h 695325"/>
                  <a:gd name="connsiteX2347" fmla="*/ 839629 w 962025"/>
                  <a:gd name="connsiteY2347" fmla="*/ 521398 h 695325"/>
                  <a:gd name="connsiteX2348" fmla="*/ 840486 w 962025"/>
                  <a:gd name="connsiteY2348" fmla="*/ 519684 h 695325"/>
                  <a:gd name="connsiteX2349" fmla="*/ 842201 w 962025"/>
                  <a:gd name="connsiteY2349" fmla="*/ 517112 h 695325"/>
                  <a:gd name="connsiteX2350" fmla="*/ 848106 w 962025"/>
                  <a:gd name="connsiteY2350" fmla="*/ 512921 h 695325"/>
                  <a:gd name="connsiteX2351" fmla="*/ 851440 w 962025"/>
                  <a:gd name="connsiteY2351" fmla="*/ 512064 h 695325"/>
                  <a:gd name="connsiteX2352" fmla="*/ 853154 w 962025"/>
                  <a:gd name="connsiteY2352" fmla="*/ 510350 h 695325"/>
                  <a:gd name="connsiteX2353" fmla="*/ 853154 w 962025"/>
                  <a:gd name="connsiteY2353" fmla="*/ 508635 h 695325"/>
                  <a:gd name="connsiteX2354" fmla="*/ 852297 w 962025"/>
                  <a:gd name="connsiteY2354" fmla="*/ 506063 h 695325"/>
                  <a:gd name="connsiteX2355" fmla="*/ 852297 w 962025"/>
                  <a:gd name="connsiteY2355" fmla="*/ 504349 h 695325"/>
                  <a:gd name="connsiteX2356" fmla="*/ 853154 w 962025"/>
                  <a:gd name="connsiteY2356" fmla="*/ 503492 h 695325"/>
                  <a:gd name="connsiteX2357" fmla="*/ 854869 w 962025"/>
                  <a:gd name="connsiteY2357" fmla="*/ 500920 h 695325"/>
                  <a:gd name="connsiteX2358" fmla="*/ 854869 w 962025"/>
                  <a:gd name="connsiteY2358" fmla="*/ 496729 h 695325"/>
                  <a:gd name="connsiteX2359" fmla="*/ 854011 w 962025"/>
                  <a:gd name="connsiteY2359" fmla="*/ 492442 h 695325"/>
                  <a:gd name="connsiteX2360" fmla="*/ 854011 w 962025"/>
                  <a:gd name="connsiteY2360" fmla="*/ 489871 h 695325"/>
                  <a:gd name="connsiteX2361" fmla="*/ 854869 w 962025"/>
                  <a:gd name="connsiteY2361" fmla="*/ 488156 h 695325"/>
                  <a:gd name="connsiteX2362" fmla="*/ 857345 w 962025"/>
                  <a:gd name="connsiteY2362" fmla="*/ 487299 h 695325"/>
                  <a:gd name="connsiteX2363" fmla="*/ 861632 w 962025"/>
                  <a:gd name="connsiteY2363" fmla="*/ 485584 h 695325"/>
                  <a:gd name="connsiteX2364" fmla="*/ 863346 w 962025"/>
                  <a:gd name="connsiteY2364" fmla="*/ 484727 h 695325"/>
                  <a:gd name="connsiteX2365" fmla="*/ 868394 w 962025"/>
                  <a:gd name="connsiteY2365" fmla="*/ 480536 h 695325"/>
                  <a:gd name="connsiteX2366" fmla="*/ 871728 w 962025"/>
                  <a:gd name="connsiteY2366" fmla="*/ 477107 h 695325"/>
                  <a:gd name="connsiteX2367" fmla="*/ 872585 w 962025"/>
                  <a:gd name="connsiteY2367" fmla="*/ 474535 h 695325"/>
                  <a:gd name="connsiteX2368" fmla="*/ 870966 w 962025"/>
                  <a:gd name="connsiteY2368" fmla="*/ 470249 h 695325"/>
                  <a:gd name="connsiteX2369" fmla="*/ 871728 w 962025"/>
                  <a:gd name="connsiteY2369" fmla="*/ 468630 h 695325"/>
                  <a:gd name="connsiteX2370" fmla="*/ 872585 w 962025"/>
                  <a:gd name="connsiteY2370" fmla="*/ 465201 h 695325"/>
                  <a:gd name="connsiteX2371" fmla="*/ 875157 w 962025"/>
                  <a:gd name="connsiteY2371" fmla="*/ 463486 h 695325"/>
                  <a:gd name="connsiteX2372" fmla="*/ 881062 w 962025"/>
                  <a:gd name="connsiteY2372" fmla="*/ 461772 h 695325"/>
                  <a:gd name="connsiteX2373" fmla="*/ 886111 w 962025"/>
                  <a:gd name="connsiteY2373" fmla="*/ 458343 h 695325"/>
                  <a:gd name="connsiteX2374" fmla="*/ 888682 w 962025"/>
                  <a:gd name="connsiteY2374" fmla="*/ 458343 h 695325"/>
                  <a:gd name="connsiteX2375" fmla="*/ 890397 w 962025"/>
                  <a:gd name="connsiteY2375" fmla="*/ 458343 h 695325"/>
                  <a:gd name="connsiteX2376" fmla="*/ 892874 w 962025"/>
                  <a:gd name="connsiteY2376" fmla="*/ 459200 h 695325"/>
                  <a:gd name="connsiteX2377" fmla="*/ 893731 w 962025"/>
                  <a:gd name="connsiteY2377" fmla="*/ 456629 h 695325"/>
                  <a:gd name="connsiteX2378" fmla="*/ 895445 w 962025"/>
                  <a:gd name="connsiteY2378" fmla="*/ 452438 h 695325"/>
                  <a:gd name="connsiteX2379" fmla="*/ 895445 w 962025"/>
                  <a:gd name="connsiteY2379" fmla="*/ 449866 h 695325"/>
                  <a:gd name="connsiteX2380" fmla="*/ 896303 w 962025"/>
                  <a:gd name="connsiteY2380" fmla="*/ 445580 h 695325"/>
                  <a:gd name="connsiteX2381" fmla="*/ 899636 w 962025"/>
                  <a:gd name="connsiteY2381" fmla="*/ 435388 h 695325"/>
                  <a:gd name="connsiteX2382" fmla="*/ 898779 w 962025"/>
                  <a:gd name="connsiteY2382" fmla="*/ 433673 h 695325"/>
                  <a:gd name="connsiteX2383" fmla="*/ 898017 w 962025"/>
                  <a:gd name="connsiteY2383" fmla="*/ 431101 h 695325"/>
                  <a:gd name="connsiteX2384" fmla="*/ 893731 w 962025"/>
                  <a:gd name="connsiteY2384" fmla="*/ 428530 h 695325"/>
                  <a:gd name="connsiteX2385" fmla="*/ 892016 w 962025"/>
                  <a:gd name="connsiteY2385" fmla="*/ 426815 h 695325"/>
                  <a:gd name="connsiteX2386" fmla="*/ 891254 w 962025"/>
                  <a:gd name="connsiteY2386" fmla="*/ 425958 h 695325"/>
                  <a:gd name="connsiteX2387" fmla="*/ 889540 w 962025"/>
                  <a:gd name="connsiteY2387" fmla="*/ 425958 h 695325"/>
                  <a:gd name="connsiteX2388" fmla="*/ 883634 w 962025"/>
                  <a:gd name="connsiteY2388" fmla="*/ 426815 h 695325"/>
                  <a:gd name="connsiteX2389" fmla="*/ 882777 w 962025"/>
                  <a:gd name="connsiteY2389" fmla="*/ 425958 h 695325"/>
                  <a:gd name="connsiteX2390" fmla="*/ 881920 w 962025"/>
                  <a:gd name="connsiteY2390" fmla="*/ 425101 h 695325"/>
                  <a:gd name="connsiteX2391" fmla="*/ 881062 w 962025"/>
                  <a:gd name="connsiteY2391" fmla="*/ 423386 h 695325"/>
                  <a:gd name="connsiteX2392" fmla="*/ 880205 w 962025"/>
                  <a:gd name="connsiteY2392" fmla="*/ 423386 h 695325"/>
                  <a:gd name="connsiteX2393" fmla="*/ 879348 w 962025"/>
                  <a:gd name="connsiteY2393" fmla="*/ 423386 h 695325"/>
                  <a:gd name="connsiteX2394" fmla="*/ 877729 w 962025"/>
                  <a:gd name="connsiteY2394" fmla="*/ 422529 h 695325"/>
                  <a:gd name="connsiteX2395" fmla="*/ 876014 w 962025"/>
                  <a:gd name="connsiteY2395" fmla="*/ 420052 h 695325"/>
                  <a:gd name="connsiteX2396" fmla="*/ 873443 w 962025"/>
                  <a:gd name="connsiteY2396" fmla="*/ 414052 h 695325"/>
                  <a:gd name="connsiteX2397" fmla="*/ 870109 w 962025"/>
                  <a:gd name="connsiteY2397" fmla="*/ 410623 h 695325"/>
                  <a:gd name="connsiteX2398" fmla="*/ 868394 w 962025"/>
                  <a:gd name="connsiteY2398" fmla="*/ 409765 h 695325"/>
                  <a:gd name="connsiteX2399" fmla="*/ 863346 w 962025"/>
                  <a:gd name="connsiteY2399" fmla="*/ 409765 h 695325"/>
                  <a:gd name="connsiteX2400" fmla="*/ 856583 w 962025"/>
                  <a:gd name="connsiteY2400" fmla="*/ 406432 h 695325"/>
                  <a:gd name="connsiteX2401" fmla="*/ 854011 w 962025"/>
                  <a:gd name="connsiteY2401" fmla="*/ 405575 h 695325"/>
                  <a:gd name="connsiteX2402" fmla="*/ 852297 w 962025"/>
                  <a:gd name="connsiteY2402" fmla="*/ 405575 h 695325"/>
                  <a:gd name="connsiteX2403" fmla="*/ 850582 w 962025"/>
                  <a:gd name="connsiteY2403" fmla="*/ 405575 h 695325"/>
                  <a:gd name="connsiteX2404" fmla="*/ 848963 w 962025"/>
                  <a:gd name="connsiteY2404" fmla="*/ 406432 h 695325"/>
                  <a:gd name="connsiteX2405" fmla="*/ 847249 w 962025"/>
                  <a:gd name="connsiteY2405" fmla="*/ 408051 h 695325"/>
                  <a:gd name="connsiteX2406" fmla="*/ 843820 w 962025"/>
                  <a:gd name="connsiteY2406" fmla="*/ 409765 h 695325"/>
                  <a:gd name="connsiteX2407" fmla="*/ 840486 w 962025"/>
                  <a:gd name="connsiteY2407" fmla="*/ 411480 h 695325"/>
                  <a:gd name="connsiteX2408" fmla="*/ 839629 w 962025"/>
                  <a:gd name="connsiteY2408" fmla="*/ 412337 h 695325"/>
                  <a:gd name="connsiteX2409" fmla="*/ 837057 w 962025"/>
                  <a:gd name="connsiteY2409" fmla="*/ 411480 h 695325"/>
                  <a:gd name="connsiteX2410" fmla="*/ 836295 w 962025"/>
                  <a:gd name="connsiteY2410" fmla="*/ 410623 h 695325"/>
                  <a:gd name="connsiteX2411" fmla="*/ 836295 w 962025"/>
                  <a:gd name="connsiteY2411" fmla="*/ 408051 h 695325"/>
                  <a:gd name="connsiteX2412" fmla="*/ 834581 w 962025"/>
                  <a:gd name="connsiteY2412" fmla="*/ 406432 h 695325"/>
                  <a:gd name="connsiteX2413" fmla="*/ 833723 w 962025"/>
                  <a:gd name="connsiteY2413" fmla="*/ 403860 h 695325"/>
                  <a:gd name="connsiteX2414" fmla="*/ 833723 w 962025"/>
                  <a:gd name="connsiteY2414" fmla="*/ 403003 h 695325"/>
                  <a:gd name="connsiteX2415" fmla="*/ 833723 w 962025"/>
                  <a:gd name="connsiteY2415" fmla="*/ 402146 h 695325"/>
                  <a:gd name="connsiteX2416" fmla="*/ 834581 w 962025"/>
                  <a:gd name="connsiteY2416" fmla="*/ 401288 h 695325"/>
                  <a:gd name="connsiteX2417" fmla="*/ 835438 w 962025"/>
                  <a:gd name="connsiteY2417" fmla="*/ 400431 h 695325"/>
                  <a:gd name="connsiteX2418" fmla="*/ 836295 w 962025"/>
                  <a:gd name="connsiteY2418" fmla="*/ 399574 h 695325"/>
                  <a:gd name="connsiteX2419" fmla="*/ 836295 w 962025"/>
                  <a:gd name="connsiteY2419" fmla="*/ 395288 h 695325"/>
                  <a:gd name="connsiteX2420" fmla="*/ 837057 w 962025"/>
                  <a:gd name="connsiteY2420" fmla="*/ 393573 h 695325"/>
                  <a:gd name="connsiteX2421" fmla="*/ 839629 w 962025"/>
                  <a:gd name="connsiteY2421" fmla="*/ 392716 h 695325"/>
                  <a:gd name="connsiteX2422" fmla="*/ 840486 w 962025"/>
                  <a:gd name="connsiteY2422" fmla="*/ 392716 h 695325"/>
                  <a:gd name="connsiteX2423" fmla="*/ 842201 w 962025"/>
                  <a:gd name="connsiteY2423" fmla="*/ 390239 h 695325"/>
                  <a:gd name="connsiteX2424" fmla="*/ 843058 w 962025"/>
                  <a:gd name="connsiteY2424" fmla="*/ 388525 h 695325"/>
                  <a:gd name="connsiteX2425" fmla="*/ 843820 w 962025"/>
                  <a:gd name="connsiteY2425" fmla="*/ 387667 h 695325"/>
                  <a:gd name="connsiteX2426" fmla="*/ 843820 w 962025"/>
                  <a:gd name="connsiteY2426" fmla="*/ 385096 h 695325"/>
                  <a:gd name="connsiteX2427" fmla="*/ 843058 w 962025"/>
                  <a:gd name="connsiteY2427" fmla="*/ 383381 h 695325"/>
                  <a:gd name="connsiteX2428" fmla="*/ 841343 w 962025"/>
                  <a:gd name="connsiteY2428" fmla="*/ 380809 h 695325"/>
                  <a:gd name="connsiteX2429" fmla="*/ 838772 w 962025"/>
                  <a:gd name="connsiteY2429" fmla="*/ 373189 h 695325"/>
                  <a:gd name="connsiteX2430" fmla="*/ 837057 w 962025"/>
                  <a:gd name="connsiteY2430" fmla="*/ 371475 h 695325"/>
                  <a:gd name="connsiteX2431" fmla="*/ 837057 w 962025"/>
                  <a:gd name="connsiteY2431" fmla="*/ 369760 h 695325"/>
                  <a:gd name="connsiteX2432" fmla="*/ 837914 w 962025"/>
                  <a:gd name="connsiteY2432" fmla="*/ 368903 h 695325"/>
                  <a:gd name="connsiteX2433" fmla="*/ 837914 w 962025"/>
                  <a:gd name="connsiteY2433" fmla="*/ 367189 h 695325"/>
                  <a:gd name="connsiteX2434" fmla="*/ 836295 w 962025"/>
                  <a:gd name="connsiteY2434" fmla="*/ 366331 h 695325"/>
                  <a:gd name="connsiteX2435" fmla="*/ 838772 w 962025"/>
                  <a:gd name="connsiteY2435" fmla="*/ 363760 h 695325"/>
                  <a:gd name="connsiteX2436" fmla="*/ 843820 w 962025"/>
                  <a:gd name="connsiteY2436" fmla="*/ 363760 h 695325"/>
                  <a:gd name="connsiteX2437" fmla="*/ 845534 w 962025"/>
                  <a:gd name="connsiteY2437" fmla="*/ 365474 h 695325"/>
                  <a:gd name="connsiteX2438" fmla="*/ 850582 w 962025"/>
                  <a:gd name="connsiteY2438" fmla="*/ 371475 h 695325"/>
                  <a:gd name="connsiteX2439" fmla="*/ 854011 w 962025"/>
                  <a:gd name="connsiteY2439" fmla="*/ 374047 h 695325"/>
                  <a:gd name="connsiteX2440" fmla="*/ 857345 w 962025"/>
                  <a:gd name="connsiteY2440" fmla="*/ 374904 h 695325"/>
                  <a:gd name="connsiteX2441" fmla="*/ 860774 w 962025"/>
                  <a:gd name="connsiteY2441" fmla="*/ 374904 h 695325"/>
                  <a:gd name="connsiteX2442" fmla="*/ 863346 w 962025"/>
                  <a:gd name="connsiteY2442" fmla="*/ 373189 h 695325"/>
                  <a:gd name="connsiteX2443" fmla="*/ 868394 w 962025"/>
                  <a:gd name="connsiteY2443" fmla="*/ 370618 h 695325"/>
                  <a:gd name="connsiteX2444" fmla="*/ 871728 w 962025"/>
                  <a:gd name="connsiteY2444" fmla="*/ 368903 h 695325"/>
                  <a:gd name="connsiteX2445" fmla="*/ 879348 w 962025"/>
                  <a:gd name="connsiteY2445" fmla="*/ 369760 h 695325"/>
                  <a:gd name="connsiteX2446" fmla="*/ 881920 w 962025"/>
                  <a:gd name="connsiteY2446" fmla="*/ 370618 h 695325"/>
                  <a:gd name="connsiteX2447" fmla="*/ 886968 w 962025"/>
                  <a:gd name="connsiteY2447" fmla="*/ 374047 h 695325"/>
                  <a:gd name="connsiteX2448" fmla="*/ 890397 w 962025"/>
                  <a:gd name="connsiteY2448" fmla="*/ 374047 h 695325"/>
                  <a:gd name="connsiteX2449" fmla="*/ 900494 w 962025"/>
                  <a:gd name="connsiteY2449" fmla="*/ 374047 h 695325"/>
                  <a:gd name="connsiteX2450" fmla="*/ 905542 w 962025"/>
                  <a:gd name="connsiteY2450" fmla="*/ 375761 h 695325"/>
                  <a:gd name="connsiteX2451" fmla="*/ 907256 w 962025"/>
                  <a:gd name="connsiteY2451" fmla="*/ 375761 h 695325"/>
                  <a:gd name="connsiteX2452" fmla="*/ 924211 w 962025"/>
                  <a:gd name="connsiteY2452" fmla="*/ 375761 h 695325"/>
                  <a:gd name="connsiteX2453" fmla="*/ 933450 w 962025"/>
                  <a:gd name="connsiteY2453" fmla="*/ 377380 h 695325"/>
                  <a:gd name="connsiteX2454" fmla="*/ 936879 w 962025"/>
                  <a:gd name="connsiteY2454" fmla="*/ 376523 h 695325"/>
                  <a:gd name="connsiteX2455" fmla="*/ 938594 w 962025"/>
                  <a:gd name="connsiteY2455" fmla="*/ 375761 h 695325"/>
                  <a:gd name="connsiteX2456" fmla="*/ 939451 w 962025"/>
                  <a:gd name="connsiteY2456" fmla="*/ 374904 h 695325"/>
                  <a:gd name="connsiteX2457" fmla="*/ 941070 w 962025"/>
                  <a:gd name="connsiteY2457" fmla="*/ 373189 h 695325"/>
                  <a:gd name="connsiteX2458" fmla="*/ 946214 w 962025"/>
                  <a:gd name="connsiteY2458" fmla="*/ 371475 h 695325"/>
                  <a:gd name="connsiteX2459" fmla="*/ 949547 w 962025"/>
                  <a:gd name="connsiteY2459" fmla="*/ 369760 h 695325"/>
                  <a:gd name="connsiteX2460" fmla="*/ 950405 w 962025"/>
                  <a:gd name="connsiteY2460" fmla="*/ 368903 h 695325"/>
                  <a:gd name="connsiteX2461" fmla="*/ 950405 w 962025"/>
                  <a:gd name="connsiteY2461" fmla="*/ 367189 h 695325"/>
                  <a:gd name="connsiteX2462" fmla="*/ 950405 w 962025"/>
                  <a:gd name="connsiteY2462" fmla="*/ 365474 h 695325"/>
                  <a:gd name="connsiteX2463" fmla="*/ 951262 w 962025"/>
                  <a:gd name="connsiteY2463" fmla="*/ 363760 h 695325"/>
                  <a:gd name="connsiteX2464" fmla="*/ 952119 w 962025"/>
                  <a:gd name="connsiteY2464" fmla="*/ 362045 h 695325"/>
                  <a:gd name="connsiteX2465" fmla="*/ 954595 w 962025"/>
                  <a:gd name="connsiteY2465" fmla="*/ 361188 h 695325"/>
                  <a:gd name="connsiteX2466" fmla="*/ 958024 w 962025"/>
                  <a:gd name="connsiteY2466" fmla="*/ 361188 h 695325"/>
                  <a:gd name="connsiteX2467" fmla="*/ 959739 w 962025"/>
                  <a:gd name="connsiteY2467" fmla="*/ 360426 h 695325"/>
                  <a:gd name="connsiteX2468" fmla="*/ 963073 w 962025"/>
                  <a:gd name="connsiteY2468" fmla="*/ 358711 h 695325"/>
                  <a:gd name="connsiteX2469" fmla="*/ 964787 w 962025"/>
                  <a:gd name="connsiteY2469" fmla="*/ 356997 h 695325"/>
                  <a:gd name="connsiteX2470" fmla="*/ 964787 w 962025"/>
                  <a:gd name="connsiteY2470" fmla="*/ 356140 h 695325"/>
                  <a:gd name="connsiteX2471" fmla="*/ 964787 w 962025"/>
                  <a:gd name="connsiteY2471" fmla="*/ 354425 h 695325"/>
                  <a:gd name="connsiteX2472" fmla="*/ 965645 w 962025"/>
                  <a:gd name="connsiteY2472" fmla="*/ 352711 h 695325"/>
                  <a:gd name="connsiteX2473" fmla="*/ 965645 w 962025"/>
                  <a:gd name="connsiteY2473" fmla="*/ 352711 h 695325"/>
                  <a:gd name="connsiteX2474" fmla="*/ 966502 w 962025"/>
                  <a:gd name="connsiteY2474" fmla="*/ 350139 h 695325"/>
                  <a:gd name="connsiteX2475" fmla="*/ 963073 w 962025"/>
                  <a:gd name="connsiteY2475" fmla="*/ 345091 h 695325"/>
                  <a:gd name="connsiteX2476" fmla="*/ 961358 w 962025"/>
                  <a:gd name="connsiteY2476" fmla="*/ 342519 h 695325"/>
                  <a:gd name="connsiteX2477" fmla="*/ 959739 w 962025"/>
                  <a:gd name="connsiteY2477" fmla="*/ 342519 h 695325"/>
                  <a:gd name="connsiteX2478" fmla="*/ 959739 w 962025"/>
                  <a:gd name="connsiteY2478" fmla="*/ 341662 h 695325"/>
                  <a:gd name="connsiteX2479" fmla="*/ 958882 w 962025"/>
                  <a:gd name="connsiteY2479" fmla="*/ 340805 h 695325"/>
                  <a:gd name="connsiteX2480" fmla="*/ 959739 w 962025"/>
                  <a:gd name="connsiteY2480" fmla="*/ 339947 h 695325"/>
                  <a:gd name="connsiteX2481" fmla="*/ 959739 w 962025"/>
                  <a:gd name="connsiteY2481" fmla="*/ 339090 h 695325"/>
                  <a:gd name="connsiteX2482" fmla="*/ 959739 w 962025"/>
                  <a:gd name="connsiteY2482" fmla="*/ 336518 h 695325"/>
                  <a:gd name="connsiteX2483" fmla="*/ 959739 w 962025"/>
                  <a:gd name="connsiteY2483" fmla="*/ 335661 h 695325"/>
                  <a:gd name="connsiteX2484" fmla="*/ 958882 w 962025"/>
                  <a:gd name="connsiteY2484" fmla="*/ 334804 h 695325"/>
                  <a:gd name="connsiteX2485" fmla="*/ 958024 w 962025"/>
                  <a:gd name="connsiteY2485" fmla="*/ 333946 h 695325"/>
                  <a:gd name="connsiteX2486" fmla="*/ 955453 w 962025"/>
                  <a:gd name="connsiteY2486" fmla="*/ 333089 h 695325"/>
                  <a:gd name="connsiteX2487" fmla="*/ 954595 w 962025"/>
                  <a:gd name="connsiteY2487" fmla="*/ 331375 h 695325"/>
                  <a:gd name="connsiteX2488" fmla="*/ 953834 w 962025"/>
                  <a:gd name="connsiteY2488" fmla="*/ 329660 h 695325"/>
                  <a:gd name="connsiteX2489" fmla="*/ 952976 w 962025"/>
                  <a:gd name="connsiteY2489" fmla="*/ 328041 h 695325"/>
                  <a:gd name="connsiteX2490" fmla="*/ 952976 w 962025"/>
                  <a:gd name="connsiteY2490" fmla="*/ 327184 h 695325"/>
                  <a:gd name="connsiteX2491" fmla="*/ 953834 w 962025"/>
                  <a:gd name="connsiteY2491" fmla="*/ 327184 h 695325"/>
                  <a:gd name="connsiteX2492" fmla="*/ 954595 w 962025"/>
                  <a:gd name="connsiteY2492" fmla="*/ 326326 h 695325"/>
                  <a:gd name="connsiteX2493" fmla="*/ 956310 w 962025"/>
                  <a:gd name="connsiteY2493" fmla="*/ 326326 h 695325"/>
                  <a:gd name="connsiteX2494" fmla="*/ 958024 w 962025"/>
                  <a:gd name="connsiteY2494" fmla="*/ 325469 h 695325"/>
                  <a:gd name="connsiteX2495" fmla="*/ 958882 w 962025"/>
                  <a:gd name="connsiteY2495" fmla="*/ 323755 h 695325"/>
                  <a:gd name="connsiteX2496" fmla="*/ 959739 w 962025"/>
                  <a:gd name="connsiteY2496" fmla="*/ 316039 h 695325"/>
                  <a:gd name="connsiteX2497" fmla="*/ 962215 w 962025"/>
                  <a:gd name="connsiteY2497" fmla="*/ 313563 h 695325"/>
                  <a:gd name="connsiteX2498" fmla="*/ 962215 w 962025"/>
                  <a:gd name="connsiteY2498" fmla="*/ 311848 h 695325"/>
                  <a:gd name="connsiteX2499" fmla="*/ 963073 w 962025"/>
                  <a:gd name="connsiteY2499" fmla="*/ 310134 h 695325"/>
                  <a:gd name="connsiteX2500" fmla="*/ 963073 w 962025"/>
                  <a:gd name="connsiteY2500" fmla="*/ 303276 h 695325"/>
                  <a:gd name="connsiteX2501" fmla="*/ 963073 w 962025"/>
                  <a:gd name="connsiteY2501" fmla="*/ 301561 h 695325"/>
                  <a:gd name="connsiteX2502" fmla="*/ 961358 w 962025"/>
                  <a:gd name="connsiteY2502" fmla="*/ 300704 h 695325"/>
                  <a:gd name="connsiteX2503" fmla="*/ 959739 w 962025"/>
                  <a:gd name="connsiteY2503" fmla="*/ 299847 h 695325"/>
                  <a:gd name="connsiteX2504" fmla="*/ 959739 w 962025"/>
                  <a:gd name="connsiteY2504" fmla="*/ 298990 h 695325"/>
                  <a:gd name="connsiteX2505" fmla="*/ 958882 w 962025"/>
                  <a:gd name="connsiteY2505" fmla="*/ 298228 h 695325"/>
                  <a:gd name="connsiteX2506" fmla="*/ 958882 w 962025"/>
                  <a:gd name="connsiteY2506" fmla="*/ 296513 h 695325"/>
                  <a:gd name="connsiteX2507" fmla="*/ 960596 w 962025"/>
                  <a:gd name="connsiteY2507" fmla="*/ 291370 h 695325"/>
                  <a:gd name="connsiteX2508" fmla="*/ 960596 w 962025"/>
                  <a:gd name="connsiteY2508" fmla="*/ 288798 h 695325"/>
                  <a:gd name="connsiteX2509" fmla="*/ 959739 w 962025"/>
                  <a:gd name="connsiteY2509" fmla="*/ 286226 h 695325"/>
                  <a:gd name="connsiteX2510" fmla="*/ 959739 w 962025"/>
                  <a:gd name="connsiteY2510" fmla="*/ 283655 h 695325"/>
                  <a:gd name="connsiteX2511" fmla="*/ 959739 w 962025"/>
                  <a:gd name="connsiteY2511" fmla="*/ 282892 h 695325"/>
                  <a:gd name="connsiteX2512" fmla="*/ 959739 w 962025"/>
                  <a:gd name="connsiteY2512" fmla="*/ 282035 h 695325"/>
                  <a:gd name="connsiteX2513" fmla="*/ 960596 w 962025"/>
                  <a:gd name="connsiteY2513" fmla="*/ 281178 h 695325"/>
                  <a:gd name="connsiteX2514" fmla="*/ 961358 w 962025"/>
                  <a:gd name="connsiteY2514" fmla="*/ 281178 h 695325"/>
                  <a:gd name="connsiteX2515" fmla="*/ 961358 w 962025"/>
                  <a:gd name="connsiteY2515" fmla="*/ 281178 h 695325"/>
                  <a:gd name="connsiteX2516" fmla="*/ 964787 w 962025"/>
                  <a:gd name="connsiteY2516" fmla="*/ 282035 h 695325"/>
                  <a:gd name="connsiteX2517" fmla="*/ 966502 w 962025"/>
                  <a:gd name="connsiteY2517" fmla="*/ 282035 h 695325"/>
                  <a:gd name="connsiteX2518" fmla="*/ 967359 w 962025"/>
                  <a:gd name="connsiteY2518" fmla="*/ 281178 h 695325"/>
                  <a:gd name="connsiteX2519" fmla="*/ 968121 w 962025"/>
                  <a:gd name="connsiteY2519" fmla="*/ 279463 h 695325"/>
                  <a:gd name="connsiteX2520" fmla="*/ 968978 w 962025"/>
                  <a:gd name="connsiteY2520" fmla="*/ 278606 h 695325"/>
                  <a:gd name="connsiteX2521" fmla="*/ 968121 w 962025"/>
                  <a:gd name="connsiteY2521" fmla="*/ 277749 h 695325"/>
                  <a:gd name="connsiteX2522" fmla="*/ 968121 w 962025"/>
                  <a:gd name="connsiteY2522" fmla="*/ 277749 h 695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  <a:cxn ang="0">
                    <a:pos x="connsiteX2376" y="connsiteY2376"/>
                  </a:cxn>
                  <a:cxn ang="0">
                    <a:pos x="connsiteX2377" y="connsiteY2377"/>
                  </a:cxn>
                  <a:cxn ang="0">
                    <a:pos x="connsiteX2378" y="connsiteY2378"/>
                  </a:cxn>
                  <a:cxn ang="0">
                    <a:pos x="connsiteX2379" y="connsiteY2379"/>
                  </a:cxn>
                  <a:cxn ang="0">
                    <a:pos x="connsiteX2380" y="connsiteY2380"/>
                  </a:cxn>
                  <a:cxn ang="0">
                    <a:pos x="connsiteX2381" y="connsiteY2381"/>
                  </a:cxn>
                  <a:cxn ang="0">
                    <a:pos x="connsiteX2382" y="connsiteY2382"/>
                  </a:cxn>
                  <a:cxn ang="0">
                    <a:pos x="connsiteX2383" y="connsiteY2383"/>
                  </a:cxn>
                  <a:cxn ang="0">
                    <a:pos x="connsiteX2384" y="connsiteY2384"/>
                  </a:cxn>
                  <a:cxn ang="0">
                    <a:pos x="connsiteX2385" y="connsiteY2385"/>
                  </a:cxn>
                  <a:cxn ang="0">
                    <a:pos x="connsiteX2386" y="connsiteY2386"/>
                  </a:cxn>
                  <a:cxn ang="0">
                    <a:pos x="connsiteX2387" y="connsiteY2387"/>
                  </a:cxn>
                  <a:cxn ang="0">
                    <a:pos x="connsiteX2388" y="connsiteY2388"/>
                  </a:cxn>
                  <a:cxn ang="0">
                    <a:pos x="connsiteX2389" y="connsiteY2389"/>
                  </a:cxn>
                  <a:cxn ang="0">
                    <a:pos x="connsiteX2390" y="connsiteY2390"/>
                  </a:cxn>
                  <a:cxn ang="0">
                    <a:pos x="connsiteX2391" y="connsiteY2391"/>
                  </a:cxn>
                  <a:cxn ang="0">
                    <a:pos x="connsiteX2392" y="connsiteY2392"/>
                  </a:cxn>
                  <a:cxn ang="0">
                    <a:pos x="connsiteX2393" y="connsiteY2393"/>
                  </a:cxn>
                  <a:cxn ang="0">
                    <a:pos x="connsiteX2394" y="connsiteY2394"/>
                  </a:cxn>
                  <a:cxn ang="0">
                    <a:pos x="connsiteX2395" y="connsiteY2395"/>
                  </a:cxn>
                  <a:cxn ang="0">
                    <a:pos x="connsiteX2396" y="connsiteY2396"/>
                  </a:cxn>
                  <a:cxn ang="0">
                    <a:pos x="connsiteX2397" y="connsiteY2397"/>
                  </a:cxn>
                  <a:cxn ang="0">
                    <a:pos x="connsiteX2398" y="connsiteY2398"/>
                  </a:cxn>
                  <a:cxn ang="0">
                    <a:pos x="connsiteX2399" y="connsiteY2399"/>
                  </a:cxn>
                  <a:cxn ang="0">
                    <a:pos x="connsiteX2400" y="connsiteY2400"/>
                  </a:cxn>
                  <a:cxn ang="0">
                    <a:pos x="connsiteX2401" y="connsiteY2401"/>
                  </a:cxn>
                  <a:cxn ang="0">
                    <a:pos x="connsiteX2402" y="connsiteY2402"/>
                  </a:cxn>
                  <a:cxn ang="0">
                    <a:pos x="connsiteX2403" y="connsiteY2403"/>
                  </a:cxn>
                  <a:cxn ang="0">
                    <a:pos x="connsiteX2404" y="connsiteY2404"/>
                  </a:cxn>
                  <a:cxn ang="0">
                    <a:pos x="connsiteX2405" y="connsiteY2405"/>
                  </a:cxn>
                  <a:cxn ang="0">
                    <a:pos x="connsiteX2406" y="connsiteY2406"/>
                  </a:cxn>
                  <a:cxn ang="0">
                    <a:pos x="connsiteX2407" y="connsiteY2407"/>
                  </a:cxn>
                  <a:cxn ang="0">
                    <a:pos x="connsiteX2408" y="connsiteY2408"/>
                  </a:cxn>
                  <a:cxn ang="0">
                    <a:pos x="connsiteX2409" y="connsiteY2409"/>
                  </a:cxn>
                  <a:cxn ang="0">
                    <a:pos x="connsiteX2410" y="connsiteY2410"/>
                  </a:cxn>
                  <a:cxn ang="0">
                    <a:pos x="connsiteX2411" y="connsiteY2411"/>
                  </a:cxn>
                  <a:cxn ang="0">
                    <a:pos x="connsiteX2412" y="connsiteY2412"/>
                  </a:cxn>
                  <a:cxn ang="0">
                    <a:pos x="connsiteX2413" y="connsiteY2413"/>
                  </a:cxn>
                  <a:cxn ang="0">
                    <a:pos x="connsiteX2414" y="connsiteY2414"/>
                  </a:cxn>
                  <a:cxn ang="0">
                    <a:pos x="connsiteX2415" y="connsiteY2415"/>
                  </a:cxn>
                  <a:cxn ang="0">
                    <a:pos x="connsiteX2416" y="connsiteY2416"/>
                  </a:cxn>
                  <a:cxn ang="0">
                    <a:pos x="connsiteX2417" y="connsiteY2417"/>
                  </a:cxn>
                  <a:cxn ang="0">
                    <a:pos x="connsiteX2418" y="connsiteY2418"/>
                  </a:cxn>
                  <a:cxn ang="0">
                    <a:pos x="connsiteX2419" y="connsiteY2419"/>
                  </a:cxn>
                  <a:cxn ang="0">
                    <a:pos x="connsiteX2420" y="connsiteY2420"/>
                  </a:cxn>
                  <a:cxn ang="0">
                    <a:pos x="connsiteX2421" y="connsiteY2421"/>
                  </a:cxn>
                  <a:cxn ang="0">
                    <a:pos x="connsiteX2422" y="connsiteY2422"/>
                  </a:cxn>
                  <a:cxn ang="0">
                    <a:pos x="connsiteX2423" y="connsiteY2423"/>
                  </a:cxn>
                  <a:cxn ang="0">
                    <a:pos x="connsiteX2424" y="connsiteY2424"/>
                  </a:cxn>
                  <a:cxn ang="0">
                    <a:pos x="connsiteX2425" y="connsiteY2425"/>
                  </a:cxn>
                  <a:cxn ang="0">
                    <a:pos x="connsiteX2426" y="connsiteY2426"/>
                  </a:cxn>
                  <a:cxn ang="0">
                    <a:pos x="connsiteX2427" y="connsiteY2427"/>
                  </a:cxn>
                  <a:cxn ang="0">
                    <a:pos x="connsiteX2428" y="connsiteY2428"/>
                  </a:cxn>
                  <a:cxn ang="0">
                    <a:pos x="connsiteX2429" y="connsiteY2429"/>
                  </a:cxn>
                  <a:cxn ang="0">
                    <a:pos x="connsiteX2430" y="connsiteY2430"/>
                  </a:cxn>
                  <a:cxn ang="0">
                    <a:pos x="connsiteX2431" y="connsiteY2431"/>
                  </a:cxn>
                  <a:cxn ang="0">
                    <a:pos x="connsiteX2432" y="connsiteY2432"/>
                  </a:cxn>
                  <a:cxn ang="0">
                    <a:pos x="connsiteX2433" y="connsiteY2433"/>
                  </a:cxn>
                  <a:cxn ang="0">
                    <a:pos x="connsiteX2434" y="connsiteY2434"/>
                  </a:cxn>
                  <a:cxn ang="0">
                    <a:pos x="connsiteX2435" y="connsiteY2435"/>
                  </a:cxn>
                  <a:cxn ang="0">
                    <a:pos x="connsiteX2436" y="connsiteY2436"/>
                  </a:cxn>
                  <a:cxn ang="0">
                    <a:pos x="connsiteX2437" y="connsiteY2437"/>
                  </a:cxn>
                  <a:cxn ang="0">
                    <a:pos x="connsiteX2438" y="connsiteY2438"/>
                  </a:cxn>
                  <a:cxn ang="0">
                    <a:pos x="connsiteX2439" y="connsiteY2439"/>
                  </a:cxn>
                  <a:cxn ang="0">
                    <a:pos x="connsiteX2440" y="connsiteY2440"/>
                  </a:cxn>
                  <a:cxn ang="0">
                    <a:pos x="connsiteX2441" y="connsiteY2441"/>
                  </a:cxn>
                  <a:cxn ang="0">
                    <a:pos x="connsiteX2442" y="connsiteY2442"/>
                  </a:cxn>
                  <a:cxn ang="0">
                    <a:pos x="connsiteX2443" y="connsiteY2443"/>
                  </a:cxn>
                  <a:cxn ang="0">
                    <a:pos x="connsiteX2444" y="connsiteY2444"/>
                  </a:cxn>
                  <a:cxn ang="0">
                    <a:pos x="connsiteX2445" y="connsiteY2445"/>
                  </a:cxn>
                  <a:cxn ang="0">
                    <a:pos x="connsiteX2446" y="connsiteY2446"/>
                  </a:cxn>
                  <a:cxn ang="0">
                    <a:pos x="connsiteX2447" y="connsiteY2447"/>
                  </a:cxn>
                  <a:cxn ang="0">
                    <a:pos x="connsiteX2448" y="connsiteY2448"/>
                  </a:cxn>
                  <a:cxn ang="0">
                    <a:pos x="connsiteX2449" y="connsiteY2449"/>
                  </a:cxn>
                  <a:cxn ang="0">
                    <a:pos x="connsiteX2450" y="connsiteY2450"/>
                  </a:cxn>
                  <a:cxn ang="0">
                    <a:pos x="connsiteX2451" y="connsiteY2451"/>
                  </a:cxn>
                  <a:cxn ang="0">
                    <a:pos x="connsiteX2452" y="connsiteY2452"/>
                  </a:cxn>
                  <a:cxn ang="0">
                    <a:pos x="connsiteX2453" y="connsiteY2453"/>
                  </a:cxn>
                  <a:cxn ang="0">
                    <a:pos x="connsiteX2454" y="connsiteY2454"/>
                  </a:cxn>
                  <a:cxn ang="0">
                    <a:pos x="connsiteX2455" y="connsiteY2455"/>
                  </a:cxn>
                  <a:cxn ang="0">
                    <a:pos x="connsiteX2456" y="connsiteY2456"/>
                  </a:cxn>
                  <a:cxn ang="0">
                    <a:pos x="connsiteX2457" y="connsiteY2457"/>
                  </a:cxn>
                  <a:cxn ang="0">
                    <a:pos x="connsiteX2458" y="connsiteY2458"/>
                  </a:cxn>
                  <a:cxn ang="0">
                    <a:pos x="connsiteX2459" y="connsiteY2459"/>
                  </a:cxn>
                  <a:cxn ang="0">
                    <a:pos x="connsiteX2460" y="connsiteY2460"/>
                  </a:cxn>
                  <a:cxn ang="0">
                    <a:pos x="connsiteX2461" y="connsiteY2461"/>
                  </a:cxn>
                  <a:cxn ang="0">
                    <a:pos x="connsiteX2462" y="connsiteY2462"/>
                  </a:cxn>
                  <a:cxn ang="0">
                    <a:pos x="connsiteX2463" y="connsiteY2463"/>
                  </a:cxn>
                  <a:cxn ang="0">
                    <a:pos x="connsiteX2464" y="connsiteY2464"/>
                  </a:cxn>
                  <a:cxn ang="0">
                    <a:pos x="connsiteX2465" y="connsiteY2465"/>
                  </a:cxn>
                  <a:cxn ang="0">
                    <a:pos x="connsiteX2466" y="connsiteY2466"/>
                  </a:cxn>
                  <a:cxn ang="0">
                    <a:pos x="connsiteX2467" y="connsiteY2467"/>
                  </a:cxn>
                  <a:cxn ang="0">
                    <a:pos x="connsiteX2468" y="connsiteY2468"/>
                  </a:cxn>
                  <a:cxn ang="0">
                    <a:pos x="connsiteX2469" y="connsiteY2469"/>
                  </a:cxn>
                  <a:cxn ang="0">
                    <a:pos x="connsiteX2470" y="connsiteY2470"/>
                  </a:cxn>
                  <a:cxn ang="0">
                    <a:pos x="connsiteX2471" y="connsiteY2471"/>
                  </a:cxn>
                  <a:cxn ang="0">
                    <a:pos x="connsiteX2472" y="connsiteY2472"/>
                  </a:cxn>
                  <a:cxn ang="0">
                    <a:pos x="connsiteX2473" y="connsiteY2473"/>
                  </a:cxn>
                  <a:cxn ang="0">
                    <a:pos x="connsiteX2474" y="connsiteY2474"/>
                  </a:cxn>
                  <a:cxn ang="0">
                    <a:pos x="connsiteX2475" y="connsiteY2475"/>
                  </a:cxn>
                  <a:cxn ang="0">
                    <a:pos x="connsiteX2476" y="connsiteY2476"/>
                  </a:cxn>
                  <a:cxn ang="0">
                    <a:pos x="connsiteX2477" y="connsiteY2477"/>
                  </a:cxn>
                  <a:cxn ang="0">
                    <a:pos x="connsiteX2478" y="connsiteY2478"/>
                  </a:cxn>
                  <a:cxn ang="0">
                    <a:pos x="connsiteX2479" y="connsiteY2479"/>
                  </a:cxn>
                  <a:cxn ang="0">
                    <a:pos x="connsiteX2480" y="connsiteY2480"/>
                  </a:cxn>
                  <a:cxn ang="0">
                    <a:pos x="connsiteX2481" y="connsiteY2481"/>
                  </a:cxn>
                  <a:cxn ang="0">
                    <a:pos x="connsiteX2482" y="connsiteY2482"/>
                  </a:cxn>
                  <a:cxn ang="0">
                    <a:pos x="connsiteX2483" y="connsiteY2483"/>
                  </a:cxn>
                  <a:cxn ang="0">
                    <a:pos x="connsiteX2484" y="connsiteY2484"/>
                  </a:cxn>
                  <a:cxn ang="0">
                    <a:pos x="connsiteX2485" y="connsiteY2485"/>
                  </a:cxn>
                  <a:cxn ang="0">
                    <a:pos x="connsiteX2486" y="connsiteY2486"/>
                  </a:cxn>
                  <a:cxn ang="0">
                    <a:pos x="connsiteX2487" y="connsiteY2487"/>
                  </a:cxn>
                  <a:cxn ang="0">
                    <a:pos x="connsiteX2488" y="connsiteY2488"/>
                  </a:cxn>
                  <a:cxn ang="0">
                    <a:pos x="connsiteX2489" y="connsiteY2489"/>
                  </a:cxn>
                  <a:cxn ang="0">
                    <a:pos x="connsiteX2490" y="connsiteY2490"/>
                  </a:cxn>
                  <a:cxn ang="0">
                    <a:pos x="connsiteX2491" y="connsiteY2491"/>
                  </a:cxn>
                  <a:cxn ang="0">
                    <a:pos x="connsiteX2492" y="connsiteY2492"/>
                  </a:cxn>
                  <a:cxn ang="0">
                    <a:pos x="connsiteX2493" y="connsiteY2493"/>
                  </a:cxn>
                  <a:cxn ang="0">
                    <a:pos x="connsiteX2494" y="connsiteY2494"/>
                  </a:cxn>
                  <a:cxn ang="0">
                    <a:pos x="connsiteX2495" y="connsiteY2495"/>
                  </a:cxn>
                  <a:cxn ang="0">
                    <a:pos x="connsiteX2496" y="connsiteY2496"/>
                  </a:cxn>
                  <a:cxn ang="0">
                    <a:pos x="connsiteX2497" y="connsiteY2497"/>
                  </a:cxn>
                  <a:cxn ang="0">
                    <a:pos x="connsiteX2498" y="connsiteY2498"/>
                  </a:cxn>
                  <a:cxn ang="0">
                    <a:pos x="connsiteX2499" y="connsiteY2499"/>
                  </a:cxn>
                  <a:cxn ang="0">
                    <a:pos x="connsiteX2500" y="connsiteY2500"/>
                  </a:cxn>
                  <a:cxn ang="0">
                    <a:pos x="connsiteX2501" y="connsiteY2501"/>
                  </a:cxn>
                  <a:cxn ang="0">
                    <a:pos x="connsiteX2502" y="connsiteY2502"/>
                  </a:cxn>
                  <a:cxn ang="0">
                    <a:pos x="connsiteX2503" y="connsiteY2503"/>
                  </a:cxn>
                  <a:cxn ang="0">
                    <a:pos x="connsiteX2504" y="connsiteY2504"/>
                  </a:cxn>
                  <a:cxn ang="0">
                    <a:pos x="connsiteX2505" y="connsiteY2505"/>
                  </a:cxn>
                  <a:cxn ang="0">
                    <a:pos x="connsiteX2506" y="connsiteY2506"/>
                  </a:cxn>
                  <a:cxn ang="0">
                    <a:pos x="connsiteX2507" y="connsiteY2507"/>
                  </a:cxn>
                  <a:cxn ang="0">
                    <a:pos x="connsiteX2508" y="connsiteY2508"/>
                  </a:cxn>
                  <a:cxn ang="0">
                    <a:pos x="connsiteX2509" y="connsiteY2509"/>
                  </a:cxn>
                  <a:cxn ang="0">
                    <a:pos x="connsiteX2510" y="connsiteY2510"/>
                  </a:cxn>
                  <a:cxn ang="0">
                    <a:pos x="connsiteX2511" y="connsiteY2511"/>
                  </a:cxn>
                  <a:cxn ang="0">
                    <a:pos x="connsiteX2512" y="connsiteY2512"/>
                  </a:cxn>
                  <a:cxn ang="0">
                    <a:pos x="connsiteX2513" y="connsiteY2513"/>
                  </a:cxn>
                  <a:cxn ang="0">
                    <a:pos x="connsiteX2514" y="connsiteY2514"/>
                  </a:cxn>
                  <a:cxn ang="0">
                    <a:pos x="connsiteX2515" y="connsiteY2515"/>
                  </a:cxn>
                  <a:cxn ang="0">
                    <a:pos x="connsiteX2516" y="connsiteY2516"/>
                  </a:cxn>
                  <a:cxn ang="0">
                    <a:pos x="connsiteX2517" y="connsiteY2517"/>
                  </a:cxn>
                  <a:cxn ang="0">
                    <a:pos x="connsiteX2518" y="connsiteY2518"/>
                  </a:cxn>
                  <a:cxn ang="0">
                    <a:pos x="connsiteX2519" y="connsiteY2519"/>
                  </a:cxn>
                  <a:cxn ang="0">
                    <a:pos x="connsiteX2520" y="connsiteY2520"/>
                  </a:cxn>
                  <a:cxn ang="0">
                    <a:pos x="connsiteX2521" y="connsiteY2521"/>
                  </a:cxn>
                  <a:cxn ang="0">
                    <a:pos x="connsiteX2522" y="connsiteY2522"/>
                  </a:cxn>
                </a:cxnLst>
                <a:rect l="l" t="t" r="r" b="b"/>
                <a:pathLst>
                  <a:path w="962025" h="695325">
                    <a:moveTo>
                      <a:pt x="968121" y="277749"/>
                    </a:moveTo>
                    <a:lnTo>
                      <a:pt x="966502" y="276034"/>
                    </a:lnTo>
                    <a:lnTo>
                      <a:pt x="966502" y="275177"/>
                    </a:lnTo>
                    <a:lnTo>
                      <a:pt x="965645" y="273463"/>
                    </a:lnTo>
                    <a:lnTo>
                      <a:pt x="964787" y="270891"/>
                    </a:lnTo>
                    <a:lnTo>
                      <a:pt x="964787" y="269176"/>
                    </a:lnTo>
                    <a:lnTo>
                      <a:pt x="963930" y="269176"/>
                    </a:lnTo>
                    <a:lnTo>
                      <a:pt x="963073" y="268319"/>
                    </a:lnTo>
                    <a:lnTo>
                      <a:pt x="958882" y="268319"/>
                    </a:lnTo>
                    <a:lnTo>
                      <a:pt x="958024" y="268319"/>
                    </a:lnTo>
                    <a:lnTo>
                      <a:pt x="957167" y="267557"/>
                    </a:lnTo>
                    <a:lnTo>
                      <a:pt x="957167" y="266700"/>
                    </a:lnTo>
                    <a:lnTo>
                      <a:pt x="957167" y="264128"/>
                    </a:lnTo>
                    <a:lnTo>
                      <a:pt x="957167" y="263271"/>
                    </a:lnTo>
                    <a:lnTo>
                      <a:pt x="956310" y="262414"/>
                    </a:lnTo>
                    <a:lnTo>
                      <a:pt x="955453" y="262414"/>
                    </a:lnTo>
                    <a:lnTo>
                      <a:pt x="954595" y="262414"/>
                    </a:lnTo>
                    <a:lnTo>
                      <a:pt x="946976" y="265843"/>
                    </a:lnTo>
                    <a:lnTo>
                      <a:pt x="946214" y="266700"/>
                    </a:lnTo>
                    <a:lnTo>
                      <a:pt x="944499" y="266700"/>
                    </a:lnTo>
                    <a:lnTo>
                      <a:pt x="938594" y="265843"/>
                    </a:lnTo>
                    <a:lnTo>
                      <a:pt x="928402" y="262414"/>
                    </a:lnTo>
                    <a:lnTo>
                      <a:pt x="926687" y="262414"/>
                    </a:lnTo>
                    <a:lnTo>
                      <a:pt x="925925" y="262414"/>
                    </a:lnTo>
                    <a:lnTo>
                      <a:pt x="925068" y="264128"/>
                    </a:lnTo>
                    <a:lnTo>
                      <a:pt x="925068" y="264985"/>
                    </a:lnTo>
                    <a:lnTo>
                      <a:pt x="925068" y="265843"/>
                    </a:lnTo>
                    <a:lnTo>
                      <a:pt x="925068" y="266700"/>
                    </a:lnTo>
                    <a:lnTo>
                      <a:pt x="925925" y="269176"/>
                    </a:lnTo>
                    <a:lnTo>
                      <a:pt x="925925" y="270034"/>
                    </a:lnTo>
                    <a:lnTo>
                      <a:pt x="925068" y="271748"/>
                    </a:lnTo>
                    <a:lnTo>
                      <a:pt x="923353" y="272605"/>
                    </a:lnTo>
                    <a:lnTo>
                      <a:pt x="922496" y="273463"/>
                    </a:lnTo>
                    <a:lnTo>
                      <a:pt x="917448" y="272605"/>
                    </a:lnTo>
                    <a:lnTo>
                      <a:pt x="912400" y="273463"/>
                    </a:lnTo>
                    <a:lnTo>
                      <a:pt x="912400" y="272605"/>
                    </a:lnTo>
                    <a:lnTo>
                      <a:pt x="912400" y="271748"/>
                    </a:lnTo>
                    <a:lnTo>
                      <a:pt x="914876" y="267557"/>
                    </a:lnTo>
                    <a:lnTo>
                      <a:pt x="914019" y="265843"/>
                    </a:lnTo>
                    <a:lnTo>
                      <a:pt x="914019" y="264985"/>
                    </a:lnTo>
                    <a:lnTo>
                      <a:pt x="912400" y="264128"/>
                    </a:lnTo>
                    <a:lnTo>
                      <a:pt x="911543" y="264128"/>
                    </a:lnTo>
                    <a:lnTo>
                      <a:pt x="910685" y="264128"/>
                    </a:lnTo>
                    <a:lnTo>
                      <a:pt x="910685" y="264128"/>
                    </a:lnTo>
                    <a:lnTo>
                      <a:pt x="909828" y="264128"/>
                    </a:lnTo>
                    <a:lnTo>
                      <a:pt x="908971" y="264128"/>
                    </a:lnTo>
                    <a:lnTo>
                      <a:pt x="908971" y="264128"/>
                    </a:lnTo>
                    <a:lnTo>
                      <a:pt x="908114" y="264128"/>
                    </a:lnTo>
                    <a:lnTo>
                      <a:pt x="908114" y="263271"/>
                    </a:lnTo>
                    <a:lnTo>
                      <a:pt x="907256" y="262414"/>
                    </a:lnTo>
                    <a:lnTo>
                      <a:pt x="908114" y="257270"/>
                    </a:lnTo>
                    <a:lnTo>
                      <a:pt x="908114" y="254698"/>
                    </a:lnTo>
                    <a:lnTo>
                      <a:pt x="907256" y="253841"/>
                    </a:lnTo>
                    <a:lnTo>
                      <a:pt x="907256" y="253841"/>
                    </a:lnTo>
                    <a:lnTo>
                      <a:pt x="906399" y="254698"/>
                    </a:lnTo>
                    <a:lnTo>
                      <a:pt x="906399" y="254698"/>
                    </a:lnTo>
                    <a:lnTo>
                      <a:pt x="905542" y="256413"/>
                    </a:lnTo>
                    <a:lnTo>
                      <a:pt x="904780" y="257270"/>
                    </a:lnTo>
                    <a:lnTo>
                      <a:pt x="903923" y="258127"/>
                    </a:lnTo>
                    <a:lnTo>
                      <a:pt x="903923" y="258127"/>
                    </a:lnTo>
                    <a:lnTo>
                      <a:pt x="903065" y="258127"/>
                    </a:lnTo>
                    <a:lnTo>
                      <a:pt x="901351" y="257270"/>
                    </a:lnTo>
                    <a:lnTo>
                      <a:pt x="901351" y="256413"/>
                    </a:lnTo>
                    <a:lnTo>
                      <a:pt x="901351" y="255556"/>
                    </a:lnTo>
                    <a:lnTo>
                      <a:pt x="901351" y="254698"/>
                    </a:lnTo>
                    <a:lnTo>
                      <a:pt x="902208" y="253841"/>
                    </a:lnTo>
                    <a:lnTo>
                      <a:pt x="902208" y="252222"/>
                    </a:lnTo>
                    <a:lnTo>
                      <a:pt x="902208" y="249650"/>
                    </a:lnTo>
                    <a:lnTo>
                      <a:pt x="902208" y="248793"/>
                    </a:lnTo>
                    <a:lnTo>
                      <a:pt x="901351" y="247936"/>
                    </a:lnTo>
                    <a:lnTo>
                      <a:pt x="901351" y="247079"/>
                    </a:lnTo>
                    <a:lnTo>
                      <a:pt x="900494" y="247079"/>
                    </a:lnTo>
                    <a:lnTo>
                      <a:pt x="899636" y="247936"/>
                    </a:lnTo>
                    <a:lnTo>
                      <a:pt x="895445" y="250507"/>
                    </a:lnTo>
                    <a:lnTo>
                      <a:pt x="894588" y="251365"/>
                    </a:lnTo>
                    <a:lnTo>
                      <a:pt x="893731" y="251365"/>
                    </a:lnTo>
                    <a:lnTo>
                      <a:pt x="892874" y="252222"/>
                    </a:lnTo>
                    <a:lnTo>
                      <a:pt x="892016" y="252222"/>
                    </a:lnTo>
                    <a:lnTo>
                      <a:pt x="892016" y="252222"/>
                    </a:lnTo>
                    <a:lnTo>
                      <a:pt x="890397" y="251365"/>
                    </a:lnTo>
                    <a:lnTo>
                      <a:pt x="884491" y="247079"/>
                    </a:lnTo>
                    <a:lnTo>
                      <a:pt x="881920" y="245364"/>
                    </a:lnTo>
                    <a:lnTo>
                      <a:pt x="881062" y="245364"/>
                    </a:lnTo>
                    <a:lnTo>
                      <a:pt x="878491" y="245364"/>
                    </a:lnTo>
                    <a:lnTo>
                      <a:pt x="876014" y="245364"/>
                    </a:lnTo>
                    <a:lnTo>
                      <a:pt x="875157" y="245364"/>
                    </a:lnTo>
                    <a:lnTo>
                      <a:pt x="873443" y="244507"/>
                    </a:lnTo>
                    <a:lnTo>
                      <a:pt x="865823" y="237649"/>
                    </a:lnTo>
                    <a:lnTo>
                      <a:pt x="864203" y="236792"/>
                    </a:lnTo>
                    <a:lnTo>
                      <a:pt x="864203" y="236029"/>
                    </a:lnTo>
                    <a:lnTo>
                      <a:pt x="864203" y="235172"/>
                    </a:lnTo>
                    <a:lnTo>
                      <a:pt x="864203" y="235172"/>
                    </a:lnTo>
                    <a:lnTo>
                      <a:pt x="864203" y="234315"/>
                    </a:lnTo>
                    <a:lnTo>
                      <a:pt x="864965" y="233458"/>
                    </a:lnTo>
                    <a:lnTo>
                      <a:pt x="864965" y="232600"/>
                    </a:lnTo>
                    <a:lnTo>
                      <a:pt x="864965" y="230886"/>
                    </a:lnTo>
                    <a:lnTo>
                      <a:pt x="863346" y="228314"/>
                    </a:lnTo>
                    <a:lnTo>
                      <a:pt x="863346" y="228314"/>
                    </a:lnTo>
                    <a:lnTo>
                      <a:pt x="863346" y="228314"/>
                    </a:lnTo>
                    <a:lnTo>
                      <a:pt x="862489" y="226600"/>
                    </a:lnTo>
                    <a:lnTo>
                      <a:pt x="861632" y="224885"/>
                    </a:lnTo>
                    <a:lnTo>
                      <a:pt x="859917" y="224885"/>
                    </a:lnTo>
                    <a:lnTo>
                      <a:pt x="858203" y="224028"/>
                    </a:lnTo>
                    <a:lnTo>
                      <a:pt x="857345" y="224028"/>
                    </a:lnTo>
                    <a:lnTo>
                      <a:pt x="856583" y="224028"/>
                    </a:lnTo>
                    <a:lnTo>
                      <a:pt x="855726" y="224885"/>
                    </a:lnTo>
                    <a:lnTo>
                      <a:pt x="854011" y="225742"/>
                    </a:lnTo>
                    <a:lnTo>
                      <a:pt x="853154" y="225742"/>
                    </a:lnTo>
                    <a:lnTo>
                      <a:pt x="851440" y="225742"/>
                    </a:lnTo>
                    <a:lnTo>
                      <a:pt x="848963" y="225742"/>
                    </a:lnTo>
                    <a:lnTo>
                      <a:pt x="848106" y="224885"/>
                    </a:lnTo>
                    <a:lnTo>
                      <a:pt x="848106" y="224028"/>
                    </a:lnTo>
                    <a:lnTo>
                      <a:pt x="847249" y="222313"/>
                    </a:lnTo>
                    <a:lnTo>
                      <a:pt x="847249" y="221456"/>
                    </a:lnTo>
                    <a:lnTo>
                      <a:pt x="846391" y="220694"/>
                    </a:lnTo>
                    <a:lnTo>
                      <a:pt x="841343" y="220694"/>
                    </a:lnTo>
                    <a:lnTo>
                      <a:pt x="837057" y="219837"/>
                    </a:lnTo>
                    <a:lnTo>
                      <a:pt x="834581" y="218980"/>
                    </a:lnTo>
                    <a:lnTo>
                      <a:pt x="832866" y="218980"/>
                    </a:lnTo>
                    <a:lnTo>
                      <a:pt x="832009" y="218122"/>
                    </a:lnTo>
                    <a:lnTo>
                      <a:pt x="831152" y="217265"/>
                    </a:lnTo>
                    <a:lnTo>
                      <a:pt x="831152" y="216408"/>
                    </a:lnTo>
                    <a:lnTo>
                      <a:pt x="832009" y="215551"/>
                    </a:lnTo>
                    <a:lnTo>
                      <a:pt x="832009" y="215551"/>
                    </a:lnTo>
                    <a:lnTo>
                      <a:pt x="832009" y="214693"/>
                    </a:lnTo>
                    <a:lnTo>
                      <a:pt x="832009" y="213836"/>
                    </a:lnTo>
                    <a:lnTo>
                      <a:pt x="832009" y="212979"/>
                    </a:lnTo>
                    <a:lnTo>
                      <a:pt x="831152" y="212122"/>
                    </a:lnTo>
                    <a:lnTo>
                      <a:pt x="830294" y="211264"/>
                    </a:lnTo>
                    <a:lnTo>
                      <a:pt x="829532" y="207835"/>
                    </a:lnTo>
                    <a:lnTo>
                      <a:pt x="827818" y="204502"/>
                    </a:lnTo>
                    <a:lnTo>
                      <a:pt x="817626" y="206978"/>
                    </a:lnTo>
                    <a:lnTo>
                      <a:pt x="815149" y="208693"/>
                    </a:lnTo>
                    <a:lnTo>
                      <a:pt x="815149" y="208693"/>
                    </a:lnTo>
                    <a:lnTo>
                      <a:pt x="816007" y="209550"/>
                    </a:lnTo>
                    <a:lnTo>
                      <a:pt x="819340" y="211264"/>
                    </a:lnTo>
                    <a:lnTo>
                      <a:pt x="820198" y="212122"/>
                    </a:lnTo>
                    <a:lnTo>
                      <a:pt x="820198" y="212979"/>
                    </a:lnTo>
                    <a:lnTo>
                      <a:pt x="819340" y="213836"/>
                    </a:lnTo>
                    <a:lnTo>
                      <a:pt x="818483" y="214693"/>
                    </a:lnTo>
                    <a:lnTo>
                      <a:pt x="817626" y="215551"/>
                    </a:lnTo>
                    <a:lnTo>
                      <a:pt x="814292" y="215551"/>
                    </a:lnTo>
                    <a:lnTo>
                      <a:pt x="811720" y="215551"/>
                    </a:lnTo>
                    <a:lnTo>
                      <a:pt x="810006" y="215551"/>
                    </a:lnTo>
                    <a:lnTo>
                      <a:pt x="809149" y="214693"/>
                    </a:lnTo>
                    <a:lnTo>
                      <a:pt x="808387" y="214693"/>
                    </a:lnTo>
                    <a:lnTo>
                      <a:pt x="808387" y="213836"/>
                    </a:lnTo>
                    <a:lnTo>
                      <a:pt x="808387" y="212979"/>
                    </a:lnTo>
                    <a:lnTo>
                      <a:pt x="809149" y="211264"/>
                    </a:lnTo>
                    <a:lnTo>
                      <a:pt x="809149" y="211264"/>
                    </a:lnTo>
                    <a:lnTo>
                      <a:pt x="809149" y="210407"/>
                    </a:lnTo>
                    <a:lnTo>
                      <a:pt x="808387" y="209550"/>
                    </a:lnTo>
                    <a:lnTo>
                      <a:pt x="808387" y="209550"/>
                    </a:lnTo>
                    <a:lnTo>
                      <a:pt x="805815" y="208693"/>
                    </a:lnTo>
                    <a:lnTo>
                      <a:pt x="804101" y="207835"/>
                    </a:lnTo>
                    <a:lnTo>
                      <a:pt x="802386" y="207835"/>
                    </a:lnTo>
                    <a:lnTo>
                      <a:pt x="800767" y="207835"/>
                    </a:lnTo>
                    <a:lnTo>
                      <a:pt x="799052" y="208693"/>
                    </a:lnTo>
                    <a:lnTo>
                      <a:pt x="798195" y="208693"/>
                    </a:lnTo>
                    <a:lnTo>
                      <a:pt x="796481" y="207835"/>
                    </a:lnTo>
                    <a:lnTo>
                      <a:pt x="794861" y="207835"/>
                    </a:lnTo>
                    <a:lnTo>
                      <a:pt x="794861" y="208693"/>
                    </a:lnTo>
                    <a:lnTo>
                      <a:pt x="794004" y="209550"/>
                    </a:lnTo>
                    <a:lnTo>
                      <a:pt x="794861" y="212979"/>
                    </a:lnTo>
                    <a:lnTo>
                      <a:pt x="794861" y="214693"/>
                    </a:lnTo>
                    <a:lnTo>
                      <a:pt x="794861" y="215551"/>
                    </a:lnTo>
                    <a:lnTo>
                      <a:pt x="794861" y="216408"/>
                    </a:lnTo>
                    <a:lnTo>
                      <a:pt x="794004" y="217265"/>
                    </a:lnTo>
                    <a:lnTo>
                      <a:pt x="793147" y="220694"/>
                    </a:lnTo>
                    <a:lnTo>
                      <a:pt x="791432" y="222313"/>
                    </a:lnTo>
                    <a:lnTo>
                      <a:pt x="788099" y="225742"/>
                    </a:lnTo>
                    <a:lnTo>
                      <a:pt x="788099" y="226600"/>
                    </a:lnTo>
                    <a:lnTo>
                      <a:pt x="787241" y="227457"/>
                    </a:lnTo>
                    <a:lnTo>
                      <a:pt x="787241" y="228314"/>
                    </a:lnTo>
                    <a:lnTo>
                      <a:pt x="787241" y="228314"/>
                    </a:lnTo>
                    <a:lnTo>
                      <a:pt x="787241" y="228314"/>
                    </a:lnTo>
                    <a:lnTo>
                      <a:pt x="788099" y="229171"/>
                    </a:lnTo>
                    <a:lnTo>
                      <a:pt x="788099" y="230029"/>
                    </a:lnTo>
                    <a:lnTo>
                      <a:pt x="788099" y="230886"/>
                    </a:lnTo>
                    <a:lnTo>
                      <a:pt x="788861" y="231743"/>
                    </a:lnTo>
                    <a:lnTo>
                      <a:pt x="788861" y="232600"/>
                    </a:lnTo>
                    <a:lnTo>
                      <a:pt x="788099" y="233458"/>
                    </a:lnTo>
                    <a:lnTo>
                      <a:pt x="787241" y="234315"/>
                    </a:lnTo>
                    <a:lnTo>
                      <a:pt x="787241" y="234315"/>
                    </a:lnTo>
                    <a:lnTo>
                      <a:pt x="784670" y="234315"/>
                    </a:lnTo>
                    <a:lnTo>
                      <a:pt x="783812" y="235172"/>
                    </a:lnTo>
                    <a:lnTo>
                      <a:pt x="782955" y="235172"/>
                    </a:lnTo>
                    <a:lnTo>
                      <a:pt x="782098" y="236029"/>
                    </a:lnTo>
                    <a:lnTo>
                      <a:pt x="778764" y="239363"/>
                    </a:lnTo>
                    <a:lnTo>
                      <a:pt x="776192" y="237649"/>
                    </a:lnTo>
                    <a:lnTo>
                      <a:pt x="772001" y="234315"/>
                    </a:lnTo>
                    <a:lnTo>
                      <a:pt x="770287" y="233458"/>
                    </a:lnTo>
                    <a:lnTo>
                      <a:pt x="768572" y="232600"/>
                    </a:lnTo>
                    <a:lnTo>
                      <a:pt x="767810" y="232600"/>
                    </a:lnTo>
                    <a:lnTo>
                      <a:pt x="765239" y="234315"/>
                    </a:lnTo>
                    <a:lnTo>
                      <a:pt x="764381" y="234315"/>
                    </a:lnTo>
                    <a:lnTo>
                      <a:pt x="761810" y="234315"/>
                    </a:lnTo>
                    <a:lnTo>
                      <a:pt x="760952" y="233458"/>
                    </a:lnTo>
                    <a:lnTo>
                      <a:pt x="760190" y="233458"/>
                    </a:lnTo>
                    <a:lnTo>
                      <a:pt x="759333" y="231743"/>
                    </a:lnTo>
                    <a:lnTo>
                      <a:pt x="758476" y="230886"/>
                    </a:lnTo>
                    <a:lnTo>
                      <a:pt x="757619" y="230029"/>
                    </a:lnTo>
                    <a:lnTo>
                      <a:pt x="756761" y="230029"/>
                    </a:lnTo>
                    <a:lnTo>
                      <a:pt x="750856" y="232600"/>
                    </a:lnTo>
                    <a:lnTo>
                      <a:pt x="749999" y="232600"/>
                    </a:lnTo>
                    <a:lnTo>
                      <a:pt x="746665" y="232600"/>
                    </a:lnTo>
                    <a:lnTo>
                      <a:pt x="744093" y="231743"/>
                    </a:lnTo>
                    <a:lnTo>
                      <a:pt x="742378" y="231743"/>
                    </a:lnTo>
                    <a:lnTo>
                      <a:pt x="742378" y="230886"/>
                    </a:lnTo>
                    <a:lnTo>
                      <a:pt x="742378" y="229171"/>
                    </a:lnTo>
                    <a:lnTo>
                      <a:pt x="742378" y="228314"/>
                    </a:lnTo>
                    <a:lnTo>
                      <a:pt x="742378" y="228314"/>
                    </a:lnTo>
                    <a:lnTo>
                      <a:pt x="744093" y="227457"/>
                    </a:lnTo>
                    <a:lnTo>
                      <a:pt x="744093" y="226600"/>
                    </a:lnTo>
                    <a:lnTo>
                      <a:pt x="744950" y="225742"/>
                    </a:lnTo>
                    <a:lnTo>
                      <a:pt x="744950" y="224885"/>
                    </a:lnTo>
                    <a:lnTo>
                      <a:pt x="745807" y="224028"/>
                    </a:lnTo>
                    <a:lnTo>
                      <a:pt x="745807" y="222313"/>
                    </a:lnTo>
                    <a:lnTo>
                      <a:pt x="745807" y="221456"/>
                    </a:lnTo>
                    <a:lnTo>
                      <a:pt x="745807" y="221456"/>
                    </a:lnTo>
                    <a:lnTo>
                      <a:pt x="746665" y="220694"/>
                    </a:lnTo>
                    <a:lnTo>
                      <a:pt x="746665" y="219837"/>
                    </a:lnTo>
                    <a:lnTo>
                      <a:pt x="749141" y="218122"/>
                    </a:lnTo>
                    <a:lnTo>
                      <a:pt x="749141" y="218122"/>
                    </a:lnTo>
                    <a:lnTo>
                      <a:pt x="749141" y="214693"/>
                    </a:lnTo>
                    <a:lnTo>
                      <a:pt x="749999" y="212979"/>
                    </a:lnTo>
                    <a:lnTo>
                      <a:pt x="752570" y="205359"/>
                    </a:lnTo>
                    <a:lnTo>
                      <a:pt x="752570" y="203644"/>
                    </a:lnTo>
                    <a:lnTo>
                      <a:pt x="752570" y="202787"/>
                    </a:lnTo>
                    <a:lnTo>
                      <a:pt x="751713" y="201930"/>
                    </a:lnTo>
                    <a:lnTo>
                      <a:pt x="750856" y="201930"/>
                    </a:lnTo>
                    <a:lnTo>
                      <a:pt x="749999" y="201930"/>
                    </a:lnTo>
                    <a:lnTo>
                      <a:pt x="749141" y="201930"/>
                    </a:lnTo>
                    <a:lnTo>
                      <a:pt x="748284" y="201930"/>
                    </a:lnTo>
                    <a:lnTo>
                      <a:pt x="747427" y="201930"/>
                    </a:lnTo>
                    <a:lnTo>
                      <a:pt x="746665" y="202787"/>
                    </a:lnTo>
                    <a:lnTo>
                      <a:pt x="746665" y="202787"/>
                    </a:lnTo>
                    <a:lnTo>
                      <a:pt x="745807" y="203644"/>
                    </a:lnTo>
                    <a:lnTo>
                      <a:pt x="745807" y="203644"/>
                    </a:lnTo>
                    <a:lnTo>
                      <a:pt x="745807" y="204502"/>
                    </a:lnTo>
                    <a:lnTo>
                      <a:pt x="744950" y="206978"/>
                    </a:lnTo>
                    <a:lnTo>
                      <a:pt x="744093" y="207835"/>
                    </a:lnTo>
                    <a:lnTo>
                      <a:pt x="744093" y="208693"/>
                    </a:lnTo>
                    <a:lnTo>
                      <a:pt x="743236" y="208693"/>
                    </a:lnTo>
                    <a:lnTo>
                      <a:pt x="742378" y="209550"/>
                    </a:lnTo>
                    <a:lnTo>
                      <a:pt x="733901" y="209550"/>
                    </a:lnTo>
                    <a:lnTo>
                      <a:pt x="733139" y="209550"/>
                    </a:lnTo>
                    <a:lnTo>
                      <a:pt x="732282" y="209550"/>
                    </a:lnTo>
                    <a:lnTo>
                      <a:pt x="731425" y="210407"/>
                    </a:lnTo>
                    <a:lnTo>
                      <a:pt x="731425" y="210407"/>
                    </a:lnTo>
                    <a:lnTo>
                      <a:pt x="732282" y="211264"/>
                    </a:lnTo>
                    <a:lnTo>
                      <a:pt x="732282" y="211264"/>
                    </a:lnTo>
                    <a:lnTo>
                      <a:pt x="737330" y="214693"/>
                    </a:lnTo>
                    <a:lnTo>
                      <a:pt x="738187" y="215551"/>
                    </a:lnTo>
                    <a:lnTo>
                      <a:pt x="739045" y="216408"/>
                    </a:lnTo>
                    <a:lnTo>
                      <a:pt x="738187" y="218122"/>
                    </a:lnTo>
                    <a:lnTo>
                      <a:pt x="737330" y="218980"/>
                    </a:lnTo>
                    <a:lnTo>
                      <a:pt x="736473" y="218980"/>
                    </a:lnTo>
                    <a:lnTo>
                      <a:pt x="733901" y="218980"/>
                    </a:lnTo>
                    <a:lnTo>
                      <a:pt x="732282" y="218980"/>
                    </a:lnTo>
                    <a:lnTo>
                      <a:pt x="730568" y="219837"/>
                    </a:lnTo>
                    <a:lnTo>
                      <a:pt x="729710" y="219837"/>
                    </a:lnTo>
                    <a:lnTo>
                      <a:pt x="728853" y="219837"/>
                    </a:lnTo>
                    <a:lnTo>
                      <a:pt x="727139" y="218980"/>
                    </a:lnTo>
                    <a:lnTo>
                      <a:pt x="724662" y="216408"/>
                    </a:lnTo>
                    <a:lnTo>
                      <a:pt x="723805" y="214693"/>
                    </a:lnTo>
                    <a:lnTo>
                      <a:pt x="723805" y="213836"/>
                    </a:lnTo>
                    <a:lnTo>
                      <a:pt x="722948" y="211264"/>
                    </a:lnTo>
                    <a:lnTo>
                      <a:pt x="722090" y="210407"/>
                    </a:lnTo>
                    <a:lnTo>
                      <a:pt x="721233" y="210407"/>
                    </a:lnTo>
                    <a:lnTo>
                      <a:pt x="720376" y="209550"/>
                    </a:lnTo>
                    <a:lnTo>
                      <a:pt x="719614" y="210407"/>
                    </a:lnTo>
                    <a:lnTo>
                      <a:pt x="718757" y="210407"/>
                    </a:lnTo>
                    <a:lnTo>
                      <a:pt x="718757" y="211264"/>
                    </a:lnTo>
                    <a:lnTo>
                      <a:pt x="718757" y="212122"/>
                    </a:lnTo>
                    <a:lnTo>
                      <a:pt x="719614" y="212979"/>
                    </a:lnTo>
                    <a:lnTo>
                      <a:pt x="719614" y="213836"/>
                    </a:lnTo>
                    <a:lnTo>
                      <a:pt x="718757" y="214693"/>
                    </a:lnTo>
                    <a:lnTo>
                      <a:pt x="718757" y="215551"/>
                    </a:lnTo>
                    <a:lnTo>
                      <a:pt x="717042" y="215551"/>
                    </a:lnTo>
                    <a:lnTo>
                      <a:pt x="716185" y="215551"/>
                    </a:lnTo>
                    <a:lnTo>
                      <a:pt x="715328" y="215551"/>
                    </a:lnTo>
                    <a:lnTo>
                      <a:pt x="711994" y="215551"/>
                    </a:lnTo>
                    <a:lnTo>
                      <a:pt x="710279" y="214693"/>
                    </a:lnTo>
                    <a:lnTo>
                      <a:pt x="709422" y="213836"/>
                    </a:lnTo>
                    <a:lnTo>
                      <a:pt x="708565" y="213836"/>
                    </a:lnTo>
                    <a:lnTo>
                      <a:pt x="708565" y="214693"/>
                    </a:lnTo>
                    <a:lnTo>
                      <a:pt x="708565" y="214693"/>
                    </a:lnTo>
                    <a:lnTo>
                      <a:pt x="708565" y="216408"/>
                    </a:lnTo>
                    <a:lnTo>
                      <a:pt x="709422" y="217265"/>
                    </a:lnTo>
                    <a:lnTo>
                      <a:pt x="709422" y="218980"/>
                    </a:lnTo>
                    <a:lnTo>
                      <a:pt x="710279" y="219837"/>
                    </a:lnTo>
                    <a:lnTo>
                      <a:pt x="711136" y="220694"/>
                    </a:lnTo>
                    <a:lnTo>
                      <a:pt x="713613" y="221456"/>
                    </a:lnTo>
                    <a:lnTo>
                      <a:pt x="714470" y="222313"/>
                    </a:lnTo>
                    <a:lnTo>
                      <a:pt x="714470" y="222313"/>
                    </a:lnTo>
                    <a:lnTo>
                      <a:pt x="714470" y="223171"/>
                    </a:lnTo>
                    <a:lnTo>
                      <a:pt x="711136" y="226600"/>
                    </a:lnTo>
                    <a:lnTo>
                      <a:pt x="710279" y="226600"/>
                    </a:lnTo>
                    <a:lnTo>
                      <a:pt x="708565" y="226600"/>
                    </a:lnTo>
                    <a:lnTo>
                      <a:pt x="707707" y="226600"/>
                    </a:lnTo>
                    <a:lnTo>
                      <a:pt x="707707" y="225742"/>
                    </a:lnTo>
                    <a:lnTo>
                      <a:pt x="705231" y="223171"/>
                    </a:lnTo>
                    <a:lnTo>
                      <a:pt x="703516" y="220694"/>
                    </a:lnTo>
                    <a:lnTo>
                      <a:pt x="702659" y="220694"/>
                    </a:lnTo>
                    <a:lnTo>
                      <a:pt x="702659" y="220694"/>
                    </a:lnTo>
                    <a:lnTo>
                      <a:pt x="702659" y="221456"/>
                    </a:lnTo>
                    <a:lnTo>
                      <a:pt x="702659" y="222313"/>
                    </a:lnTo>
                    <a:lnTo>
                      <a:pt x="703516" y="224885"/>
                    </a:lnTo>
                    <a:lnTo>
                      <a:pt x="703516" y="225742"/>
                    </a:lnTo>
                    <a:lnTo>
                      <a:pt x="702659" y="226600"/>
                    </a:lnTo>
                    <a:lnTo>
                      <a:pt x="702659" y="227457"/>
                    </a:lnTo>
                    <a:lnTo>
                      <a:pt x="700945" y="226600"/>
                    </a:lnTo>
                    <a:lnTo>
                      <a:pt x="700945" y="226600"/>
                    </a:lnTo>
                    <a:lnTo>
                      <a:pt x="699230" y="226600"/>
                    </a:lnTo>
                    <a:lnTo>
                      <a:pt x="698468" y="225742"/>
                    </a:lnTo>
                    <a:lnTo>
                      <a:pt x="696754" y="225742"/>
                    </a:lnTo>
                    <a:lnTo>
                      <a:pt x="695039" y="225742"/>
                    </a:lnTo>
                    <a:lnTo>
                      <a:pt x="692468" y="227457"/>
                    </a:lnTo>
                    <a:lnTo>
                      <a:pt x="690848" y="226600"/>
                    </a:lnTo>
                    <a:lnTo>
                      <a:pt x="689991" y="226600"/>
                    </a:lnTo>
                    <a:lnTo>
                      <a:pt x="689134" y="224885"/>
                    </a:lnTo>
                    <a:lnTo>
                      <a:pt x="688277" y="223171"/>
                    </a:lnTo>
                    <a:lnTo>
                      <a:pt x="687419" y="220694"/>
                    </a:lnTo>
                    <a:lnTo>
                      <a:pt x="687419" y="219837"/>
                    </a:lnTo>
                    <a:lnTo>
                      <a:pt x="687419" y="218122"/>
                    </a:lnTo>
                    <a:lnTo>
                      <a:pt x="688277" y="217265"/>
                    </a:lnTo>
                    <a:lnTo>
                      <a:pt x="688277" y="217265"/>
                    </a:lnTo>
                    <a:lnTo>
                      <a:pt x="689134" y="218122"/>
                    </a:lnTo>
                    <a:lnTo>
                      <a:pt x="689134" y="218122"/>
                    </a:lnTo>
                    <a:lnTo>
                      <a:pt x="689991" y="218122"/>
                    </a:lnTo>
                    <a:lnTo>
                      <a:pt x="691706" y="217265"/>
                    </a:lnTo>
                    <a:lnTo>
                      <a:pt x="692468" y="217265"/>
                    </a:lnTo>
                    <a:lnTo>
                      <a:pt x="693325" y="215551"/>
                    </a:lnTo>
                    <a:lnTo>
                      <a:pt x="695897" y="212979"/>
                    </a:lnTo>
                    <a:lnTo>
                      <a:pt x="695897" y="212122"/>
                    </a:lnTo>
                    <a:lnTo>
                      <a:pt x="696754" y="211264"/>
                    </a:lnTo>
                    <a:lnTo>
                      <a:pt x="696754" y="211264"/>
                    </a:lnTo>
                    <a:lnTo>
                      <a:pt x="697611" y="210407"/>
                    </a:lnTo>
                    <a:lnTo>
                      <a:pt x="698468" y="210407"/>
                    </a:lnTo>
                    <a:lnTo>
                      <a:pt x="699230" y="210407"/>
                    </a:lnTo>
                    <a:lnTo>
                      <a:pt x="700945" y="208693"/>
                    </a:lnTo>
                    <a:lnTo>
                      <a:pt x="702659" y="208693"/>
                    </a:lnTo>
                    <a:lnTo>
                      <a:pt x="703516" y="207835"/>
                    </a:lnTo>
                    <a:lnTo>
                      <a:pt x="704374" y="206978"/>
                    </a:lnTo>
                    <a:lnTo>
                      <a:pt x="704374" y="206121"/>
                    </a:lnTo>
                    <a:lnTo>
                      <a:pt x="704374" y="206121"/>
                    </a:lnTo>
                    <a:lnTo>
                      <a:pt x="704374" y="205359"/>
                    </a:lnTo>
                    <a:lnTo>
                      <a:pt x="703516" y="203644"/>
                    </a:lnTo>
                    <a:lnTo>
                      <a:pt x="703516" y="202787"/>
                    </a:lnTo>
                    <a:lnTo>
                      <a:pt x="702659" y="200215"/>
                    </a:lnTo>
                    <a:lnTo>
                      <a:pt x="702659" y="200215"/>
                    </a:lnTo>
                    <a:lnTo>
                      <a:pt x="702659" y="199358"/>
                    </a:lnTo>
                    <a:lnTo>
                      <a:pt x="701802" y="198501"/>
                    </a:lnTo>
                    <a:lnTo>
                      <a:pt x="701802" y="198501"/>
                    </a:lnTo>
                    <a:lnTo>
                      <a:pt x="700945" y="198501"/>
                    </a:lnTo>
                    <a:lnTo>
                      <a:pt x="700945" y="198501"/>
                    </a:lnTo>
                    <a:lnTo>
                      <a:pt x="700087" y="198501"/>
                    </a:lnTo>
                    <a:lnTo>
                      <a:pt x="699230" y="198501"/>
                    </a:lnTo>
                    <a:lnTo>
                      <a:pt x="699230" y="198501"/>
                    </a:lnTo>
                    <a:lnTo>
                      <a:pt x="698468" y="196786"/>
                    </a:lnTo>
                    <a:lnTo>
                      <a:pt x="697611" y="195929"/>
                    </a:lnTo>
                    <a:lnTo>
                      <a:pt x="697611" y="195929"/>
                    </a:lnTo>
                    <a:lnTo>
                      <a:pt x="695897" y="195072"/>
                    </a:lnTo>
                    <a:lnTo>
                      <a:pt x="694182" y="194215"/>
                    </a:lnTo>
                    <a:lnTo>
                      <a:pt x="693325" y="193357"/>
                    </a:lnTo>
                    <a:lnTo>
                      <a:pt x="693325" y="192500"/>
                    </a:lnTo>
                    <a:lnTo>
                      <a:pt x="693325" y="187452"/>
                    </a:lnTo>
                    <a:lnTo>
                      <a:pt x="692468" y="183166"/>
                    </a:lnTo>
                    <a:lnTo>
                      <a:pt x="692468" y="182309"/>
                    </a:lnTo>
                    <a:lnTo>
                      <a:pt x="691706" y="181451"/>
                    </a:lnTo>
                    <a:lnTo>
                      <a:pt x="689991" y="178879"/>
                    </a:lnTo>
                    <a:lnTo>
                      <a:pt x="689134" y="178022"/>
                    </a:lnTo>
                    <a:lnTo>
                      <a:pt x="688277" y="177165"/>
                    </a:lnTo>
                    <a:lnTo>
                      <a:pt x="687419" y="177165"/>
                    </a:lnTo>
                    <a:lnTo>
                      <a:pt x="685705" y="178022"/>
                    </a:lnTo>
                    <a:lnTo>
                      <a:pt x="684086" y="178879"/>
                    </a:lnTo>
                    <a:lnTo>
                      <a:pt x="683228" y="178879"/>
                    </a:lnTo>
                    <a:lnTo>
                      <a:pt x="682371" y="178879"/>
                    </a:lnTo>
                    <a:lnTo>
                      <a:pt x="680657" y="178022"/>
                    </a:lnTo>
                    <a:lnTo>
                      <a:pt x="679799" y="177165"/>
                    </a:lnTo>
                    <a:lnTo>
                      <a:pt x="678942" y="178022"/>
                    </a:lnTo>
                    <a:lnTo>
                      <a:pt x="678942" y="178879"/>
                    </a:lnTo>
                    <a:lnTo>
                      <a:pt x="678180" y="180594"/>
                    </a:lnTo>
                    <a:lnTo>
                      <a:pt x="677323" y="181451"/>
                    </a:lnTo>
                    <a:lnTo>
                      <a:pt x="676465" y="182309"/>
                    </a:lnTo>
                    <a:lnTo>
                      <a:pt x="672179" y="185738"/>
                    </a:lnTo>
                    <a:lnTo>
                      <a:pt x="671417" y="185738"/>
                    </a:lnTo>
                    <a:lnTo>
                      <a:pt x="671417" y="185738"/>
                    </a:lnTo>
                    <a:lnTo>
                      <a:pt x="670560" y="185738"/>
                    </a:lnTo>
                    <a:lnTo>
                      <a:pt x="667988" y="184023"/>
                    </a:lnTo>
                    <a:lnTo>
                      <a:pt x="659511" y="188309"/>
                    </a:lnTo>
                    <a:lnTo>
                      <a:pt x="657797" y="189167"/>
                    </a:lnTo>
                    <a:lnTo>
                      <a:pt x="655320" y="192500"/>
                    </a:lnTo>
                    <a:lnTo>
                      <a:pt x="651034" y="195929"/>
                    </a:lnTo>
                    <a:lnTo>
                      <a:pt x="648557" y="196786"/>
                    </a:lnTo>
                    <a:lnTo>
                      <a:pt x="647700" y="197644"/>
                    </a:lnTo>
                    <a:lnTo>
                      <a:pt x="644271" y="197644"/>
                    </a:lnTo>
                    <a:lnTo>
                      <a:pt x="641795" y="198501"/>
                    </a:lnTo>
                    <a:lnTo>
                      <a:pt x="640937" y="199358"/>
                    </a:lnTo>
                    <a:lnTo>
                      <a:pt x="640080" y="200215"/>
                    </a:lnTo>
                    <a:lnTo>
                      <a:pt x="640080" y="200215"/>
                    </a:lnTo>
                    <a:lnTo>
                      <a:pt x="640080" y="201073"/>
                    </a:lnTo>
                    <a:lnTo>
                      <a:pt x="640080" y="201930"/>
                    </a:lnTo>
                    <a:lnTo>
                      <a:pt x="640080" y="202787"/>
                    </a:lnTo>
                    <a:lnTo>
                      <a:pt x="640937" y="203644"/>
                    </a:lnTo>
                    <a:lnTo>
                      <a:pt x="641795" y="204502"/>
                    </a:lnTo>
                    <a:lnTo>
                      <a:pt x="643509" y="206978"/>
                    </a:lnTo>
                    <a:lnTo>
                      <a:pt x="643509" y="207835"/>
                    </a:lnTo>
                    <a:lnTo>
                      <a:pt x="643509" y="208693"/>
                    </a:lnTo>
                    <a:lnTo>
                      <a:pt x="643509" y="209550"/>
                    </a:lnTo>
                    <a:lnTo>
                      <a:pt x="643509" y="209550"/>
                    </a:lnTo>
                    <a:lnTo>
                      <a:pt x="641795" y="210407"/>
                    </a:lnTo>
                    <a:lnTo>
                      <a:pt x="640080" y="210407"/>
                    </a:lnTo>
                    <a:lnTo>
                      <a:pt x="637508" y="212122"/>
                    </a:lnTo>
                    <a:lnTo>
                      <a:pt x="635889" y="212122"/>
                    </a:lnTo>
                    <a:lnTo>
                      <a:pt x="635032" y="212122"/>
                    </a:lnTo>
                    <a:lnTo>
                      <a:pt x="634174" y="210407"/>
                    </a:lnTo>
                    <a:lnTo>
                      <a:pt x="633317" y="209550"/>
                    </a:lnTo>
                    <a:lnTo>
                      <a:pt x="632460" y="209550"/>
                    </a:lnTo>
                    <a:lnTo>
                      <a:pt x="631603" y="209550"/>
                    </a:lnTo>
                    <a:lnTo>
                      <a:pt x="629126" y="209550"/>
                    </a:lnTo>
                    <a:lnTo>
                      <a:pt x="620649" y="210407"/>
                    </a:lnTo>
                    <a:lnTo>
                      <a:pt x="619792" y="210407"/>
                    </a:lnTo>
                    <a:lnTo>
                      <a:pt x="615601" y="209550"/>
                    </a:lnTo>
                    <a:lnTo>
                      <a:pt x="611315" y="206978"/>
                    </a:lnTo>
                    <a:lnTo>
                      <a:pt x="610457" y="206978"/>
                    </a:lnTo>
                    <a:lnTo>
                      <a:pt x="609600" y="206978"/>
                    </a:lnTo>
                    <a:lnTo>
                      <a:pt x="608838" y="206978"/>
                    </a:lnTo>
                    <a:lnTo>
                      <a:pt x="607981" y="206978"/>
                    </a:lnTo>
                    <a:lnTo>
                      <a:pt x="606266" y="207835"/>
                    </a:lnTo>
                    <a:lnTo>
                      <a:pt x="605409" y="209550"/>
                    </a:lnTo>
                    <a:lnTo>
                      <a:pt x="603695" y="212979"/>
                    </a:lnTo>
                    <a:lnTo>
                      <a:pt x="602837" y="213836"/>
                    </a:lnTo>
                    <a:lnTo>
                      <a:pt x="602075" y="214693"/>
                    </a:lnTo>
                    <a:lnTo>
                      <a:pt x="601218" y="215551"/>
                    </a:lnTo>
                    <a:lnTo>
                      <a:pt x="599503" y="215551"/>
                    </a:lnTo>
                    <a:lnTo>
                      <a:pt x="598646" y="215551"/>
                    </a:lnTo>
                    <a:lnTo>
                      <a:pt x="597789" y="214693"/>
                    </a:lnTo>
                    <a:lnTo>
                      <a:pt x="597789" y="213836"/>
                    </a:lnTo>
                    <a:lnTo>
                      <a:pt x="597789" y="212979"/>
                    </a:lnTo>
                    <a:lnTo>
                      <a:pt x="597789" y="212979"/>
                    </a:lnTo>
                    <a:lnTo>
                      <a:pt x="596932" y="212122"/>
                    </a:lnTo>
                    <a:lnTo>
                      <a:pt x="596074" y="211264"/>
                    </a:lnTo>
                    <a:lnTo>
                      <a:pt x="595312" y="210407"/>
                    </a:lnTo>
                    <a:lnTo>
                      <a:pt x="592741" y="211264"/>
                    </a:lnTo>
                    <a:lnTo>
                      <a:pt x="591884" y="211264"/>
                    </a:lnTo>
                    <a:lnTo>
                      <a:pt x="591026" y="212122"/>
                    </a:lnTo>
                    <a:lnTo>
                      <a:pt x="591026" y="212122"/>
                    </a:lnTo>
                    <a:lnTo>
                      <a:pt x="591026" y="214693"/>
                    </a:lnTo>
                    <a:lnTo>
                      <a:pt x="591884" y="216408"/>
                    </a:lnTo>
                    <a:lnTo>
                      <a:pt x="591884" y="218122"/>
                    </a:lnTo>
                    <a:lnTo>
                      <a:pt x="591026" y="219837"/>
                    </a:lnTo>
                    <a:lnTo>
                      <a:pt x="587693" y="219837"/>
                    </a:lnTo>
                    <a:lnTo>
                      <a:pt x="585978" y="219837"/>
                    </a:lnTo>
                    <a:lnTo>
                      <a:pt x="585121" y="218980"/>
                    </a:lnTo>
                    <a:lnTo>
                      <a:pt x="584264" y="217265"/>
                    </a:lnTo>
                    <a:lnTo>
                      <a:pt x="584264" y="216408"/>
                    </a:lnTo>
                    <a:lnTo>
                      <a:pt x="584264" y="214693"/>
                    </a:lnTo>
                    <a:lnTo>
                      <a:pt x="584264" y="212979"/>
                    </a:lnTo>
                    <a:lnTo>
                      <a:pt x="585121" y="211264"/>
                    </a:lnTo>
                    <a:lnTo>
                      <a:pt x="585121" y="210407"/>
                    </a:lnTo>
                    <a:lnTo>
                      <a:pt x="585978" y="209550"/>
                    </a:lnTo>
                    <a:lnTo>
                      <a:pt x="588550" y="206978"/>
                    </a:lnTo>
                    <a:lnTo>
                      <a:pt x="589312" y="205359"/>
                    </a:lnTo>
                    <a:lnTo>
                      <a:pt x="591026" y="201930"/>
                    </a:lnTo>
                    <a:lnTo>
                      <a:pt x="594455" y="196786"/>
                    </a:lnTo>
                    <a:lnTo>
                      <a:pt x="596074" y="193357"/>
                    </a:lnTo>
                    <a:lnTo>
                      <a:pt x="596932" y="192500"/>
                    </a:lnTo>
                    <a:lnTo>
                      <a:pt x="596074" y="191643"/>
                    </a:lnTo>
                    <a:lnTo>
                      <a:pt x="595312" y="191643"/>
                    </a:lnTo>
                    <a:lnTo>
                      <a:pt x="594455" y="192500"/>
                    </a:lnTo>
                    <a:lnTo>
                      <a:pt x="592741" y="194215"/>
                    </a:lnTo>
                    <a:lnTo>
                      <a:pt x="591884" y="195072"/>
                    </a:lnTo>
                    <a:lnTo>
                      <a:pt x="591026" y="195072"/>
                    </a:lnTo>
                    <a:lnTo>
                      <a:pt x="590169" y="194215"/>
                    </a:lnTo>
                    <a:lnTo>
                      <a:pt x="588550" y="194215"/>
                    </a:lnTo>
                    <a:lnTo>
                      <a:pt x="587693" y="194215"/>
                    </a:lnTo>
                    <a:lnTo>
                      <a:pt x="586835" y="195072"/>
                    </a:lnTo>
                    <a:lnTo>
                      <a:pt x="585121" y="195929"/>
                    </a:lnTo>
                    <a:lnTo>
                      <a:pt x="585121" y="196786"/>
                    </a:lnTo>
                    <a:lnTo>
                      <a:pt x="584264" y="197644"/>
                    </a:lnTo>
                    <a:lnTo>
                      <a:pt x="584264" y="198501"/>
                    </a:lnTo>
                    <a:lnTo>
                      <a:pt x="583406" y="198501"/>
                    </a:lnTo>
                    <a:lnTo>
                      <a:pt x="582549" y="198501"/>
                    </a:lnTo>
                    <a:lnTo>
                      <a:pt x="581787" y="198501"/>
                    </a:lnTo>
                    <a:lnTo>
                      <a:pt x="581787" y="198501"/>
                    </a:lnTo>
                    <a:lnTo>
                      <a:pt x="580073" y="196786"/>
                    </a:lnTo>
                    <a:lnTo>
                      <a:pt x="580073" y="195929"/>
                    </a:lnTo>
                    <a:lnTo>
                      <a:pt x="580073" y="194215"/>
                    </a:lnTo>
                    <a:lnTo>
                      <a:pt x="580073" y="193357"/>
                    </a:lnTo>
                    <a:lnTo>
                      <a:pt x="580073" y="192500"/>
                    </a:lnTo>
                    <a:lnTo>
                      <a:pt x="580930" y="191643"/>
                    </a:lnTo>
                    <a:lnTo>
                      <a:pt x="583406" y="187452"/>
                    </a:lnTo>
                    <a:lnTo>
                      <a:pt x="583406" y="185738"/>
                    </a:lnTo>
                    <a:lnTo>
                      <a:pt x="583406" y="184880"/>
                    </a:lnTo>
                    <a:lnTo>
                      <a:pt x="582549" y="184023"/>
                    </a:lnTo>
                    <a:lnTo>
                      <a:pt x="582549" y="184023"/>
                    </a:lnTo>
                    <a:lnTo>
                      <a:pt x="580930" y="184023"/>
                    </a:lnTo>
                    <a:lnTo>
                      <a:pt x="578358" y="187452"/>
                    </a:lnTo>
                    <a:lnTo>
                      <a:pt x="577501" y="190786"/>
                    </a:lnTo>
                    <a:lnTo>
                      <a:pt x="576644" y="192500"/>
                    </a:lnTo>
                    <a:lnTo>
                      <a:pt x="576644" y="193357"/>
                    </a:lnTo>
                    <a:lnTo>
                      <a:pt x="576644" y="195072"/>
                    </a:lnTo>
                    <a:lnTo>
                      <a:pt x="580073" y="203644"/>
                    </a:lnTo>
                    <a:lnTo>
                      <a:pt x="580073" y="205359"/>
                    </a:lnTo>
                    <a:lnTo>
                      <a:pt x="580073" y="206978"/>
                    </a:lnTo>
                    <a:lnTo>
                      <a:pt x="579215" y="207835"/>
                    </a:lnTo>
                    <a:lnTo>
                      <a:pt x="579215" y="208693"/>
                    </a:lnTo>
                    <a:lnTo>
                      <a:pt x="577501" y="208693"/>
                    </a:lnTo>
                    <a:lnTo>
                      <a:pt x="575024" y="207835"/>
                    </a:lnTo>
                    <a:lnTo>
                      <a:pt x="574167" y="206978"/>
                    </a:lnTo>
                    <a:lnTo>
                      <a:pt x="573310" y="206978"/>
                    </a:lnTo>
                    <a:lnTo>
                      <a:pt x="572453" y="206978"/>
                    </a:lnTo>
                    <a:lnTo>
                      <a:pt x="570738" y="207835"/>
                    </a:lnTo>
                    <a:lnTo>
                      <a:pt x="569024" y="206978"/>
                    </a:lnTo>
                    <a:lnTo>
                      <a:pt x="568166" y="206121"/>
                    </a:lnTo>
                    <a:lnTo>
                      <a:pt x="567404" y="206121"/>
                    </a:lnTo>
                    <a:lnTo>
                      <a:pt x="565690" y="206978"/>
                    </a:lnTo>
                    <a:lnTo>
                      <a:pt x="564833" y="208693"/>
                    </a:lnTo>
                    <a:lnTo>
                      <a:pt x="563975" y="210407"/>
                    </a:lnTo>
                    <a:lnTo>
                      <a:pt x="562261" y="210407"/>
                    </a:lnTo>
                    <a:lnTo>
                      <a:pt x="561404" y="211264"/>
                    </a:lnTo>
                    <a:lnTo>
                      <a:pt x="561404" y="210407"/>
                    </a:lnTo>
                    <a:lnTo>
                      <a:pt x="560642" y="209550"/>
                    </a:lnTo>
                    <a:lnTo>
                      <a:pt x="560642" y="206121"/>
                    </a:lnTo>
                    <a:lnTo>
                      <a:pt x="559784" y="204502"/>
                    </a:lnTo>
                    <a:lnTo>
                      <a:pt x="558927" y="204502"/>
                    </a:lnTo>
                    <a:lnTo>
                      <a:pt x="557213" y="204502"/>
                    </a:lnTo>
                    <a:lnTo>
                      <a:pt x="553879" y="206121"/>
                    </a:lnTo>
                    <a:lnTo>
                      <a:pt x="552164" y="206978"/>
                    </a:lnTo>
                    <a:lnTo>
                      <a:pt x="550450" y="206978"/>
                    </a:lnTo>
                    <a:lnTo>
                      <a:pt x="549593" y="206978"/>
                    </a:lnTo>
                    <a:lnTo>
                      <a:pt x="549593" y="206121"/>
                    </a:lnTo>
                    <a:lnTo>
                      <a:pt x="548735" y="205359"/>
                    </a:lnTo>
                    <a:lnTo>
                      <a:pt x="548735" y="203644"/>
                    </a:lnTo>
                    <a:lnTo>
                      <a:pt x="549593" y="202787"/>
                    </a:lnTo>
                    <a:lnTo>
                      <a:pt x="549593" y="201073"/>
                    </a:lnTo>
                    <a:lnTo>
                      <a:pt x="553022" y="197644"/>
                    </a:lnTo>
                    <a:lnTo>
                      <a:pt x="553022" y="196786"/>
                    </a:lnTo>
                    <a:lnTo>
                      <a:pt x="553022" y="196786"/>
                    </a:lnTo>
                    <a:lnTo>
                      <a:pt x="553022" y="196786"/>
                    </a:lnTo>
                    <a:lnTo>
                      <a:pt x="551307" y="195929"/>
                    </a:lnTo>
                    <a:lnTo>
                      <a:pt x="551307" y="195072"/>
                    </a:lnTo>
                    <a:lnTo>
                      <a:pt x="550450" y="195072"/>
                    </a:lnTo>
                    <a:lnTo>
                      <a:pt x="550450" y="195072"/>
                    </a:lnTo>
                    <a:lnTo>
                      <a:pt x="549593" y="194215"/>
                    </a:lnTo>
                    <a:lnTo>
                      <a:pt x="547878" y="194215"/>
                    </a:lnTo>
                    <a:lnTo>
                      <a:pt x="547116" y="194215"/>
                    </a:lnTo>
                    <a:lnTo>
                      <a:pt x="546259" y="195072"/>
                    </a:lnTo>
                    <a:lnTo>
                      <a:pt x="546259" y="195929"/>
                    </a:lnTo>
                    <a:lnTo>
                      <a:pt x="546259" y="196786"/>
                    </a:lnTo>
                    <a:lnTo>
                      <a:pt x="546259" y="198501"/>
                    </a:lnTo>
                    <a:lnTo>
                      <a:pt x="546259" y="199358"/>
                    </a:lnTo>
                    <a:lnTo>
                      <a:pt x="545402" y="201073"/>
                    </a:lnTo>
                    <a:lnTo>
                      <a:pt x="543687" y="201073"/>
                    </a:lnTo>
                    <a:lnTo>
                      <a:pt x="541973" y="201073"/>
                    </a:lnTo>
                    <a:lnTo>
                      <a:pt x="541115" y="201930"/>
                    </a:lnTo>
                    <a:lnTo>
                      <a:pt x="540353" y="202787"/>
                    </a:lnTo>
                    <a:lnTo>
                      <a:pt x="538639" y="204502"/>
                    </a:lnTo>
                    <a:lnTo>
                      <a:pt x="537782" y="206121"/>
                    </a:lnTo>
                    <a:lnTo>
                      <a:pt x="536067" y="206978"/>
                    </a:lnTo>
                    <a:lnTo>
                      <a:pt x="535210" y="206978"/>
                    </a:lnTo>
                    <a:lnTo>
                      <a:pt x="533590" y="206121"/>
                    </a:lnTo>
                    <a:lnTo>
                      <a:pt x="532733" y="205359"/>
                    </a:lnTo>
                    <a:lnTo>
                      <a:pt x="532733" y="203644"/>
                    </a:lnTo>
                    <a:lnTo>
                      <a:pt x="532733" y="201930"/>
                    </a:lnTo>
                    <a:lnTo>
                      <a:pt x="533590" y="199358"/>
                    </a:lnTo>
                    <a:lnTo>
                      <a:pt x="534353" y="197644"/>
                    </a:lnTo>
                    <a:lnTo>
                      <a:pt x="535210" y="195929"/>
                    </a:lnTo>
                    <a:lnTo>
                      <a:pt x="536924" y="195072"/>
                    </a:lnTo>
                    <a:lnTo>
                      <a:pt x="539496" y="193357"/>
                    </a:lnTo>
                    <a:lnTo>
                      <a:pt x="540353" y="192500"/>
                    </a:lnTo>
                    <a:lnTo>
                      <a:pt x="541115" y="191643"/>
                    </a:lnTo>
                    <a:lnTo>
                      <a:pt x="541115" y="190024"/>
                    </a:lnTo>
                    <a:lnTo>
                      <a:pt x="541115" y="189167"/>
                    </a:lnTo>
                    <a:lnTo>
                      <a:pt x="541115" y="187452"/>
                    </a:lnTo>
                    <a:lnTo>
                      <a:pt x="540353" y="186595"/>
                    </a:lnTo>
                    <a:lnTo>
                      <a:pt x="541115" y="184880"/>
                    </a:lnTo>
                    <a:lnTo>
                      <a:pt x="542830" y="181451"/>
                    </a:lnTo>
                    <a:lnTo>
                      <a:pt x="542830" y="179737"/>
                    </a:lnTo>
                    <a:lnTo>
                      <a:pt x="543687" y="176308"/>
                    </a:lnTo>
                    <a:lnTo>
                      <a:pt x="543687" y="175450"/>
                    </a:lnTo>
                    <a:lnTo>
                      <a:pt x="543687" y="174688"/>
                    </a:lnTo>
                    <a:lnTo>
                      <a:pt x="542830" y="174688"/>
                    </a:lnTo>
                    <a:lnTo>
                      <a:pt x="541973" y="174688"/>
                    </a:lnTo>
                    <a:lnTo>
                      <a:pt x="541115" y="174688"/>
                    </a:lnTo>
                    <a:lnTo>
                      <a:pt x="540353" y="174688"/>
                    </a:lnTo>
                    <a:lnTo>
                      <a:pt x="538639" y="174688"/>
                    </a:lnTo>
                    <a:lnTo>
                      <a:pt x="537782" y="174688"/>
                    </a:lnTo>
                    <a:lnTo>
                      <a:pt x="537782" y="173831"/>
                    </a:lnTo>
                    <a:lnTo>
                      <a:pt x="537782" y="172974"/>
                    </a:lnTo>
                    <a:lnTo>
                      <a:pt x="538639" y="172117"/>
                    </a:lnTo>
                    <a:lnTo>
                      <a:pt x="538639" y="170402"/>
                    </a:lnTo>
                    <a:lnTo>
                      <a:pt x="539496" y="169545"/>
                    </a:lnTo>
                    <a:lnTo>
                      <a:pt x="539496" y="166973"/>
                    </a:lnTo>
                    <a:lnTo>
                      <a:pt x="538639" y="166116"/>
                    </a:lnTo>
                    <a:lnTo>
                      <a:pt x="538639" y="164401"/>
                    </a:lnTo>
                    <a:lnTo>
                      <a:pt x="536924" y="162687"/>
                    </a:lnTo>
                    <a:lnTo>
                      <a:pt x="536067" y="162687"/>
                    </a:lnTo>
                    <a:lnTo>
                      <a:pt x="534353" y="163544"/>
                    </a:lnTo>
                    <a:lnTo>
                      <a:pt x="533590" y="164401"/>
                    </a:lnTo>
                    <a:lnTo>
                      <a:pt x="532733" y="165259"/>
                    </a:lnTo>
                    <a:lnTo>
                      <a:pt x="531876" y="166973"/>
                    </a:lnTo>
                    <a:lnTo>
                      <a:pt x="531876" y="167830"/>
                    </a:lnTo>
                    <a:lnTo>
                      <a:pt x="531876" y="168688"/>
                    </a:lnTo>
                    <a:lnTo>
                      <a:pt x="531876" y="169545"/>
                    </a:lnTo>
                    <a:lnTo>
                      <a:pt x="531876" y="173831"/>
                    </a:lnTo>
                    <a:lnTo>
                      <a:pt x="531876" y="175450"/>
                    </a:lnTo>
                    <a:lnTo>
                      <a:pt x="531019" y="176308"/>
                    </a:lnTo>
                    <a:lnTo>
                      <a:pt x="530161" y="177165"/>
                    </a:lnTo>
                    <a:lnTo>
                      <a:pt x="527590" y="177165"/>
                    </a:lnTo>
                    <a:lnTo>
                      <a:pt x="526828" y="177165"/>
                    </a:lnTo>
                    <a:lnTo>
                      <a:pt x="525971" y="176308"/>
                    </a:lnTo>
                    <a:lnTo>
                      <a:pt x="525971" y="174688"/>
                    </a:lnTo>
                    <a:lnTo>
                      <a:pt x="525971" y="170402"/>
                    </a:lnTo>
                    <a:lnTo>
                      <a:pt x="525971" y="167830"/>
                    </a:lnTo>
                    <a:lnTo>
                      <a:pt x="525971" y="166973"/>
                    </a:lnTo>
                    <a:lnTo>
                      <a:pt x="525113" y="166116"/>
                    </a:lnTo>
                    <a:lnTo>
                      <a:pt x="524256" y="164401"/>
                    </a:lnTo>
                    <a:lnTo>
                      <a:pt x="521684" y="166116"/>
                    </a:lnTo>
                    <a:lnTo>
                      <a:pt x="520827" y="166116"/>
                    </a:lnTo>
                    <a:lnTo>
                      <a:pt x="519970" y="166973"/>
                    </a:lnTo>
                    <a:lnTo>
                      <a:pt x="518350" y="166973"/>
                    </a:lnTo>
                    <a:lnTo>
                      <a:pt x="518350" y="167830"/>
                    </a:lnTo>
                    <a:lnTo>
                      <a:pt x="517493" y="169545"/>
                    </a:lnTo>
                    <a:lnTo>
                      <a:pt x="517493" y="172117"/>
                    </a:lnTo>
                    <a:lnTo>
                      <a:pt x="517493" y="172974"/>
                    </a:lnTo>
                    <a:lnTo>
                      <a:pt x="519970" y="174688"/>
                    </a:lnTo>
                    <a:lnTo>
                      <a:pt x="519970" y="175450"/>
                    </a:lnTo>
                    <a:lnTo>
                      <a:pt x="519970" y="176308"/>
                    </a:lnTo>
                    <a:lnTo>
                      <a:pt x="519970" y="177165"/>
                    </a:lnTo>
                    <a:lnTo>
                      <a:pt x="519208" y="179737"/>
                    </a:lnTo>
                    <a:lnTo>
                      <a:pt x="518350" y="180594"/>
                    </a:lnTo>
                    <a:lnTo>
                      <a:pt x="518350" y="181451"/>
                    </a:lnTo>
                    <a:lnTo>
                      <a:pt x="518350" y="182309"/>
                    </a:lnTo>
                    <a:lnTo>
                      <a:pt x="519208" y="183166"/>
                    </a:lnTo>
                    <a:lnTo>
                      <a:pt x="519208" y="184880"/>
                    </a:lnTo>
                    <a:lnTo>
                      <a:pt x="519208" y="185738"/>
                    </a:lnTo>
                    <a:lnTo>
                      <a:pt x="518350" y="186595"/>
                    </a:lnTo>
                    <a:lnTo>
                      <a:pt x="517493" y="185738"/>
                    </a:lnTo>
                    <a:lnTo>
                      <a:pt x="516636" y="185738"/>
                    </a:lnTo>
                    <a:lnTo>
                      <a:pt x="514921" y="184023"/>
                    </a:lnTo>
                    <a:lnTo>
                      <a:pt x="514064" y="183166"/>
                    </a:lnTo>
                    <a:lnTo>
                      <a:pt x="512445" y="181451"/>
                    </a:lnTo>
                    <a:lnTo>
                      <a:pt x="511588" y="181451"/>
                    </a:lnTo>
                    <a:lnTo>
                      <a:pt x="510731" y="179737"/>
                    </a:lnTo>
                    <a:lnTo>
                      <a:pt x="510731" y="178879"/>
                    </a:lnTo>
                    <a:lnTo>
                      <a:pt x="509873" y="178879"/>
                    </a:lnTo>
                    <a:lnTo>
                      <a:pt x="507302" y="178022"/>
                    </a:lnTo>
                    <a:lnTo>
                      <a:pt x="505682" y="178022"/>
                    </a:lnTo>
                    <a:lnTo>
                      <a:pt x="503111" y="178022"/>
                    </a:lnTo>
                    <a:lnTo>
                      <a:pt x="502253" y="178022"/>
                    </a:lnTo>
                    <a:lnTo>
                      <a:pt x="502253" y="178879"/>
                    </a:lnTo>
                    <a:lnTo>
                      <a:pt x="501396" y="179737"/>
                    </a:lnTo>
                    <a:lnTo>
                      <a:pt x="501396" y="180594"/>
                    </a:lnTo>
                    <a:lnTo>
                      <a:pt x="501396" y="181451"/>
                    </a:lnTo>
                    <a:lnTo>
                      <a:pt x="501396" y="182309"/>
                    </a:lnTo>
                    <a:lnTo>
                      <a:pt x="501396" y="183166"/>
                    </a:lnTo>
                    <a:lnTo>
                      <a:pt x="501396" y="183166"/>
                    </a:lnTo>
                    <a:lnTo>
                      <a:pt x="501396" y="184023"/>
                    </a:lnTo>
                    <a:lnTo>
                      <a:pt x="499682" y="184880"/>
                    </a:lnTo>
                    <a:lnTo>
                      <a:pt x="498919" y="185738"/>
                    </a:lnTo>
                    <a:lnTo>
                      <a:pt x="496348" y="190024"/>
                    </a:lnTo>
                    <a:lnTo>
                      <a:pt x="495490" y="192500"/>
                    </a:lnTo>
                    <a:lnTo>
                      <a:pt x="494633" y="193357"/>
                    </a:lnTo>
                    <a:lnTo>
                      <a:pt x="494633" y="194215"/>
                    </a:lnTo>
                    <a:lnTo>
                      <a:pt x="494633" y="195072"/>
                    </a:lnTo>
                    <a:lnTo>
                      <a:pt x="494633" y="195929"/>
                    </a:lnTo>
                    <a:lnTo>
                      <a:pt x="495490" y="196786"/>
                    </a:lnTo>
                    <a:lnTo>
                      <a:pt x="496348" y="197644"/>
                    </a:lnTo>
                    <a:lnTo>
                      <a:pt x="498062" y="199358"/>
                    </a:lnTo>
                    <a:lnTo>
                      <a:pt x="499682" y="201073"/>
                    </a:lnTo>
                    <a:lnTo>
                      <a:pt x="501396" y="202787"/>
                    </a:lnTo>
                    <a:lnTo>
                      <a:pt x="504825" y="212122"/>
                    </a:lnTo>
                    <a:lnTo>
                      <a:pt x="505682" y="215551"/>
                    </a:lnTo>
                    <a:lnTo>
                      <a:pt x="506444" y="220694"/>
                    </a:lnTo>
                    <a:lnTo>
                      <a:pt x="508159" y="232600"/>
                    </a:lnTo>
                    <a:lnTo>
                      <a:pt x="509016" y="236029"/>
                    </a:lnTo>
                    <a:lnTo>
                      <a:pt x="510731" y="237649"/>
                    </a:lnTo>
                    <a:lnTo>
                      <a:pt x="514921" y="241935"/>
                    </a:lnTo>
                    <a:lnTo>
                      <a:pt x="515779" y="243650"/>
                    </a:lnTo>
                    <a:lnTo>
                      <a:pt x="517493" y="247079"/>
                    </a:lnTo>
                    <a:lnTo>
                      <a:pt x="518350" y="248793"/>
                    </a:lnTo>
                    <a:lnTo>
                      <a:pt x="518350" y="251365"/>
                    </a:lnTo>
                    <a:lnTo>
                      <a:pt x="518350" y="256413"/>
                    </a:lnTo>
                    <a:lnTo>
                      <a:pt x="519208" y="260699"/>
                    </a:lnTo>
                    <a:lnTo>
                      <a:pt x="519208" y="262414"/>
                    </a:lnTo>
                    <a:lnTo>
                      <a:pt x="518350" y="263271"/>
                    </a:lnTo>
                    <a:lnTo>
                      <a:pt x="518350" y="264128"/>
                    </a:lnTo>
                    <a:lnTo>
                      <a:pt x="517493" y="265843"/>
                    </a:lnTo>
                    <a:lnTo>
                      <a:pt x="516636" y="266700"/>
                    </a:lnTo>
                    <a:lnTo>
                      <a:pt x="516636" y="268319"/>
                    </a:lnTo>
                    <a:lnTo>
                      <a:pt x="517493" y="270034"/>
                    </a:lnTo>
                    <a:lnTo>
                      <a:pt x="518350" y="271748"/>
                    </a:lnTo>
                    <a:lnTo>
                      <a:pt x="518350" y="272605"/>
                    </a:lnTo>
                    <a:lnTo>
                      <a:pt x="519208" y="273463"/>
                    </a:lnTo>
                    <a:lnTo>
                      <a:pt x="520827" y="273463"/>
                    </a:lnTo>
                    <a:lnTo>
                      <a:pt x="521684" y="273463"/>
                    </a:lnTo>
                    <a:lnTo>
                      <a:pt x="525113" y="271748"/>
                    </a:lnTo>
                    <a:lnTo>
                      <a:pt x="527590" y="271748"/>
                    </a:lnTo>
                    <a:lnTo>
                      <a:pt x="529304" y="271748"/>
                    </a:lnTo>
                    <a:lnTo>
                      <a:pt x="530161" y="271748"/>
                    </a:lnTo>
                    <a:lnTo>
                      <a:pt x="531876" y="272605"/>
                    </a:lnTo>
                    <a:lnTo>
                      <a:pt x="533590" y="274320"/>
                    </a:lnTo>
                    <a:lnTo>
                      <a:pt x="534353" y="276034"/>
                    </a:lnTo>
                    <a:lnTo>
                      <a:pt x="535210" y="277749"/>
                    </a:lnTo>
                    <a:lnTo>
                      <a:pt x="536067" y="279463"/>
                    </a:lnTo>
                    <a:lnTo>
                      <a:pt x="536067" y="280321"/>
                    </a:lnTo>
                    <a:lnTo>
                      <a:pt x="538639" y="283655"/>
                    </a:lnTo>
                    <a:lnTo>
                      <a:pt x="539496" y="285369"/>
                    </a:lnTo>
                    <a:lnTo>
                      <a:pt x="539496" y="286226"/>
                    </a:lnTo>
                    <a:lnTo>
                      <a:pt x="538639" y="288798"/>
                    </a:lnTo>
                    <a:lnTo>
                      <a:pt x="538639" y="288798"/>
                    </a:lnTo>
                    <a:lnTo>
                      <a:pt x="538639" y="289655"/>
                    </a:lnTo>
                    <a:lnTo>
                      <a:pt x="538639" y="289655"/>
                    </a:lnTo>
                    <a:lnTo>
                      <a:pt x="538639" y="289655"/>
                    </a:lnTo>
                    <a:lnTo>
                      <a:pt x="538639" y="291370"/>
                    </a:lnTo>
                    <a:lnTo>
                      <a:pt x="539496" y="291370"/>
                    </a:lnTo>
                    <a:lnTo>
                      <a:pt x="540353" y="291370"/>
                    </a:lnTo>
                    <a:lnTo>
                      <a:pt x="541115" y="291370"/>
                    </a:lnTo>
                    <a:lnTo>
                      <a:pt x="543687" y="292227"/>
                    </a:lnTo>
                    <a:lnTo>
                      <a:pt x="545402" y="293084"/>
                    </a:lnTo>
                    <a:lnTo>
                      <a:pt x="545402" y="296513"/>
                    </a:lnTo>
                    <a:lnTo>
                      <a:pt x="545402" y="298990"/>
                    </a:lnTo>
                    <a:lnTo>
                      <a:pt x="543687" y="300704"/>
                    </a:lnTo>
                    <a:lnTo>
                      <a:pt x="542830" y="302419"/>
                    </a:lnTo>
                    <a:lnTo>
                      <a:pt x="541973" y="303276"/>
                    </a:lnTo>
                    <a:lnTo>
                      <a:pt x="541115" y="304133"/>
                    </a:lnTo>
                    <a:lnTo>
                      <a:pt x="536924" y="307562"/>
                    </a:lnTo>
                    <a:lnTo>
                      <a:pt x="536067" y="310991"/>
                    </a:lnTo>
                    <a:lnTo>
                      <a:pt x="535210" y="314325"/>
                    </a:lnTo>
                    <a:lnTo>
                      <a:pt x="533590" y="316897"/>
                    </a:lnTo>
                    <a:lnTo>
                      <a:pt x="531876" y="319468"/>
                    </a:lnTo>
                    <a:lnTo>
                      <a:pt x="528447" y="322040"/>
                    </a:lnTo>
                    <a:lnTo>
                      <a:pt x="526828" y="322897"/>
                    </a:lnTo>
                    <a:lnTo>
                      <a:pt x="525113" y="323755"/>
                    </a:lnTo>
                    <a:lnTo>
                      <a:pt x="523399" y="322897"/>
                    </a:lnTo>
                    <a:lnTo>
                      <a:pt x="521684" y="321183"/>
                    </a:lnTo>
                    <a:lnTo>
                      <a:pt x="520827" y="319468"/>
                    </a:lnTo>
                    <a:lnTo>
                      <a:pt x="520827" y="318611"/>
                    </a:lnTo>
                    <a:lnTo>
                      <a:pt x="520827" y="316897"/>
                    </a:lnTo>
                    <a:lnTo>
                      <a:pt x="520827" y="316039"/>
                    </a:lnTo>
                    <a:lnTo>
                      <a:pt x="519970" y="316039"/>
                    </a:lnTo>
                    <a:lnTo>
                      <a:pt x="519208" y="316039"/>
                    </a:lnTo>
                    <a:lnTo>
                      <a:pt x="517493" y="316039"/>
                    </a:lnTo>
                    <a:lnTo>
                      <a:pt x="513207" y="316039"/>
                    </a:lnTo>
                    <a:lnTo>
                      <a:pt x="511588" y="315182"/>
                    </a:lnTo>
                    <a:lnTo>
                      <a:pt x="509873" y="314325"/>
                    </a:lnTo>
                    <a:lnTo>
                      <a:pt x="508159" y="313563"/>
                    </a:lnTo>
                    <a:lnTo>
                      <a:pt x="504825" y="309277"/>
                    </a:lnTo>
                    <a:lnTo>
                      <a:pt x="503111" y="308419"/>
                    </a:lnTo>
                    <a:lnTo>
                      <a:pt x="497205" y="303276"/>
                    </a:lnTo>
                    <a:lnTo>
                      <a:pt x="493776" y="300704"/>
                    </a:lnTo>
                    <a:lnTo>
                      <a:pt x="491300" y="299847"/>
                    </a:lnTo>
                    <a:lnTo>
                      <a:pt x="490442" y="299847"/>
                    </a:lnTo>
                    <a:lnTo>
                      <a:pt x="489585" y="300704"/>
                    </a:lnTo>
                    <a:lnTo>
                      <a:pt x="488728" y="301561"/>
                    </a:lnTo>
                    <a:lnTo>
                      <a:pt x="487871" y="302419"/>
                    </a:lnTo>
                    <a:lnTo>
                      <a:pt x="487871" y="303276"/>
                    </a:lnTo>
                    <a:lnTo>
                      <a:pt x="487013" y="304990"/>
                    </a:lnTo>
                    <a:lnTo>
                      <a:pt x="487013" y="305848"/>
                    </a:lnTo>
                    <a:lnTo>
                      <a:pt x="487013" y="306705"/>
                    </a:lnTo>
                    <a:lnTo>
                      <a:pt x="487013" y="308419"/>
                    </a:lnTo>
                    <a:lnTo>
                      <a:pt x="486156" y="309277"/>
                    </a:lnTo>
                    <a:lnTo>
                      <a:pt x="486156" y="310134"/>
                    </a:lnTo>
                    <a:lnTo>
                      <a:pt x="484537" y="311848"/>
                    </a:lnTo>
                    <a:lnTo>
                      <a:pt x="482822" y="312706"/>
                    </a:lnTo>
                    <a:lnTo>
                      <a:pt x="480250" y="313563"/>
                    </a:lnTo>
                    <a:lnTo>
                      <a:pt x="478631" y="313563"/>
                    </a:lnTo>
                    <a:lnTo>
                      <a:pt x="476917" y="312706"/>
                    </a:lnTo>
                    <a:lnTo>
                      <a:pt x="476060" y="311848"/>
                    </a:lnTo>
                    <a:lnTo>
                      <a:pt x="475202" y="310134"/>
                    </a:lnTo>
                    <a:lnTo>
                      <a:pt x="474345" y="308419"/>
                    </a:lnTo>
                    <a:lnTo>
                      <a:pt x="474345" y="306705"/>
                    </a:lnTo>
                    <a:lnTo>
                      <a:pt x="474345" y="305848"/>
                    </a:lnTo>
                    <a:lnTo>
                      <a:pt x="476060" y="302419"/>
                    </a:lnTo>
                    <a:lnTo>
                      <a:pt x="476917" y="301561"/>
                    </a:lnTo>
                    <a:lnTo>
                      <a:pt x="476917" y="300704"/>
                    </a:lnTo>
                    <a:lnTo>
                      <a:pt x="476060" y="299847"/>
                    </a:lnTo>
                    <a:lnTo>
                      <a:pt x="475202" y="298990"/>
                    </a:lnTo>
                    <a:lnTo>
                      <a:pt x="471773" y="298228"/>
                    </a:lnTo>
                    <a:lnTo>
                      <a:pt x="470154" y="296513"/>
                    </a:lnTo>
                    <a:lnTo>
                      <a:pt x="468440" y="294799"/>
                    </a:lnTo>
                    <a:lnTo>
                      <a:pt x="467582" y="293084"/>
                    </a:lnTo>
                    <a:lnTo>
                      <a:pt x="467582" y="292227"/>
                    </a:lnTo>
                    <a:lnTo>
                      <a:pt x="466725" y="291370"/>
                    </a:lnTo>
                    <a:lnTo>
                      <a:pt x="465868" y="291370"/>
                    </a:lnTo>
                    <a:lnTo>
                      <a:pt x="465011" y="290513"/>
                    </a:lnTo>
                    <a:lnTo>
                      <a:pt x="464248" y="290513"/>
                    </a:lnTo>
                    <a:lnTo>
                      <a:pt x="462534" y="287084"/>
                    </a:lnTo>
                    <a:lnTo>
                      <a:pt x="462534" y="287084"/>
                    </a:lnTo>
                    <a:lnTo>
                      <a:pt x="463391" y="285369"/>
                    </a:lnTo>
                    <a:lnTo>
                      <a:pt x="465868" y="281178"/>
                    </a:lnTo>
                    <a:lnTo>
                      <a:pt x="466725" y="279463"/>
                    </a:lnTo>
                    <a:lnTo>
                      <a:pt x="467582" y="276892"/>
                    </a:lnTo>
                    <a:lnTo>
                      <a:pt x="467582" y="274320"/>
                    </a:lnTo>
                    <a:lnTo>
                      <a:pt x="467582" y="273463"/>
                    </a:lnTo>
                    <a:lnTo>
                      <a:pt x="466725" y="272605"/>
                    </a:lnTo>
                    <a:lnTo>
                      <a:pt x="465868" y="271748"/>
                    </a:lnTo>
                    <a:lnTo>
                      <a:pt x="466725" y="269176"/>
                    </a:lnTo>
                    <a:lnTo>
                      <a:pt x="466725" y="268319"/>
                    </a:lnTo>
                    <a:lnTo>
                      <a:pt x="466725" y="265843"/>
                    </a:lnTo>
                    <a:lnTo>
                      <a:pt x="465868" y="264128"/>
                    </a:lnTo>
                    <a:lnTo>
                      <a:pt x="464248" y="262414"/>
                    </a:lnTo>
                    <a:lnTo>
                      <a:pt x="463391" y="260699"/>
                    </a:lnTo>
                    <a:lnTo>
                      <a:pt x="462534" y="258985"/>
                    </a:lnTo>
                    <a:lnTo>
                      <a:pt x="462534" y="256413"/>
                    </a:lnTo>
                    <a:lnTo>
                      <a:pt x="462534" y="253841"/>
                    </a:lnTo>
                    <a:lnTo>
                      <a:pt x="459962" y="247936"/>
                    </a:lnTo>
                    <a:lnTo>
                      <a:pt x="459105" y="247936"/>
                    </a:lnTo>
                    <a:lnTo>
                      <a:pt x="458248" y="247079"/>
                    </a:lnTo>
                    <a:lnTo>
                      <a:pt x="456629" y="246221"/>
                    </a:lnTo>
                    <a:lnTo>
                      <a:pt x="456629" y="245364"/>
                    </a:lnTo>
                    <a:lnTo>
                      <a:pt x="456629" y="243650"/>
                    </a:lnTo>
                    <a:lnTo>
                      <a:pt x="457486" y="241935"/>
                    </a:lnTo>
                    <a:lnTo>
                      <a:pt x="462534" y="237649"/>
                    </a:lnTo>
                    <a:lnTo>
                      <a:pt x="465868" y="236029"/>
                    </a:lnTo>
                    <a:lnTo>
                      <a:pt x="471773" y="230029"/>
                    </a:lnTo>
                    <a:lnTo>
                      <a:pt x="473488" y="228314"/>
                    </a:lnTo>
                    <a:lnTo>
                      <a:pt x="475202" y="225742"/>
                    </a:lnTo>
                    <a:lnTo>
                      <a:pt x="475202" y="223171"/>
                    </a:lnTo>
                    <a:lnTo>
                      <a:pt x="474345" y="220694"/>
                    </a:lnTo>
                    <a:lnTo>
                      <a:pt x="474345" y="218980"/>
                    </a:lnTo>
                    <a:lnTo>
                      <a:pt x="475202" y="218122"/>
                    </a:lnTo>
                    <a:lnTo>
                      <a:pt x="475202" y="214693"/>
                    </a:lnTo>
                    <a:lnTo>
                      <a:pt x="475202" y="212979"/>
                    </a:lnTo>
                    <a:lnTo>
                      <a:pt x="476060" y="211264"/>
                    </a:lnTo>
                    <a:lnTo>
                      <a:pt x="477774" y="209550"/>
                    </a:lnTo>
                    <a:lnTo>
                      <a:pt x="478631" y="206121"/>
                    </a:lnTo>
                    <a:lnTo>
                      <a:pt x="477774" y="204502"/>
                    </a:lnTo>
                    <a:lnTo>
                      <a:pt x="477774" y="202787"/>
                    </a:lnTo>
                    <a:lnTo>
                      <a:pt x="476060" y="200215"/>
                    </a:lnTo>
                    <a:lnTo>
                      <a:pt x="471011" y="188309"/>
                    </a:lnTo>
                    <a:lnTo>
                      <a:pt x="469297" y="186595"/>
                    </a:lnTo>
                    <a:lnTo>
                      <a:pt x="467582" y="184880"/>
                    </a:lnTo>
                    <a:lnTo>
                      <a:pt x="465868" y="182309"/>
                    </a:lnTo>
                    <a:lnTo>
                      <a:pt x="465868" y="181451"/>
                    </a:lnTo>
                    <a:lnTo>
                      <a:pt x="465868" y="179737"/>
                    </a:lnTo>
                    <a:lnTo>
                      <a:pt x="465868" y="178879"/>
                    </a:lnTo>
                    <a:lnTo>
                      <a:pt x="466725" y="178022"/>
                    </a:lnTo>
                    <a:lnTo>
                      <a:pt x="474345" y="172117"/>
                    </a:lnTo>
                    <a:lnTo>
                      <a:pt x="476060" y="169545"/>
                    </a:lnTo>
                    <a:lnTo>
                      <a:pt x="476917" y="162687"/>
                    </a:lnTo>
                    <a:lnTo>
                      <a:pt x="478631" y="160972"/>
                    </a:lnTo>
                    <a:lnTo>
                      <a:pt x="488728" y="158496"/>
                    </a:lnTo>
                    <a:lnTo>
                      <a:pt x="491300" y="157639"/>
                    </a:lnTo>
                    <a:lnTo>
                      <a:pt x="492157" y="157639"/>
                    </a:lnTo>
                    <a:lnTo>
                      <a:pt x="495490" y="158496"/>
                    </a:lnTo>
                    <a:lnTo>
                      <a:pt x="498062" y="158496"/>
                    </a:lnTo>
                    <a:lnTo>
                      <a:pt x="499682" y="158496"/>
                    </a:lnTo>
                    <a:lnTo>
                      <a:pt x="500539" y="157639"/>
                    </a:lnTo>
                    <a:lnTo>
                      <a:pt x="502253" y="156781"/>
                    </a:lnTo>
                    <a:lnTo>
                      <a:pt x="505682" y="154210"/>
                    </a:lnTo>
                    <a:lnTo>
                      <a:pt x="516636" y="152495"/>
                    </a:lnTo>
                    <a:lnTo>
                      <a:pt x="519970" y="149923"/>
                    </a:lnTo>
                    <a:lnTo>
                      <a:pt x="520827" y="149066"/>
                    </a:lnTo>
                    <a:lnTo>
                      <a:pt x="520827" y="148209"/>
                    </a:lnTo>
                    <a:lnTo>
                      <a:pt x="520827" y="148209"/>
                    </a:lnTo>
                    <a:lnTo>
                      <a:pt x="520827" y="147352"/>
                    </a:lnTo>
                    <a:lnTo>
                      <a:pt x="520827" y="145637"/>
                    </a:lnTo>
                    <a:lnTo>
                      <a:pt x="520827" y="144780"/>
                    </a:lnTo>
                    <a:lnTo>
                      <a:pt x="519970" y="143161"/>
                    </a:lnTo>
                    <a:lnTo>
                      <a:pt x="518350" y="140589"/>
                    </a:lnTo>
                    <a:lnTo>
                      <a:pt x="518350" y="139732"/>
                    </a:lnTo>
                    <a:lnTo>
                      <a:pt x="518350" y="138017"/>
                    </a:lnTo>
                    <a:lnTo>
                      <a:pt x="518350" y="136303"/>
                    </a:lnTo>
                    <a:lnTo>
                      <a:pt x="518350" y="135446"/>
                    </a:lnTo>
                    <a:lnTo>
                      <a:pt x="518350" y="133731"/>
                    </a:lnTo>
                    <a:lnTo>
                      <a:pt x="519208" y="132017"/>
                    </a:lnTo>
                    <a:lnTo>
                      <a:pt x="519970" y="130302"/>
                    </a:lnTo>
                    <a:lnTo>
                      <a:pt x="521684" y="129445"/>
                    </a:lnTo>
                    <a:lnTo>
                      <a:pt x="523399" y="128588"/>
                    </a:lnTo>
                    <a:lnTo>
                      <a:pt x="525113" y="127825"/>
                    </a:lnTo>
                    <a:lnTo>
                      <a:pt x="526828" y="126111"/>
                    </a:lnTo>
                    <a:lnTo>
                      <a:pt x="528447" y="120967"/>
                    </a:lnTo>
                    <a:lnTo>
                      <a:pt x="530161" y="117538"/>
                    </a:lnTo>
                    <a:lnTo>
                      <a:pt x="535210" y="111633"/>
                    </a:lnTo>
                    <a:lnTo>
                      <a:pt x="535210" y="109918"/>
                    </a:lnTo>
                    <a:lnTo>
                      <a:pt x="536067" y="109061"/>
                    </a:lnTo>
                    <a:lnTo>
                      <a:pt x="536067" y="106489"/>
                    </a:lnTo>
                    <a:lnTo>
                      <a:pt x="538639" y="100489"/>
                    </a:lnTo>
                    <a:lnTo>
                      <a:pt x="541973" y="95440"/>
                    </a:lnTo>
                    <a:lnTo>
                      <a:pt x="542830" y="93726"/>
                    </a:lnTo>
                    <a:lnTo>
                      <a:pt x="542830" y="92869"/>
                    </a:lnTo>
                    <a:lnTo>
                      <a:pt x="541973" y="92011"/>
                    </a:lnTo>
                    <a:lnTo>
                      <a:pt x="540353" y="91154"/>
                    </a:lnTo>
                    <a:lnTo>
                      <a:pt x="539496" y="89440"/>
                    </a:lnTo>
                    <a:lnTo>
                      <a:pt x="539496" y="88582"/>
                    </a:lnTo>
                    <a:lnTo>
                      <a:pt x="538639" y="86011"/>
                    </a:lnTo>
                    <a:lnTo>
                      <a:pt x="539496" y="85154"/>
                    </a:lnTo>
                    <a:lnTo>
                      <a:pt x="540353" y="84296"/>
                    </a:lnTo>
                    <a:lnTo>
                      <a:pt x="541973" y="83439"/>
                    </a:lnTo>
                    <a:lnTo>
                      <a:pt x="542830" y="82582"/>
                    </a:lnTo>
                    <a:lnTo>
                      <a:pt x="542830" y="81820"/>
                    </a:lnTo>
                    <a:lnTo>
                      <a:pt x="542830" y="80963"/>
                    </a:lnTo>
                    <a:lnTo>
                      <a:pt x="541973" y="79248"/>
                    </a:lnTo>
                    <a:lnTo>
                      <a:pt x="541115" y="77533"/>
                    </a:lnTo>
                    <a:lnTo>
                      <a:pt x="541115" y="75819"/>
                    </a:lnTo>
                    <a:lnTo>
                      <a:pt x="541115" y="74962"/>
                    </a:lnTo>
                    <a:lnTo>
                      <a:pt x="541973" y="74104"/>
                    </a:lnTo>
                    <a:lnTo>
                      <a:pt x="542830" y="72390"/>
                    </a:lnTo>
                    <a:lnTo>
                      <a:pt x="543687" y="72390"/>
                    </a:lnTo>
                    <a:lnTo>
                      <a:pt x="544544" y="71533"/>
                    </a:lnTo>
                    <a:lnTo>
                      <a:pt x="546259" y="71533"/>
                    </a:lnTo>
                    <a:lnTo>
                      <a:pt x="548735" y="70675"/>
                    </a:lnTo>
                    <a:lnTo>
                      <a:pt x="550450" y="69818"/>
                    </a:lnTo>
                    <a:lnTo>
                      <a:pt x="551307" y="68961"/>
                    </a:lnTo>
                    <a:lnTo>
                      <a:pt x="552164" y="68104"/>
                    </a:lnTo>
                    <a:lnTo>
                      <a:pt x="554641" y="63913"/>
                    </a:lnTo>
                    <a:lnTo>
                      <a:pt x="554641" y="63055"/>
                    </a:lnTo>
                    <a:lnTo>
                      <a:pt x="554641" y="62198"/>
                    </a:lnTo>
                    <a:lnTo>
                      <a:pt x="554641" y="62198"/>
                    </a:lnTo>
                    <a:lnTo>
                      <a:pt x="553879" y="61341"/>
                    </a:lnTo>
                    <a:lnTo>
                      <a:pt x="553022" y="61341"/>
                    </a:lnTo>
                    <a:lnTo>
                      <a:pt x="552164" y="59626"/>
                    </a:lnTo>
                    <a:lnTo>
                      <a:pt x="553879" y="55340"/>
                    </a:lnTo>
                    <a:lnTo>
                      <a:pt x="553022" y="51911"/>
                    </a:lnTo>
                    <a:lnTo>
                      <a:pt x="552164" y="48577"/>
                    </a:lnTo>
                    <a:lnTo>
                      <a:pt x="551307" y="45148"/>
                    </a:lnTo>
                    <a:lnTo>
                      <a:pt x="545402" y="35719"/>
                    </a:lnTo>
                    <a:lnTo>
                      <a:pt x="543687" y="32385"/>
                    </a:lnTo>
                    <a:lnTo>
                      <a:pt x="541973" y="28099"/>
                    </a:lnTo>
                    <a:lnTo>
                      <a:pt x="541115" y="23813"/>
                    </a:lnTo>
                    <a:lnTo>
                      <a:pt x="541115" y="22955"/>
                    </a:lnTo>
                    <a:lnTo>
                      <a:pt x="541115" y="22955"/>
                    </a:lnTo>
                    <a:lnTo>
                      <a:pt x="541115" y="21241"/>
                    </a:lnTo>
                    <a:lnTo>
                      <a:pt x="541115" y="20383"/>
                    </a:lnTo>
                    <a:lnTo>
                      <a:pt x="539496" y="18764"/>
                    </a:lnTo>
                    <a:lnTo>
                      <a:pt x="539496" y="18764"/>
                    </a:lnTo>
                    <a:lnTo>
                      <a:pt x="537782" y="18764"/>
                    </a:lnTo>
                    <a:lnTo>
                      <a:pt x="533590" y="19621"/>
                    </a:lnTo>
                    <a:lnTo>
                      <a:pt x="532733" y="19621"/>
                    </a:lnTo>
                    <a:lnTo>
                      <a:pt x="531019" y="18764"/>
                    </a:lnTo>
                    <a:lnTo>
                      <a:pt x="527590" y="13621"/>
                    </a:lnTo>
                    <a:lnTo>
                      <a:pt x="525113" y="11906"/>
                    </a:lnTo>
                    <a:lnTo>
                      <a:pt x="524256" y="11906"/>
                    </a:lnTo>
                    <a:lnTo>
                      <a:pt x="522542" y="11906"/>
                    </a:lnTo>
                    <a:lnTo>
                      <a:pt x="521684" y="11906"/>
                    </a:lnTo>
                    <a:lnTo>
                      <a:pt x="521684" y="11049"/>
                    </a:lnTo>
                    <a:lnTo>
                      <a:pt x="520827" y="9334"/>
                    </a:lnTo>
                    <a:lnTo>
                      <a:pt x="519970" y="8477"/>
                    </a:lnTo>
                    <a:lnTo>
                      <a:pt x="518350" y="9334"/>
                    </a:lnTo>
                    <a:lnTo>
                      <a:pt x="517493" y="10192"/>
                    </a:lnTo>
                    <a:lnTo>
                      <a:pt x="515779" y="7620"/>
                    </a:lnTo>
                    <a:lnTo>
                      <a:pt x="514064" y="7620"/>
                    </a:lnTo>
                    <a:lnTo>
                      <a:pt x="509873" y="10192"/>
                    </a:lnTo>
                    <a:lnTo>
                      <a:pt x="509016" y="10192"/>
                    </a:lnTo>
                    <a:lnTo>
                      <a:pt x="506444" y="10192"/>
                    </a:lnTo>
                    <a:lnTo>
                      <a:pt x="505682" y="10192"/>
                    </a:lnTo>
                    <a:lnTo>
                      <a:pt x="504825" y="11049"/>
                    </a:lnTo>
                    <a:lnTo>
                      <a:pt x="503968" y="11906"/>
                    </a:lnTo>
                    <a:lnTo>
                      <a:pt x="503111" y="12763"/>
                    </a:lnTo>
                    <a:lnTo>
                      <a:pt x="502253" y="12763"/>
                    </a:lnTo>
                    <a:lnTo>
                      <a:pt x="499682" y="12763"/>
                    </a:lnTo>
                    <a:lnTo>
                      <a:pt x="494633" y="9334"/>
                    </a:lnTo>
                    <a:lnTo>
                      <a:pt x="492919" y="9334"/>
                    </a:lnTo>
                    <a:lnTo>
                      <a:pt x="488728" y="8477"/>
                    </a:lnTo>
                    <a:lnTo>
                      <a:pt x="487013" y="7620"/>
                    </a:lnTo>
                    <a:lnTo>
                      <a:pt x="486156" y="6763"/>
                    </a:lnTo>
                    <a:lnTo>
                      <a:pt x="485394" y="5048"/>
                    </a:lnTo>
                    <a:lnTo>
                      <a:pt x="485394" y="5048"/>
                    </a:lnTo>
                    <a:lnTo>
                      <a:pt x="483680" y="4286"/>
                    </a:lnTo>
                    <a:lnTo>
                      <a:pt x="481108" y="4286"/>
                    </a:lnTo>
                    <a:lnTo>
                      <a:pt x="480250" y="4286"/>
                    </a:lnTo>
                    <a:lnTo>
                      <a:pt x="478631" y="857"/>
                    </a:lnTo>
                    <a:lnTo>
                      <a:pt x="476917" y="0"/>
                    </a:lnTo>
                    <a:lnTo>
                      <a:pt x="473488" y="0"/>
                    </a:lnTo>
                    <a:lnTo>
                      <a:pt x="469297" y="857"/>
                    </a:lnTo>
                    <a:lnTo>
                      <a:pt x="468440" y="857"/>
                    </a:lnTo>
                    <a:lnTo>
                      <a:pt x="467582" y="1714"/>
                    </a:lnTo>
                    <a:lnTo>
                      <a:pt x="465868" y="5048"/>
                    </a:lnTo>
                    <a:lnTo>
                      <a:pt x="465868" y="5048"/>
                    </a:lnTo>
                    <a:lnTo>
                      <a:pt x="463391" y="5048"/>
                    </a:lnTo>
                    <a:lnTo>
                      <a:pt x="461677" y="4286"/>
                    </a:lnTo>
                    <a:lnTo>
                      <a:pt x="459962" y="4286"/>
                    </a:lnTo>
                    <a:lnTo>
                      <a:pt x="458248" y="5048"/>
                    </a:lnTo>
                    <a:lnTo>
                      <a:pt x="456629" y="5048"/>
                    </a:lnTo>
                    <a:lnTo>
                      <a:pt x="455771" y="8477"/>
                    </a:lnTo>
                    <a:lnTo>
                      <a:pt x="454914" y="9334"/>
                    </a:lnTo>
                    <a:lnTo>
                      <a:pt x="450723" y="8477"/>
                    </a:lnTo>
                    <a:lnTo>
                      <a:pt x="449009" y="8477"/>
                    </a:lnTo>
                    <a:lnTo>
                      <a:pt x="448151" y="10192"/>
                    </a:lnTo>
                    <a:lnTo>
                      <a:pt x="448151" y="11049"/>
                    </a:lnTo>
                    <a:lnTo>
                      <a:pt x="449009" y="12763"/>
                    </a:lnTo>
                    <a:lnTo>
                      <a:pt x="449009" y="14478"/>
                    </a:lnTo>
                    <a:lnTo>
                      <a:pt x="449009" y="14478"/>
                    </a:lnTo>
                    <a:lnTo>
                      <a:pt x="448151" y="16192"/>
                    </a:lnTo>
                    <a:lnTo>
                      <a:pt x="447294" y="17050"/>
                    </a:lnTo>
                    <a:lnTo>
                      <a:pt x="447294" y="19621"/>
                    </a:lnTo>
                    <a:lnTo>
                      <a:pt x="447294" y="21241"/>
                    </a:lnTo>
                    <a:lnTo>
                      <a:pt x="446437" y="22098"/>
                    </a:lnTo>
                    <a:lnTo>
                      <a:pt x="444722" y="22098"/>
                    </a:lnTo>
                    <a:lnTo>
                      <a:pt x="443103" y="22098"/>
                    </a:lnTo>
                    <a:lnTo>
                      <a:pt x="442246" y="22098"/>
                    </a:lnTo>
                    <a:lnTo>
                      <a:pt x="441388" y="21241"/>
                    </a:lnTo>
                    <a:lnTo>
                      <a:pt x="440531" y="21241"/>
                    </a:lnTo>
                    <a:lnTo>
                      <a:pt x="438817" y="20383"/>
                    </a:lnTo>
                    <a:lnTo>
                      <a:pt x="437960" y="20383"/>
                    </a:lnTo>
                    <a:lnTo>
                      <a:pt x="435483" y="22098"/>
                    </a:lnTo>
                    <a:lnTo>
                      <a:pt x="432054" y="23813"/>
                    </a:lnTo>
                    <a:lnTo>
                      <a:pt x="430435" y="23813"/>
                    </a:lnTo>
                    <a:lnTo>
                      <a:pt x="428720" y="23813"/>
                    </a:lnTo>
                    <a:lnTo>
                      <a:pt x="427006" y="24670"/>
                    </a:lnTo>
                    <a:lnTo>
                      <a:pt x="426148" y="24670"/>
                    </a:lnTo>
                    <a:lnTo>
                      <a:pt x="425291" y="25527"/>
                    </a:lnTo>
                    <a:lnTo>
                      <a:pt x="425291" y="28099"/>
                    </a:lnTo>
                    <a:lnTo>
                      <a:pt x="424434" y="28956"/>
                    </a:lnTo>
                    <a:lnTo>
                      <a:pt x="423577" y="29813"/>
                    </a:lnTo>
                    <a:lnTo>
                      <a:pt x="417671" y="31528"/>
                    </a:lnTo>
                    <a:lnTo>
                      <a:pt x="419386" y="34957"/>
                    </a:lnTo>
                    <a:lnTo>
                      <a:pt x="416814" y="37433"/>
                    </a:lnTo>
                    <a:lnTo>
                      <a:pt x="412623" y="38290"/>
                    </a:lnTo>
                    <a:lnTo>
                      <a:pt x="409289" y="40005"/>
                    </a:lnTo>
                    <a:lnTo>
                      <a:pt x="407575" y="42577"/>
                    </a:lnTo>
                    <a:lnTo>
                      <a:pt x="406717" y="43434"/>
                    </a:lnTo>
                    <a:lnTo>
                      <a:pt x="405003" y="44291"/>
                    </a:lnTo>
                    <a:lnTo>
                      <a:pt x="402527" y="44291"/>
                    </a:lnTo>
                    <a:lnTo>
                      <a:pt x="399098" y="46006"/>
                    </a:lnTo>
                    <a:lnTo>
                      <a:pt x="397383" y="46006"/>
                    </a:lnTo>
                    <a:lnTo>
                      <a:pt x="395764" y="46863"/>
                    </a:lnTo>
                    <a:lnTo>
                      <a:pt x="389763" y="51054"/>
                    </a:lnTo>
                    <a:lnTo>
                      <a:pt x="385572" y="53626"/>
                    </a:lnTo>
                    <a:lnTo>
                      <a:pt x="384715" y="54483"/>
                    </a:lnTo>
                    <a:lnTo>
                      <a:pt x="383000" y="55340"/>
                    </a:lnTo>
                    <a:lnTo>
                      <a:pt x="377952" y="54483"/>
                    </a:lnTo>
                    <a:lnTo>
                      <a:pt x="376238" y="55340"/>
                    </a:lnTo>
                    <a:lnTo>
                      <a:pt x="375380" y="57055"/>
                    </a:lnTo>
                    <a:lnTo>
                      <a:pt x="375380" y="58769"/>
                    </a:lnTo>
                    <a:lnTo>
                      <a:pt x="375380" y="60484"/>
                    </a:lnTo>
                    <a:lnTo>
                      <a:pt x="373761" y="61341"/>
                    </a:lnTo>
                    <a:lnTo>
                      <a:pt x="372904" y="60484"/>
                    </a:lnTo>
                    <a:lnTo>
                      <a:pt x="371189" y="61341"/>
                    </a:lnTo>
                    <a:lnTo>
                      <a:pt x="369475" y="61341"/>
                    </a:lnTo>
                    <a:lnTo>
                      <a:pt x="366141" y="61341"/>
                    </a:lnTo>
                    <a:lnTo>
                      <a:pt x="364427" y="61341"/>
                    </a:lnTo>
                    <a:lnTo>
                      <a:pt x="363569" y="63055"/>
                    </a:lnTo>
                    <a:lnTo>
                      <a:pt x="361093" y="65627"/>
                    </a:lnTo>
                    <a:lnTo>
                      <a:pt x="361093" y="66484"/>
                    </a:lnTo>
                    <a:lnTo>
                      <a:pt x="360236" y="68104"/>
                    </a:lnTo>
                    <a:lnTo>
                      <a:pt x="359378" y="68961"/>
                    </a:lnTo>
                    <a:lnTo>
                      <a:pt x="358521" y="69818"/>
                    </a:lnTo>
                    <a:lnTo>
                      <a:pt x="356807" y="71533"/>
                    </a:lnTo>
                    <a:lnTo>
                      <a:pt x="355949" y="72390"/>
                    </a:lnTo>
                    <a:lnTo>
                      <a:pt x="353473" y="74104"/>
                    </a:lnTo>
                    <a:lnTo>
                      <a:pt x="350901" y="76676"/>
                    </a:lnTo>
                    <a:lnTo>
                      <a:pt x="347567" y="76676"/>
                    </a:lnTo>
                    <a:lnTo>
                      <a:pt x="344138" y="76676"/>
                    </a:lnTo>
                    <a:lnTo>
                      <a:pt x="341567" y="76676"/>
                    </a:lnTo>
                    <a:lnTo>
                      <a:pt x="338233" y="79248"/>
                    </a:lnTo>
                    <a:lnTo>
                      <a:pt x="338233" y="80105"/>
                    </a:lnTo>
                    <a:lnTo>
                      <a:pt x="338233" y="81820"/>
                    </a:lnTo>
                    <a:lnTo>
                      <a:pt x="337375" y="82582"/>
                    </a:lnTo>
                    <a:lnTo>
                      <a:pt x="336518" y="83439"/>
                    </a:lnTo>
                    <a:lnTo>
                      <a:pt x="335661" y="83439"/>
                    </a:lnTo>
                    <a:lnTo>
                      <a:pt x="334804" y="83439"/>
                    </a:lnTo>
                    <a:lnTo>
                      <a:pt x="333185" y="83439"/>
                    </a:lnTo>
                    <a:lnTo>
                      <a:pt x="329756" y="85154"/>
                    </a:lnTo>
                    <a:lnTo>
                      <a:pt x="328898" y="86011"/>
                    </a:lnTo>
                    <a:lnTo>
                      <a:pt x="328041" y="86868"/>
                    </a:lnTo>
                    <a:lnTo>
                      <a:pt x="327184" y="88582"/>
                    </a:lnTo>
                    <a:lnTo>
                      <a:pt x="326422" y="89440"/>
                    </a:lnTo>
                    <a:lnTo>
                      <a:pt x="324707" y="90297"/>
                    </a:lnTo>
                    <a:lnTo>
                      <a:pt x="322993" y="91154"/>
                    </a:lnTo>
                    <a:lnTo>
                      <a:pt x="322136" y="92869"/>
                    </a:lnTo>
                    <a:lnTo>
                      <a:pt x="320421" y="92869"/>
                    </a:lnTo>
                    <a:lnTo>
                      <a:pt x="317087" y="93726"/>
                    </a:lnTo>
                    <a:lnTo>
                      <a:pt x="316230" y="94583"/>
                    </a:lnTo>
                    <a:lnTo>
                      <a:pt x="316230" y="96298"/>
                    </a:lnTo>
                    <a:lnTo>
                      <a:pt x="316230" y="97155"/>
                    </a:lnTo>
                    <a:lnTo>
                      <a:pt x="315373" y="97917"/>
                    </a:lnTo>
                    <a:lnTo>
                      <a:pt x="313658" y="99631"/>
                    </a:lnTo>
                    <a:lnTo>
                      <a:pt x="306896" y="103918"/>
                    </a:lnTo>
                    <a:lnTo>
                      <a:pt x="306896" y="104775"/>
                    </a:lnTo>
                    <a:lnTo>
                      <a:pt x="306134" y="106489"/>
                    </a:lnTo>
                    <a:lnTo>
                      <a:pt x="306134" y="108204"/>
                    </a:lnTo>
                    <a:lnTo>
                      <a:pt x="306134" y="109061"/>
                    </a:lnTo>
                    <a:lnTo>
                      <a:pt x="305276" y="110776"/>
                    </a:lnTo>
                    <a:lnTo>
                      <a:pt x="304419" y="110776"/>
                    </a:lnTo>
                    <a:lnTo>
                      <a:pt x="303562" y="111633"/>
                    </a:lnTo>
                    <a:lnTo>
                      <a:pt x="302705" y="111633"/>
                    </a:lnTo>
                    <a:lnTo>
                      <a:pt x="300990" y="112490"/>
                    </a:lnTo>
                    <a:lnTo>
                      <a:pt x="299371" y="115824"/>
                    </a:lnTo>
                    <a:lnTo>
                      <a:pt x="297656" y="116681"/>
                    </a:lnTo>
                    <a:lnTo>
                      <a:pt x="295942" y="116681"/>
                    </a:lnTo>
                    <a:lnTo>
                      <a:pt x="295085" y="115824"/>
                    </a:lnTo>
                    <a:lnTo>
                      <a:pt x="289179" y="115824"/>
                    </a:lnTo>
                    <a:lnTo>
                      <a:pt x="288322" y="115824"/>
                    </a:lnTo>
                    <a:lnTo>
                      <a:pt x="287465" y="116681"/>
                    </a:lnTo>
                    <a:lnTo>
                      <a:pt x="286607" y="119253"/>
                    </a:lnTo>
                    <a:lnTo>
                      <a:pt x="285845" y="120110"/>
                    </a:lnTo>
                    <a:lnTo>
                      <a:pt x="284988" y="120967"/>
                    </a:lnTo>
                    <a:lnTo>
                      <a:pt x="282416" y="120967"/>
                    </a:lnTo>
                    <a:lnTo>
                      <a:pt x="281559" y="120967"/>
                    </a:lnTo>
                    <a:lnTo>
                      <a:pt x="278987" y="123539"/>
                    </a:lnTo>
                    <a:lnTo>
                      <a:pt x="278225" y="124396"/>
                    </a:lnTo>
                    <a:lnTo>
                      <a:pt x="277368" y="125254"/>
                    </a:lnTo>
                    <a:lnTo>
                      <a:pt x="274796" y="129445"/>
                    </a:lnTo>
                    <a:lnTo>
                      <a:pt x="274796" y="131159"/>
                    </a:lnTo>
                    <a:lnTo>
                      <a:pt x="274796" y="132017"/>
                    </a:lnTo>
                    <a:lnTo>
                      <a:pt x="274796" y="135446"/>
                    </a:lnTo>
                    <a:lnTo>
                      <a:pt x="273939" y="137160"/>
                    </a:lnTo>
                    <a:lnTo>
                      <a:pt x="273082" y="138017"/>
                    </a:lnTo>
                    <a:lnTo>
                      <a:pt x="271463" y="138875"/>
                    </a:lnTo>
                    <a:lnTo>
                      <a:pt x="270605" y="138875"/>
                    </a:lnTo>
                    <a:lnTo>
                      <a:pt x="270605" y="140589"/>
                    </a:lnTo>
                    <a:lnTo>
                      <a:pt x="270605" y="142304"/>
                    </a:lnTo>
                    <a:lnTo>
                      <a:pt x="271463" y="143161"/>
                    </a:lnTo>
                    <a:lnTo>
                      <a:pt x="271463" y="144780"/>
                    </a:lnTo>
                    <a:lnTo>
                      <a:pt x="274796" y="160972"/>
                    </a:lnTo>
                    <a:lnTo>
                      <a:pt x="277368" y="167830"/>
                    </a:lnTo>
                    <a:lnTo>
                      <a:pt x="277368" y="171259"/>
                    </a:lnTo>
                    <a:lnTo>
                      <a:pt x="278225" y="172117"/>
                    </a:lnTo>
                    <a:lnTo>
                      <a:pt x="278987" y="172974"/>
                    </a:lnTo>
                    <a:lnTo>
                      <a:pt x="279844" y="173831"/>
                    </a:lnTo>
                    <a:lnTo>
                      <a:pt x="280702" y="173831"/>
                    </a:lnTo>
                    <a:lnTo>
                      <a:pt x="282416" y="174688"/>
                    </a:lnTo>
                    <a:lnTo>
                      <a:pt x="284131" y="174688"/>
                    </a:lnTo>
                    <a:lnTo>
                      <a:pt x="284988" y="175450"/>
                    </a:lnTo>
                    <a:lnTo>
                      <a:pt x="287465" y="180594"/>
                    </a:lnTo>
                    <a:lnTo>
                      <a:pt x="288322" y="181451"/>
                    </a:lnTo>
                    <a:lnTo>
                      <a:pt x="289179" y="182309"/>
                    </a:lnTo>
                    <a:lnTo>
                      <a:pt x="290894" y="182309"/>
                    </a:lnTo>
                    <a:lnTo>
                      <a:pt x="292608" y="182309"/>
                    </a:lnTo>
                    <a:lnTo>
                      <a:pt x="294227" y="182309"/>
                    </a:lnTo>
                    <a:lnTo>
                      <a:pt x="295085" y="183166"/>
                    </a:lnTo>
                    <a:lnTo>
                      <a:pt x="296799" y="184023"/>
                    </a:lnTo>
                    <a:lnTo>
                      <a:pt x="300990" y="187452"/>
                    </a:lnTo>
                    <a:lnTo>
                      <a:pt x="301847" y="187452"/>
                    </a:lnTo>
                    <a:lnTo>
                      <a:pt x="302705" y="188309"/>
                    </a:lnTo>
                    <a:lnTo>
                      <a:pt x="303562" y="188309"/>
                    </a:lnTo>
                    <a:lnTo>
                      <a:pt x="306896" y="186595"/>
                    </a:lnTo>
                    <a:lnTo>
                      <a:pt x="307753" y="186595"/>
                    </a:lnTo>
                    <a:lnTo>
                      <a:pt x="308610" y="186595"/>
                    </a:lnTo>
                    <a:lnTo>
                      <a:pt x="313658" y="187452"/>
                    </a:lnTo>
                    <a:lnTo>
                      <a:pt x="314515" y="187452"/>
                    </a:lnTo>
                    <a:lnTo>
                      <a:pt x="317944" y="190786"/>
                    </a:lnTo>
                    <a:lnTo>
                      <a:pt x="318802" y="190786"/>
                    </a:lnTo>
                    <a:lnTo>
                      <a:pt x="319659" y="190786"/>
                    </a:lnTo>
                    <a:lnTo>
                      <a:pt x="322136" y="189167"/>
                    </a:lnTo>
                    <a:lnTo>
                      <a:pt x="328041" y="190024"/>
                    </a:lnTo>
                    <a:lnTo>
                      <a:pt x="330613" y="188309"/>
                    </a:lnTo>
                    <a:lnTo>
                      <a:pt x="334042" y="186595"/>
                    </a:lnTo>
                    <a:lnTo>
                      <a:pt x="336518" y="185738"/>
                    </a:lnTo>
                    <a:lnTo>
                      <a:pt x="338233" y="184880"/>
                    </a:lnTo>
                    <a:lnTo>
                      <a:pt x="339090" y="184880"/>
                    </a:lnTo>
                    <a:lnTo>
                      <a:pt x="341567" y="186595"/>
                    </a:lnTo>
                    <a:lnTo>
                      <a:pt x="343281" y="186595"/>
                    </a:lnTo>
                    <a:lnTo>
                      <a:pt x="345853" y="187452"/>
                    </a:lnTo>
                    <a:lnTo>
                      <a:pt x="347567" y="186595"/>
                    </a:lnTo>
                    <a:lnTo>
                      <a:pt x="349186" y="185738"/>
                    </a:lnTo>
                    <a:lnTo>
                      <a:pt x="350044" y="184880"/>
                    </a:lnTo>
                    <a:lnTo>
                      <a:pt x="350901" y="184023"/>
                    </a:lnTo>
                    <a:lnTo>
                      <a:pt x="350901" y="183166"/>
                    </a:lnTo>
                    <a:lnTo>
                      <a:pt x="352615" y="179737"/>
                    </a:lnTo>
                    <a:lnTo>
                      <a:pt x="352615" y="178022"/>
                    </a:lnTo>
                    <a:lnTo>
                      <a:pt x="353473" y="177165"/>
                    </a:lnTo>
                    <a:lnTo>
                      <a:pt x="355949" y="175450"/>
                    </a:lnTo>
                    <a:lnTo>
                      <a:pt x="358521" y="174688"/>
                    </a:lnTo>
                    <a:lnTo>
                      <a:pt x="361093" y="173831"/>
                    </a:lnTo>
                    <a:lnTo>
                      <a:pt x="361855" y="173831"/>
                    </a:lnTo>
                    <a:lnTo>
                      <a:pt x="363569" y="174688"/>
                    </a:lnTo>
                    <a:lnTo>
                      <a:pt x="364427" y="174688"/>
                    </a:lnTo>
                    <a:lnTo>
                      <a:pt x="365284" y="175450"/>
                    </a:lnTo>
                    <a:lnTo>
                      <a:pt x="366141" y="175450"/>
                    </a:lnTo>
                    <a:lnTo>
                      <a:pt x="366141" y="176308"/>
                    </a:lnTo>
                    <a:lnTo>
                      <a:pt x="366998" y="177165"/>
                    </a:lnTo>
                    <a:lnTo>
                      <a:pt x="366998" y="178022"/>
                    </a:lnTo>
                    <a:lnTo>
                      <a:pt x="366998" y="178879"/>
                    </a:lnTo>
                    <a:lnTo>
                      <a:pt x="366998" y="179737"/>
                    </a:lnTo>
                    <a:lnTo>
                      <a:pt x="366141" y="180594"/>
                    </a:lnTo>
                    <a:lnTo>
                      <a:pt x="366141" y="181451"/>
                    </a:lnTo>
                    <a:lnTo>
                      <a:pt x="365284" y="182309"/>
                    </a:lnTo>
                    <a:lnTo>
                      <a:pt x="365284" y="184023"/>
                    </a:lnTo>
                    <a:lnTo>
                      <a:pt x="365284" y="184880"/>
                    </a:lnTo>
                    <a:lnTo>
                      <a:pt x="366141" y="185738"/>
                    </a:lnTo>
                    <a:lnTo>
                      <a:pt x="367856" y="188309"/>
                    </a:lnTo>
                    <a:lnTo>
                      <a:pt x="367856" y="189167"/>
                    </a:lnTo>
                    <a:lnTo>
                      <a:pt x="367856" y="190024"/>
                    </a:lnTo>
                    <a:lnTo>
                      <a:pt x="367856" y="190024"/>
                    </a:lnTo>
                    <a:lnTo>
                      <a:pt x="367856" y="191643"/>
                    </a:lnTo>
                    <a:lnTo>
                      <a:pt x="366998" y="192500"/>
                    </a:lnTo>
                    <a:lnTo>
                      <a:pt x="366998" y="193357"/>
                    </a:lnTo>
                    <a:lnTo>
                      <a:pt x="366998" y="194215"/>
                    </a:lnTo>
                    <a:lnTo>
                      <a:pt x="366998" y="195929"/>
                    </a:lnTo>
                    <a:lnTo>
                      <a:pt x="367856" y="196786"/>
                    </a:lnTo>
                    <a:lnTo>
                      <a:pt x="368617" y="197644"/>
                    </a:lnTo>
                    <a:lnTo>
                      <a:pt x="370332" y="200215"/>
                    </a:lnTo>
                    <a:lnTo>
                      <a:pt x="371189" y="201930"/>
                    </a:lnTo>
                    <a:lnTo>
                      <a:pt x="372046" y="202787"/>
                    </a:lnTo>
                    <a:lnTo>
                      <a:pt x="371189" y="203644"/>
                    </a:lnTo>
                    <a:lnTo>
                      <a:pt x="370332" y="204502"/>
                    </a:lnTo>
                    <a:lnTo>
                      <a:pt x="370332" y="205359"/>
                    </a:lnTo>
                    <a:lnTo>
                      <a:pt x="370332" y="206121"/>
                    </a:lnTo>
                    <a:lnTo>
                      <a:pt x="370332" y="208693"/>
                    </a:lnTo>
                    <a:lnTo>
                      <a:pt x="370332" y="210407"/>
                    </a:lnTo>
                    <a:lnTo>
                      <a:pt x="369475" y="211264"/>
                    </a:lnTo>
                    <a:lnTo>
                      <a:pt x="368617" y="211264"/>
                    </a:lnTo>
                    <a:lnTo>
                      <a:pt x="367856" y="212122"/>
                    </a:lnTo>
                    <a:lnTo>
                      <a:pt x="366998" y="212122"/>
                    </a:lnTo>
                    <a:lnTo>
                      <a:pt x="366998" y="212979"/>
                    </a:lnTo>
                    <a:lnTo>
                      <a:pt x="366141" y="213836"/>
                    </a:lnTo>
                    <a:lnTo>
                      <a:pt x="365284" y="214693"/>
                    </a:lnTo>
                    <a:lnTo>
                      <a:pt x="363569" y="215551"/>
                    </a:lnTo>
                    <a:lnTo>
                      <a:pt x="361855" y="214693"/>
                    </a:lnTo>
                    <a:lnTo>
                      <a:pt x="360236" y="213836"/>
                    </a:lnTo>
                    <a:lnTo>
                      <a:pt x="358521" y="212979"/>
                    </a:lnTo>
                    <a:lnTo>
                      <a:pt x="356807" y="212979"/>
                    </a:lnTo>
                    <a:lnTo>
                      <a:pt x="355949" y="212979"/>
                    </a:lnTo>
                    <a:lnTo>
                      <a:pt x="353473" y="213836"/>
                    </a:lnTo>
                    <a:lnTo>
                      <a:pt x="351758" y="212979"/>
                    </a:lnTo>
                    <a:lnTo>
                      <a:pt x="350044" y="212979"/>
                    </a:lnTo>
                    <a:lnTo>
                      <a:pt x="348329" y="212979"/>
                    </a:lnTo>
                    <a:lnTo>
                      <a:pt x="337375" y="217265"/>
                    </a:lnTo>
                    <a:lnTo>
                      <a:pt x="332327" y="218122"/>
                    </a:lnTo>
                    <a:lnTo>
                      <a:pt x="329756" y="217265"/>
                    </a:lnTo>
                    <a:lnTo>
                      <a:pt x="328041" y="217265"/>
                    </a:lnTo>
                    <a:lnTo>
                      <a:pt x="327184" y="218122"/>
                    </a:lnTo>
                    <a:lnTo>
                      <a:pt x="317944" y="222313"/>
                    </a:lnTo>
                    <a:lnTo>
                      <a:pt x="314515" y="223171"/>
                    </a:lnTo>
                    <a:lnTo>
                      <a:pt x="312896" y="224028"/>
                    </a:lnTo>
                    <a:lnTo>
                      <a:pt x="312039" y="224028"/>
                    </a:lnTo>
                    <a:lnTo>
                      <a:pt x="311182" y="225742"/>
                    </a:lnTo>
                    <a:lnTo>
                      <a:pt x="311182" y="226600"/>
                    </a:lnTo>
                    <a:lnTo>
                      <a:pt x="310325" y="227457"/>
                    </a:lnTo>
                    <a:lnTo>
                      <a:pt x="311182" y="228314"/>
                    </a:lnTo>
                    <a:lnTo>
                      <a:pt x="311182" y="228314"/>
                    </a:lnTo>
                    <a:lnTo>
                      <a:pt x="311182" y="229171"/>
                    </a:lnTo>
                    <a:lnTo>
                      <a:pt x="312896" y="232600"/>
                    </a:lnTo>
                    <a:lnTo>
                      <a:pt x="314515" y="236029"/>
                    </a:lnTo>
                    <a:lnTo>
                      <a:pt x="314515" y="238506"/>
                    </a:lnTo>
                    <a:lnTo>
                      <a:pt x="314515" y="241078"/>
                    </a:lnTo>
                    <a:lnTo>
                      <a:pt x="314515" y="241935"/>
                    </a:lnTo>
                    <a:lnTo>
                      <a:pt x="314515" y="242792"/>
                    </a:lnTo>
                    <a:lnTo>
                      <a:pt x="312896" y="243650"/>
                    </a:lnTo>
                    <a:lnTo>
                      <a:pt x="312039" y="244507"/>
                    </a:lnTo>
                    <a:lnTo>
                      <a:pt x="311182" y="245364"/>
                    </a:lnTo>
                    <a:lnTo>
                      <a:pt x="308610" y="246221"/>
                    </a:lnTo>
                    <a:lnTo>
                      <a:pt x="306134" y="246221"/>
                    </a:lnTo>
                    <a:lnTo>
                      <a:pt x="305276" y="246221"/>
                    </a:lnTo>
                    <a:lnTo>
                      <a:pt x="304419" y="247079"/>
                    </a:lnTo>
                    <a:lnTo>
                      <a:pt x="304419" y="247079"/>
                    </a:lnTo>
                    <a:lnTo>
                      <a:pt x="303562" y="248793"/>
                    </a:lnTo>
                    <a:lnTo>
                      <a:pt x="303562" y="249650"/>
                    </a:lnTo>
                    <a:lnTo>
                      <a:pt x="305276" y="250507"/>
                    </a:lnTo>
                    <a:lnTo>
                      <a:pt x="311182" y="258127"/>
                    </a:lnTo>
                    <a:lnTo>
                      <a:pt x="314515" y="259842"/>
                    </a:lnTo>
                    <a:lnTo>
                      <a:pt x="318802" y="260699"/>
                    </a:lnTo>
                    <a:lnTo>
                      <a:pt x="319659" y="259842"/>
                    </a:lnTo>
                    <a:lnTo>
                      <a:pt x="321278" y="259842"/>
                    </a:lnTo>
                    <a:lnTo>
                      <a:pt x="322136" y="259842"/>
                    </a:lnTo>
                    <a:lnTo>
                      <a:pt x="322993" y="259842"/>
                    </a:lnTo>
                    <a:lnTo>
                      <a:pt x="323850" y="260699"/>
                    </a:lnTo>
                    <a:lnTo>
                      <a:pt x="328898" y="264985"/>
                    </a:lnTo>
                    <a:lnTo>
                      <a:pt x="330613" y="266700"/>
                    </a:lnTo>
                    <a:lnTo>
                      <a:pt x="331470" y="268319"/>
                    </a:lnTo>
                    <a:lnTo>
                      <a:pt x="333185" y="270891"/>
                    </a:lnTo>
                    <a:lnTo>
                      <a:pt x="334042" y="276892"/>
                    </a:lnTo>
                    <a:lnTo>
                      <a:pt x="334042" y="279463"/>
                    </a:lnTo>
                    <a:lnTo>
                      <a:pt x="334042" y="282035"/>
                    </a:lnTo>
                    <a:lnTo>
                      <a:pt x="333185" y="282892"/>
                    </a:lnTo>
                    <a:lnTo>
                      <a:pt x="333185" y="283655"/>
                    </a:lnTo>
                    <a:lnTo>
                      <a:pt x="331470" y="284512"/>
                    </a:lnTo>
                    <a:lnTo>
                      <a:pt x="321278" y="289655"/>
                    </a:lnTo>
                    <a:lnTo>
                      <a:pt x="321278" y="289655"/>
                    </a:lnTo>
                    <a:lnTo>
                      <a:pt x="318802" y="289655"/>
                    </a:lnTo>
                    <a:lnTo>
                      <a:pt x="317944" y="289655"/>
                    </a:lnTo>
                    <a:lnTo>
                      <a:pt x="317087" y="289655"/>
                    </a:lnTo>
                    <a:lnTo>
                      <a:pt x="316230" y="289655"/>
                    </a:lnTo>
                    <a:lnTo>
                      <a:pt x="316230" y="289655"/>
                    </a:lnTo>
                    <a:lnTo>
                      <a:pt x="316230" y="288798"/>
                    </a:lnTo>
                    <a:lnTo>
                      <a:pt x="316230" y="287084"/>
                    </a:lnTo>
                    <a:lnTo>
                      <a:pt x="316230" y="286226"/>
                    </a:lnTo>
                    <a:lnTo>
                      <a:pt x="316230" y="285369"/>
                    </a:lnTo>
                    <a:lnTo>
                      <a:pt x="315373" y="282892"/>
                    </a:lnTo>
                    <a:lnTo>
                      <a:pt x="315373" y="282892"/>
                    </a:lnTo>
                    <a:lnTo>
                      <a:pt x="314515" y="282035"/>
                    </a:lnTo>
                    <a:lnTo>
                      <a:pt x="313658" y="281178"/>
                    </a:lnTo>
                    <a:lnTo>
                      <a:pt x="313658" y="281178"/>
                    </a:lnTo>
                    <a:lnTo>
                      <a:pt x="312039" y="281178"/>
                    </a:lnTo>
                    <a:lnTo>
                      <a:pt x="311182" y="281178"/>
                    </a:lnTo>
                    <a:lnTo>
                      <a:pt x="310325" y="280321"/>
                    </a:lnTo>
                    <a:lnTo>
                      <a:pt x="309467" y="280321"/>
                    </a:lnTo>
                    <a:lnTo>
                      <a:pt x="308610" y="280321"/>
                    </a:lnTo>
                    <a:lnTo>
                      <a:pt x="307753" y="280321"/>
                    </a:lnTo>
                    <a:lnTo>
                      <a:pt x="306896" y="280321"/>
                    </a:lnTo>
                    <a:lnTo>
                      <a:pt x="306134" y="281178"/>
                    </a:lnTo>
                    <a:lnTo>
                      <a:pt x="306134" y="282892"/>
                    </a:lnTo>
                    <a:lnTo>
                      <a:pt x="306896" y="287084"/>
                    </a:lnTo>
                    <a:lnTo>
                      <a:pt x="306896" y="287941"/>
                    </a:lnTo>
                    <a:lnTo>
                      <a:pt x="306896" y="288798"/>
                    </a:lnTo>
                    <a:lnTo>
                      <a:pt x="306896" y="288798"/>
                    </a:lnTo>
                    <a:lnTo>
                      <a:pt x="306134" y="292227"/>
                    </a:lnTo>
                    <a:lnTo>
                      <a:pt x="306134" y="293084"/>
                    </a:lnTo>
                    <a:lnTo>
                      <a:pt x="306134" y="293942"/>
                    </a:lnTo>
                    <a:lnTo>
                      <a:pt x="306896" y="294799"/>
                    </a:lnTo>
                    <a:lnTo>
                      <a:pt x="307753" y="298228"/>
                    </a:lnTo>
                    <a:lnTo>
                      <a:pt x="306896" y="306705"/>
                    </a:lnTo>
                    <a:lnTo>
                      <a:pt x="307753" y="309277"/>
                    </a:lnTo>
                    <a:lnTo>
                      <a:pt x="308610" y="311848"/>
                    </a:lnTo>
                    <a:lnTo>
                      <a:pt x="314515" y="318611"/>
                    </a:lnTo>
                    <a:lnTo>
                      <a:pt x="315373" y="320326"/>
                    </a:lnTo>
                    <a:lnTo>
                      <a:pt x="316230" y="322040"/>
                    </a:lnTo>
                    <a:lnTo>
                      <a:pt x="315373" y="322897"/>
                    </a:lnTo>
                    <a:lnTo>
                      <a:pt x="315373" y="323755"/>
                    </a:lnTo>
                    <a:lnTo>
                      <a:pt x="314515" y="325469"/>
                    </a:lnTo>
                    <a:lnTo>
                      <a:pt x="313658" y="327184"/>
                    </a:lnTo>
                    <a:lnTo>
                      <a:pt x="313658" y="328041"/>
                    </a:lnTo>
                    <a:lnTo>
                      <a:pt x="312896" y="328898"/>
                    </a:lnTo>
                    <a:lnTo>
                      <a:pt x="311182" y="328898"/>
                    </a:lnTo>
                    <a:lnTo>
                      <a:pt x="310325" y="328898"/>
                    </a:lnTo>
                    <a:lnTo>
                      <a:pt x="308610" y="328898"/>
                    </a:lnTo>
                    <a:lnTo>
                      <a:pt x="307753" y="328898"/>
                    </a:lnTo>
                    <a:lnTo>
                      <a:pt x="306896" y="328898"/>
                    </a:lnTo>
                    <a:lnTo>
                      <a:pt x="305276" y="330517"/>
                    </a:lnTo>
                    <a:lnTo>
                      <a:pt x="301847" y="330517"/>
                    </a:lnTo>
                    <a:lnTo>
                      <a:pt x="299371" y="328898"/>
                    </a:lnTo>
                    <a:lnTo>
                      <a:pt x="297656" y="327184"/>
                    </a:lnTo>
                    <a:lnTo>
                      <a:pt x="290894" y="322897"/>
                    </a:lnTo>
                    <a:lnTo>
                      <a:pt x="290036" y="321183"/>
                    </a:lnTo>
                    <a:lnTo>
                      <a:pt x="289179" y="320326"/>
                    </a:lnTo>
                    <a:lnTo>
                      <a:pt x="289179" y="319468"/>
                    </a:lnTo>
                    <a:lnTo>
                      <a:pt x="290036" y="318611"/>
                    </a:lnTo>
                    <a:lnTo>
                      <a:pt x="290894" y="316897"/>
                    </a:lnTo>
                    <a:lnTo>
                      <a:pt x="291751" y="315182"/>
                    </a:lnTo>
                    <a:lnTo>
                      <a:pt x="291751" y="314325"/>
                    </a:lnTo>
                    <a:lnTo>
                      <a:pt x="291751" y="312706"/>
                    </a:lnTo>
                    <a:lnTo>
                      <a:pt x="290036" y="312706"/>
                    </a:lnTo>
                    <a:lnTo>
                      <a:pt x="289179" y="312706"/>
                    </a:lnTo>
                    <a:lnTo>
                      <a:pt x="285845" y="313563"/>
                    </a:lnTo>
                    <a:lnTo>
                      <a:pt x="283273" y="315182"/>
                    </a:lnTo>
                    <a:lnTo>
                      <a:pt x="281559" y="316039"/>
                    </a:lnTo>
                    <a:lnTo>
                      <a:pt x="280702" y="316897"/>
                    </a:lnTo>
                    <a:lnTo>
                      <a:pt x="279844" y="317754"/>
                    </a:lnTo>
                    <a:lnTo>
                      <a:pt x="278987" y="322040"/>
                    </a:lnTo>
                    <a:lnTo>
                      <a:pt x="278225" y="322897"/>
                    </a:lnTo>
                    <a:lnTo>
                      <a:pt x="277368" y="323755"/>
                    </a:lnTo>
                    <a:lnTo>
                      <a:pt x="275654" y="324612"/>
                    </a:lnTo>
                    <a:lnTo>
                      <a:pt x="273939" y="324612"/>
                    </a:lnTo>
                    <a:lnTo>
                      <a:pt x="273082" y="324612"/>
                    </a:lnTo>
                    <a:lnTo>
                      <a:pt x="272225" y="323755"/>
                    </a:lnTo>
                    <a:lnTo>
                      <a:pt x="271463" y="322897"/>
                    </a:lnTo>
                    <a:lnTo>
                      <a:pt x="270605" y="320326"/>
                    </a:lnTo>
                    <a:lnTo>
                      <a:pt x="270605" y="319468"/>
                    </a:lnTo>
                    <a:lnTo>
                      <a:pt x="268891" y="317754"/>
                    </a:lnTo>
                    <a:lnTo>
                      <a:pt x="268034" y="317754"/>
                    </a:lnTo>
                    <a:lnTo>
                      <a:pt x="262128" y="318611"/>
                    </a:lnTo>
                    <a:lnTo>
                      <a:pt x="259556" y="318611"/>
                    </a:lnTo>
                    <a:lnTo>
                      <a:pt x="257080" y="317754"/>
                    </a:lnTo>
                    <a:lnTo>
                      <a:pt x="251174" y="316039"/>
                    </a:lnTo>
                    <a:lnTo>
                      <a:pt x="248602" y="315182"/>
                    </a:lnTo>
                    <a:lnTo>
                      <a:pt x="245173" y="316039"/>
                    </a:lnTo>
                    <a:lnTo>
                      <a:pt x="242697" y="316039"/>
                    </a:lnTo>
                    <a:lnTo>
                      <a:pt x="240983" y="315182"/>
                    </a:lnTo>
                    <a:lnTo>
                      <a:pt x="240125" y="314325"/>
                    </a:lnTo>
                    <a:lnTo>
                      <a:pt x="238411" y="313563"/>
                    </a:lnTo>
                    <a:lnTo>
                      <a:pt x="238411" y="312706"/>
                    </a:lnTo>
                    <a:lnTo>
                      <a:pt x="238411" y="311848"/>
                    </a:lnTo>
                    <a:lnTo>
                      <a:pt x="238411" y="310991"/>
                    </a:lnTo>
                    <a:lnTo>
                      <a:pt x="238411" y="309277"/>
                    </a:lnTo>
                    <a:lnTo>
                      <a:pt x="238411" y="308419"/>
                    </a:lnTo>
                    <a:lnTo>
                      <a:pt x="238411" y="307562"/>
                    </a:lnTo>
                    <a:lnTo>
                      <a:pt x="237649" y="307562"/>
                    </a:lnTo>
                    <a:lnTo>
                      <a:pt x="236792" y="307562"/>
                    </a:lnTo>
                    <a:lnTo>
                      <a:pt x="234220" y="308419"/>
                    </a:lnTo>
                    <a:lnTo>
                      <a:pt x="233363" y="309277"/>
                    </a:lnTo>
                    <a:lnTo>
                      <a:pt x="232505" y="310134"/>
                    </a:lnTo>
                    <a:lnTo>
                      <a:pt x="231648" y="310991"/>
                    </a:lnTo>
                    <a:lnTo>
                      <a:pt x="230791" y="311848"/>
                    </a:lnTo>
                    <a:lnTo>
                      <a:pt x="230791" y="316039"/>
                    </a:lnTo>
                    <a:lnTo>
                      <a:pt x="230791" y="318611"/>
                    </a:lnTo>
                    <a:lnTo>
                      <a:pt x="230791" y="319468"/>
                    </a:lnTo>
                    <a:lnTo>
                      <a:pt x="230791" y="322040"/>
                    </a:lnTo>
                    <a:lnTo>
                      <a:pt x="230029" y="326326"/>
                    </a:lnTo>
                    <a:lnTo>
                      <a:pt x="230029" y="328041"/>
                    </a:lnTo>
                    <a:lnTo>
                      <a:pt x="230791" y="330517"/>
                    </a:lnTo>
                    <a:lnTo>
                      <a:pt x="230791" y="331375"/>
                    </a:lnTo>
                    <a:lnTo>
                      <a:pt x="230029" y="333946"/>
                    </a:lnTo>
                    <a:lnTo>
                      <a:pt x="226600" y="338233"/>
                    </a:lnTo>
                    <a:lnTo>
                      <a:pt x="217265" y="343376"/>
                    </a:lnTo>
                    <a:lnTo>
                      <a:pt x="215646" y="345091"/>
                    </a:lnTo>
                    <a:lnTo>
                      <a:pt x="215646" y="346710"/>
                    </a:lnTo>
                    <a:lnTo>
                      <a:pt x="215646" y="347567"/>
                    </a:lnTo>
                    <a:lnTo>
                      <a:pt x="217265" y="349282"/>
                    </a:lnTo>
                    <a:lnTo>
                      <a:pt x="217265" y="350139"/>
                    </a:lnTo>
                    <a:lnTo>
                      <a:pt x="217265" y="350139"/>
                    </a:lnTo>
                    <a:lnTo>
                      <a:pt x="217265" y="350139"/>
                    </a:lnTo>
                    <a:lnTo>
                      <a:pt x="217265" y="351854"/>
                    </a:lnTo>
                    <a:lnTo>
                      <a:pt x="216503" y="352711"/>
                    </a:lnTo>
                    <a:lnTo>
                      <a:pt x="215646" y="354425"/>
                    </a:lnTo>
                    <a:lnTo>
                      <a:pt x="214789" y="355282"/>
                    </a:lnTo>
                    <a:lnTo>
                      <a:pt x="206311" y="359569"/>
                    </a:lnTo>
                    <a:lnTo>
                      <a:pt x="200406" y="361188"/>
                    </a:lnTo>
                    <a:lnTo>
                      <a:pt x="196977" y="363760"/>
                    </a:lnTo>
                    <a:lnTo>
                      <a:pt x="194500" y="363760"/>
                    </a:lnTo>
                    <a:lnTo>
                      <a:pt x="192786" y="363760"/>
                    </a:lnTo>
                    <a:lnTo>
                      <a:pt x="191929" y="362902"/>
                    </a:lnTo>
                    <a:lnTo>
                      <a:pt x="191071" y="361188"/>
                    </a:lnTo>
                    <a:lnTo>
                      <a:pt x="189452" y="360426"/>
                    </a:lnTo>
                    <a:lnTo>
                      <a:pt x="188595" y="359569"/>
                    </a:lnTo>
                    <a:lnTo>
                      <a:pt x="187738" y="360426"/>
                    </a:lnTo>
                    <a:lnTo>
                      <a:pt x="186881" y="360426"/>
                    </a:lnTo>
                    <a:lnTo>
                      <a:pt x="186881" y="361188"/>
                    </a:lnTo>
                    <a:lnTo>
                      <a:pt x="186881" y="362045"/>
                    </a:lnTo>
                    <a:lnTo>
                      <a:pt x="187738" y="364617"/>
                    </a:lnTo>
                    <a:lnTo>
                      <a:pt x="187738" y="366331"/>
                    </a:lnTo>
                    <a:lnTo>
                      <a:pt x="186881" y="367189"/>
                    </a:lnTo>
                    <a:lnTo>
                      <a:pt x="186023" y="370618"/>
                    </a:lnTo>
                    <a:lnTo>
                      <a:pt x="185166" y="371475"/>
                    </a:lnTo>
                    <a:lnTo>
                      <a:pt x="185166" y="372332"/>
                    </a:lnTo>
                    <a:lnTo>
                      <a:pt x="185166" y="374047"/>
                    </a:lnTo>
                    <a:lnTo>
                      <a:pt x="184309" y="374904"/>
                    </a:lnTo>
                    <a:lnTo>
                      <a:pt x="183452" y="375761"/>
                    </a:lnTo>
                    <a:lnTo>
                      <a:pt x="182594" y="374904"/>
                    </a:lnTo>
                    <a:lnTo>
                      <a:pt x="180975" y="373189"/>
                    </a:lnTo>
                    <a:lnTo>
                      <a:pt x="179261" y="373189"/>
                    </a:lnTo>
                    <a:lnTo>
                      <a:pt x="177546" y="372332"/>
                    </a:lnTo>
                    <a:lnTo>
                      <a:pt x="173355" y="372332"/>
                    </a:lnTo>
                    <a:lnTo>
                      <a:pt x="172498" y="369760"/>
                    </a:lnTo>
                    <a:lnTo>
                      <a:pt x="172498" y="367189"/>
                    </a:lnTo>
                    <a:lnTo>
                      <a:pt x="171640" y="366331"/>
                    </a:lnTo>
                    <a:lnTo>
                      <a:pt x="170783" y="364617"/>
                    </a:lnTo>
                    <a:lnTo>
                      <a:pt x="164878" y="361188"/>
                    </a:lnTo>
                    <a:lnTo>
                      <a:pt x="163163" y="360426"/>
                    </a:lnTo>
                    <a:lnTo>
                      <a:pt x="162306" y="359569"/>
                    </a:lnTo>
                    <a:lnTo>
                      <a:pt x="161544" y="356997"/>
                    </a:lnTo>
                    <a:lnTo>
                      <a:pt x="160687" y="352711"/>
                    </a:lnTo>
                    <a:lnTo>
                      <a:pt x="160687" y="350996"/>
                    </a:lnTo>
                    <a:lnTo>
                      <a:pt x="162306" y="348425"/>
                    </a:lnTo>
                    <a:lnTo>
                      <a:pt x="164021" y="345853"/>
                    </a:lnTo>
                    <a:lnTo>
                      <a:pt x="164878" y="345091"/>
                    </a:lnTo>
                    <a:lnTo>
                      <a:pt x="165735" y="345091"/>
                    </a:lnTo>
                    <a:lnTo>
                      <a:pt x="166592" y="345091"/>
                    </a:lnTo>
                    <a:lnTo>
                      <a:pt x="168307" y="345853"/>
                    </a:lnTo>
                    <a:lnTo>
                      <a:pt x="169926" y="347567"/>
                    </a:lnTo>
                    <a:lnTo>
                      <a:pt x="170783" y="347567"/>
                    </a:lnTo>
                    <a:lnTo>
                      <a:pt x="172498" y="348425"/>
                    </a:lnTo>
                    <a:lnTo>
                      <a:pt x="173355" y="348425"/>
                    </a:lnTo>
                    <a:lnTo>
                      <a:pt x="174212" y="350139"/>
                    </a:lnTo>
                    <a:lnTo>
                      <a:pt x="175831" y="350139"/>
                    </a:lnTo>
                    <a:lnTo>
                      <a:pt x="176689" y="350139"/>
                    </a:lnTo>
                    <a:lnTo>
                      <a:pt x="178403" y="350139"/>
                    </a:lnTo>
                    <a:lnTo>
                      <a:pt x="181832" y="346710"/>
                    </a:lnTo>
                    <a:lnTo>
                      <a:pt x="182594" y="346710"/>
                    </a:lnTo>
                    <a:lnTo>
                      <a:pt x="183452" y="347567"/>
                    </a:lnTo>
                    <a:lnTo>
                      <a:pt x="186023" y="349282"/>
                    </a:lnTo>
                    <a:lnTo>
                      <a:pt x="186881" y="349282"/>
                    </a:lnTo>
                    <a:lnTo>
                      <a:pt x="187738" y="350139"/>
                    </a:lnTo>
                    <a:lnTo>
                      <a:pt x="187738" y="350139"/>
                    </a:lnTo>
                    <a:lnTo>
                      <a:pt x="188595" y="348425"/>
                    </a:lnTo>
                    <a:lnTo>
                      <a:pt x="189452" y="347567"/>
                    </a:lnTo>
                    <a:lnTo>
                      <a:pt x="190214" y="345853"/>
                    </a:lnTo>
                    <a:lnTo>
                      <a:pt x="191929" y="343376"/>
                    </a:lnTo>
                    <a:lnTo>
                      <a:pt x="194500" y="339947"/>
                    </a:lnTo>
                    <a:lnTo>
                      <a:pt x="196215" y="338233"/>
                    </a:lnTo>
                    <a:lnTo>
                      <a:pt x="196215" y="336518"/>
                    </a:lnTo>
                    <a:lnTo>
                      <a:pt x="196215" y="335661"/>
                    </a:lnTo>
                    <a:lnTo>
                      <a:pt x="191071" y="333089"/>
                    </a:lnTo>
                    <a:lnTo>
                      <a:pt x="190214" y="331375"/>
                    </a:lnTo>
                    <a:lnTo>
                      <a:pt x="189452" y="328898"/>
                    </a:lnTo>
                    <a:lnTo>
                      <a:pt x="189452" y="327184"/>
                    </a:lnTo>
                    <a:lnTo>
                      <a:pt x="191071" y="324612"/>
                    </a:lnTo>
                    <a:lnTo>
                      <a:pt x="194500" y="319468"/>
                    </a:lnTo>
                    <a:lnTo>
                      <a:pt x="195358" y="316897"/>
                    </a:lnTo>
                    <a:lnTo>
                      <a:pt x="196215" y="314325"/>
                    </a:lnTo>
                    <a:lnTo>
                      <a:pt x="195358" y="312706"/>
                    </a:lnTo>
                    <a:lnTo>
                      <a:pt x="195358" y="311848"/>
                    </a:lnTo>
                    <a:lnTo>
                      <a:pt x="194500" y="310991"/>
                    </a:lnTo>
                    <a:lnTo>
                      <a:pt x="193643" y="310134"/>
                    </a:lnTo>
                    <a:lnTo>
                      <a:pt x="191929" y="310134"/>
                    </a:lnTo>
                    <a:lnTo>
                      <a:pt x="191071" y="309277"/>
                    </a:lnTo>
                    <a:lnTo>
                      <a:pt x="190214" y="308419"/>
                    </a:lnTo>
                    <a:lnTo>
                      <a:pt x="189452" y="306705"/>
                    </a:lnTo>
                    <a:lnTo>
                      <a:pt x="189452" y="301561"/>
                    </a:lnTo>
                    <a:lnTo>
                      <a:pt x="188595" y="299847"/>
                    </a:lnTo>
                    <a:lnTo>
                      <a:pt x="187738" y="298990"/>
                    </a:lnTo>
                    <a:lnTo>
                      <a:pt x="188595" y="296513"/>
                    </a:lnTo>
                    <a:lnTo>
                      <a:pt x="189452" y="293084"/>
                    </a:lnTo>
                    <a:lnTo>
                      <a:pt x="190214" y="291370"/>
                    </a:lnTo>
                    <a:lnTo>
                      <a:pt x="191929" y="290513"/>
                    </a:lnTo>
                    <a:lnTo>
                      <a:pt x="192786" y="289655"/>
                    </a:lnTo>
                    <a:lnTo>
                      <a:pt x="194500" y="289655"/>
                    </a:lnTo>
                    <a:lnTo>
                      <a:pt x="197834" y="292227"/>
                    </a:lnTo>
                    <a:lnTo>
                      <a:pt x="199549" y="293084"/>
                    </a:lnTo>
                    <a:lnTo>
                      <a:pt x="201263" y="292227"/>
                    </a:lnTo>
                    <a:lnTo>
                      <a:pt x="202121" y="291370"/>
                    </a:lnTo>
                    <a:lnTo>
                      <a:pt x="202978" y="290513"/>
                    </a:lnTo>
                    <a:lnTo>
                      <a:pt x="203740" y="289655"/>
                    </a:lnTo>
                    <a:lnTo>
                      <a:pt x="203740" y="289655"/>
                    </a:lnTo>
                    <a:lnTo>
                      <a:pt x="203740" y="287941"/>
                    </a:lnTo>
                    <a:lnTo>
                      <a:pt x="202978" y="276892"/>
                    </a:lnTo>
                    <a:lnTo>
                      <a:pt x="199549" y="273463"/>
                    </a:lnTo>
                    <a:lnTo>
                      <a:pt x="197834" y="270891"/>
                    </a:lnTo>
                    <a:lnTo>
                      <a:pt x="196977" y="269176"/>
                    </a:lnTo>
                    <a:lnTo>
                      <a:pt x="196977" y="268319"/>
                    </a:lnTo>
                    <a:lnTo>
                      <a:pt x="196977" y="266700"/>
                    </a:lnTo>
                    <a:lnTo>
                      <a:pt x="196977" y="264985"/>
                    </a:lnTo>
                    <a:lnTo>
                      <a:pt x="196977" y="263271"/>
                    </a:lnTo>
                    <a:lnTo>
                      <a:pt x="193643" y="258127"/>
                    </a:lnTo>
                    <a:lnTo>
                      <a:pt x="191929" y="256413"/>
                    </a:lnTo>
                    <a:lnTo>
                      <a:pt x="191071" y="255556"/>
                    </a:lnTo>
                    <a:lnTo>
                      <a:pt x="189452" y="255556"/>
                    </a:lnTo>
                    <a:lnTo>
                      <a:pt x="187738" y="255556"/>
                    </a:lnTo>
                    <a:lnTo>
                      <a:pt x="186023" y="255556"/>
                    </a:lnTo>
                    <a:lnTo>
                      <a:pt x="179261" y="260699"/>
                    </a:lnTo>
                    <a:lnTo>
                      <a:pt x="173355" y="261556"/>
                    </a:lnTo>
                    <a:lnTo>
                      <a:pt x="168307" y="261556"/>
                    </a:lnTo>
                    <a:lnTo>
                      <a:pt x="156400" y="264985"/>
                    </a:lnTo>
                    <a:lnTo>
                      <a:pt x="153067" y="264985"/>
                    </a:lnTo>
                    <a:lnTo>
                      <a:pt x="149638" y="264128"/>
                    </a:lnTo>
                    <a:lnTo>
                      <a:pt x="144590" y="262414"/>
                    </a:lnTo>
                    <a:lnTo>
                      <a:pt x="141256" y="262414"/>
                    </a:lnTo>
                    <a:lnTo>
                      <a:pt x="137827" y="262414"/>
                    </a:lnTo>
                    <a:lnTo>
                      <a:pt x="133636" y="262414"/>
                    </a:lnTo>
                    <a:lnTo>
                      <a:pt x="131921" y="262414"/>
                    </a:lnTo>
                    <a:lnTo>
                      <a:pt x="130207" y="262414"/>
                    </a:lnTo>
                    <a:lnTo>
                      <a:pt x="128492" y="261556"/>
                    </a:lnTo>
                    <a:lnTo>
                      <a:pt x="127635" y="259842"/>
                    </a:lnTo>
                    <a:lnTo>
                      <a:pt x="126873" y="258985"/>
                    </a:lnTo>
                    <a:lnTo>
                      <a:pt x="126016" y="257270"/>
                    </a:lnTo>
                    <a:lnTo>
                      <a:pt x="126016" y="255556"/>
                    </a:lnTo>
                    <a:lnTo>
                      <a:pt x="127635" y="254698"/>
                    </a:lnTo>
                    <a:lnTo>
                      <a:pt x="129350" y="252984"/>
                    </a:lnTo>
                    <a:lnTo>
                      <a:pt x="130207" y="251365"/>
                    </a:lnTo>
                    <a:lnTo>
                      <a:pt x="130207" y="250507"/>
                    </a:lnTo>
                    <a:lnTo>
                      <a:pt x="130207" y="248793"/>
                    </a:lnTo>
                    <a:lnTo>
                      <a:pt x="129350" y="247079"/>
                    </a:lnTo>
                    <a:lnTo>
                      <a:pt x="128492" y="244507"/>
                    </a:lnTo>
                    <a:lnTo>
                      <a:pt x="127635" y="243650"/>
                    </a:lnTo>
                    <a:lnTo>
                      <a:pt x="127635" y="241935"/>
                    </a:lnTo>
                    <a:lnTo>
                      <a:pt x="127635" y="241078"/>
                    </a:lnTo>
                    <a:lnTo>
                      <a:pt x="128492" y="241078"/>
                    </a:lnTo>
                    <a:lnTo>
                      <a:pt x="129350" y="241078"/>
                    </a:lnTo>
                    <a:lnTo>
                      <a:pt x="131064" y="242792"/>
                    </a:lnTo>
                    <a:lnTo>
                      <a:pt x="132779" y="245364"/>
                    </a:lnTo>
                    <a:lnTo>
                      <a:pt x="134398" y="246221"/>
                    </a:lnTo>
                    <a:lnTo>
                      <a:pt x="136112" y="247079"/>
                    </a:lnTo>
                    <a:lnTo>
                      <a:pt x="137827" y="247936"/>
                    </a:lnTo>
                    <a:lnTo>
                      <a:pt x="140398" y="247936"/>
                    </a:lnTo>
                    <a:lnTo>
                      <a:pt x="142018" y="247936"/>
                    </a:lnTo>
                    <a:lnTo>
                      <a:pt x="144590" y="247936"/>
                    </a:lnTo>
                    <a:lnTo>
                      <a:pt x="146304" y="247079"/>
                    </a:lnTo>
                    <a:lnTo>
                      <a:pt x="148019" y="246221"/>
                    </a:lnTo>
                    <a:lnTo>
                      <a:pt x="149638" y="245364"/>
                    </a:lnTo>
                    <a:lnTo>
                      <a:pt x="150495" y="243650"/>
                    </a:lnTo>
                    <a:lnTo>
                      <a:pt x="151352" y="242792"/>
                    </a:lnTo>
                    <a:lnTo>
                      <a:pt x="152210" y="241935"/>
                    </a:lnTo>
                    <a:lnTo>
                      <a:pt x="152210" y="241078"/>
                    </a:lnTo>
                    <a:lnTo>
                      <a:pt x="152210" y="240221"/>
                    </a:lnTo>
                    <a:lnTo>
                      <a:pt x="151352" y="240221"/>
                    </a:lnTo>
                    <a:lnTo>
                      <a:pt x="149638" y="240221"/>
                    </a:lnTo>
                    <a:lnTo>
                      <a:pt x="145447" y="241935"/>
                    </a:lnTo>
                    <a:lnTo>
                      <a:pt x="142875" y="241935"/>
                    </a:lnTo>
                    <a:lnTo>
                      <a:pt x="140398" y="241935"/>
                    </a:lnTo>
                    <a:lnTo>
                      <a:pt x="136969" y="241078"/>
                    </a:lnTo>
                    <a:lnTo>
                      <a:pt x="135255" y="240221"/>
                    </a:lnTo>
                    <a:lnTo>
                      <a:pt x="134398" y="239363"/>
                    </a:lnTo>
                    <a:lnTo>
                      <a:pt x="134398" y="238506"/>
                    </a:lnTo>
                    <a:lnTo>
                      <a:pt x="134398" y="237649"/>
                    </a:lnTo>
                    <a:lnTo>
                      <a:pt x="134398" y="236792"/>
                    </a:lnTo>
                    <a:lnTo>
                      <a:pt x="135255" y="236029"/>
                    </a:lnTo>
                    <a:lnTo>
                      <a:pt x="135255" y="236029"/>
                    </a:lnTo>
                    <a:lnTo>
                      <a:pt x="136969" y="236029"/>
                    </a:lnTo>
                    <a:lnTo>
                      <a:pt x="138684" y="236792"/>
                    </a:lnTo>
                    <a:lnTo>
                      <a:pt x="139541" y="237649"/>
                    </a:lnTo>
                    <a:lnTo>
                      <a:pt x="141256" y="237649"/>
                    </a:lnTo>
                    <a:lnTo>
                      <a:pt x="142018" y="236792"/>
                    </a:lnTo>
                    <a:lnTo>
                      <a:pt x="142875" y="236792"/>
                    </a:lnTo>
                    <a:lnTo>
                      <a:pt x="142875" y="235172"/>
                    </a:lnTo>
                    <a:lnTo>
                      <a:pt x="142018" y="234315"/>
                    </a:lnTo>
                    <a:lnTo>
                      <a:pt x="140398" y="231743"/>
                    </a:lnTo>
                    <a:lnTo>
                      <a:pt x="139541" y="230029"/>
                    </a:lnTo>
                    <a:lnTo>
                      <a:pt x="139541" y="230029"/>
                    </a:lnTo>
                    <a:lnTo>
                      <a:pt x="139541" y="229171"/>
                    </a:lnTo>
                    <a:lnTo>
                      <a:pt x="141256" y="224885"/>
                    </a:lnTo>
                    <a:lnTo>
                      <a:pt x="142875" y="223171"/>
                    </a:lnTo>
                    <a:lnTo>
                      <a:pt x="142875" y="222313"/>
                    </a:lnTo>
                    <a:lnTo>
                      <a:pt x="142875" y="221456"/>
                    </a:lnTo>
                    <a:lnTo>
                      <a:pt x="142875" y="221456"/>
                    </a:lnTo>
                    <a:lnTo>
                      <a:pt x="142018" y="221456"/>
                    </a:lnTo>
                    <a:lnTo>
                      <a:pt x="141256" y="221456"/>
                    </a:lnTo>
                    <a:lnTo>
                      <a:pt x="136969" y="222313"/>
                    </a:lnTo>
                    <a:lnTo>
                      <a:pt x="133636" y="223171"/>
                    </a:lnTo>
                    <a:lnTo>
                      <a:pt x="130207" y="223171"/>
                    </a:lnTo>
                    <a:lnTo>
                      <a:pt x="124301" y="223171"/>
                    </a:lnTo>
                    <a:lnTo>
                      <a:pt x="122587" y="223171"/>
                    </a:lnTo>
                    <a:lnTo>
                      <a:pt x="121729" y="224028"/>
                    </a:lnTo>
                    <a:lnTo>
                      <a:pt x="121729" y="224028"/>
                    </a:lnTo>
                    <a:lnTo>
                      <a:pt x="121729" y="224885"/>
                    </a:lnTo>
                    <a:lnTo>
                      <a:pt x="120872" y="226600"/>
                    </a:lnTo>
                    <a:lnTo>
                      <a:pt x="120872" y="226600"/>
                    </a:lnTo>
                    <a:lnTo>
                      <a:pt x="120110" y="227457"/>
                    </a:lnTo>
                    <a:lnTo>
                      <a:pt x="120110" y="228314"/>
                    </a:lnTo>
                    <a:lnTo>
                      <a:pt x="118396" y="229171"/>
                    </a:lnTo>
                    <a:lnTo>
                      <a:pt x="118396" y="230029"/>
                    </a:lnTo>
                    <a:lnTo>
                      <a:pt x="118396" y="230029"/>
                    </a:lnTo>
                    <a:lnTo>
                      <a:pt x="117538" y="231743"/>
                    </a:lnTo>
                    <a:lnTo>
                      <a:pt x="118396" y="236029"/>
                    </a:lnTo>
                    <a:lnTo>
                      <a:pt x="119253" y="237649"/>
                    </a:lnTo>
                    <a:lnTo>
                      <a:pt x="118396" y="240221"/>
                    </a:lnTo>
                    <a:lnTo>
                      <a:pt x="117538" y="241078"/>
                    </a:lnTo>
                    <a:lnTo>
                      <a:pt x="117538" y="241935"/>
                    </a:lnTo>
                    <a:lnTo>
                      <a:pt x="116681" y="241935"/>
                    </a:lnTo>
                    <a:lnTo>
                      <a:pt x="115824" y="241935"/>
                    </a:lnTo>
                    <a:lnTo>
                      <a:pt x="114967" y="241935"/>
                    </a:lnTo>
                    <a:lnTo>
                      <a:pt x="113348" y="241078"/>
                    </a:lnTo>
                    <a:lnTo>
                      <a:pt x="112490" y="241078"/>
                    </a:lnTo>
                    <a:lnTo>
                      <a:pt x="112490" y="241078"/>
                    </a:lnTo>
                    <a:lnTo>
                      <a:pt x="109061" y="243650"/>
                    </a:lnTo>
                    <a:lnTo>
                      <a:pt x="107347" y="244507"/>
                    </a:lnTo>
                    <a:lnTo>
                      <a:pt x="106585" y="245364"/>
                    </a:lnTo>
                    <a:lnTo>
                      <a:pt x="104870" y="245364"/>
                    </a:lnTo>
                    <a:lnTo>
                      <a:pt x="104013" y="244507"/>
                    </a:lnTo>
                    <a:lnTo>
                      <a:pt x="102298" y="243650"/>
                    </a:lnTo>
                    <a:lnTo>
                      <a:pt x="99822" y="241935"/>
                    </a:lnTo>
                    <a:lnTo>
                      <a:pt x="98965" y="241935"/>
                    </a:lnTo>
                    <a:lnTo>
                      <a:pt x="97250" y="241078"/>
                    </a:lnTo>
                    <a:lnTo>
                      <a:pt x="96393" y="241078"/>
                    </a:lnTo>
                    <a:lnTo>
                      <a:pt x="95536" y="240221"/>
                    </a:lnTo>
                    <a:lnTo>
                      <a:pt x="93821" y="238506"/>
                    </a:lnTo>
                    <a:lnTo>
                      <a:pt x="92202" y="237649"/>
                    </a:lnTo>
                    <a:lnTo>
                      <a:pt x="90488" y="236792"/>
                    </a:lnTo>
                    <a:lnTo>
                      <a:pt x="87916" y="236792"/>
                    </a:lnTo>
                    <a:lnTo>
                      <a:pt x="87058" y="237649"/>
                    </a:lnTo>
                    <a:lnTo>
                      <a:pt x="87058" y="238506"/>
                    </a:lnTo>
                    <a:lnTo>
                      <a:pt x="88773" y="243650"/>
                    </a:lnTo>
                    <a:lnTo>
                      <a:pt x="89630" y="245364"/>
                    </a:lnTo>
                    <a:lnTo>
                      <a:pt x="89630" y="247079"/>
                    </a:lnTo>
                    <a:lnTo>
                      <a:pt x="89630" y="248793"/>
                    </a:lnTo>
                    <a:lnTo>
                      <a:pt x="88773" y="252222"/>
                    </a:lnTo>
                    <a:lnTo>
                      <a:pt x="88773" y="252984"/>
                    </a:lnTo>
                    <a:lnTo>
                      <a:pt x="89630" y="252984"/>
                    </a:lnTo>
                    <a:lnTo>
                      <a:pt x="90488" y="252984"/>
                    </a:lnTo>
                    <a:lnTo>
                      <a:pt x="93821" y="252984"/>
                    </a:lnTo>
                    <a:lnTo>
                      <a:pt x="95536" y="253841"/>
                    </a:lnTo>
                    <a:lnTo>
                      <a:pt x="98108" y="254698"/>
                    </a:lnTo>
                    <a:lnTo>
                      <a:pt x="99822" y="254698"/>
                    </a:lnTo>
                    <a:lnTo>
                      <a:pt x="100584" y="254698"/>
                    </a:lnTo>
                    <a:lnTo>
                      <a:pt x="101441" y="253841"/>
                    </a:lnTo>
                    <a:lnTo>
                      <a:pt x="102298" y="253841"/>
                    </a:lnTo>
                    <a:lnTo>
                      <a:pt x="104013" y="253841"/>
                    </a:lnTo>
                    <a:lnTo>
                      <a:pt x="104013" y="254698"/>
                    </a:lnTo>
                    <a:lnTo>
                      <a:pt x="104870" y="255556"/>
                    </a:lnTo>
                    <a:lnTo>
                      <a:pt x="104870" y="257270"/>
                    </a:lnTo>
                    <a:lnTo>
                      <a:pt x="104013" y="258985"/>
                    </a:lnTo>
                    <a:lnTo>
                      <a:pt x="104013" y="260699"/>
                    </a:lnTo>
                    <a:lnTo>
                      <a:pt x="104013" y="262414"/>
                    </a:lnTo>
                    <a:lnTo>
                      <a:pt x="104013" y="263271"/>
                    </a:lnTo>
                    <a:lnTo>
                      <a:pt x="103156" y="265843"/>
                    </a:lnTo>
                    <a:lnTo>
                      <a:pt x="102298" y="266700"/>
                    </a:lnTo>
                    <a:lnTo>
                      <a:pt x="101441" y="268319"/>
                    </a:lnTo>
                    <a:lnTo>
                      <a:pt x="99822" y="268319"/>
                    </a:lnTo>
                    <a:lnTo>
                      <a:pt x="98108" y="269176"/>
                    </a:lnTo>
                    <a:lnTo>
                      <a:pt x="93821" y="269176"/>
                    </a:lnTo>
                    <a:lnTo>
                      <a:pt x="93059" y="269176"/>
                    </a:lnTo>
                    <a:lnTo>
                      <a:pt x="91345" y="268319"/>
                    </a:lnTo>
                    <a:lnTo>
                      <a:pt x="91345" y="267557"/>
                    </a:lnTo>
                    <a:lnTo>
                      <a:pt x="89630" y="264128"/>
                    </a:lnTo>
                    <a:lnTo>
                      <a:pt x="88773" y="264128"/>
                    </a:lnTo>
                    <a:lnTo>
                      <a:pt x="87058" y="262414"/>
                    </a:lnTo>
                    <a:lnTo>
                      <a:pt x="86201" y="261556"/>
                    </a:lnTo>
                    <a:lnTo>
                      <a:pt x="86201" y="260699"/>
                    </a:lnTo>
                    <a:lnTo>
                      <a:pt x="85439" y="257270"/>
                    </a:lnTo>
                    <a:lnTo>
                      <a:pt x="84582" y="255556"/>
                    </a:lnTo>
                    <a:lnTo>
                      <a:pt x="84582" y="254698"/>
                    </a:lnTo>
                    <a:lnTo>
                      <a:pt x="82867" y="254698"/>
                    </a:lnTo>
                    <a:lnTo>
                      <a:pt x="82867" y="255556"/>
                    </a:lnTo>
                    <a:lnTo>
                      <a:pt x="82010" y="257270"/>
                    </a:lnTo>
                    <a:lnTo>
                      <a:pt x="82010" y="261556"/>
                    </a:lnTo>
                    <a:lnTo>
                      <a:pt x="82010" y="264128"/>
                    </a:lnTo>
                    <a:lnTo>
                      <a:pt x="82010" y="265843"/>
                    </a:lnTo>
                    <a:lnTo>
                      <a:pt x="83725" y="267557"/>
                    </a:lnTo>
                    <a:lnTo>
                      <a:pt x="83725" y="269176"/>
                    </a:lnTo>
                    <a:lnTo>
                      <a:pt x="79438" y="278606"/>
                    </a:lnTo>
                    <a:lnTo>
                      <a:pt x="76105" y="283655"/>
                    </a:lnTo>
                    <a:lnTo>
                      <a:pt x="76105" y="285369"/>
                    </a:lnTo>
                    <a:lnTo>
                      <a:pt x="75248" y="286226"/>
                    </a:lnTo>
                    <a:lnTo>
                      <a:pt x="75248" y="287941"/>
                    </a:lnTo>
                    <a:lnTo>
                      <a:pt x="76105" y="288798"/>
                    </a:lnTo>
                    <a:lnTo>
                      <a:pt x="76962" y="289655"/>
                    </a:lnTo>
                    <a:lnTo>
                      <a:pt x="87058" y="292227"/>
                    </a:lnTo>
                    <a:lnTo>
                      <a:pt x="88773" y="293084"/>
                    </a:lnTo>
                    <a:lnTo>
                      <a:pt x="90488" y="294799"/>
                    </a:lnTo>
                    <a:lnTo>
                      <a:pt x="90488" y="297371"/>
                    </a:lnTo>
                    <a:lnTo>
                      <a:pt x="89630" y="298990"/>
                    </a:lnTo>
                    <a:lnTo>
                      <a:pt x="87916" y="300704"/>
                    </a:lnTo>
                    <a:lnTo>
                      <a:pt x="81153" y="306705"/>
                    </a:lnTo>
                    <a:lnTo>
                      <a:pt x="81153" y="307562"/>
                    </a:lnTo>
                    <a:lnTo>
                      <a:pt x="81153" y="309277"/>
                    </a:lnTo>
                    <a:lnTo>
                      <a:pt x="81153" y="310991"/>
                    </a:lnTo>
                    <a:lnTo>
                      <a:pt x="80296" y="313563"/>
                    </a:lnTo>
                    <a:lnTo>
                      <a:pt x="79438" y="314325"/>
                    </a:lnTo>
                    <a:lnTo>
                      <a:pt x="77819" y="316039"/>
                    </a:lnTo>
                    <a:lnTo>
                      <a:pt x="77819" y="317754"/>
                    </a:lnTo>
                    <a:lnTo>
                      <a:pt x="77819" y="318611"/>
                    </a:lnTo>
                    <a:lnTo>
                      <a:pt x="79438" y="318611"/>
                    </a:lnTo>
                    <a:lnTo>
                      <a:pt x="81153" y="318611"/>
                    </a:lnTo>
                    <a:lnTo>
                      <a:pt x="86201" y="317754"/>
                    </a:lnTo>
                    <a:lnTo>
                      <a:pt x="87916" y="318611"/>
                    </a:lnTo>
                    <a:lnTo>
                      <a:pt x="89630" y="318611"/>
                    </a:lnTo>
                    <a:lnTo>
                      <a:pt x="91345" y="320326"/>
                    </a:lnTo>
                    <a:lnTo>
                      <a:pt x="93059" y="321183"/>
                    </a:lnTo>
                    <a:lnTo>
                      <a:pt x="93821" y="322897"/>
                    </a:lnTo>
                    <a:lnTo>
                      <a:pt x="94679" y="325469"/>
                    </a:lnTo>
                    <a:lnTo>
                      <a:pt x="94679" y="331375"/>
                    </a:lnTo>
                    <a:lnTo>
                      <a:pt x="95536" y="333946"/>
                    </a:lnTo>
                    <a:lnTo>
                      <a:pt x="96393" y="335661"/>
                    </a:lnTo>
                    <a:lnTo>
                      <a:pt x="97250" y="337375"/>
                    </a:lnTo>
                    <a:lnTo>
                      <a:pt x="98108" y="339090"/>
                    </a:lnTo>
                    <a:lnTo>
                      <a:pt x="99822" y="340805"/>
                    </a:lnTo>
                    <a:lnTo>
                      <a:pt x="102298" y="342519"/>
                    </a:lnTo>
                    <a:lnTo>
                      <a:pt x="103156" y="343376"/>
                    </a:lnTo>
                    <a:lnTo>
                      <a:pt x="104013" y="345091"/>
                    </a:lnTo>
                    <a:lnTo>
                      <a:pt x="104013" y="345853"/>
                    </a:lnTo>
                    <a:lnTo>
                      <a:pt x="103156" y="346710"/>
                    </a:lnTo>
                    <a:lnTo>
                      <a:pt x="102298" y="348425"/>
                    </a:lnTo>
                    <a:lnTo>
                      <a:pt x="101441" y="349282"/>
                    </a:lnTo>
                    <a:lnTo>
                      <a:pt x="97250" y="362045"/>
                    </a:lnTo>
                    <a:lnTo>
                      <a:pt x="96393" y="367189"/>
                    </a:lnTo>
                    <a:lnTo>
                      <a:pt x="96393" y="371475"/>
                    </a:lnTo>
                    <a:lnTo>
                      <a:pt x="96393" y="373189"/>
                    </a:lnTo>
                    <a:lnTo>
                      <a:pt x="97250" y="374904"/>
                    </a:lnTo>
                    <a:lnTo>
                      <a:pt x="98108" y="376523"/>
                    </a:lnTo>
                    <a:lnTo>
                      <a:pt x="99822" y="379952"/>
                    </a:lnTo>
                    <a:lnTo>
                      <a:pt x="100584" y="383381"/>
                    </a:lnTo>
                    <a:lnTo>
                      <a:pt x="100584" y="385953"/>
                    </a:lnTo>
                    <a:lnTo>
                      <a:pt x="100584" y="387667"/>
                    </a:lnTo>
                    <a:lnTo>
                      <a:pt x="99822" y="390239"/>
                    </a:lnTo>
                    <a:lnTo>
                      <a:pt x="98965" y="391859"/>
                    </a:lnTo>
                    <a:lnTo>
                      <a:pt x="98108" y="393573"/>
                    </a:lnTo>
                    <a:lnTo>
                      <a:pt x="97250" y="394430"/>
                    </a:lnTo>
                    <a:lnTo>
                      <a:pt x="96393" y="396145"/>
                    </a:lnTo>
                    <a:lnTo>
                      <a:pt x="95536" y="397002"/>
                    </a:lnTo>
                    <a:lnTo>
                      <a:pt x="93821" y="402146"/>
                    </a:lnTo>
                    <a:lnTo>
                      <a:pt x="93059" y="403860"/>
                    </a:lnTo>
                    <a:lnTo>
                      <a:pt x="92202" y="405575"/>
                    </a:lnTo>
                    <a:lnTo>
                      <a:pt x="91345" y="407194"/>
                    </a:lnTo>
                    <a:lnTo>
                      <a:pt x="87916" y="410623"/>
                    </a:lnTo>
                    <a:lnTo>
                      <a:pt x="87058" y="410623"/>
                    </a:lnTo>
                    <a:lnTo>
                      <a:pt x="83725" y="411480"/>
                    </a:lnTo>
                    <a:lnTo>
                      <a:pt x="82867" y="411480"/>
                    </a:lnTo>
                    <a:lnTo>
                      <a:pt x="76962" y="415766"/>
                    </a:lnTo>
                    <a:lnTo>
                      <a:pt x="74390" y="416623"/>
                    </a:lnTo>
                    <a:lnTo>
                      <a:pt x="68485" y="418338"/>
                    </a:lnTo>
                    <a:lnTo>
                      <a:pt x="66770" y="420052"/>
                    </a:lnTo>
                    <a:lnTo>
                      <a:pt x="60008" y="425958"/>
                    </a:lnTo>
                    <a:lnTo>
                      <a:pt x="58388" y="427672"/>
                    </a:lnTo>
                    <a:lnTo>
                      <a:pt x="54102" y="435388"/>
                    </a:lnTo>
                    <a:lnTo>
                      <a:pt x="54102" y="437102"/>
                    </a:lnTo>
                    <a:lnTo>
                      <a:pt x="54959" y="438721"/>
                    </a:lnTo>
                    <a:lnTo>
                      <a:pt x="55817" y="439579"/>
                    </a:lnTo>
                    <a:lnTo>
                      <a:pt x="56674" y="440436"/>
                    </a:lnTo>
                    <a:lnTo>
                      <a:pt x="56674" y="440436"/>
                    </a:lnTo>
                    <a:lnTo>
                      <a:pt x="57531" y="441293"/>
                    </a:lnTo>
                    <a:lnTo>
                      <a:pt x="60865" y="441293"/>
                    </a:lnTo>
                    <a:lnTo>
                      <a:pt x="64294" y="443008"/>
                    </a:lnTo>
                    <a:lnTo>
                      <a:pt x="65913" y="443008"/>
                    </a:lnTo>
                    <a:lnTo>
                      <a:pt x="68485" y="443008"/>
                    </a:lnTo>
                    <a:lnTo>
                      <a:pt x="69342" y="443008"/>
                    </a:lnTo>
                    <a:lnTo>
                      <a:pt x="71056" y="443865"/>
                    </a:lnTo>
                    <a:lnTo>
                      <a:pt x="71914" y="444722"/>
                    </a:lnTo>
                    <a:lnTo>
                      <a:pt x="72676" y="446437"/>
                    </a:lnTo>
                    <a:lnTo>
                      <a:pt x="73533" y="447294"/>
                    </a:lnTo>
                    <a:lnTo>
                      <a:pt x="76105" y="449009"/>
                    </a:lnTo>
                    <a:lnTo>
                      <a:pt x="76105" y="449866"/>
                    </a:lnTo>
                    <a:lnTo>
                      <a:pt x="75248" y="450723"/>
                    </a:lnTo>
                    <a:lnTo>
                      <a:pt x="71056" y="452438"/>
                    </a:lnTo>
                    <a:lnTo>
                      <a:pt x="64294" y="456629"/>
                    </a:lnTo>
                    <a:lnTo>
                      <a:pt x="57531" y="458343"/>
                    </a:lnTo>
                    <a:lnTo>
                      <a:pt x="49911" y="462629"/>
                    </a:lnTo>
                    <a:lnTo>
                      <a:pt x="47339" y="463486"/>
                    </a:lnTo>
                    <a:lnTo>
                      <a:pt x="45625" y="462629"/>
                    </a:lnTo>
                    <a:lnTo>
                      <a:pt x="44006" y="461772"/>
                    </a:lnTo>
                    <a:lnTo>
                      <a:pt x="42291" y="461772"/>
                    </a:lnTo>
                    <a:lnTo>
                      <a:pt x="39719" y="461772"/>
                    </a:lnTo>
                    <a:lnTo>
                      <a:pt x="38862" y="461772"/>
                    </a:lnTo>
                    <a:lnTo>
                      <a:pt x="37243" y="462629"/>
                    </a:lnTo>
                    <a:lnTo>
                      <a:pt x="36385" y="463486"/>
                    </a:lnTo>
                    <a:lnTo>
                      <a:pt x="34671" y="465201"/>
                    </a:lnTo>
                    <a:lnTo>
                      <a:pt x="32956" y="466058"/>
                    </a:lnTo>
                    <a:lnTo>
                      <a:pt x="34671" y="471964"/>
                    </a:lnTo>
                    <a:lnTo>
                      <a:pt x="36385" y="482251"/>
                    </a:lnTo>
                    <a:lnTo>
                      <a:pt x="37243" y="483965"/>
                    </a:lnTo>
                    <a:lnTo>
                      <a:pt x="37243" y="485584"/>
                    </a:lnTo>
                    <a:lnTo>
                      <a:pt x="38005" y="485584"/>
                    </a:lnTo>
                    <a:lnTo>
                      <a:pt x="38862" y="485584"/>
                    </a:lnTo>
                    <a:lnTo>
                      <a:pt x="39719" y="485584"/>
                    </a:lnTo>
                    <a:lnTo>
                      <a:pt x="40577" y="485584"/>
                    </a:lnTo>
                    <a:lnTo>
                      <a:pt x="41434" y="484727"/>
                    </a:lnTo>
                    <a:lnTo>
                      <a:pt x="42291" y="484727"/>
                    </a:lnTo>
                    <a:lnTo>
                      <a:pt x="44006" y="485584"/>
                    </a:lnTo>
                    <a:lnTo>
                      <a:pt x="47339" y="489871"/>
                    </a:lnTo>
                    <a:lnTo>
                      <a:pt x="48196" y="491585"/>
                    </a:lnTo>
                    <a:lnTo>
                      <a:pt x="47339" y="494157"/>
                    </a:lnTo>
                    <a:lnTo>
                      <a:pt x="38862" y="512064"/>
                    </a:lnTo>
                    <a:lnTo>
                      <a:pt x="38005" y="513779"/>
                    </a:lnTo>
                    <a:lnTo>
                      <a:pt x="37243" y="514636"/>
                    </a:lnTo>
                    <a:lnTo>
                      <a:pt x="35528" y="515398"/>
                    </a:lnTo>
                    <a:lnTo>
                      <a:pt x="34671" y="516255"/>
                    </a:lnTo>
                    <a:lnTo>
                      <a:pt x="33814" y="516255"/>
                    </a:lnTo>
                    <a:lnTo>
                      <a:pt x="32099" y="516255"/>
                    </a:lnTo>
                    <a:lnTo>
                      <a:pt x="29623" y="516255"/>
                    </a:lnTo>
                    <a:lnTo>
                      <a:pt x="27908" y="517112"/>
                    </a:lnTo>
                    <a:lnTo>
                      <a:pt x="27051" y="517112"/>
                    </a:lnTo>
                    <a:lnTo>
                      <a:pt x="18574" y="523970"/>
                    </a:lnTo>
                    <a:lnTo>
                      <a:pt x="14383" y="528256"/>
                    </a:lnTo>
                    <a:lnTo>
                      <a:pt x="13525" y="529114"/>
                    </a:lnTo>
                    <a:lnTo>
                      <a:pt x="12668" y="529971"/>
                    </a:lnTo>
                    <a:lnTo>
                      <a:pt x="10954" y="529971"/>
                    </a:lnTo>
                    <a:lnTo>
                      <a:pt x="10192" y="529971"/>
                    </a:lnTo>
                    <a:lnTo>
                      <a:pt x="4191" y="528256"/>
                    </a:lnTo>
                    <a:lnTo>
                      <a:pt x="3429" y="527399"/>
                    </a:lnTo>
                    <a:lnTo>
                      <a:pt x="2572" y="528256"/>
                    </a:lnTo>
                    <a:lnTo>
                      <a:pt x="1715" y="528256"/>
                    </a:lnTo>
                    <a:lnTo>
                      <a:pt x="857" y="529114"/>
                    </a:lnTo>
                    <a:lnTo>
                      <a:pt x="0" y="531590"/>
                    </a:lnTo>
                    <a:lnTo>
                      <a:pt x="0" y="532447"/>
                    </a:lnTo>
                    <a:lnTo>
                      <a:pt x="857" y="534162"/>
                    </a:lnTo>
                    <a:lnTo>
                      <a:pt x="5906" y="539305"/>
                    </a:lnTo>
                    <a:lnTo>
                      <a:pt x="7620" y="540163"/>
                    </a:lnTo>
                    <a:lnTo>
                      <a:pt x="9335" y="541020"/>
                    </a:lnTo>
                    <a:lnTo>
                      <a:pt x="10954" y="541020"/>
                    </a:lnTo>
                    <a:lnTo>
                      <a:pt x="15240" y="540163"/>
                    </a:lnTo>
                    <a:lnTo>
                      <a:pt x="18574" y="540163"/>
                    </a:lnTo>
                    <a:lnTo>
                      <a:pt x="21146" y="541020"/>
                    </a:lnTo>
                    <a:lnTo>
                      <a:pt x="22860" y="541877"/>
                    </a:lnTo>
                    <a:lnTo>
                      <a:pt x="23717" y="542734"/>
                    </a:lnTo>
                    <a:lnTo>
                      <a:pt x="24479" y="543592"/>
                    </a:lnTo>
                    <a:lnTo>
                      <a:pt x="23717" y="545306"/>
                    </a:lnTo>
                    <a:lnTo>
                      <a:pt x="23717" y="546163"/>
                    </a:lnTo>
                    <a:lnTo>
                      <a:pt x="22860" y="546926"/>
                    </a:lnTo>
                    <a:lnTo>
                      <a:pt x="22003" y="548640"/>
                    </a:lnTo>
                    <a:lnTo>
                      <a:pt x="20288" y="549497"/>
                    </a:lnTo>
                    <a:lnTo>
                      <a:pt x="18574" y="550355"/>
                    </a:lnTo>
                    <a:lnTo>
                      <a:pt x="16954" y="551212"/>
                    </a:lnTo>
                    <a:lnTo>
                      <a:pt x="13525" y="552069"/>
                    </a:lnTo>
                    <a:lnTo>
                      <a:pt x="11811" y="552069"/>
                    </a:lnTo>
                    <a:lnTo>
                      <a:pt x="10954" y="551212"/>
                    </a:lnTo>
                    <a:lnTo>
                      <a:pt x="10192" y="551212"/>
                    </a:lnTo>
                    <a:lnTo>
                      <a:pt x="8477" y="549497"/>
                    </a:lnTo>
                    <a:lnTo>
                      <a:pt x="7620" y="548640"/>
                    </a:lnTo>
                    <a:lnTo>
                      <a:pt x="7620" y="548640"/>
                    </a:lnTo>
                    <a:lnTo>
                      <a:pt x="6763" y="547783"/>
                    </a:lnTo>
                    <a:lnTo>
                      <a:pt x="5906" y="548640"/>
                    </a:lnTo>
                    <a:lnTo>
                      <a:pt x="5048" y="548640"/>
                    </a:lnTo>
                    <a:lnTo>
                      <a:pt x="4191" y="549497"/>
                    </a:lnTo>
                    <a:lnTo>
                      <a:pt x="3429" y="552069"/>
                    </a:lnTo>
                    <a:lnTo>
                      <a:pt x="3429" y="554641"/>
                    </a:lnTo>
                    <a:lnTo>
                      <a:pt x="3429" y="557213"/>
                    </a:lnTo>
                    <a:lnTo>
                      <a:pt x="4191" y="558927"/>
                    </a:lnTo>
                    <a:lnTo>
                      <a:pt x="4191" y="560642"/>
                    </a:lnTo>
                    <a:lnTo>
                      <a:pt x="4191" y="563975"/>
                    </a:lnTo>
                    <a:lnTo>
                      <a:pt x="4191" y="565690"/>
                    </a:lnTo>
                    <a:lnTo>
                      <a:pt x="5048" y="566547"/>
                    </a:lnTo>
                    <a:lnTo>
                      <a:pt x="6763" y="568261"/>
                    </a:lnTo>
                    <a:lnTo>
                      <a:pt x="7620" y="569119"/>
                    </a:lnTo>
                    <a:lnTo>
                      <a:pt x="9335" y="571690"/>
                    </a:lnTo>
                    <a:lnTo>
                      <a:pt x="9335" y="573405"/>
                    </a:lnTo>
                    <a:lnTo>
                      <a:pt x="9335" y="576834"/>
                    </a:lnTo>
                    <a:lnTo>
                      <a:pt x="10192" y="577596"/>
                    </a:lnTo>
                    <a:lnTo>
                      <a:pt x="10954" y="579310"/>
                    </a:lnTo>
                    <a:lnTo>
                      <a:pt x="11811" y="580168"/>
                    </a:lnTo>
                    <a:lnTo>
                      <a:pt x="12668" y="581882"/>
                    </a:lnTo>
                    <a:lnTo>
                      <a:pt x="12668" y="582739"/>
                    </a:lnTo>
                    <a:lnTo>
                      <a:pt x="10954" y="587026"/>
                    </a:lnTo>
                    <a:lnTo>
                      <a:pt x="10954" y="595503"/>
                    </a:lnTo>
                    <a:lnTo>
                      <a:pt x="13525" y="596360"/>
                    </a:lnTo>
                    <a:lnTo>
                      <a:pt x="17717" y="598075"/>
                    </a:lnTo>
                    <a:lnTo>
                      <a:pt x="19431" y="598932"/>
                    </a:lnTo>
                    <a:lnTo>
                      <a:pt x="22003" y="598932"/>
                    </a:lnTo>
                    <a:lnTo>
                      <a:pt x="24479" y="598075"/>
                    </a:lnTo>
                    <a:lnTo>
                      <a:pt x="27051" y="597218"/>
                    </a:lnTo>
                    <a:lnTo>
                      <a:pt x="28765" y="596360"/>
                    </a:lnTo>
                    <a:lnTo>
                      <a:pt x="28765" y="595503"/>
                    </a:lnTo>
                    <a:lnTo>
                      <a:pt x="28765" y="595503"/>
                    </a:lnTo>
                    <a:lnTo>
                      <a:pt x="28765" y="594646"/>
                    </a:lnTo>
                    <a:lnTo>
                      <a:pt x="28765" y="593788"/>
                    </a:lnTo>
                    <a:lnTo>
                      <a:pt x="29623" y="593788"/>
                    </a:lnTo>
                    <a:lnTo>
                      <a:pt x="30480" y="593788"/>
                    </a:lnTo>
                    <a:lnTo>
                      <a:pt x="32099" y="592931"/>
                    </a:lnTo>
                    <a:lnTo>
                      <a:pt x="34671" y="592169"/>
                    </a:lnTo>
                    <a:lnTo>
                      <a:pt x="36385" y="591312"/>
                    </a:lnTo>
                    <a:lnTo>
                      <a:pt x="40577" y="587026"/>
                    </a:lnTo>
                    <a:lnTo>
                      <a:pt x="42291" y="587026"/>
                    </a:lnTo>
                    <a:lnTo>
                      <a:pt x="44006" y="589597"/>
                    </a:lnTo>
                    <a:lnTo>
                      <a:pt x="50768" y="596360"/>
                    </a:lnTo>
                    <a:lnTo>
                      <a:pt x="51625" y="599789"/>
                    </a:lnTo>
                    <a:lnTo>
                      <a:pt x="51625" y="601504"/>
                    </a:lnTo>
                    <a:lnTo>
                      <a:pt x="50768" y="611696"/>
                    </a:lnTo>
                    <a:lnTo>
                      <a:pt x="50768" y="613410"/>
                    </a:lnTo>
                    <a:lnTo>
                      <a:pt x="51625" y="614267"/>
                    </a:lnTo>
                    <a:lnTo>
                      <a:pt x="52388" y="616839"/>
                    </a:lnTo>
                    <a:lnTo>
                      <a:pt x="53245" y="618554"/>
                    </a:lnTo>
                    <a:lnTo>
                      <a:pt x="53245" y="621125"/>
                    </a:lnTo>
                    <a:lnTo>
                      <a:pt x="53245" y="622840"/>
                    </a:lnTo>
                    <a:lnTo>
                      <a:pt x="54102" y="623697"/>
                    </a:lnTo>
                    <a:lnTo>
                      <a:pt x="55817" y="624459"/>
                    </a:lnTo>
                    <a:lnTo>
                      <a:pt x="59150" y="626173"/>
                    </a:lnTo>
                    <a:lnTo>
                      <a:pt x="62579" y="629602"/>
                    </a:lnTo>
                    <a:lnTo>
                      <a:pt x="64294" y="630460"/>
                    </a:lnTo>
                    <a:lnTo>
                      <a:pt x="70199" y="632174"/>
                    </a:lnTo>
                    <a:lnTo>
                      <a:pt x="71056" y="633031"/>
                    </a:lnTo>
                    <a:lnTo>
                      <a:pt x="72676" y="634746"/>
                    </a:lnTo>
                    <a:lnTo>
                      <a:pt x="73533" y="635603"/>
                    </a:lnTo>
                    <a:lnTo>
                      <a:pt x="75248" y="636460"/>
                    </a:lnTo>
                    <a:lnTo>
                      <a:pt x="77819" y="636460"/>
                    </a:lnTo>
                    <a:lnTo>
                      <a:pt x="81153" y="636460"/>
                    </a:lnTo>
                    <a:lnTo>
                      <a:pt x="91345" y="635603"/>
                    </a:lnTo>
                    <a:lnTo>
                      <a:pt x="92202" y="635603"/>
                    </a:lnTo>
                    <a:lnTo>
                      <a:pt x="95536" y="636460"/>
                    </a:lnTo>
                    <a:lnTo>
                      <a:pt x="96393" y="636460"/>
                    </a:lnTo>
                    <a:lnTo>
                      <a:pt x="98108" y="637318"/>
                    </a:lnTo>
                    <a:lnTo>
                      <a:pt x="99822" y="639032"/>
                    </a:lnTo>
                    <a:lnTo>
                      <a:pt x="100584" y="639794"/>
                    </a:lnTo>
                    <a:lnTo>
                      <a:pt x="102298" y="639794"/>
                    </a:lnTo>
                    <a:lnTo>
                      <a:pt x="108204" y="640651"/>
                    </a:lnTo>
                    <a:lnTo>
                      <a:pt x="108204" y="640651"/>
                    </a:lnTo>
                    <a:lnTo>
                      <a:pt x="111633" y="642366"/>
                    </a:lnTo>
                    <a:lnTo>
                      <a:pt x="112490" y="643223"/>
                    </a:lnTo>
                    <a:lnTo>
                      <a:pt x="114967" y="645795"/>
                    </a:lnTo>
                    <a:lnTo>
                      <a:pt x="119253" y="651796"/>
                    </a:lnTo>
                    <a:lnTo>
                      <a:pt x="120110" y="654368"/>
                    </a:lnTo>
                    <a:lnTo>
                      <a:pt x="120872" y="655130"/>
                    </a:lnTo>
                    <a:lnTo>
                      <a:pt x="121729" y="656844"/>
                    </a:lnTo>
                    <a:lnTo>
                      <a:pt x="122587" y="657701"/>
                    </a:lnTo>
                    <a:lnTo>
                      <a:pt x="124301" y="658559"/>
                    </a:lnTo>
                    <a:lnTo>
                      <a:pt x="130207" y="661130"/>
                    </a:lnTo>
                    <a:lnTo>
                      <a:pt x="142018" y="663702"/>
                    </a:lnTo>
                    <a:lnTo>
                      <a:pt x="145447" y="662845"/>
                    </a:lnTo>
                    <a:lnTo>
                      <a:pt x="147161" y="663702"/>
                    </a:lnTo>
                    <a:lnTo>
                      <a:pt x="148019" y="663702"/>
                    </a:lnTo>
                    <a:lnTo>
                      <a:pt x="149638" y="664559"/>
                    </a:lnTo>
                    <a:lnTo>
                      <a:pt x="160687" y="664559"/>
                    </a:lnTo>
                    <a:lnTo>
                      <a:pt x="164878" y="664559"/>
                    </a:lnTo>
                    <a:lnTo>
                      <a:pt x="166592" y="664559"/>
                    </a:lnTo>
                    <a:lnTo>
                      <a:pt x="169926" y="663702"/>
                    </a:lnTo>
                    <a:lnTo>
                      <a:pt x="172498" y="663702"/>
                    </a:lnTo>
                    <a:lnTo>
                      <a:pt x="174212" y="662845"/>
                    </a:lnTo>
                    <a:lnTo>
                      <a:pt x="175831" y="662845"/>
                    </a:lnTo>
                    <a:lnTo>
                      <a:pt x="180118" y="663702"/>
                    </a:lnTo>
                    <a:lnTo>
                      <a:pt x="185166" y="663702"/>
                    </a:lnTo>
                    <a:lnTo>
                      <a:pt x="196977" y="663702"/>
                    </a:lnTo>
                    <a:lnTo>
                      <a:pt x="203740" y="661130"/>
                    </a:lnTo>
                    <a:lnTo>
                      <a:pt x="207169" y="661988"/>
                    </a:lnTo>
                    <a:lnTo>
                      <a:pt x="210502" y="661988"/>
                    </a:lnTo>
                    <a:lnTo>
                      <a:pt x="212217" y="662845"/>
                    </a:lnTo>
                    <a:lnTo>
                      <a:pt x="215646" y="663702"/>
                    </a:lnTo>
                    <a:lnTo>
                      <a:pt x="221552" y="665417"/>
                    </a:lnTo>
                    <a:lnTo>
                      <a:pt x="223266" y="665417"/>
                    </a:lnTo>
                    <a:lnTo>
                      <a:pt x="224028" y="665417"/>
                    </a:lnTo>
                    <a:lnTo>
                      <a:pt x="224885" y="664559"/>
                    </a:lnTo>
                    <a:lnTo>
                      <a:pt x="226600" y="665417"/>
                    </a:lnTo>
                    <a:lnTo>
                      <a:pt x="227457" y="666274"/>
                    </a:lnTo>
                    <a:lnTo>
                      <a:pt x="229171" y="669703"/>
                    </a:lnTo>
                    <a:lnTo>
                      <a:pt x="231648" y="675608"/>
                    </a:lnTo>
                    <a:lnTo>
                      <a:pt x="232505" y="680752"/>
                    </a:lnTo>
                    <a:lnTo>
                      <a:pt x="233363" y="685800"/>
                    </a:lnTo>
                    <a:lnTo>
                      <a:pt x="232505" y="687514"/>
                    </a:lnTo>
                    <a:lnTo>
                      <a:pt x="231648" y="687514"/>
                    </a:lnTo>
                    <a:lnTo>
                      <a:pt x="230791" y="688372"/>
                    </a:lnTo>
                    <a:lnTo>
                      <a:pt x="230029" y="688372"/>
                    </a:lnTo>
                    <a:lnTo>
                      <a:pt x="230029" y="688372"/>
                    </a:lnTo>
                    <a:lnTo>
                      <a:pt x="229171" y="688372"/>
                    </a:lnTo>
                    <a:lnTo>
                      <a:pt x="229171" y="688372"/>
                    </a:lnTo>
                    <a:lnTo>
                      <a:pt x="229171" y="689229"/>
                    </a:lnTo>
                    <a:lnTo>
                      <a:pt x="229171" y="689229"/>
                    </a:lnTo>
                    <a:lnTo>
                      <a:pt x="229171" y="690086"/>
                    </a:lnTo>
                    <a:lnTo>
                      <a:pt x="229171" y="690943"/>
                    </a:lnTo>
                    <a:lnTo>
                      <a:pt x="233363" y="696087"/>
                    </a:lnTo>
                    <a:lnTo>
                      <a:pt x="235934" y="697801"/>
                    </a:lnTo>
                    <a:lnTo>
                      <a:pt x="237649" y="698659"/>
                    </a:lnTo>
                    <a:lnTo>
                      <a:pt x="248602" y="700373"/>
                    </a:lnTo>
                    <a:lnTo>
                      <a:pt x="252794" y="699516"/>
                    </a:lnTo>
                    <a:lnTo>
                      <a:pt x="258699" y="698659"/>
                    </a:lnTo>
                    <a:lnTo>
                      <a:pt x="262985" y="696944"/>
                    </a:lnTo>
                    <a:lnTo>
                      <a:pt x="265462" y="696087"/>
                    </a:lnTo>
                    <a:lnTo>
                      <a:pt x="267176" y="694372"/>
                    </a:lnTo>
                    <a:lnTo>
                      <a:pt x="268891" y="690943"/>
                    </a:lnTo>
                    <a:lnTo>
                      <a:pt x="270605" y="689229"/>
                    </a:lnTo>
                    <a:lnTo>
                      <a:pt x="272225" y="687514"/>
                    </a:lnTo>
                    <a:lnTo>
                      <a:pt x="274796" y="685800"/>
                    </a:lnTo>
                    <a:lnTo>
                      <a:pt x="277368" y="685800"/>
                    </a:lnTo>
                    <a:lnTo>
                      <a:pt x="284988" y="685038"/>
                    </a:lnTo>
                    <a:lnTo>
                      <a:pt x="286607" y="684181"/>
                    </a:lnTo>
                    <a:lnTo>
                      <a:pt x="287465" y="682466"/>
                    </a:lnTo>
                    <a:lnTo>
                      <a:pt x="288322" y="680752"/>
                    </a:lnTo>
                    <a:lnTo>
                      <a:pt x="289179" y="679037"/>
                    </a:lnTo>
                    <a:lnTo>
                      <a:pt x="289179" y="673894"/>
                    </a:lnTo>
                    <a:lnTo>
                      <a:pt x="287465" y="670465"/>
                    </a:lnTo>
                    <a:lnTo>
                      <a:pt x="287465" y="669703"/>
                    </a:lnTo>
                    <a:lnTo>
                      <a:pt x="287465" y="667988"/>
                    </a:lnTo>
                    <a:lnTo>
                      <a:pt x="287465" y="667131"/>
                    </a:lnTo>
                    <a:lnTo>
                      <a:pt x="288322" y="666274"/>
                    </a:lnTo>
                    <a:lnTo>
                      <a:pt x="291751" y="664559"/>
                    </a:lnTo>
                    <a:lnTo>
                      <a:pt x="295942" y="661988"/>
                    </a:lnTo>
                    <a:lnTo>
                      <a:pt x="296799" y="661130"/>
                    </a:lnTo>
                    <a:lnTo>
                      <a:pt x="297656" y="659416"/>
                    </a:lnTo>
                    <a:lnTo>
                      <a:pt x="300133" y="655130"/>
                    </a:lnTo>
                    <a:lnTo>
                      <a:pt x="300990" y="654368"/>
                    </a:lnTo>
                    <a:lnTo>
                      <a:pt x="301847" y="652653"/>
                    </a:lnTo>
                    <a:lnTo>
                      <a:pt x="303562" y="651796"/>
                    </a:lnTo>
                    <a:lnTo>
                      <a:pt x="303562" y="650081"/>
                    </a:lnTo>
                    <a:lnTo>
                      <a:pt x="304419" y="650081"/>
                    </a:lnTo>
                    <a:lnTo>
                      <a:pt x="304419" y="649224"/>
                    </a:lnTo>
                    <a:lnTo>
                      <a:pt x="304419" y="649224"/>
                    </a:lnTo>
                    <a:lnTo>
                      <a:pt x="304419" y="648367"/>
                    </a:lnTo>
                    <a:lnTo>
                      <a:pt x="304419" y="645795"/>
                    </a:lnTo>
                    <a:lnTo>
                      <a:pt x="304419" y="644938"/>
                    </a:lnTo>
                    <a:lnTo>
                      <a:pt x="304419" y="643223"/>
                    </a:lnTo>
                    <a:lnTo>
                      <a:pt x="305276" y="639794"/>
                    </a:lnTo>
                    <a:lnTo>
                      <a:pt x="306896" y="637318"/>
                    </a:lnTo>
                    <a:lnTo>
                      <a:pt x="310325" y="636460"/>
                    </a:lnTo>
                    <a:lnTo>
                      <a:pt x="316230" y="636460"/>
                    </a:lnTo>
                    <a:lnTo>
                      <a:pt x="318802" y="635603"/>
                    </a:lnTo>
                    <a:lnTo>
                      <a:pt x="330613" y="626173"/>
                    </a:lnTo>
                    <a:lnTo>
                      <a:pt x="335661" y="624459"/>
                    </a:lnTo>
                    <a:lnTo>
                      <a:pt x="339947" y="622840"/>
                    </a:lnTo>
                    <a:lnTo>
                      <a:pt x="345853" y="621982"/>
                    </a:lnTo>
                    <a:lnTo>
                      <a:pt x="347567" y="622840"/>
                    </a:lnTo>
                    <a:lnTo>
                      <a:pt x="348329" y="622840"/>
                    </a:lnTo>
                    <a:lnTo>
                      <a:pt x="348329" y="623697"/>
                    </a:lnTo>
                    <a:lnTo>
                      <a:pt x="349186" y="624459"/>
                    </a:lnTo>
                    <a:lnTo>
                      <a:pt x="349186" y="624459"/>
                    </a:lnTo>
                    <a:lnTo>
                      <a:pt x="350044" y="625316"/>
                    </a:lnTo>
                    <a:lnTo>
                      <a:pt x="350901" y="625316"/>
                    </a:lnTo>
                    <a:lnTo>
                      <a:pt x="351758" y="625316"/>
                    </a:lnTo>
                    <a:lnTo>
                      <a:pt x="353473" y="625316"/>
                    </a:lnTo>
                    <a:lnTo>
                      <a:pt x="353473" y="624459"/>
                    </a:lnTo>
                    <a:lnTo>
                      <a:pt x="354330" y="623697"/>
                    </a:lnTo>
                    <a:lnTo>
                      <a:pt x="355092" y="621982"/>
                    </a:lnTo>
                    <a:lnTo>
                      <a:pt x="355949" y="621982"/>
                    </a:lnTo>
                    <a:lnTo>
                      <a:pt x="359378" y="621125"/>
                    </a:lnTo>
                    <a:lnTo>
                      <a:pt x="360236" y="620268"/>
                    </a:lnTo>
                    <a:lnTo>
                      <a:pt x="361093" y="618554"/>
                    </a:lnTo>
                    <a:lnTo>
                      <a:pt x="362712" y="617696"/>
                    </a:lnTo>
                    <a:lnTo>
                      <a:pt x="364427" y="616839"/>
                    </a:lnTo>
                    <a:lnTo>
                      <a:pt x="377952" y="616839"/>
                    </a:lnTo>
                    <a:lnTo>
                      <a:pt x="379667" y="617696"/>
                    </a:lnTo>
                    <a:lnTo>
                      <a:pt x="381381" y="618554"/>
                    </a:lnTo>
                    <a:lnTo>
                      <a:pt x="382238" y="619411"/>
                    </a:lnTo>
                    <a:lnTo>
                      <a:pt x="382238" y="620268"/>
                    </a:lnTo>
                    <a:lnTo>
                      <a:pt x="383000" y="621125"/>
                    </a:lnTo>
                    <a:lnTo>
                      <a:pt x="383000" y="621125"/>
                    </a:lnTo>
                    <a:lnTo>
                      <a:pt x="383000" y="621982"/>
                    </a:lnTo>
                    <a:lnTo>
                      <a:pt x="383858" y="621982"/>
                    </a:lnTo>
                    <a:lnTo>
                      <a:pt x="386429" y="622840"/>
                    </a:lnTo>
                    <a:lnTo>
                      <a:pt x="387286" y="623697"/>
                    </a:lnTo>
                    <a:lnTo>
                      <a:pt x="388144" y="624459"/>
                    </a:lnTo>
                    <a:lnTo>
                      <a:pt x="388144" y="626173"/>
                    </a:lnTo>
                    <a:lnTo>
                      <a:pt x="389763" y="634746"/>
                    </a:lnTo>
                    <a:lnTo>
                      <a:pt x="389763" y="636460"/>
                    </a:lnTo>
                    <a:lnTo>
                      <a:pt x="389001" y="638175"/>
                    </a:lnTo>
                    <a:lnTo>
                      <a:pt x="389763" y="639794"/>
                    </a:lnTo>
                    <a:lnTo>
                      <a:pt x="389763" y="640651"/>
                    </a:lnTo>
                    <a:lnTo>
                      <a:pt x="390620" y="641509"/>
                    </a:lnTo>
                    <a:lnTo>
                      <a:pt x="391478" y="642366"/>
                    </a:lnTo>
                    <a:lnTo>
                      <a:pt x="390620" y="643223"/>
                    </a:lnTo>
                    <a:lnTo>
                      <a:pt x="389763" y="644080"/>
                    </a:lnTo>
                    <a:lnTo>
                      <a:pt x="389001" y="644080"/>
                    </a:lnTo>
                    <a:lnTo>
                      <a:pt x="377952" y="643223"/>
                    </a:lnTo>
                    <a:lnTo>
                      <a:pt x="376238" y="644080"/>
                    </a:lnTo>
                    <a:lnTo>
                      <a:pt x="375380" y="644080"/>
                    </a:lnTo>
                    <a:lnTo>
                      <a:pt x="375380" y="645795"/>
                    </a:lnTo>
                    <a:lnTo>
                      <a:pt x="375380" y="646652"/>
                    </a:lnTo>
                    <a:lnTo>
                      <a:pt x="375380" y="648367"/>
                    </a:lnTo>
                    <a:lnTo>
                      <a:pt x="375380" y="649224"/>
                    </a:lnTo>
                    <a:lnTo>
                      <a:pt x="375380" y="649224"/>
                    </a:lnTo>
                    <a:lnTo>
                      <a:pt x="377952" y="654368"/>
                    </a:lnTo>
                    <a:lnTo>
                      <a:pt x="380524" y="658559"/>
                    </a:lnTo>
                    <a:lnTo>
                      <a:pt x="381381" y="660273"/>
                    </a:lnTo>
                    <a:lnTo>
                      <a:pt x="381381" y="661130"/>
                    </a:lnTo>
                    <a:lnTo>
                      <a:pt x="381381" y="661988"/>
                    </a:lnTo>
                    <a:lnTo>
                      <a:pt x="382238" y="661988"/>
                    </a:lnTo>
                    <a:lnTo>
                      <a:pt x="383000" y="661988"/>
                    </a:lnTo>
                    <a:lnTo>
                      <a:pt x="383858" y="660273"/>
                    </a:lnTo>
                    <a:lnTo>
                      <a:pt x="384715" y="659416"/>
                    </a:lnTo>
                    <a:lnTo>
                      <a:pt x="384715" y="659416"/>
                    </a:lnTo>
                    <a:lnTo>
                      <a:pt x="386429" y="659416"/>
                    </a:lnTo>
                    <a:lnTo>
                      <a:pt x="387286" y="660273"/>
                    </a:lnTo>
                    <a:lnTo>
                      <a:pt x="388144" y="660273"/>
                    </a:lnTo>
                    <a:lnTo>
                      <a:pt x="389001" y="661988"/>
                    </a:lnTo>
                    <a:lnTo>
                      <a:pt x="389001" y="662845"/>
                    </a:lnTo>
                    <a:lnTo>
                      <a:pt x="389763" y="662845"/>
                    </a:lnTo>
                    <a:lnTo>
                      <a:pt x="391478" y="662845"/>
                    </a:lnTo>
                    <a:lnTo>
                      <a:pt x="393192" y="662845"/>
                    </a:lnTo>
                    <a:lnTo>
                      <a:pt x="394049" y="662845"/>
                    </a:lnTo>
                    <a:lnTo>
                      <a:pt x="395764" y="661988"/>
                    </a:lnTo>
                    <a:lnTo>
                      <a:pt x="396526" y="661130"/>
                    </a:lnTo>
                    <a:lnTo>
                      <a:pt x="398240" y="661130"/>
                    </a:lnTo>
                    <a:lnTo>
                      <a:pt x="399098" y="661988"/>
                    </a:lnTo>
                    <a:lnTo>
                      <a:pt x="401669" y="661988"/>
                    </a:lnTo>
                    <a:lnTo>
                      <a:pt x="403288" y="661988"/>
                    </a:lnTo>
                    <a:lnTo>
                      <a:pt x="404146" y="662845"/>
                    </a:lnTo>
                    <a:lnTo>
                      <a:pt x="404146" y="663702"/>
                    </a:lnTo>
                    <a:lnTo>
                      <a:pt x="405003" y="663702"/>
                    </a:lnTo>
                    <a:lnTo>
                      <a:pt x="405860" y="663702"/>
                    </a:lnTo>
                    <a:lnTo>
                      <a:pt x="409289" y="661130"/>
                    </a:lnTo>
                    <a:lnTo>
                      <a:pt x="411766" y="660273"/>
                    </a:lnTo>
                    <a:lnTo>
                      <a:pt x="414338" y="658559"/>
                    </a:lnTo>
                    <a:lnTo>
                      <a:pt x="415195" y="658559"/>
                    </a:lnTo>
                    <a:lnTo>
                      <a:pt x="416052" y="658559"/>
                    </a:lnTo>
                    <a:lnTo>
                      <a:pt x="421958" y="661130"/>
                    </a:lnTo>
                    <a:lnTo>
                      <a:pt x="423577" y="661988"/>
                    </a:lnTo>
                    <a:lnTo>
                      <a:pt x="426148" y="661988"/>
                    </a:lnTo>
                    <a:lnTo>
                      <a:pt x="427863" y="661130"/>
                    </a:lnTo>
                    <a:lnTo>
                      <a:pt x="441388" y="656844"/>
                    </a:lnTo>
                    <a:lnTo>
                      <a:pt x="447294" y="653510"/>
                    </a:lnTo>
                    <a:lnTo>
                      <a:pt x="451485" y="650938"/>
                    </a:lnTo>
                    <a:lnTo>
                      <a:pt x="454057" y="649224"/>
                    </a:lnTo>
                    <a:lnTo>
                      <a:pt x="456629" y="646652"/>
                    </a:lnTo>
                    <a:lnTo>
                      <a:pt x="457486" y="644938"/>
                    </a:lnTo>
                    <a:lnTo>
                      <a:pt x="459105" y="643223"/>
                    </a:lnTo>
                    <a:lnTo>
                      <a:pt x="460819" y="642366"/>
                    </a:lnTo>
                    <a:lnTo>
                      <a:pt x="466725" y="640651"/>
                    </a:lnTo>
                    <a:lnTo>
                      <a:pt x="471773" y="639032"/>
                    </a:lnTo>
                    <a:lnTo>
                      <a:pt x="474345" y="635603"/>
                    </a:lnTo>
                    <a:lnTo>
                      <a:pt x="475202" y="635603"/>
                    </a:lnTo>
                    <a:lnTo>
                      <a:pt x="476060" y="634746"/>
                    </a:lnTo>
                    <a:lnTo>
                      <a:pt x="476917" y="634746"/>
                    </a:lnTo>
                    <a:lnTo>
                      <a:pt x="477774" y="634746"/>
                    </a:lnTo>
                    <a:lnTo>
                      <a:pt x="480250" y="634746"/>
                    </a:lnTo>
                    <a:lnTo>
                      <a:pt x="481108" y="634746"/>
                    </a:lnTo>
                    <a:lnTo>
                      <a:pt x="482822" y="635603"/>
                    </a:lnTo>
                    <a:lnTo>
                      <a:pt x="483680" y="636460"/>
                    </a:lnTo>
                    <a:lnTo>
                      <a:pt x="483680" y="639794"/>
                    </a:lnTo>
                    <a:lnTo>
                      <a:pt x="484537" y="641509"/>
                    </a:lnTo>
                    <a:lnTo>
                      <a:pt x="484537" y="643223"/>
                    </a:lnTo>
                    <a:lnTo>
                      <a:pt x="485394" y="646652"/>
                    </a:lnTo>
                    <a:lnTo>
                      <a:pt x="485394" y="647509"/>
                    </a:lnTo>
                    <a:lnTo>
                      <a:pt x="485394" y="648367"/>
                    </a:lnTo>
                    <a:lnTo>
                      <a:pt x="485394" y="648367"/>
                    </a:lnTo>
                    <a:lnTo>
                      <a:pt x="485394" y="648367"/>
                    </a:lnTo>
                    <a:lnTo>
                      <a:pt x="485394" y="648367"/>
                    </a:lnTo>
                    <a:lnTo>
                      <a:pt x="486156" y="648367"/>
                    </a:lnTo>
                    <a:lnTo>
                      <a:pt x="487013" y="648367"/>
                    </a:lnTo>
                    <a:lnTo>
                      <a:pt x="487871" y="648367"/>
                    </a:lnTo>
                    <a:lnTo>
                      <a:pt x="489585" y="647509"/>
                    </a:lnTo>
                    <a:lnTo>
                      <a:pt x="490442" y="646652"/>
                    </a:lnTo>
                    <a:lnTo>
                      <a:pt x="491300" y="646652"/>
                    </a:lnTo>
                    <a:lnTo>
                      <a:pt x="492157" y="645795"/>
                    </a:lnTo>
                    <a:lnTo>
                      <a:pt x="494633" y="646652"/>
                    </a:lnTo>
                    <a:lnTo>
                      <a:pt x="495490" y="646652"/>
                    </a:lnTo>
                    <a:lnTo>
                      <a:pt x="497205" y="647509"/>
                    </a:lnTo>
                    <a:lnTo>
                      <a:pt x="498919" y="649224"/>
                    </a:lnTo>
                    <a:lnTo>
                      <a:pt x="499682" y="650081"/>
                    </a:lnTo>
                    <a:lnTo>
                      <a:pt x="507302" y="651796"/>
                    </a:lnTo>
                    <a:lnTo>
                      <a:pt x="514921" y="652653"/>
                    </a:lnTo>
                    <a:lnTo>
                      <a:pt x="516636" y="652653"/>
                    </a:lnTo>
                    <a:lnTo>
                      <a:pt x="519208" y="651796"/>
                    </a:lnTo>
                    <a:lnTo>
                      <a:pt x="525971" y="650938"/>
                    </a:lnTo>
                    <a:lnTo>
                      <a:pt x="530161" y="649224"/>
                    </a:lnTo>
                    <a:lnTo>
                      <a:pt x="532733" y="648367"/>
                    </a:lnTo>
                    <a:lnTo>
                      <a:pt x="537782" y="648367"/>
                    </a:lnTo>
                    <a:lnTo>
                      <a:pt x="538639" y="647509"/>
                    </a:lnTo>
                    <a:lnTo>
                      <a:pt x="540353" y="646652"/>
                    </a:lnTo>
                    <a:lnTo>
                      <a:pt x="540353" y="645795"/>
                    </a:lnTo>
                    <a:lnTo>
                      <a:pt x="540353" y="644080"/>
                    </a:lnTo>
                    <a:lnTo>
                      <a:pt x="540353" y="643223"/>
                    </a:lnTo>
                    <a:lnTo>
                      <a:pt x="539496" y="641509"/>
                    </a:lnTo>
                    <a:lnTo>
                      <a:pt x="539496" y="640651"/>
                    </a:lnTo>
                    <a:lnTo>
                      <a:pt x="540353" y="639794"/>
                    </a:lnTo>
                    <a:lnTo>
                      <a:pt x="542830" y="639032"/>
                    </a:lnTo>
                    <a:lnTo>
                      <a:pt x="547878" y="637318"/>
                    </a:lnTo>
                    <a:lnTo>
                      <a:pt x="557213" y="636460"/>
                    </a:lnTo>
                    <a:lnTo>
                      <a:pt x="560642" y="634746"/>
                    </a:lnTo>
                    <a:lnTo>
                      <a:pt x="566547" y="633031"/>
                    </a:lnTo>
                    <a:lnTo>
                      <a:pt x="569024" y="632174"/>
                    </a:lnTo>
                    <a:lnTo>
                      <a:pt x="571595" y="631317"/>
                    </a:lnTo>
                    <a:lnTo>
                      <a:pt x="573310" y="629602"/>
                    </a:lnTo>
                    <a:lnTo>
                      <a:pt x="574167" y="627888"/>
                    </a:lnTo>
                    <a:lnTo>
                      <a:pt x="574167" y="626173"/>
                    </a:lnTo>
                    <a:lnTo>
                      <a:pt x="574167" y="625316"/>
                    </a:lnTo>
                    <a:lnTo>
                      <a:pt x="574167" y="624459"/>
                    </a:lnTo>
                    <a:lnTo>
                      <a:pt x="574167" y="624459"/>
                    </a:lnTo>
                    <a:lnTo>
                      <a:pt x="576644" y="623697"/>
                    </a:lnTo>
                    <a:lnTo>
                      <a:pt x="580930" y="626173"/>
                    </a:lnTo>
                    <a:lnTo>
                      <a:pt x="581787" y="626173"/>
                    </a:lnTo>
                    <a:lnTo>
                      <a:pt x="584264" y="627031"/>
                    </a:lnTo>
                    <a:lnTo>
                      <a:pt x="588550" y="627031"/>
                    </a:lnTo>
                    <a:lnTo>
                      <a:pt x="590169" y="627031"/>
                    </a:lnTo>
                    <a:lnTo>
                      <a:pt x="591884" y="627031"/>
                    </a:lnTo>
                    <a:lnTo>
                      <a:pt x="593598" y="627031"/>
                    </a:lnTo>
                    <a:lnTo>
                      <a:pt x="595312" y="627031"/>
                    </a:lnTo>
                    <a:lnTo>
                      <a:pt x="599503" y="628745"/>
                    </a:lnTo>
                    <a:lnTo>
                      <a:pt x="601218" y="629602"/>
                    </a:lnTo>
                    <a:lnTo>
                      <a:pt x="602837" y="633031"/>
                    </a:lnTo>
                    <a:lnTo>
                      <a:pt x="607124" y="635603"/>
                    </a:lnTo>
                    <a:lnTo>
                      <a:pt x="607124" y="638175"/>
                    </a:lnTo>
                    <a:lnTo>
                      <a:pt x="607981" y="639032"/>
                    </a:lnTo>
                    <a:lnTo>
                      <a:pt x="607981" y="639032"/>
                    </a:lnTo>
                    <a:lnTo>
                      <a:pt x="607981" y="639794"/>
                    </a:lnTo>
                    <a:lnTo>
                      <a:pt x="608838" y="640651"/>
                    </a:lnTo>
                    <a:lnTo>
                      <a:pt x="608838" y="643223"/>
                    </a:lnTo>
                    <a:lnTo>
                      <a:pt x="609600" y="644080"/>
                    </a:lnTo>
                    <a:lnTo>
                      <a:pt x="610457" y="644938"/>
                    </a:lnTo>
                    <a:lnTo>
                      <a:pt x="611315" y="644938"/>
                    </a:lnTo>
                    <a:lnTo>
                      <a:pt x="613886" y="644080"/>
                    </a:lnTo>
                    <a:lnTo>
                      <a:pt x="615601" y="642366"/>
                    </a:lnTo>
                    <a:lnTo>
                      <a:pt x="618077" y="640651"/>
                    </a:lnTo>
                    <a:lnTo>
                      <a:pt x="619792" y="639794"/>
                    </a:lnTo>
                    <a:lnTo>
                      <a:pt x="620649" y="639032"/>
                    </a:lnTo>
                    <a:lnTo>
                      <a:pt x="622364" y="639032"/>
                    </a:lnTo>
                    <a:lnTo>
                      <a:pt x="625697" y="639794"/>
                    </a:lnTo>
                    <a:lnTo>
                      <a:pt x="631603" y="638175"/>
                    </a:lnTo>
                    <a:lnTo>
                      <a:pt x="634174" y="638175"/>
                    </a:lnTo>
                    <a:lnTo>
                      <a:pt x="635889" y="639032"/>
                    </a:lnTo>
                    <a:lnTo>
                      <a:pt x="637508" y="639794"/>
                    </a:lnTo>
                    <a:lnTo>
                      <a:pt x="638365" y="641509"/>
                    </a:lnTo>
                    <a:lnTo>
                      <a:pt x="639223" y="642366"/>
                    </a:lnTo>
                    <a:lnTo>
                      <a:pt x="640080" y="644080"/>
                    </a:lnTo>
                    <a:lnTo>
                      <a:pt x="640937" y="645795"/>
                    </a:lnTo>
                    <a:lnTo>
                      <a:pt x="641795" y="645795"/>
                    </a:lnTo>
                    <a:lnTo>
                      <a:pt x="642652" y="645795"/>
                    </a:lnTo>
                    <a:lnTo>
                      <a:pt x="645128" y="645795"/>
                    </a:lnTo>
                    <a:lnTo>
                      <a:pt x="646843" y="645795"/>
                    </a:lnTo>
                    <a:lnTo>
                      <a:pt x="648557" y="644938"/>
                    </a:lnTo>
                    <a:lnTo>
                      <a:pt x="649415" y="644080"/>
                    </a:lnTo>
                    <a:lnTo>
                      <a:pt x="651034" y="643223"/>
                    </a:lnTo>
                    <a:lnTo>
                      <a:pt x="651891" y="642366"/>
                    </a:lnTo>
                    <a:lnTo>
                      <a:pt x="654463" y="641509"/>
                    </a:lnTo>
                    <a:lnTo>
                      <a:pt x="655320" y="642366"/>
                    </a:lnTo>
                    <a:lnTo>
                      <a:pt x="656177" y="642366"/>
                    </a:lnTo>
                    <a:lnTo>
                      <a:pt x="656177" y="642366"/>
                    </a:lnTo>
                    <a:lnTo>
                      <a:pt x="656177" y="643223"/>
                    </a:lnTo>
                    <a:lnTo>
                      <a:pt x="656177" y="643223"/>
                    </a:lnTo>
                    <a:lnTo>
                      <a:pt x="657035" y="643223"/>
                    </a:lnTo>
                    <a:lnTo>
                      <a:pt x="658654" y="643223"/>
                    </a:lnTo>
                    <a:lnTo>
                      <a:pt x="667131" y="640651"/>
                    </a:lnTo>
                    <a:lnTo>
                      <a:pt x="667988" y="638175"/>
                    </a:lnTo>
                    <a:lnTo>
                      <a:pt x="670560" y="637318"/>
                    </a:lnTo>
                    <a:lnTo>
                      <a:pt x="676465" y="634746"/>
                    </a:lnTo>
                    <a:lnTo>
                      <a:pt x="677323" y="634746"/>
                    </a:lnTo>
                    <a:lnTo>
                      <a:pt x="678180" y="633889"/>
                    </a:lnTo>
                    <a:lnTo>
                      <a:pt x="678942" y="633031"/>
                    </a:lnTo>
                    <a:lnTo>
                      <a:pt x="680657" y="634746"/>
                    </a:lnTo>
                    <a:lnTo>
                      <a:pt x="685705" y="638175"/>
                    </a:lnTo>
                    <a:lnTo>
                      <a:pt x="688277" y="639032"/>
                    </a:lnTo>
                    <a:lnTo>
                      <a:pt x="692468" y="639794"/>
                    </a:lnTo>
                    <a:lnTo>
                      <a:pt x="693325" y="640651"/>
                    </a:lnTo>
                    <a:lnTo>
                      <a:pt x="693325" y="641509"/>
                    </a:lnTo>
                    <a:lnTo>
                      <a:pt x="693325" y="642366"/>
                    </a:lnTo>
                    <a:lnTo>
                      <a:pt x="693325" y="643223"/>
                    </a:lnTo>
                    <a:lnTo>
                      <a:pt x="694182" y="644938"/>
                    </a:lnTo>
                    <a:lnTo>
                      <a:pt x="695039" y="646652"/>
                    </a:lnTo>
                    <a:lnTo>
                      <a:pt x="700945" y="650081"/>
                    </a:lnTo>
                    <a:lnTo>
                      <a:pt x="702659" y="651796"/>
                    </a:lnTo>
                    <a:lnTo>
                      <a:pt x="703516" y="653510"/>
                    </a:lnTo>
                    <a:lnTo>
                      <a:pt x="703516" y="654368"/>
                    </a:lnTo>
                    <a:lnTo>
                      <a:pt x="704374" y="655987"/>
                    </a:lnTo>
                    <a:lnTo>
                      <a:pt x="704374" y="655987"/>
                    </a:lnTo>
                    <a:lnTo>
                      <a:pt x="704374" y="656844"/>
                    </a:lnTo>
                    <a:lnTo>
                      <a:pt x="703516" y="656844"/>
                    </a:lnTo>
                    <a:lnTo>
                      <a:pt x="701802" y="659416"/>
                    </a:lnTo>
                    <a:lnTo>
                      <a:pt x="701802" y="660273"/>
                    </a:lnTo>
                    <a:lnTo>
                      <a:pt x="701802" y="661130"/>
                    </a:lnTo>
                    <a:lnTo>
                      <a:pt x="702659" y="661988"/>
                    </a:lnTo>
                    <a:lnTo>
                      <a:pt x="703516" y="661988"/>
                    </a:lnTo>
                    <a:lnTo>
                      <a:pt x="704374" y="661988"/>
                    </a:lnTo>
                    <a:lnTo>
                      <a:pt x="705231" y="661988"/>
                    </a:lnTo>
                    <a:lnTo>
                      <a:pt x="708565" y="661130"/>
                    </a:lnTo>
                    <a:lnTo>
                      <a:pt x="709422" y="661130"/>
                    </a:lnTo>
                    <a:lnTo>
                      <a:pt x="710279" y="661130"/>
                    </a:lnTo>
                    <a:lnTo>
                      <a:pt x="711994" y="661130"/>
                    </a:lnTo>
                    <a:lnTo>
                      <a:pt x="713613" y="661988"/>
                    </a:lnTo>
                    <a:lnTo>
                      <a:pt x="725519" y="669703"/>
                    </a:lnTo>
                    <a:lnTo>
                      <a:pt x="727139" y="669703"/>
                    </a:lnTo>
                    <a:lnTo>
                      <a:pt x="727996" y="669703"/>
                    </a:lnTo>
                    <a:lnTo>
                      <a:pt x="728853" y="669703"/>
                    </a:lnTo>
                    <a:lnTo>
                      <a:pt x="728853" y="669703"/>
                    </a:lnTo>
                    <a:lnTo>
                      <a:pt x="731425" y="667988"/>
                    </a:lnTo>
                    <a:lnTo>
                      <a:pt x="733139" y="667131"/>
                    </a:lnTo>
                    <a:lnTo>
                      <a:pt x="734759" y="661130"/>
                    </a:lnTo>
                    <a:lnTo>
                      <a:pt x="735616" y="656844"/>
                    </a:lnTo>
                    <a:lnTo>
                      <a:pt x="737330" y="652653"/>
                    </a:lnTo>
                    <a:lnTo>
                      <a:pt x="738187" y="650081"/>
                    </a:lnTo>
                    <a:lnTo>
                      <a:pt x="737330" y="639032"/>
                    </a:lnTo>
                    <a:lnTo>
                      <a:pt x="737330" y="637318"/>
                    </a:lnTo>
                    <a:lnTo>
                      <a:pt x="738187" y="635603"/>
                    </a:lnTo>
                    <a:lnTo>
                      <a:pt x="739045" y="623697"/>
                    </a:lnTo>
                    <a:lnTo>
                      <a:pt x="739902" y="621125"/>
                    </a:lnTo>
                    <a:lnTo>
                      <a:pt x="741521" y="619411"/>
                    </a:lnTo>
                    <a:lnTo>
                      <a:pt x="744950" y="618554"/>
                    </a:lnTo>
                    <a:lnTo>
                      <a:pt x="746665" y="616839"/>
                    </a:lnTo>
                    <a:lnTo>
                      <a:pt x="749141" y="613410"/>
                    </a:lnTo>
                    <a:lnTo>
                      <a:pt x="750856" y="608267"/>
                    </a:lnTo>
                    <a:lnTo>
                      <a:pt x="749999" y="600647"/>
                    </a:lnTo>
                    <a:lnTo>
                      <a:pt x="749999" y="595503"/>
                    </a:lnTo>
                    <a:lnTo>
                      <a:pt x="750856" y="592931"/>
                    </a:lnTo>
                    <a:lnTo>
                      <a:pt x="755904" y="582739"/>
                    </a:lnTo>
                    <a:lnTo>
                      <a:pt x="757619" y="580168"/>
                    </a:lnTo>
                    <a:lnTo>
                      <a:pt x="759333" y="578453"/>
                    </a:lnTo>
                    <a:lnTo>
                      <a:pt x="760952" y="578453"/>
                    </a:lnTo>
                    <a:lnTo>
                      <a:pt x="762667" y="579310"/>
                    </a:lnTo>
                    <a:lnTo>
                      <a:pt x="766096" y="583597"/>
                    </a:lnTo>
                    <a:lnTo>
                      <a:pt x="766953" y="584454"/>
                    </a:lnTo>
                    <a:lnTo>
                      <a:pt x="767810" y="583597"/>
                    </a:lnTo>
                    <a:lnTo>
                      <a:pt x="768572" y="582739"/>
                    </a:lnTo>
                    <a:lnTo>
                      <a:pt x="768572" y="581025"/>
                    </a:lnTo>
                    <a:lnTo>
                      <a:pt x="767810" y="579310"/>
                    </a:lnTo>
                    <a:lnTo>
                      <a:pt x="766953" y="576834"/>
                    </a:lnTo>
                    <a:lnTo>
                      <a:pt x="766953" y="575977"/>
                    </a:lnTo>
                    <a:lnTo>
                      <a:pt x="766953" y="575977"/>
                    </a:lnTo>
                    <a:lnTo>
                      <a:pt x="769430" y="575119"/>
                    </a:lnTo>
                    <a:lnTo>
                      <a:pt x="770287" y="574262"/>
                    </a:lnTo>
                    <a:lnTo>
                      <a:pt x="770287" y="573405"/>
                    </a:lnTo>
                    <a:lnTo>
                      <a:pt x="771144" y="566547"/>
                    </a:lnTo>
                    <a:lnTo>
                      <a:pt x="772001" y="564832"/>
                    </a:lnTo>
                    <a:lnTo>
                      <a:pt x="772859" y="563118"/>
                    </a:lnTo>
                    <a:lnTo>
                      <a:pt x="774573" y="562261"/>
                    </a:lnTo>
                    <a:lnTo>
                      <a:pt x="778764" y="559784"/>
                    </a:lnTo>
                    <a:lnTo>
                      <a:pt x="781336" y="554641"/>
                    </a:lnTo>
                    <a:lnTo>
                      <a:pt x="782098" y="552926"/>
                    </a:lnTo>
                    <a:lnTo>
                      <a:pt x="782098" y="549497"/>
                    </a:lnTo>
                    <a:lnTo>
                      <a:pt x="781336" y="546163"/>
                    </a:lnTo>
                    <a:lnTo>
                      <a:pt x="782098" y="541877"/>
                    </a:lnTo>
                    <a:lnTo>
                      <a:pt x="782955" y="539305"/>
                    </a:lnTo>
                    <a:lnTo>
                      <a:pt x="786384" y="534162"/>
                    </a:lnTo>
                    <a:lnTo>
                      <a:pt x="788099" y="532447"/>
                    </a:lnTo>
                    <a:lnTo>
                      <a:pt x="788861" y="532447"/>
                    </a:lnTo>
                    <a:lnTo>
                      <a:pt x="790575" y="532447"/>
                    </a:lnTo>
                    <a:lnTo>
                      <a:pt x="790575" y="533305"/>
                    </a:lnTo>
                    <a:lnTo>
                      <a:pt x="791432" y="535876"/>
                    </a:lnTo>
                    <a:lnTo>
                      <a:pt x="793147" y="536734"/>
                    </a:lnTo>
                    <a:lnTo>
                      <a:pt x="794004" y="536734"/>
                    </a:lnTo>
                    <a:lnTo>
                      <a:pt x="796481" y="535876"/>
                    </a:lnTo>
                    <a:lnTo>
                      <a:pt x="799052" y="534162"/>
                    </a:lnTo>
                    <a:lnTo>
                      <a:pt x="800767" y="533305"/>
                    </a:lnTo>
                    <a:lnTo>
                      <a:pt x="803243" y="532447"/>
                    </a:lnTo>
                    <a:lnTo>
                      <a:pt x="806672" y="530828"/>
                    </a:lnTo>
                    <a:lnTo>
                      <a:pt x="807530" y="530828"/>
                    </a:lnTo>
                    <a:lnTo>
                      <a:pt x="809149" y="530828"/>
                    </a:lnTo>
                    <a:lnTo>
                      <a:pt x="810863" y="532447"/>
                    </a:lnTo>
                    <a:lnTo>
                      <a:pt x="812578" y="536734"/>
                    </a:lnTo>
                    <a:lnTo>
                      <a:pt x="814292" y="537591"/>
                    </a:lnTo>
                    <a:lnTo>
                      <a:pt x="816007" y="537591"/>
                    </a:lnTo>
                    <a:lnTo>
                      <a:pt x="817626" y="535876"/>
                    </a:lnTo>
                    <a:lnTo>
                      <a:pt x="818483" y="535019"/>
                    </a:lnTo>
                    <a:lnTo>
                      <a:pt x="821055" y="533305"/>
                    </a:lnTo>
                    <a:lnTo>
                      <a:pt x="822770" y="532447"/>
                    </a:lnTo>
                    <a:lnTo>
                      <a:pt x="824389" y="529971"/>
                    </a:lnTo>
                    <a:lnTo>
                      <a:pt x="827818" y="528256"/>
                    </a:lnTo>
                    <a:lnTo>
                      <a:pt x="829532" y="527399"/>
                    </a:lnTo>
                    <a:lnTo>
                      <a:pt x="832009" y="526542"/>
                    </a:lnTo>
                    <a:lnTo>
                      <a:pt x="834581" y="526542"/>
                    </a:lnTo>
                    <a:lnTo>
                      <a:pt x="837057" y="525685"/>
                    </a:lnTo>
                    <a:lnTo>
                      <a:pt x="838772" y="523970"/>
                    </a:lnTo>
                    <a:lnTo>
                      <a:pt x="839629" y="523113"/>
                    </a:lnTo>
                    <a:lnTo>
                      <a:pt x="839629" y="521398"/>
                    </a:lnTo>
                    <a:lnTo>
                      <a:pt x="840486" y="519684"/>
                    </a:lnTo>
                    <a:lnTo>
                      <a:pt x="842201" y="517112"/>
                    </a:lnTo>
                    <a:lnTo>
                      <a:pt x="848106" y="512921"/>
                    </a:lnTo>
                    <a:lnTo>
                      <a:pt x="851440" y="512064"/>
                    </a:lnTo>
                    <a:lnTo>
                      <a:pt x="853154" y="510350"/>
                    </a:lnTo>
                    <a:lnTo>
                      <a:pt x="853154" y="508635"/>
                    </a:lnTo>
                    <a:lnTo>
                      <a:pt x="852297" y="506063"/>
                    </a:lnTo>
                    <a:lnTo>
                      <a:pt x="852297" y="504349"/>
                    </a:lnTo>
                    <a:lnTo>
                      <a:pt x="853154" y="503492"/>
                    </a:lnTo>
                    <a:lnTo>
                      <a:pt x="854869" y="500920"/>
                    </a:lnTo>
                    <a:lnTo>
                      <a:pt x="854869" y="496729"/>
                    </a:lnTo>
                    <a:lnTo>
                      <a:pt x="854011" y="492442"/>
                    </a:lnTo>
                    <a:lnTo>
                      <a:pt x="854011" y="489871"/>
                    </a:lnTo>
                    <a:lnTo>
                      <a:pt x="854869" y="488156"/>
                    </a:lnTo>
                    <a:lnTo>
                      <a:pt x="857345" y="487299"/>
                    </a:lnTo>
                    <a:lnTo>
                      <a:pt x="861632" y="485584"/>
                    </a:lnTo>
                    <a:lnTo>
                      <a:pt x="863346" y="484727"/>
                    </a:lnTo>
                    <a:lnTo>
                      <a:pt x="868394" y="480536"/>
                    </a:lnTo>
                    <a:lnTo>
                      <a:pt x="871728" y="477107"/>
                    </a:lnTo>
                    <a:lnTo>
                      <a:pt x="872585" y="474535"/>
                    </a:lnTo>
                    <a:lnTo>
                      <a:pt x="870966" y="470249"/>
                    </a:lnTo>
                    <a:lnTo>
                      <a:pt x="871728" y="468630"/>
                    </a:lnTo>
                    <a:lnTo>
                      <a:pt x="872585" y="465201"/>
                    </a:lnTo>
                    <a:lnTo>
                      <a:pt x="875157" y="463486"/>
                    </a:lnTo>
                    <a:lnTo>
                      <a:pt x="881062" y="461772"/>
                    </a:lnTo>
                    <a:lnTo>
                      <a:pt x="886111" y="458343"/>
                    </a:lnTo>
                    <a:lnTo>
                      <a:pt x="888682" y="458343"/>
                    </a:lnTo>
                    <a:lnTo>
                      <a:pt x="890397" y="458343"/>
                    </a:lnTo>
                    <a:lnTo>
                      <a:pt x="892874" y="459200"/>
                    </a:lnTo>
                    <a:lnTo>
                      <a:pt x="893731" y="456629"/>
                    </a:lnTo>
                    <a:lnTo>
                      <a:pt x="895445" y="452438"/>
                    </a:lnTo>
                    <a:lnTo>
                      <a:pt x="895445" y="449866"/>
                    </a:lnTo>
                    <a:lnTo>
                      <a:pt x="896303" y="445580"/>
                    </a:lnTo>
                    <a:lnTo>
                      <a:pt x="899636" y="435388"/>
                    </a:lnTo>
                    <a:lnTo>
                      <a:pt x="898779" y="433673"/>
                    </a:lnTo>
                    <a:lnTo>
                      <a:pt x="898017" y="431101"/>
                    </a:lnTo>
                    <a:lnTo>
                      <a:pt x="893731" y="428530"/>
                    </a:lnTo>
                    <a:lnTo>
                      <a:pt x="892016" y="426815"/>
                    </a:lnTo>
                    <a:lnTo>
                      <a:pt x="891254" y="425958"/>
                    </a:lnTo>
                    <a:lnTo>
                      <a:pt x="889540" y="425958"/>
                    </a:lnTo>
                    <a:lnTo>
                      <a:pt x="883634" y="426815"/>
                    </a:lnTo>
                    <a:lnTo>
                      <a:pt x="882777" y="425958"/>
                    </a:lnTo>
                    <a:lnTo>
                      <a:pt x="881920" y="425101"/>
                    </a:lnTo>
                    <a:lnTo>
                      <a:pt x="881062" y="423386"/>
                    </a:lnTo>
                    <a:lnTo>
                      <a:pt x="880205" y="423386"/>
                    </a:lnTo>
                    <a:lnTo>
                      <a:pt x="879348" y="423386"/>
                    </a:lnTo>
                    <a:lnTo>
                      <a:pt x="877729" y="422529"/>
                    </a:lnTo>
                    <a:lnTo>
                      <a:pt x="876014" y="420052"/>
                    </a:lnTo>
                    <a:lnTo>
                      <a:pt x="873443" y="414052"/>
                    </a:lnTo>
                    <a:lnTo>
                      <a:pt x="870109" y="410623"/>
                    </a:lnTo>
                    <a:lnTo>
                      <a:pt x="868394" y="409765"/>
                    </a:lnTo>
                    <a:lnTo>
                      <a:pt x="863346" y="409765"/>
                    </a:lnTo>
                    <a:lnTo>
                      <a:pt x="856583" y="406432"/>
                    </a:lnTo>
                    <a:lnTo>
                      <a:pt x="854011" y="405575"/>
                    </a:lnTo>
                    <a:lnTo>
                      <a:pt x="852297" y="405575"/>
                    </a:lnTo>
                    <a:lnTo>
                      <a:pt x="850582" y="405575"/>
                    </a:lnTo>
                    <a:lnTo>
                      <a:pt x="848963" y="406432"/>
                    </a:lnTo>
                    <a:lnTo>
                      <a:pt x="847249" y="408051"/>
                    </a:lnTo>
                    <a:lnTo>
                      <a:pt x="843820" y="409765"/>
                    </a:lnTo>
                    <a:lnTo>
                      <a:pt x="840486" y="411480"/>
                    </a:lnTo>
                    <a:lnTo>
                      <a:pt x="839629" y="412337"/>
                    </a:lnTo>
                    <a:lnTo>
                      <a:pt x="837057" y="411480"/>
                    </a:lnTo>
                    <a:lnTo>
                      <a:pt x="836295" y="410623"/>
                    </a:lnTo>
                    <a:lnTo>
                      <a:pt x="836295" y="408051"/>
                    </a:lnTo>
                    <a:lnTo>
                      <a:pt x="834581" y="406432"/>
                    </a:lnTo>
                    <a:lnTo>
                      <a:pt x="833723" y="403860"/>
                    </a:lnTo>
                    <a:lnTo>
                      <a:pt x="833723" y="403003"/>
                    </a:lnTo>
                    <a:lnTo>
                      <a:pt x="833723" y="402146"/>
                    </a:lnTo>
                    <a:lnTo>
                      <a:pt x="834581" y="401288"/>
                    </a:lnTo>
                    <a:lnTo>
                      <a:pt x="835438" y="400431"/>
                    </a:lnTo>
                    <a:lnTo>
                      <a:pt x="836295" y="399574"/>
                    </a:lnTo>
                    <a:lnTo>
                      <a:pt x="836295" y="395288"/>
                    </a:lnTo>
                    <a:lnTo>
                      <a:pt x="837057" y="393573"/>
                    </a:lnTo>
                    <a:lnTo>
                      <a:pt x="839629" y="392716"/>
                    </a:lnTo>
                    <a:lnTo>
                      <a:pt x="840486" y="392716"/>
                    </a:lnTo>
                    <a:lnTo>
                      <a:pt x="842201" y="390239"/>
                    </a:lnTo>
                    <a:lnTo>
                      <a:pt x="843058" y="388525"/>
                    </a:lnTo>
                    <a:lnTo>
                      <a:pt x="843820" y="387667"/>
                    </a:lnTo>
                    <a:lnTo>
                      <a:pt x="843820" y="385096"/>
                    </a:lnTo>
                    <a:lnTo>
                      <a:pt x="843058" y="383381"/>
                    </a:lnTo>
                    <a:lnTo>
                      <a:pt x="841343" y="380809"/>
                    </a:lnTo>
                    <a:lnTo>
                      <a:pt x="838772" y="373189"/>
                    </a:lnTo>
                    <a:lnTo>
                      <a:pt x="837057" y="371475"/>
                    </a:lnTo>
                    <a:lnTo>
                      <a:pt x="837057" y="369760"/>
                    </a:lnTo>
                    <a:lnTo>
                      <a:pt x="837914" y="368903"/>
                    </a:lnTo>
                    <a:lnTo>
                      <a:pt x="837914" y="367189"/>
                    </a:lnTo>
                    <a:lnTo>
                      <a:pt x="836295" y="366331"/>
                    </a:lnTo>
                    <a:lnTo>
                      <a:pt x="838772" y="363760"/>
                    </a:lnTo>
                    <a:lnTo>
                      <a:pt x="843820" y="363760"/>
                    </a:lnTo>
                    <a:lnTo>
                      <a:pt x="845534" y="365474"/>
                    </a:lnTo>
                    <a:lnTo>
                      <a:pt x="850582" y="371475"/>
                    </a:lnTo>
                    <a:lnTo>
                      <a:pt x="854011" y="374047"/>
                    </a:lnTo>
                    <a:lnTo>
                      <a:pt x="857345" y="374904"/>
                    </a:lnTo>
                    <a:lnTo>
                      <a:pt x="860774" y="374904"/>
                    </a:lnTo>
                    <a:lnTo>
                      <a:pt x="863346" y="373189"/>
                    </a:lnTo>
                    <a:lnTo>
                      <a:pt x="868394" y="370618"/>
                    </a:lnTo>
                    <a:lnTo>
                      <a:pt x="871728" y="368903"/>
                    </a:lnTo>
                    <a:lnTo>
                      <a:pt x="879348" y="369760"/>
                    </a:lnTo>
                    <a:lnTo>
                      <a:pt x="881920" y="370618"/>
                    </a:lnTo>
                    <a:lnTo>
                      <a:pt x="886968" y="374047"/>
                    </a:lnTo>
                    <a:lnTo>
                      <a:pt x="890397" y="374047"/>
                    </a:lnTo>
                    <a:lnTo>
                      <a:pt x="900494" y="374047"/>
                    </a:lnTo>
                    <a:lnTo>
                      <a:pt x="905542" y="375761"/>
                    </a:lnTo>
                    <a:lnTo>
                      <a:pt x="907256" y="375761"/>
                    </a:lnTo>
                    <a:lnTo>
                      <a:pt x="924211" y="375761"/>
                    </a:lnTo>
                    <a:lnTo>
                      <a:pt x="933450" y="377380"/>
                    </a:lnTo>
                    <a:lnTo>
                      <a:pt x="936879" y="376523"/>
                    </a:lnTo>
                    <a:lnTo>
                      <a:pt x="938594" y="375761"/>
                    </a:lnTo>
                    <a:lnTo>
                      <a:pt x="939451" y="374904"/>
                    </a:lnTo>
                    <a:lnTo>
                      <a:pt x="941070" y="373189"/>
                    </a:lnTo>
                    <a:lnTo>
                      <a:pt x="946214" y="371475"/>
                    </a:lnTo>
                    <a:lnTo>
                      <a:pt x="949547" y="369760"/>
                    </a:lnTo>
                    <a:lnTo>
                      <a:pt x="950405" y="368903"/>
                    </a:lnTo>
                    <a:lnTo>
                      <a:pt x="950405" y="367189"/>
                    </a:lnTo>
                    <a:lnTo>
                      <a:pt x="950405" y="365474"/>
                    </a:lnTo>
                    <a:lnTo>
                      <a:pt x="951262" y="363760"/>
                    </a:lnTo>
                    <a:lnTo>
                      <a:pt x="952119" y="362045"/>
                    </a:lnTo>
                    <a:lnTo>
                      <a:pt x="954595" y="361188"/>
                    </a:lnTo>
                    <a:lnTo>
                      <a:pt x="958024" y="361188"/>
                    </a:lnTo>
                    <a:lnTo>
                      <a:pt x="959739" y="360426"/>
                    </a:lnTo>
                    <a:lnTo>
                      <a:pt x="963073" y="358711"/>
                    </a:lnTo>
                    <a:lnTo>
                      <a:pt x="964787" y="356997"/>
                    </a:lnTo>
                    <a:lnTo>
                      <a:pt x="964787" y="356140"/>
                    </a:lnTo>
                    <a:lnTo>
                      <a:pt x="964787" y="354425"/>
                    </a:lnTo>
                    <a:lnTo>
                      <a:pt x="965645" y="352711"/>
                    </a:lnTo>
                    <a:lnTo>
                      <a:pt x="965645" y="352711"/>
                    </a:lnTo>
                    <a:lnTo>
                      <a:pt x="966502" y="350139"/>
                    </a:lnTo>
                    <a:lnTo>
                      <a:pt x="963073" y="345091"/>
                    </a:lnTo>
                    <a:lnTo>
                      <a:pt x="961358" y="342519"/>
                    </a:lnTo>
                    <a:lnTo>
                      <a:pt x="959739" y="342519"/>
                    </a:lnTo>
                    <a:lnTo>
                      <a:pt x="959739" y="341662"/>
                    </a:lnTo>
                    <a:lnTo>
                      <a:pt x="958882" y="340805"/>
                    </a:lnTo>
                    <a:lnTo>
                      <a:pt x="959739" y="339947"/>
                    </a:lnTo>
                    <a:lnTo>
                      <a:pt x="959739" y="339090"/>
                    </a:lnTo>
                    <a:lnTo>
                      <a:pt x="959739" y="336518"/>
                    </a:lnTo>
                    <a:lnTo>
                      <a:pt x="959739" y="335661"/>
                    </a:lnTo>
                    <a:lnTo>
                      <a:pt x="958882" y="334804"/>
                    </a:lnTo>
                    <a:lnTo>
                      <a:pt x="958024" y="333946"/>
                    </a:lnTo>
                    <a:lnTo>
                      <a:pt x="955453" y="333089"/>
                    </a:lnTo>
                    <a:lnTo>
                      <a:pt x="954595" y="331375"/>
                    </a:lnTo>
                    <a:lnTo>
                      <a:pt x="953834" y="329660"/>
                    </a:lnTo>
                    <a:lnTo>
                      <a:pt x="952976" y="328041"/>
                    </a:lnTo>
                    <a:lnTo>
                      <a:pt x="952976" y="327184"/>
                    </a:lnTo>
                    <a:lnTo>
                      <a:pt x="953834" y="327184"/>
                    </a:lnTo>
                    <a:lnTo>
                      <a:pt x="954595" y="326326"/>
                    </a:lnTo>
                    <a:lnTo>
                      <a:pt x="956310" y="326326"/>
                    </a:lnTo>
                    <a:lnTo>
                      <a:pt x="958024" y="325469"/>
                    </a:lnTo>
                    <a:lnTo>
                      <a:pt x="958882" y="323755"/>
                    </a:lnTo>
                    <a:lnTo>
                      <a:pt x="959739" y="316039"/>
                    </a:lnTo>
                    <a:lnTo>
                      <a:pt x="962215" y="313563"/>
                    </a:lnTo>
                    <a:lnTo>
                      <a:pt x="962215" y="311848"/>
                    </a:lnTo>
                    <a:lnTo>
                      <a:pt x="963073" y="310134"/>
                    </a:lnTo>
                    <a:lnTo>
                      <a:pt x="963073" y="303276"/>
                    </a:lnTo>
                    <a:lnTo>
                      <a:pt x="963073" y="301561"/>
                    </a:lnTo>
                    <a:lnTo>
                      <a:pt x="961358" y="300704"/>
                    </a:lnTo>
                    <a:lnTo>
                      <a:pt x="959739" y="299847"/>
                    </a:lnTo>
                    <a:lnTo>
                      <a:pt x="959739" y="298990"/>
                    </a:lnTo>
                    <a:lnTo>
                      <a:pt x="958882" y="298228"/>
                    </a:lnTo>
                    <a:lnTo>
                      <a:pt x="958882" y="296513"/>
                    </a:lnTo>
                    <a:lnTo>
                      <a:pt x="960596" y="291370"/>
                    </a:lnTo>
                    <a:lnTo>
                      <a:pt x="960596" y="288798"/>
                    </a:lnTo>
                    <a:lnTo>
                      <a:pt x="959739" y="286226"/>
                    </a:lnTo>
                    <a:lnTo>
                      <a:pt x="959739" y="283655"/>
                    </a:lnTo>
                    <a:lnTo>
                      <a:pt x="959739" y="282892"/>
                    </a:lnTo>
                    <a:lnTo>
                      <a:pt x="959739" y="282035"/>
                    </a:lnTo>
                    <a:lnTo>
                      <a:pt x="960596" y="281178"/>
                    </a:lnTo>
                    <a:lnTo>
                      <a:pt x="961358" y="281178"/>
                    </a:lnTo>
                    <a:lnTo>
                      <a:pt x="961358" y="281178"/>
                    </a:lnTo>
                    <a:lnTo>
                      <a:pt x="964787" y="282035"/>
                    </a:lnTo>
                    <a:lnTo>
                      <a:pt x="966502" y="282035"/>
                    </a:lnTo>
                    <a:lnTo>
                      <a:pt x="967359" y="281178"/>
                    </a:lnTo>
                    <a:lnTo>
                      <a:pt x="968121" y="279463"/>
                    </a:lnTo>
                    <a:lnTo>
                      <a:pt x="968978" y="278606"/>
                    </a:lnTo>
                    <a:lnTo>
                      <a:pt x="968121" y="277749"/>
                    </a:lnTo>
                    <a:lnTo>
                      <a:pt x="968121" y="277749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41" name="Freeform: Shape 145">
                <a:extLst>
                  <a:ext uri="{FF2B5EF4-FFF2-40B4-BE49-F238E27FC236}">
                    <a16:creationId xmlns:a16="http://schemas.microsoft.com/office/drawing/2014/main" id="{C8D926FF-AD12-473F-B407-A81B77A85F96}"/>
                  </a:ext>
                </a:extLst>
              </p:cNvPr>
              <p:cNvSpPr/>
              <p:nvPr/>
            </p:nvSpPr>
            <p:spPr>
              <a:xfrm>
                <a:off x="5441822" y="2670334"/>
                <a:ext cx="47625" cy="47625"/>
              </a:xfrm>
              <a:custGeom>
                <a:avLst/>
                <a:gdLst>
                  <a:gd name="connsiteX0" fmla="*/ 55626 w 47625"/>
                  <a:gd name="connsiteY0" fmla="*/ 31242 h 47625"/>
                  <a:gd name="connsiteX1" fmla="*/ 55626 w 47625"/>
                  <a:gd name="connsiteY1" fmla="*/ 29527 h 47625"/>
                  <a:gd name="connsiteX2" fmla="*/ 53912 w 47625"/>
                  <a:gd name="connsiteY2" fmla="*/ 25241 h 47625"/>
                  <a:gd name="connsiteX3" fmla="*/ 53912 w 47625"/>
                  <a:gd name="connsiteY3" fmla="*/ 24479 h 47625"/>
                  <a:gd name="connsiteX4" fmla="*/ 53912 w 47625"/>
                  <a:gd name="connsiteY4" fmla="*/ 23622 h 47625"/>
                  <a:gd name="connsiteX5" fmla="*/ 53054 w 47625"/>
                  <a:gd name="connsiteY5" fmla="*/ 21908 h 47625"/>
                  <a:gd name="connsiteX6" fmla="*/ 53054 w 47625"/>
                  <a:gd name="connsiteY6" fmla="*/ 20193 h 47625"/>
                  <a:gd name="connsiteX7" fmla="*/ 43625 w 47625"/>
                  <a:gd name="connsiteY7" fmla="*/ 12668 h 47625"/>
                  <a:gd name="connsiteX8" fmla="*/ 42767 w 47625"/>
                  <a:gd name="connsiteY8" fmla="*/ 10097 h 47625"/>
                  <a:gd name="connsiteX9" fmla="*/ 41053 w 47625"/>
                  <a:gd name="connsiteY9" fmla="*/ 7525 h 47625"/>
                  <a:gd name="connsiteX10" fmla="*/ 42767 w 47625"/>
                  <a:gd name="connsiteY10" fmla="*/ 5048 h 47625"/>
                  <a:gd name="connsiteX11" fmla="*/ 41053 w 47625"/>
                  <a:gd name="connsiteY11" fmla="*/ 857 h 47625"/>
                  <a:gd name="connsiteX12" fmla="*/ 35909 w 47625"/>
                  <a:gd name="connsiteY12" fmla="*/ 2477 h 47625"/>
                  <a:gd name="connsiteX13" fmla="*/ 35052 w 47625"/>
                  <a:gd name="connsiteY13" fmla="*/ 2477 h 47625"/>
                  <a:gd name="connsiteX14" fmla="*/ 33338 w 47625"/>
                  <a:gd name="connsiteY14" fmla="*/ 2477 h 47625"/>
                  <a:gd name="connsiteX15" fmla="*/ 32480 w 47625"/>
                  <a:gd name="connsiteY15" fmla="*/ 1619 h 47625"/>
                  <a:gd name="connsiteX16" fmla="*/ 27432 w 47625"/>
                  <a:gd name="connsiteY16" fmla="*/ 0 h 47625"/>
                  <a:gd name="connsiteX17" fmla="*/ 25717 w 47625"/>
                  <a:gd name="connsiteY17" fmla="*/ 0 h 47625"/>
                  <a:gd name="connsiteX18" fmla="*/ 24860 w 47625"/>
                  <a:gd name="connsiteY18" fmla="*/ 1619 h 47625"/>
                  <a:gd name="connsiteX19" fmla="*/ 24860 w 47625"/>
                  <a:gd name="connsiteY19" fmla="*/ 2477 h 47625"/>
                  <a:gd name="connsiteX20" fmla="*/ 22289 w 47625"/>
                  <a:gd name="connsiteY20" fmla="*/ 4191 h 47625"/>
                  <a:gd name="connsiteX21" fmla="*/ 18860 w 47625"/>
                  <a:gd name="connsiteY21" fmla="*/ 3334 h 47625"/>
                  <a:gd name="connsiteX22" fmla="*/ 16288 w 47625"/>
                  <a:gd name="connsiteY22" fmla="*/ 5048 h 47625"/>
                  <a:gd name="connsiteX23" fmla="*/ 13716 w 47625"/>
                  <a:gd name="connsiteY23" fmla="*/ 5906 h 47625"/>
                  <a:gd name="connsiteX24" fmla="*/ 12002 w 47625"/>
                  <a:gd name="connsiteY24" fmla="*/ 7525 h 47625"/>
                  <a:gd name="connsiteX25" fmla="*/ 11144 w 47625"/>
                  <a:gd name="connsiteY25" fmla="*/ 8382 h 47625"/>
                  <a:gd name="connsiteX26" fmla="*/ 11144 w 47625"/>
                  <a:gd name="connsiteY26" fmla="*/ 10097 h 47625"/>
                  <a:gd name="connsiteX27" fmla="*/ 11144 w 47625"/>
                  <a:gd name="connsiteY27" fmla="*/ 11811 h 47625"/>
                  <a:gd name="connsiteX28" fmla="*/ 12002 w 47625"/>
                  <a:gd name="connsiteY28" fmla="*/ 18574 h 47625"/>
                  <a:gd name="connsiteX29" fmla="*/ 11144 w 47625"/>
                  <a:gd name="connsiteY29" fmla="*/ 20193 h 47625"/>
                  <a:gd name="connsiteX30" fmla="*/ 12002 w 47625"/>
                  <a:gd name="connsiteY30" fmla="*/ 21050 h 47625"/>
                  <a:gd name="connsiteX31" fmla="*/ 12002 w 47625"/>
                  <a:gd name="connsiteY31" fmla="*/ 21908 h 47625"/>
                  <a:gd name="connsiteX32" fmla="*/ 12859 w 47625"/>
                  <a:gd name="connsiteY32" fmla="*/ 23622 h 47625"/>
                  <a:gd name="connsiteX33" fmla="*/ 12002 w 47625"/>
                  <a:gd name="connsiteY33" fmla="*/ 25241 h 47625"/>
                  <a:gd name="connsiteX34" fmla="*/ 9430 w 47625"/>
                  <a:gd name="connsiteY34" fmla="*/ 26956 h 47625"/>
                  <a:gd name="connsiteX35" fmla="*/ 9430 w 47625"/>
                  <a:gd name="connsiteY35" fmla="*/ 27813 h 47625"/>
                  <a:gd name="connsiteX36" fmla="*/ 8573 w 47625"/>
                  <a:gd name="connsiteY36" fmla="*/ 30385 h 47625"/>
                  <a:gd name="connsiteX37" fmla="*/ 8573 w 47625"/>
                  <a:gd name="connsiteY37" fmla="*/ 31242 h 47625"/>
                  <a:gd name="connsiteX38" fmla="*/ 7715 w 47625"/>
                  <a:gd name="connsiteY38" fmla="*/ 31242 h 47625"/>
                  <a:gd name="connsiteX39" fmla="*/ 5144 w 47625"/>
                  <a:gd name="connsiteY39" fmla="*/ 31242 h 47625"/>
                  <a:gd name="connsiteX40" fmla="*/ 4286 w 47625"/>
                  <a:gd name="connsiteY40" fmla="*/ 32004 h 47625"/>
                  <a:gd name="connsiteX41" fmla="*/ 3429 w 47625"/>
                  <a:gd name="connsiteY41" fmla="*/ 32861 h 47625"/>
                  <a:gd name="connsiteX42" fmla="*/ 2572 w 47625"/>
                  <a:gd name="connsiteY42" fmla="*/ 34576 h 47625"/>
                  <a:gd name="connsiteX43" fmla="*/ 0 w 47625"/>
                  <a:gd name="connsiteY43" fmla="*/ 37148 h 47625"/>
                  <a:gd name="connsiteX44" fmla="*/ 0 w 47625"/>
                  <a:gd name="connsiteY44" fmla="*/ 37910 h 47625"/>
                  <a:gd name="connsiteX45" fmla="*/ 0 w 47625"/>
                  <a:gd name="connsiteY45" fmla="*/ 38767 h 47625"/>
                  <a:gd name="connsiteX46" fmla="*/ 857 w 47625"/>
                  <a:gd name="connsiteY46" fmla="*/ 40481 h 47625"/>
                  <a:gd name="connsiteX47" fmla="*/ 2572 w 47625"/>
                  <a:gd name="connsiteY47" fmla="*/ 41339 h 47625"/>
                  <a:gd name="connsiteX48" fmla="*/ 3429 w 47625"/>
                  <a:gd name="connsiteY48" fmla="*/ 42196 h 47625"/>
                  <a:gd name="connsiteX49" fmla="*/ 3429 w 47625"/>
                  <a:gd name="connsiteY49" fmla="*/ 43053 h 47625"/>
                  <a:gd name="connsiteX50" fmla="*/ 4286 w 47625"/>
                  <a:gd name="connsiteY50" fmla="*/ 43815 h 47625"/>
                  <a:gd name="connsiteX51" fmla="*/ 4286 w 47625"/>
                  <a:gd name="connsiteY51" fmla="*/ 44672 h 47625"/>
                  <a:gd name="connsiteX52" fmla="*/ 4286 w 47625"/>
                  <a:gd name="connsiteY52" fmla="*/ 45529 h 47625"/>
                  <a:gd name="connsiteX53" fmla="*/ 7715 w 47625"/>
                  <a:gd name="connsiteY53" fmla="*/ 44672 h 47625"/>
                  <a:gd name="connsiteX54" fmla="*/ 14573 w 47625"/>
                  <a:gd name="connsiteY54" fmla="*/ 43815 h 47625"/>
                  <a:gd name="connsiteX55" fmla="*/ 16288 w 47625"/>
                  <a:gd name="connsiteY55" fmla="*/ 43815 h 47625"/>
                  <a:gd name="connsiteX56" fmla="*/ 17145 w 47625"/>
                  <a:gd name="connsiteY56" fmla="*/ 43053 h 47625"/>
                  <a:gd name="connsiteX57" fmla="*/ 17145 w 47625"/>
                  <a:gd name="connsiteY57" fmla="*/ 41339 h 47625"/>
                  <a:gd name="connsiteX58" fmla="*/ 17145 w 47625"/>
                  <a:gd name="connsiteY58" fmla="*/ 40481 h 47625"/>
                  <a:gd name="connsiteX59" fmla="*/ 18002 w 47625"/>
                  <a:gd name="connsiteY59" fmla="*/ 40481 h 47625"/>
                  <a:gd name="connsiteX60" fmla="*/ 18860 w 47625"/>
                  <a:gd name="connsiteY60" fmla="*/ 40481 h 47625"/>
                  <a:gd name="connsiteX61" fmla="*/ 26575 w 47625"/>
                  <a:gd name="connsiteY61" fmla="*/ 44672 h 47625"/>
                  <a:gd name="connsiteX62" fmla="*/ 26575 w 47625"/>
                  <a:gd name="connsiteY62" fmla="*/ 44672 h 47625"/>
                  <a:gd name="connsiteX63" fmla="*/ 27432 w 47625"/>
                  <a:gd name="connsiteY63" fmla="*/ 45529 h 47625"/>
                  <a:gd name="connsiteX64" fmla="*/ 28289 w 47625"/>
                  <a:gd name="connsiteY64" fmla="*/ 48958 h 47625"/>
                  <a:gd name="connsiteX65" fmla="*/ 29146 w 47625"/>
                  <a:gd name="connsiteY65" fmla="*/ 49721 h 47625"/>
                  <a:gd name="connsiteX66" fmla="*/ 30004 w 47625"/>
                  <a:gd name="connsiteY66" fmla="*/ 50578 h 47625"/>
                  <a:gd name="connsiteX67" fmla="*/ 30861 w 47625"/>
                  <a:gd name="connsiteY67" fmla="*/ 52292 h 47625"/>
                  <a:gd name="connsiteX68" fmla="*/ 33338 w 47625"/>
                  <a:gd name="connsiteY68" fmla="*/ 53150 h 47625"/>
                  <a:gd name="connsiteX69" fmla="*/ 35052 w 47625"/>
                  <a:gd name="connsiteY69" fmla="*/ 54864 h 47625"/>
                  <a:gd name="connsiteX70" fmla="*/ 40196 w 47625"/>
                  <a:gd name="connsiteY70" fmla="*/ 56483 h 47625"/>
                  <a:gd name="connsiteX71" fmla="*/ 43625 w 47625"/>
                  <a:gd name="connsiteY71" fmla="*/ 55626 h 47625"/>
                  <a:gd name="connsiteX72" fmla="*/ 44482 w 47625"/>
                  <a:gd name="connsiteY72" fmla="*/ 54864 h 47625"/>
                  <a:gd name="connsiteX73" fmla="*/ 45339 w 47625"/>
                  <a:gd name="connsiteY73" fmla="*/ 54864 h 47625"/>
                  <a:gd name="connsiteX74" fmla="*/ 45339 w 47625"/>
                  <a:gd name="connsiteY74" fmla="*/ 54007 h 47625"/>
                  <a:gd name="connsiteX75" fmla="*/ 45339 w 47625"/>
                  <a:gd name="connsiteY75" fmla="*/ 53150 h 47625"/>
                  <a:gd name="connsiteX76" fmla="*/ 44482 w 47625"/>
                  <a:gd name="connsiteY76" fmla="*/ 52292 h 47625"/>
                  <a:gd name="connsiteX77" fmla="*/ 43625 w 47625"/>
                  <a:gd name="connsiteY77" fmla="*/ 51435 h 47625"/>
                  <a:gd name="connsiteX78" fmla="*/ 43625 w 47625"/>
                  <a:gd name="connsiteY78" fmla="*/ 50578 h 47625"/>
                  <a:gd name="connsiteX79" fmla="*/ 43625 w 47625"/>
                  <a:gd name="connsiteY79" fmla="*/ 49721 h 47625"/>
                  <a:gd name="connsiteX80" fmla="*/ 45339 w 47625"/>
                  <a:gd name="connsiteY80" fmla="*/ 48101 h 47625"/>
                  <a:gd name="connsiteX81" fmla="*/ 47054 w 47625"/>
                  <a:gd name="connsiteY81" fmla="*/ 47244 h 47625"/>
                  <a:gd name="connsiteX82" fmla="*/ 48768 w 47625"/>
                  <a:gd name="connsiteY82" fmla="*/ 46387 h 47625"/>
                  <a:gd name="connsiteX83" fmla="*/ 54769 w 47625"/>
                  <a:gd name="connsiteY83" fmla="*/ 45529 h 47625"/>
                  <a:gd name="connsiteX84" fmla="*/ 52197 w 47625"/>
                  <a:gd name="connsiteY84" fmla="*/ 40481 h 47625"/>
                  <a:gd name="connsiteX85" fmla="*/ 51340 w 47625"/>
                  <a:gd name="connsiteY85" fmla="*/ 39624 h 47625"/>
                  <a:gd name="connsiteX86" fmla="*/ 52197 w 47625"/>
                  <a:gd name="connsiteY86" fmla="*/ 37910 h 47625"/>
                  <a:gd name="connsiteX87" fmla="*/ 52197 w 47625"/>
                  <a:gd name="connsiteY87" fmla="*/ 37148 h 47625"/>
                  <a:gd name="connsiteX88" fmla="*/ 53054 w 47625"/>
                  <a:gd name="connsiteY88" fmla="*/ 36290 h 47625"/>
                  <a:gd name="connsiteX89" fmla="*/ 54769 w 47625"/>
                  <a:gd name="connsiteY89" fmla="*/ 34576 h 47625"/>
                  <a:gd name="connsiteX90" fmla="*/ 55626 w 47625"/>
                  <a:gd name="connsiteY90" fmla="*/ 33719 h 47625"/>
                  <a:gd name="connsiteX91" fmla="*/ 55626 w 47625"/>
                  <a:gd name="connsiteY91" fmla="*/ 32861 h 47625"/>
                  <a:gd name="connsiteX92" fmla="*/ 56483 w 47625"/>
                  <a:gd name="connsiteY92" fmla="*/ 32004 h 47625"/>
                  <a:gd name="connsiteX93" fmla="*/ 55626 w 47625"/>
                  <a:gd name="connsiteY93" fmla="*/ 31242 h 47625"/>
                  <a:gd name="connsiteX94" fmla="*/ 55626 w 47625"/>
                  <a:gd name="connsiteY94" fmla="*/ 31242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</a:cxnLst>
                <a:rect l="l" t="t" r="r" b="b"/>
                <a:pathLst>
                  <a:path w="47625" h="47625">
                    <a:moveTo>
                      <a:pt x="55626" y="31242"/>
                    </a:moveTo>
                    <a:lnTo>
                      <a:pt x="55626" y="29527"/>
                    </a:lnTo>
                    <a:lnTo>
                      <a:pt x="53912" y="25241"/>
                    </a:lnTo>
                    <a:lnTo>
                      <a:pt x="53912" y="24479"/>
                    </a:lnTo>
                    <a:lnTo>
                      <a:pt x="53912" y="23622"/>
                    </a:lnTo>
                    <a:lnTo>
                      <a:pt x="53054" y="21908"/>
                    </a:lnTo>
                    <a:lnTo>
                      <a:pt x="53054" y="20193"/>
                    </a:lnTo>
                    <a:lnTo>
                      <a:pt x="43625" y="12668"/>
                    </a:lnTo>
                    <a:lnTo>
                      <a:pt x="42767" y="10097"/>
                    </a:lnTo>
                    <a:lnTo>
                      <a:pt x="41053" y="7525"/>
                    </a:lnTo>
                    <a:lnTo>
                      <a:pt x="42767" y="5048"/>
                    </a:lnTo>
                    <a:lnTo>
                      <a:pt x="41053" y="857"/>
                    </a:lnTo>
                    <a:lnTo>
                      <a:pt x="35909" y="2477"/>
                    </a:lnTo>
                    <a:lnTo>
                      <a:pt x="35052" y="2477"/>
                    </a:lnTo>
                    <a:lnTo>
                      <a:pt x="33338" y="2477"/>
                    </a:lnTo>
                    <a:lnTo>
                      <a:pt x="32480" y="1619"/>
                    </a:lnTo>
                    <a:lnTo>
                      <a:pt x="27432" y="0"/>
                    </a:lnTo>
                    <a:lnTo>
                      <a:pt x="25717" y="0"/>
                    </a:lnTo>
                    <a:lnTo>
                      <a:pt x="24860" y="1619"/>
                    </a:lnTo>
                    <a:lnTo>
                      <a:pt x="24860" y="2477"/>
                    </a:lnTo>
                    <a:lnTo>
                      <a:pt x="22289" y="4191"/>
                    </a:lnTo>
                    <a:lnTo>
                      <a:pt x="18860" y="3334"/>
                    </a:lnTo>
                    <a:lnTo>
                      <a:pt x="16288" y="5048"/>
                    </a:lnTo>
                    <a:lnTo>
                      <a:pt x="13716" y="5906"/>
                    </a:lnTo>
                    <a:lnTo>
                      <a:pt x="12002" y="7525"/>
                    </a:lnTo>
                    <a:lnTo>
                      <a:pt x="11144" y="8382"/>
                    </a:lnTo>
                    <a:lnTo>
                      <a:pt x="11144" y="10097"/>
                    </a:lnTo>
                    <a:lnTo>
                      <a:pt x="11144" y="11811"/>
                    </a:lnTo>
                    <a:lnTo>
                      <a:pt x="12002" y="18574"/>
                    </a:lnTo>
                    <a:lnTo>
                      <a:pt x="11144" y="20193"/>
                    </a:lnTo>
                    <a:lnTo>
                      <a:pt x="12002" y="21050"/>
                    </a:lnTo>
                    <a:lnTo>
                      <a:pt x="12002" y="21908"/>
                    </a:lnTo>
                    <a:lnTo>
                      <a:pt x="12859" y="23622"/>
                    </a:lnTo>
                    <a:lnTo>
                      <a:pt x="12002" y="25241"/>
                    </a:lnTo>
                    <a:lnTo>
                      <a:pt x="9430" y="26956"/>
                    </a:lnTo>
                    <a:lnTo>
                      <a:pt x="9430" y="27813"/>
                    </a:lnTo>
                    <a:lnTo>
                      <a:pt x="8573" y="30385"/>
                    </a:lnTo>
                    <a:lnTo>
                      <a:pt x="8573" y="31242"/>
                    </a:lnTo>
                    <a:lnTo>
                      <a:pt x="7715" y="31242"/>
                    </a:lnTo>
                    <a:lnTo>
                      <a:pt x="5144" y="31242"/>
                    </a:lnTo>
                    <a:lnTo>
                      <a:pt x="4286" y="32004"/>
                    </a:lnTo>
                    <a:lnTo>
                      <a:pt x="3429" y="32861"/>
                    </a:lnTo>
                    <a:lnTo>
                      <a:pt x="2572" y="34576"/>
                    </a:lnTo>
                    <a:lnTo>
                      <a:pt x="0" y="37148"/>
                    </a:lnTo>
                    <a:lnTo>
                      <a:pt x="0" y="37910"/>
                    </a:lnTo>
                    <a:lnTo>
                      <a:pt x="0" y="38767"/>
                    </a:lnTo>
                    <a:lnTo>
                      <a:pt x="857" y="40481"/>
                    </a:lnTo>
                    <a:lnTo>
                      <a:pt x="2572" y="41339"/>
                    </a:lnTo>
                    <a:lnTo>
                      <a:pt x="3429" y="42196"/>
                    </a:lnTo>
                    <a:lnTo>
                      <a:pt x="3429" y="43053"/>
                    </a:lnTo>
                    <a:lnTo>
                      <a:pt x="4286" y="43815"/>
                    </a:lnTo>
                    <a:lnTo>
                      <a:pt x="4286" y="44672"/>
                    </a:lnTo>
                    <a:lnTo>
                      <a:pt x="4286" y="45529"/>
                    </a:lnTo>
                    <a:lnTo>
                      <a:pt x="7715" y="44672"/>
                    </a:lnTo>
                    <a:lnTo>
                      <a:pt x="14573" y="43815"/>
                    </a:lnTo>
                    <a:lnTo>
                      <a:pt x="16288" y="43815"/>
                    </a:lnTo>
                    <a:lnTo>
                      <a:pt x="17145" y="43053"/>
                    </a:lnTo>
                    <a:lnTo>
                      <a:pt x="17145" y="41339"/>
                    </a:lnTo>
                    <a:lnTo>
                      <a:pt x="17145" y="40481"/>
                    </a:lnTo>
                    <a:lnTo>
                      <a:pt x="18002" y="40481"/>
                    </a:lnTo>
                    <a:lnTo>
                      <a:pt x="18860" y="40481"/>
                    </a:lnTo>
                    <a:lnTo>
                      <a:pt x="26575" y="44672"/>
                    </a:lnTo>
                    <a:lnTo>
                      <a:pt x="26575" y="44672"/>
                    </a:lnTo>
                    <a:lnTo>
                      <a:pt x="27432" y="45529"/>
                    </a:lnTo>
                    <a:lnTo>
                      <a:pt x="28289" y="48958"/>
                    </a:lnTo>
                    <a:lnTo>
                      <a:pt x="29146" y="49721"/>
                    </a:lnTo>
                    <a:lnTo>
                      <a:pt x="30004" y="50578"/>
                    </a:lnTo>
                    <a:lnTo>
                      <a:pt x="30861" y="52292"/>
                    </a:lnTo>
                    <a:lnTo>
                      <a:pt x="33338" y="53150"/>
                    </a:lnTo>
                    <a:lnTo>
                      <a:pt x="35052" y="54864"/>
                    </a:lnTo>
                    <a:lnTo>
                      <a:pt x="40196" y="56483"/>
                    </a:lnTo>
                    <a:lnTo>
                      <a:pt x="43625" y="55626"/>
                    </a:lnTo>
                    <a:lnTo>
                      <a:pt x="44482" y="54864"/>
                    </a:lnTo>
                    <a:lnTo>
                      <a:pt x="45339" y="54864"/>
                    </a:lnTo>
                    <a:lnTo>
                      <a:pt x="45339" y="54007"/>
                    </a:lnTo>
                    <a:lnTo>
                      <a:pt x="45339" y="53150"/>
                    </a:lnTo>
                    <a:lnTo>
                      <a:pt x="44482" y="52292"/>
                    </a:lnTo>
                    <a:lnTo>
                      <a:pt x="43625" y="51435"/>
                    </a:lnTo>
                    <a:lnTo>
                      <a:pt x="43625" y="50578"/>
                    </a:lnTo>
                    <a:lnTo>
                      <a:pt x="43625" y="49721"/>
                    </a:lnTo>
                    <a:lnTo>
                      <a:pt x="45339" y="48101"/>
                    </a:lnTo>
                    <a:lnTo>
                      <a:pt x="47054" y="47244"/>
                    </a:lnTo>
                    <a:lnTo>
                      <a:pt x="48768" y="46387"/>
                    </a:lnTo>
                    <a:lnTo>
                      <a:pt x="54769" y="45529"/>
                    </a:lnTo>
                    <a:lnTo>
                      <a:pt x="52197" y="40481"/>
                    </a:lnTo>
                    <a:lnTo>
                      <a:pt x="51340" y="39624"/>
                    </a:lnTo>
                    <a:lnTo>
                      <a:pt x="52197" y="37910"/>
                    </a:lnTo>
                    <a:lnTo>
                      <a:pt x="52197" y="37148"/>
                    </a:lnTo>
                    <a:lnTo>
                      <a:pt x="53054" y="36290"/>
                    </a:lnTo>
                    <a:lnTo>
                      <a:pt x="54769" y="34576"/>
                    </a:lnTo>
                    <a:lnTo>
                      <a:pt x="55626" y="33719"/>
                    </a:lnTo>
                    <a:lnTo>
                      <a:pt x="55626" y="32861"/>
                    </a:lnTo>
                    <a:lnTo>
                      <a:pt x="56483" y="32004"/>
                    </a:lnTo>
                    <a:lnTo>
                      <a:pt x="55626" y="31242"/>
                    </a:lnTo>
                    <a:lnTo>
                      <a:pt x="55626" y="31242"/>
                    </a:lnTo>
                    <a:close/>
                  </a:path>
                </a:pathLst>
              </a:custGeom>
              <a:solidFill>
                <a:srgbClr val="30C1D7"/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42" name="Freeform: Shape 146">
                <a:extLst>
                  <a:ext uri="{FF2B5EF4-FFF2-40B4-BE49-F238E27FC236}">
                    <a16:creationId xmlns:a16="http://schemas.microsoft.com/office/drawing/2014/main" id="{84DF61FE-D7FC-45BA-B5C5-2A859FB06A3C}"/>
                  </a:ext>
                </a:extLst>
              </p:cNvPr>
              <p:cNvSpPr/>
              <p:nvPr/>
            </p:nvSpPr>
            <p:spPr>
              <a:xfrm>
                <a:off x="5224557" y="4571238"/>
                <a:ext cx="276225" cy="495300"/>
              </a:xfrm>
              <a:custGeom>
                <a:avLst/>
                <a:gdLst>
                  <a:gd name="connsiteX0" fmla="*/ 282416 w 276225"/>
                  <a:gd name="connsiteY0" fmla="*/ 368427 h 495300"/>
                  <a:gd name="connsiteX1" fmla="*/ 278225 w 276225"/>
                  <a:gd name="connsiteY1" fmla="*/ 365093 h 495300"/>
                  <a:gd name="connsiteX2" fmla="*/ 277368 w 276225"/>
                  <a:gd name="connsiteY2" fmla="*/ 363379 h 495300"/>
                  <a:gd name="connsiteX3" fmla="*/ 276511 w 276225"/>
                  <a:gd name="connsiteY3" fmla="*/ 360807 h 495300"/>
                  <a:gd name="connsiteX4" fmla="*/ 276511 w 276225"/>
                  <a:gd name="connsiteY4" fmla="*/ 360807 h 495300"/>
                  <a:gd name="connsiteX5" fmla="*/ 275653 w 276225"/>
                  <a:gd name="connsiteY5" fmla="*/ 359950 h 495300"/>
                  <a:gd name="connsiteX6" fmla="*/ 274796 w 276225"/>
                  <a:gd name="connsiteY6" fmla="*/ 359950 h 495300"/>
                  <a:gd name="connsiteX7" fmla="*/ 273082 w 276225"/>
                  <a:gd name="connsiteY7" fmla="*/ 359950 h 495300"/>
                  <a:gd name="connsiteX8" fmla="*/ 272224 w 276225"/>
                  <a:gd name="connsiteY8" fmla="*/ 359950 h 495300"/>
                  <a:gd name="connsiteX9" fmla="*/ 267176 w 276225"/>
                  <a:gd name="connsiteY9" fmla="*/ 362521 h 495300"/>
                  <a:gd name="connsiteX10" fmla="*/ 266319 w 276225"/>
                  <a:gd name="connsiteY10" fmla="*/ 362521 h 495300"/>
                  <a:gd name="connsiteX11" fmla="*/ 264605 w 276225"/>
                  <a:gd name="connsiteY11" fmla="*/ 362521 h 495300"/>
                  <a:gd name="connsiteX12" fmla="*/ 264605 w 276225"/>
                  <a:gd name="connsiteY12" fmla="*/ 361664 h 495300"/>
                  <a:gd name="connsiteX13" fmla="*/ 262890 w 276225"/>
                  <a:gd name="connsiteY13" fmla="*/ 360807 h 495300"/>
                  <a:gd name="connsiteX14" fmla="*/ 262890 w 276225"/>
                  <a:gd name="connsiteY14" fmla="*/ 359950 h 495300"/>
                  <a:gd name="connsiteX15" fmla="*/ 262033 w 276225"/>
                  <a:gd name="connsiteY15" fmla="*/ 359950 h 495300"/>
                  <a:gd name="connsiteX16" fmla="*/ 261175 w 276225"/>
                  <a:gd name="connsiteY16" fmla="*/ 359950 h 495300"/>
                  <a:gd name="connsiteX17" fmla="*/ 260318 w 276225"/>
                  <a:gd name="connsiteY17" fmla="*/ 359950 h 495300"/>
                  <a:gd name="connsiteX18" fmla="*/ 259461 w 276225"/>
                  <a:gd name="connsiteY18" fmla="*/ 359092 h 495300"/>
                  <a:gd name="connsiteX19" fmla="*/ 259461 w 276225"/>
                  <a:gd name="connsiteY19" fmla="*/ 359092 h 495300"/>
                  <a:gd name="connsiteX20" fmla="*/ 258604 w 276225"/>
                  <a:gd name="connsiteY20" fmla="*/ 358235 h 495300"/>
                  <a:gd name="connsiteX21" fmla="*/ 258604 w 276225"/>
                  <a:gd name="connsiteY21" fmla="*/ 358235 h 495300"/>
                  <a:gd name="connsiteX22" fmla="*/ 258604 w 276225"/>
                  <a:gd name="connsiteY22" fmla="*/ 357378 h 495300"/>
                  <a:gd name="connsiteX23" fmla="*/ 258604 w 276225"/>
                  <a:gd name="connsiteY23" fmla="*/ 355663 h 495300"/>
                  <a:gd name="connsiteX24" fmla="*/ 263747 w 276225"/>
                  <a:gd name="connsiteY24" fmla="*/ 339566 h 495300"/>
                  <a:gd name="connsiteX25" fmla="*/ 264605 w 276225"/>
                  <a:gd name="connsiteY25" fmla="*/ 337852 h 495300"/>
                  <a:gd name="connsiteX26" fmla="*/ 264605 w 276225"/>
                  <a:gd name="connsiteY26" fmla="*/ 335280 h 495300"/>
                  <a:gd name="connsiteX27" fmla="*/ 263747 w 276225"/>
                  <a:gd name="connsiteY27" fmla="*/ 333565 h 495300"/>
                  <a:gd name="connsiteX28" fmla="*/ 262890 w 276225"/>
                  <a:gd name="connsiteY28" fmla="*/ 328517 h 495300"/>
                  <a:gd name="connsiteX29" fmla="*/ 262890 w 276225"/>
                  <a:gd name="connsiteY29" fmla="*/ 326803 h 495300"/>
                  <a:gd name="connsiteX30" fmla="*/ 262890 w 276225"/>
                  <a:gd name="connsiteY30" fmla="*/ 325946 h 495300"/>
                  <a:gd name="connsiteX31" fmla="*/ 266319 w 276225"/>
                  <a:gd name="connsiteY31" fmla="*/ 319945 h 495300"/>
                  <a:gd name="connsiteX32" fmla="*/ 266319 w 276225"/>
                  <a:gd name="connsiteY32" fmla="*/ 318230 h 495300"/>
                  <a:gd name="connsiteX33" fmla="*/ 266319 w 276225"/>
                  <a:gd name="connsiteY33" fmla="*/ 316516 h 495300"/>
                  <a:gd name="connsiteX34" fmla="*/ 264605 w 276225"/>
                  <a:gd name="connsiteY34" fmla="*/ 309753 h 495300"/>
                  <a:gd name="connsiteX35" fmla="*/ 262890 w 276225"/>
                  <a:gd name="connsiteY35" fmla="*/ 306324 h 495300"/>
                  <a:gd name="connsiteX36" fmla="*/ 262890 w 276225"/>
                  <a:gd name="connsiteY36" fmla="*/ 305467 h 495300"/>
                  <a:gd name="connsiteX37" fmla="*/ 262890 w 276225"/>
                  <a:gd name="connsiteY37" fmla="*/ 303752 h 495300"/>
                  <a:gd name="connsiteX38" fmla="*/ 268034 w 276225"/>
                  <a:gd name="connsiteY38" fmla="*/ 293560 h 495300"/>
                  <a:gd name="connsiteX39" fmla="*/ 268796 w 276225"/>
                  <a:gd name="connsiteY39" fmla="*/ 290989 h 495300"/>
                  <a:gd name="connsiteX40" fmla="*/ 268796 w 276225"/>
                  <a:gd name="connsiteY40" fmla="*/ 290131 h 495300"/>
                  <a:gd name="connsiteX41" fmla="*/ 268796 w 276225"/>
                  <a:gd name="connsiteY41" fmla="*/ 289369 h 495300"/>
                  <a:gd name="connsiteX42" fmla="*/ 268034 w 276225"/>
                  <a:gd name="connsiteY42" fmla="*/ 288512 h 495300"/>
                  <a:gd name="connsiteX43" fmla="*/ 266319 w 276225"/>
                  <a:gd name="connsiteY43" fmla="*/ 287655 h 495300"/>
                  <a:gd name="connsiteX44" fmla="*/ 266319 w 276225"/>
                  <a:gd name="connsiteY44" fmla="*/ 286798 h 495300"/>
                  <a:gd name="connsiteX45" fmla="*/ 265462 w 276225"/>
                  <a:gd name="connsiteY45" fmla="*/ 285083 h 495300"/>
                  <a:gd name="connsiteX46" fmla="*/ 265462 w 276225"/>
                  <a:gd name="connsiteY46" fmla="*/ 283369 h 495300"/>
                  <a:gd name="connsiteX47" fmla="*/ 264605 w 276225"/>
                  <a:gd name="connsiteY47" fmla="*/ 280797 h 495300"/>
                  <a:gd name="connsiteX48" fmla="*/ 263747 w 276225"/>
                  <a:gd name="connsiteY48" fmla="*/ 279940 h 495300"/>
                  <a:gd name="connsiteX49" fmla="*/ 261175 w 276225"/>
                  <a:gd name="connsiteY49" fmla="*/ 275749 h 495300"/>
                  <a:gd name="connsiteX50" fmla="*/ 260318 w 276225"/>
                  <a:gd name="connsiteY50" fmla="*/ 274891 h 495300"/>
                  <a:gd name="connsiteX51" fmla="*/ 258604 w 276225"/>
                  <a:gd name="connsiteY51" fmla="*/ 273177 h 495300"/>
                  <a:gd name="connsiteX52" fmla="*/ 256032 w 276225"/>
                  <a:gd name="connsiteY52" fmla="*/ 274034 h 495300"/>
                  <a:gd name="connsiteX53" fmla="*/ 252698 w 276225"/>
                  <a:gd name="connsiteY53" fmla="*/ 276606 h 495300"/>
                  <a:gd name="connsiteX54" fmla="*/ 247555 w 276225"/>
                  <a:gd name="connsiteY54" fmla="*/ 278225 h 495300"/>
                  <a:gd name="connsiteX55" fmla="*/ 245840 w 276225"/>
                  <a:gd name="connsiteY55" fmla="*/ 279082 h 495300"/>
                  <a:gd name="connsiteX56" fmla="*/ 244983 w 276225"/>
                  <a:gd name="connsiteY56" fmla="*/ 279940 h 495300"/>
                  <a:gd name="connsiteX57" fmla="*/ 239935 w 276225"/>
                  <a:gd name="connsiteY57" fmla="*/ 284226 h 495300"/>
                  <a:gd name="connsiteX58" fmla="*/ 236506 w 276225"/>
                  <a:gd name="connsiteY58" fmla="*/ 286798 h 495300"/>
                  <a:gd name="connsiteX59" fmla="*/ 234791 w 276225"/>
                  <a:gd name="connsiteY59" fmla="*/ 287655 h 495300"/>
                  <a:gd name="connsiteX60" fmla="*/ 233077 w 276225"/>
                  <a:gd name="connsiteY60" fmla="*/ 287655 h 495300"/>
                  <a:gd name="connsiteX61" fmla="*/ 231362 w 276225"/>
                  <a:gd name="connsiteY61" fmla="*/ 286798 h 495300"/>
                  <a:gd name="connsiteX62" fmla="*/ 230600 w 276225"/>
                  <a:gd name="connsiteY62" fmla="*/ 286798 h 495300"/>
                  <a:gd name="connsiteX63" fmla="*/ 229743 w 276225"/>
                  <a:gd name="connsiteY63" fmla="*/ 286798 h 495300"/>
                  <a:gd name="connsiteX64" fmla="*/ 228886 w 276225"/>
                  <a:gd name="connsiteY64" fmla="*/ 285940 h 495300"/>
                  <a:gd name="connsiteX65" fmla="*/ 228028 w 276225"/>
                  <a:gd name="connsiteY65" fmla="*/ 285083 h 495300"/>
                  <a:gd name="connsiteX66" fmla="*/ 226314 w 276225"/>
                  <a:gd name="connsiteY66" fmla="*/ 282511 h 495300"/>
                  <a:gd name="connsiteX67" fmla="*/ 224599 w 276225"/>
                  <a:gd name="connsiteY67" fmla="*/ 281654 h 495300"/>
                  <a:gd name="connsiteX68" fmla="*/ 223742 w 276225"/>
                  <a:gd name="connsiteY68" fmla="*/ 279940 h 495300"/>
                  <a:gd name="connsiteX69" fmla="*/ 221171 w 276225"/>
                  <a:gd name="connsiteY69" fmla="*/ 279082 h 495300"/>
                  <a:gd name="connsiteX70" fmla="*/ 220313 w 276225"/>
                  <a:gd name="connsiteY70" fmla="*/ 278225 h 495300"/>
                  <a:gd name="connsiteX71" fmla="*/ 219456 w 276225"/>
                  <a:gd name="connsiteY71" fmla="*/ 276606 h 495300"/>
                  <a:gd name="connsiteX72" fmla="*/ 219456 w 276225"/>
                  <a:gd name="connsiteY72" fmla="*/ 275749 h 495300"/>
                  <a:gd name="connsiteX73" fmla="*/ 220313 w 276225"/>
                  <a:gd name="connsiteY73" fmla="*/ 272320 h 495300"/>
                  <a:gd name="connsiteX74" fmla="*/ 219456 w 276225"/>
                  <a:gd name="connsiteY74" fmla="*/ 270605 h 495300"/>
                  <a:gd name="connsiteX75" fmla="*/ 219456 w 276225"/>
                  <a:gd name="connsiteY75" fmla="*/ 269748 h 495300"/>
                  <a:gd name="connsiteX76" fmla="*/ 217837 w 276225"/>
                  <a:gd name="connsiteY76" fmla="*/ 267176 h 495300"/>
                  <a:gd name="connsiteX77" fmla="*/ 216979 w 276225"/>
                  <a:gd name="connsiteY77" fmla="*/ 266319 h 495300"/>
                  <a:gd name="connsiteX78" fmla="*/ 216979 w 276225"/>
                  <a:gd name="connsiteY78" fmla="*/ 264605 h 495300"/>
                  <a:gd name="connsiteX79" fmla="*/ 216979 w 276225"/>
                  <a:gd name="connsiteY79" fmla="*/ 263842 h 495300"/>
                  <a:gd name="connsiteX80" fmla="*/ 216979 w 276225"/>
                  <a:gd name="connsiteY80" fmla="*/ 260413 h 495300"/>
                  <a:gd name="connsiteX81" fmla="*/ 217837 w 276225"/>
                  <a:gd name="connsiteY81" fmla="*/ 257842 h 495300"/>
                  <a:gd name="connsiteX82" fmla="*/ 217837 w 276225"/>
                  <a:gd name="connsiteY82" fmla="*/ 256984 h 495300"/>
                  <a:gd name="connsiteX83" fmla="*/ 217837 w 276225"/>
                  <a:gd name="connsiteY83" fmla="*/ 256984 h 495300"/>
                  <a:gd name="connsiteX84" fmla="*/ 218599 w 276225"/>
                  <a:gd name="connsiteY84" fmla="*/ 251079 h 495300"/>
                  <a:gd name="connsiteX85" fmla="*/ 217837 w 276225"/>
                  <a:gd name="connsiteY85" fmla="*/ 241649 h 495300"/>
                  <a:gd name="connsiteX86" fmla="*/ 217837 w 276225"/>
                  <a:gd name="connsiteY86" fmla="*/ 240792 h 495300"/>
                  <a:gd name="connsiteX87" fmla="*/ 218599 w 276225"/>
                  <a:gd name="connsiteY87" fmla="*/ 239934 h 495300"/>
                  <a:gd name="connsiteX88" fmla="*/ 219456 w 276225"/>
                  <a:gd name="connsiteY88" fmla="*/ 239077 h 495300"/>
                  <a:gd name="connsiteX89" fmla="*/ 221171 w 276225"/>
                  <a:gd name="connsiteY89" fmla="*/ 239077 h 495300"/>
                  <a:gd name="connsiteX90" fmla="*/ 222885 w 276225"/>
                  <a:gd name="connsiteY90" fmla="*/ 238315 h 495300"/>
                  <a:gd name="connsiteX91" fmla="*/ 223742 w 276225"/>
                  <a:gd name="connsiteY91" fmla="*/ 236601 h 495300"/>
                  <a:gd name="connsiteX92" fmla="*/ 224599 w 276225"/>
                  <a:gd name="connsiteY92" fmla="*/ 234886 h 495300"/>
                  <a:gd name="connsiteX93" fmla="*/ 224599 w 276225"/>
                  <a:gd name="connsiteY93" fmla="*/ 230600 h 495300"/>
                  <a:gd name="connsiteX94" fmla="*/ 224599 w 276225"/>
                  <a:gd name="connsiteY94" fmla="*/ 229743 h 495300"/>
                  <a:gd name="connsiteX95" fmla="*/ 225457 w 276225"/>
                  <a:gd name="connsiteY95" fmla="*/ 228028 h 495300"/>
                  <a:gd name="connsiteX96" fmla="*/ 225457 w 276225"/>
                  <a:gd name="connsiteY96" fmla="*/ 226314 h 495300"/>
                  <a:gd name="connsiteX97" fmla="*/ 225457 w 276225"/>
                  <a:gd name="connsiteY97" fmla="*/ 225552 h 495300"/>
                  <a:gd name="connsiteX98" fmla="*/ 225457 w 276225"/>
                  <a:gd name="connsiteY98" fmla="*/ 223838 h 495300"/>
                  <a:gd name="connsiteX99" fmla="*/ 224599 w 276225"/>
                  <a:gd name="connsiteY99" fmla="*/ 222980 h 495300"/>
                  <a:gd name="connsiteX100" fmla="*/ 224599 w 276225"/>
                  <a:gd name="connsiteY100" fmla="*/ 222980 h 495300"/>
                  <a:gd name="connsiteX101" fmla="*/ 223742 w 276225"/>
                  <a:gd name="connsiteY101" fmla="*/ 222980 h 495300"/>
                  <a:gd name="connsiteX102" fmla="*/ 222885 w 276225"/>
                  <a:gd name="connsiteY102" fmla="*/ 222123 h 495300"/>
                  <a:gd name="connsiteX103" fmla="*/ 222028 w 276225"/>
                  <a:gd name="connsiteY103" fmla="*/ 221266 h 495300"/>
                  <a:gd name="connsiteX104" fmla="*/ 221171 w 276225"/>
                  <a:gd name="connsiteY104" fmla="*/ 220408 h 495300"/>
                  <a:gd name="connsiteX105" fmla="*/ 220313 w 276225"/>
                  <a:gd name="connsiteY105" fmla="*/ 219551 h 495300"/>
                  <a:gd name="connsiteX106" fmla="*/ 219456 w 276225"/>
                  <a:gd name="connsiteY106" fmla="*/ 216979 h 495300"/>
                  <a:gd name="connsiteX107" fmla="*/ 219456 w 276225"/>
                  <a:gd name="connsiteY107" fmla="*/ 216122 h 495300"/>
                  <a:gd name="connsiteX108" fmla="*/ 218599 w 276225"/>
                  <a:gd name="connsiteY108" fmla="*/ 215265 h 495300"/>
                  <a:gd name="connsiteX109" fmla="*/ 217837 w 276225"/>
                  <a:gd name="connsiteY109" fmla="*/ 214408 h 495300"/>
                  <a:gd name="connsiteX110" fmla="*/ 211836 w 276225"/>
                  <a:gd name="connsiteY110" fmla="*/ 211931 h 495300"/>
                  <a:gd name="connsiteX111" fmla="*/ 206692 w 276225"/>
                  <a:gd name="connsiteY111" fmla="*/ 210217 h 495300"/>
                  <a:gd name="connsiteX112" fmla="*/ 205073 w 276225"/>
                  <a:gd name="connsiteY112" fmla="*/ 209359 h 495300"/>
                  <a:gd name="connsiteX113" fmla="*/ 203359 w 276225"/>
                  <a:gd name="connsiteY113" fmla="*/ 207645 h 495300"/>
                  <a:gd name="connsiteX114" fmla="*/ 202501 w 276225"/>
                  <a:gd name="connsiteY114" fmla="*/ 205073 h 495300"/>
                  <a:gd name="connsiteX115" fmla="*/ 201644 w 276225"/>
                  <a:gd name="connsiteY115" fmla="*/ 203359 h 495300"/>
                  <a:gd name="connsiteX116" fmla="*/ 201644 w 276225"/>
                  <a:gd name="connsiteY116" fmla="*/ 201644 h 495300"/>
                  <a:gd name="connsiteX117" fmla="*/ 201644 w 276225"/>
                  <a:gd name="connsiteY117" fmla="*/ 200025 h 495300"/>
                  <a:gd name="connsiteX118" fmla="*/ 202501 w 276225"/>
                  <a:gd name="connsiteY118" fmla="*/ 198310 h 495300"/>
                  <a:gd name="connsiteX119" fmla="*/ 202501 w 276225"/>
                  <a:gd name="connsiteY119" fmla="*/ 197453 h 495300"/>
                  <a:gd name="connsiteX120" fmla="*/ 203359 w 276225"/>
                  <a:gd name="connsiteY120" fmla="*/ 196596 h 495300"/>
                  <a:gd name="connsiteX121" fmla="*/ 204216 w 276225"/>
                  <a:gd name="connsiteY121" fmla="*/ 196596 h 495300"/>
                  <a:gd name="connsiteX122" fmla="*/ 204216 w 276225"/>
                  <a:gd name="connsiteY122" fmla="*/ 195739 h 495300"/>
                  <a:gd name="connsiteX123" fmla="*/ 205835 w 276225"/>
                  <a:gd name="connsiteY123" fmla="*/ 195739 h 495300"/>
                  <a:gd name="connsiteX124" fmla="*/ 206692 w 276225"/>
                  <a:gd name="connsiteY124" fmla="*/ 195739 h 495300"/>
                  <a:gd name="connsiteX125" fmla="*/ 208407 w 276225"/>
                  <a:gd name="connsiteY125" fmla="*/ 197453 h 495300"/>
                  <a:gd name="connsiteX126" fmla="*/ 209264 w 276225"/>
                  <a:gd name="connsiteY126" fmla="*/ 197453 h 495300"/>
                  <a:gd name="connsiteX127" fmla="*/ 210979 w 276225"/>
                  <a:gd name="connsiteY127" fmla="*/ 196596 h 495300"/>
                  <a:gd name="connsiteX128" fmla="*/ 211836 w 276225"/>
                  <a:gd name="connsiteY128" fmla="*/ 196596 h 495300"/>
                  <a:gd name="connsiteX129" fmla="*/ 211836 w 276225"/>
                  <a:gd name="connsiteY129" fmla="*/ 195739 h 495300"/>
                  <a:gd name="connsiteX130" fmla="*/ 211836 w 276225"/>
                  <a:gd name="connsiteY130" fmla="*/ 194881 h 495300"/>
                  <a:gd name="connsiteX131" fmla="*/ 211836 w 276225"/>
                  <a:gd name="connsiteY131" fmla="*/ 194024 h 495300"/>
                  <a:gd name="connsiteX132" fmla="*/ 210979 w 276225"/>
                  <a:gd name="connsiteY132" fmla="*/ 194024 h 495300"/>
                  <a:gd name="connsiteX133" fmla="*/ 209264 w 276225"/>
                  <a:gd name="connsiteY133" fmla="*/ 192309 h 495300"/>
                  <a:gd name="connsiteX134" fmla="*/ 208407 w 276225"/>
                  <a:gd name="connsiteY134" fmla="*/ 190595 h 495300"/>
                  <a:gd name="connsiteX135" fmla="*/ 207550 w 276225"/>
                  <a:gd name="connsiteY135" fmla="*/ 187261 h 495300"/>
                  <a:gd name="connsiteX136" fmla="*/ 206692 w 276225"/>
                  <a:gd name="connsiteY136" fmla="*/ 184690 h 495300"/>
                  <a:gd name="connsiteX137" fmla="*/ 205835 w 276225"/>
                  <a:gd name="connsiteY137" fmla="*/ 183832 h 495300"/>
                  <a:gd name="connsiteX138" fmla="*/ 205073 w 276225"/>
                  <a:gd name="connsiteY138" fmla="*/ 182975 h 495300"/>
                  <a:gd name="connsiteX139" fmla="*/ 204216 w 276225"/>
                  <a:gd name="connsiteY139" fmla="*/ 182118 h 495300"/>
                  <a:gd name="connsiteX140" fmla="*/ 203359 w 276225"/>
                  <a:gd name="connsiteY140" fmla="*/ 181261 h 495300"/>
                  <a:gd name="connsiteX141" fmla="*/ 203359 w 276225"/>
                  <a:gd name="connsiteY141" fmla="*/ 180403 h 495300"/>
                  <a:gd name="connsiteX142" fmla="*/ 203359 w 276225"/>
                  <a:gd name="connsiteY142" fmla="*/ 179546 h 495300"/>
                  <a:gd name="connsiteX143" fmla="*/ 204216 w 276225"/>
                  <a:gd name="connsiteY143" fmla="*/ 177832 h 495300"/>
                  <a:gd name="connsiteX144" fmla="*/ 205073 w 276225"/>
                  <a:gd name="connsiteY144" fmla="*/ 176974 h 495300"/>
                  <a:gd name="connsiteX145" fmla="*/ 205073 w 276225"/>
                  <a:gd name="connsiteY145" fmla="*/ 174498 h 495300"/>
                  <a:gd name="connsiteX146" fmla="*/ 205073 w 276225"/>
                  <a:gd name="connsiteY146" fmla="*/ 173641 h 495300"/>
                  <a:gd name="connsiteX147" fmla="*/ 204216 w 276225"/>
                  <a:gd name="connsiteY147" fmla="*/ 173641 h 495300"/>
                  <a:gd name="connsiteX148" fmla="*/ 203359 w 276225"/>
                  <a:gd name="connsiteY148" fmla="*/ 174498 h 495300"/>
                  <a:gd name="connsiteX149" fmla="*/ 200787 w 276225"/>
                  <a:gd name="connsiteY149" fmla="*/ 176117 h 495300"/>
                  <a:gd name="connsiteX150" fmla="*/ 199930 w 276225"/>
                  <a:gd name="connsiteY150" fmla="*/ 176974 h 495300"/>
                  <a:gd name="connsiteX151" fmla="*/ 198215 w 276225"/>
                  <a:gd name="connsiteY151" fmla="*/ 176974 h 495300"/>
                  <a:gd name="connsiteX152" fmla="*/ 190595 w 276225"/>
                  <a:gd name="connsiteY152" fmla="*/ 177832 h 495300"/>
                  <a:gd name="connsiteX153" fmla="*/ 188023 w 276225"/>
                  <a:gd name="connsiteY153" fmla="*/ 177832 h 495300"/>
                  <a:gd name="connsiteX154" fmla="*/ 187166 w 276225"/>
                  <a:gd name="connsiteY154" fmla="*/ 177832 h 495300"/>
                  <a:gd name="connsiteX155" fmla="*/ 185452 w 276225"/>
                  <a:gd name="connsiteY155" fmla="*/ 177832 h 495300"/>
                  <a:gd name="connsiteX156" fmla="*/ 182880 w 276225"/>
                  <a:gd name="connsiteY156" fmla="*/ 176974 h 495300"/>
                  <a:gd name="connsiteX157" fmla="*/ 182880 w 276225"/>
                  <a:gd name="connsiteY157" fmla="*/ 176117 h 495300"/>
                  <a:gd name="connsiteX158" fmla="*/ 182023 w 276225"/>
                  <a:gd name="connsiteY158" fmla="*/ 176117 h 495300"/>
                  <a:gd name="connsiteX159" fmla="*/ 181165 w 276225"/>
                  <a:gd name="connsiteY159" fmla="*/ 176117 h 495300"/>
                  <a:gd name="connsiteX160" fmla="*/ 178689 w 276225"/>
                  <a:gd name="connsiteY160" fmla="*/ 177832 h 495300"/>
                  <a:gd name="connsiteX161" fmla="*/ 177832 w 276225"/>
                  <a:gd name="connsiteY161" fmla="*/ 177832 h 495300"/>
                  <a:gd name="connsiteX162" fmla="*/ 176974 w 276225"/>
                  <a:gd name="connsiteY162" fmla="*/ 176974 h 495300"/>
                  <a:gd name="connsiteX163" fmla="*/ 176117 w 276225"/>
                  <a:gd name="connsiteY163" fmla="*/ 176117 h 495300"/>
                  <a:gd name="connsiteX164" fmla="*/ 176117 w 276225"/>
                  <a:gd name="connsiteY164" fmla="*/ 175260 h 495300"/>
                  <a:gd name="connsiteX165" fmla="*/ 176117 w 276225"/>
                  <a:gd name="connsiteY165" fmla="*/ 174498 h 495300"/>
                  <a:gd name="connsiteX166" fmla="*/ 178689 w 276225"/>
                  <a:gd name="connsiteY166" fmla="*/ 171069 h 495300"/>
                  <a:gd name="connsiteX167" fmla="*/ 179546 w 276225"/>
                  <a:gd name="connsiteY167" fmla="*/ 170212 h 495300"/>
                  <a:gd name="connsiteX168" fmla="*/ 186309 w 276225"/>
                  <a:gd name="connsiteY168" fmla="*/ 165068 h 495300"/>
                  <a:gd name="connsiteX169" fmla="*/ 187166 w 276225"/>
                  <a:gd name="connsiteY169" fmla="*/ 162496 h 495300"/>
                  <a:gd name="connsiteX170" fmla="*/ 184594 w 276225"/>
                  <a:gd name="connsiteY170" fmla="*/ 160877 h 495300"/>
                  <a:gd name="connsiteX171" fmla="*/ 182023 w 276225"/>
                  <a:gd name="connsiteY171" fmla="*/ 157448 h 495300"/>
                  <a:gd name="connsiteX172" fmla="*/ 181165 w 276225"/>
                  <a:gd name="connsiteY172" fmla="*/ 156591 h 495300"/>
                  <a:gd name="connsiteX173" fmla="*/ 179546 w 276225"/>
                  <a:gd name="connsiteY173" fmla="*/ 155734 h 495300"/>
                  <a:gd name="connsiteX174" fmla="*/ 177832 w 276225"/>
                  <a:gd name="connsiteY174" fmla="*/ 155734 h 495300"/>
                  <a:gd name="connsiteX175" fmla="*/ 176974 w 276225"/>
                  <a:gd name="connsiteY175" fmla="*/ 154876 h 495300"/>
                  <a:gd name="connsiteX176" fmla="*/ 175260 w 276225"/>
                  <a:gd name="connsiteY176" fmla="*/ 154019 h 495300"/>
                  <a:gd name="connsiteX177" fmla="*/ 173546 w 276225"/>
                  <a:gd name="connsiteY177" fmla="*/ 152305 h 495300"/>
                  <a:gd name="connsiteX178" fmla="*/ 172688 w 276225"/>
                  <a:gd name="connsiteY178" fmla="*/ 151447 h 495300"/>
                  <a:gd name="connsiteX179" fmla="*/ 159925 w 276225"/>
                  <a:gd name="connsiteY179" fmla="*/ 148114 h 495300"/>
                  <a:gd name="connsiteX180" fmla="*/ 155734 w 276225"/>
                  <a:gd name="connsiteY180" fmla="*/ 147256 h 495300"/>
                  <a:gd name="connsiteX181" fmla="*/ 154019 w 276225"/>
                  <a:gd name="connsiteY181" fmla="*/ 145542 h 495300"/>
                  <a:gd name="connsiteX182" fmla="*/ 154019 w 276225"/>
                  <a:gd name="connsiteY182" fmla="*/ 144684 h 495300"/>
                  <a:gd name="connsiteX183" fmla="*/ 154019 w 276225"/>
                  <a:gd name="connsiteY183" fmla="*/ 144684 h 495300"/>
                  <a:gd name="connsiteX184" fmla="*/ 154019 w 276225"/>
                  <a:gd name="connsiteY184" fmla="*/ 143827 h 495300"/>
                  <a:gd name="connsiteX185" fmla="*/ 154019 w 276225"/>
                  <a:gd name="connsiteY185" fmla="*/ 143827 h 495300"/>
                  <a:gd name="connsiteX186" fmla="*/ 153162 w 276225"/>
                  <a:gd name="connsiteY186" fmla="*/ 142970 h 495300"/>
                  <a:gd name="connsiteX187" fmla="*/ 153162 w 276225"/>
                  <a:gd name="connsiteY187" fmla="*/ 142970 h 495300"/>
                  <a:gd name="connsiteX188" fmla="*/ 153162 w 276225"/>
                  <a:gd name="connsiteY188" fmla="*/ 142113 h 495300"/>
                  <a:gd name="connsiteX189" fmla="*/ 152305 w 276225"/>
                  <a:gd name="connsiteY189" fmla="*/ 141256 h 495300"/>
                  <a:gd name="connsiteX190" fmla="*/ 152305 w 276225"/>
                  <a:gd name="connsiteY190" fmla="*/ 140398 h 495300"/>
                  <a:gd name="connsiteX191" fmla="*/ 153162 w 276225"/>
                  <a:gd name="connsiteY191" fmla="*/ 138684 h 495300"/>
                  <a:gd name="connsiteX192" fmla="*/ 153162 w 276225"/>
                  <a:gd name="connsiteY192" fmla="*/ 137827 h 495300"/>
                  <a:gd name="connsiteX193" fmla="*/ 153162 w 276225"/>
                  <a:gd name="connsiteY193" fmla="*/ 135350 h 495300"/>
                  <a:gd name="connsiteX194" fmla="*/ 152305 w 276225"/>
                  <a:gd name="connsiteY194" fmla="*/ 134493 h 495300"/>
                  <a:gd name="connsiteX195" fmla="*/ 153162 w 276225"/>
                  <a:gd name="connsiteY195" fmla="*/ 133636 h 495300"/>
                  <a:gd name="connsiteX196" fmla="*/ 154019 w 276225"/>
                  <a:gd name="connsiteY196" fmla="*/ 132778 h 495300"/>
                  <a:gd name="connsiteX197" fmla="*/ 156496 w 276225"/>
                  <a:gd name="connsiteY197" fmla="*/ 132778 h 495300"/>
                  <a:gd name="connsiteX198" fmla="*/ 157353 w 276225"/>
                  <a:gd name="connsiteY198" fmla="*/ 133636 h 495300"/>
                  <a:gd name="connsiteX199" fmla="*/ 159925 w 276225"/>
                  <a:gd name="connsiteY199" fmla="*/ 134493 h 495300"/>
                  <a:gd name="connsiteX200" fmla="*/ 161639 w 276225"/>
                  <a:gd name="connsiteY200" fmla="*/ 134493 h 495300"/>
                  <a:gd name="connsiteX201" fmla="*/ 164211 w 276225"/>
                  <a:gd name="connsiteY201" fmla="*/ 134493 h 495300"/>
                  <a:gd name="connsiteX202" fmla="*/ 165925 w 276225"/>
                  <a:gd name="connsiteY202" fmla="*/ 132778 h 495300"/>
                  <a:gd name="connsiteX203" fmla="*/ 166783 w 276225"/>
                  <a:gd name="connsiteY203" fmla="*/ 131921 h 495300"/>
                  <a:gd name="connsiteX204" fmla="*/ 167640 w 276225"/>
                  <a:gd name="connsiteY204" fmla="*/ 130207 h 495300"/>
                  <a:gd name="connsiteX205" fmla="*/ 168402 w 276225"/>
                  <a:gd name="connsiteY205" fmla="*/ 129349 h 495300"/>
                  <a:gd name="connsiteX206" fmla="*/ 170117 w 276225"/>
                  <a:gd name="connsiteY206" fmla="*/ 128492 h 495300"/>
                  <a:gd name="connsiteX207" fmla="*/ 171831 w 276225"/>
                  <a:gd name="connsiteY207" fmla="*/ 128492 h 495300"/>
                  <a:gd name="connsiteX208" fmla="*/ 172688 w 276225"/>
                  <a:gd name="connsiteY208" fmla="*/ 127635 h 495300"/>
                  <a:gd name="connsiteX209" fmla="*/ 172688 w 276225"/>
                  <a:gd name="connsiteY209" fmla="*/ 127635 h 495300"/>
                  <a:gd name="connsiteX210" fmla="*/ 173546 w 276225"/>
                  <a:gd name="connsiteY210" fmla="*/ 126778 h 495300"/>
                  <a:gd name="connsiteX211" fmla="*/ 173546 w 276225"/>
                  <a:gd name="connsiteY211" fmla="*/ 126778 h 495300"/>
                  <a:gd name="connsiteX212" fmla="*/ 173546 w 276225"/>
                  <a:gd name="connsiteY212" fmla="*/ 125921 h 495300"/>
                  <a:gd name="connsiteX213" fmla="*/ 172688 w 276225"/>
                  <a:gd name="connsiteY213" fmla="*/ 125921 h 495300"/>
                  <a:gd name="connsiteX214" fmla="*/ 171831 w 276225"/>
                  <a:gd name="connsiteY214" fmla="*/ 123444 h 495300"/>
                  <a:gd name="connsiteX215" fmla="*/ 170974 w 276225"/>
                  <a:gd name="connsiteY215" fmla="*/ 121729 h 495300"/>
                  <a:gd name="connsiteX216" fmla="*/ 170974 w 276225"/>
                  <a:gd name="connsiteY216" fmla="*/ 119158 h 495300"/>
                  <a:gd name="connsiteX217" fmla="*/ 170974 w 276225"/>
                  <a:gd name="connsiteY217" fmla="*/ 117443 h 495300"/>
                  <a:gd name="connsiteX218" fmla="*/ 170117 w 276225"/>
                  <a:gd name="connsiteY218" fmla="*/ 116586 h 495300"/>
                  <a:gd name="connsiteX219" fmla="*/ 169259 w 276225"/>
                  <a:gd name="connsiteY219" fmla="*/ 116586 h 495300"/>
                  <a:gd name="connsiteX220" fmla="*/ 167640 w 276225"/>
                  <a:gd name="connsiteY220" fmla="*/ 115729 h 495300"/>
                  <a:gd name="connsiteX221" fmla="*/ 167640 w 276225"/>
                  <a:gd name="connsiteY221" fmla="*/ 116586 h 495300"/>
                  <a:gd name="connsiteX222" fmla="*/ 165925 w 276225"/>
                  <a:gd name="connsiteY222" fmla="*/ 116586 h 495300"/>
                  <a:gd name="connsiteX223" fmla="*/ 165068 w 276225"/>
                  <a:gd name="connsiteY223" fmla="*/ 116586 h 495300"/>
                  <a:gd name="connsiteX224" fmla="*/ 164211 w 276225"/>
                  <a:gd name="connsiteY224" fmla="*/ 116586 h 495300"/>
                  <a:gd name="connsiteX225" fmla="*/ 162496 w 276225"/>
                  <a:gd name="connsiteY225" fmla="*/ 116586 h 495300"/>
                  <a:gd name="connsiteX226" fmla="*/ 161639 w 276225"/>
                  <a:gd name="connsiteY226" fmla="*/ 115729 h 495300"/>
                  <a:gd name="connsiteX227" fmla="*/ 160782 w 276225"/>
                  <a:gd name="connsiteY227" fmla="*/ 115729 h 495300"/>
                  <a:gd name="connsiteX228" fmla="*/ 159067 w 276225"/>
                  <a:gd name="connsiteY228" fmla="*/ 114014 h 495300"/>
                  <a:gd name="connsiteX229" fmla="*/ 156496 w 276225"/>
                  <a:gd name="connsiteY229" fmla="*/ 110585 h 495300"/>
                  <a:gd name="connsiteX230" fmla="*/ 155734 w 276225"/>
                  <a:gd name="connsiteY230" fmla="*/ 109823 h 495300"/>
                  <a:gd name="connsiteX231" fmla="*/ 154876 w 276225"/>
                  <a:gd name="connsiteY231" fmla="*/ 109823 h 495300"/>
                  <a:gd name="connsiteX232" fmla="*/ 154019 w 276225"/>
                  <a:gd name="connsiteY232" fmla="*/ 109823 h 495300"/>
                  <a:gd name="connsiteX233" fmla="*/ 153162 w 276225"/>
                  <a:gd name="connsiteY233" fmla="*/ 109823 h 495300"/>
                  <a:gd name="connsiteX234" fmla="*/ 151448 w 276225"/>
                  <a:gd name="connsiteY234" fmla="*/ 109823 h 495300"/>
                  <a:gd name="connsiteX235" fmla="*/ 151448 w 276225"/>
                  <a:gd name="connsiteY235" fmla="*/ 109823 h 495300"/>
                  <a:gd name="connsiteX236" fmla="*/ 150590 w 276225"/>
                  <a:gd name="connsiteY236" fmla="*/ 109823 h 495300"/>
                  <a:gd name="connsiteX237" fmla="*/ 149733 w 276225"/>
                  <a:gd name="connsiteY237" fmla="*/ 108966 h 495300"/>
                  <a:gd name="connsiteX238" fmla="*/ 148876 w 276225"/>
                  <a:gd name="connsiteY238" fmla="*/ 108109 h 495300"/>
                  <a:gd name="connsiteX239" fmla="*/ 148019 w 276225"/>
                  <a:gd name="connsiteY239" fmla="*/ 106394 h 495300"/>
                  <a:gd name="connsiteX240" fmla="*/ 147161 w 276225"/>
                  <a:gd name="connsiteY240" fmla="*/ 104680 h 495300"/>
                  <a:gd name="connsiteX241" fmla="*/ 146304 w 276225"/>
                  <a:gd name="connsiteY241" fmla="*/ 103822 h 495300"/>
                  <a:gd name="connsiteX242" fmla="*/ 145447 w 276225"/>
                  <a:gd name="connsiteY242" fmla="*/ 103822 h 495300"/>
                  <a:gd name="connsiteX243" fmla="*/ 143732 w 276225"/>
                  <a:gd name="connsiteY243" fmla="*/ 102965 h 495300"/>
                  <a:gd name="connsiteX244" fmla="*/ 142113 w 276225"/>
                  <a:gd name="connsiteY244" fmla="*/ 102965 h 495300"/>
                  <a:gd name="connsiteX245" fmla="*/ 141256 w 276225"/>
                  <a:gd name="connsiteY245" fmla="*/ 102965 h 495300"/>
                  <a:gd name="connsiteX246" fmla="*/ 140398 w 276225"/>
                  <a:gd name="connsiteY246" fmla="*/ 103822 h 495300"/>
                  <a:gd name="connsiteX247" fmla="*/ 139541 w 276225"/>
                  <a:gd name="connsiteY247" fmla="*/ 103822 h 495300"/>
                  <a:gd name="connsiteX248" fmla="*/ 138684 w 276225"/>
                  <a:gd name="connsiteY248" fmla="*/ 103822 h 495300"/>
                  <a:gd name="connsiteX249" fmla="*/ 137827 w 276225"/>
                  <a:gd name="connsiteY249" fmla="*/ 103822 h 495300"/>
                  <a:gd name="connsiteX250" fmla="*/ 136112 w 276225"/>
                  <a:gd name="connsiteY250" fmla="*/ 102108 h 495300"/>
                  <a:gd name="connsiteX251" fmla="*/ 136112 w 276225"/>
                  <a:gd name="connsiteY251" fmla="*/ 101251 h 495300"/>
                  <a:gd name="connsiteX252" fmla="*/ 136112 w 276225"/>
                  <a:gd name="connsiteY252" fmla="*/ 100393 h 495300"/>
                  <a:gd name="connsiteX253" fmla="*/ 136112 w 276225"/>
                  <a:gd name="connsiteY253" fmla="*/ 96202 h 495300"/>
                  <a:gd name="connsiteX254" fmla="*/ 136112 w 276225"/>
                  <a:gd name="connsiteY254" fmla="*/ 93631 h 495300"/>
                  <a:gd name="connsiteX255" fmla="*/ 136112 w 276225"/>
                  <a:gd name="connsiteY255" fmla="*/ 92773 h 495300"/>
                  <a:gd name="connsiteX256" fmla="*/ 135255 w 276225"/>
                  <a:gd name="connsiteY256" fmla="*/ 91916 h 495300"/>
                  <a:gd name="connsiteX257" fmla="*/ 132683 w 276225"/>
                  <a:gd name="connsiteY257" fmla="*/ 91916 h 495300"/>
                  <a:gd name="connsiteX258" fmla="*/ 129349 w 276225"/>
                  <a:gd name="connsiteY258" fmla="*/ 93631 h 495300"/>
                  <a:gd name="connsiteX259" fmla="*/ 125063 w 276225"/>
                  <a:gd name="connsiteY259" fmla="*/ 96202 h 495300"/>
                  <a:gd name="connsiteX260" fmla="*/ 122492 w 276225"/>
                  <a:gd name="connsiteY260" fmla="*/ 96202 h 495300"/>
                  <a:gd name="connsiteX261" fmla="*/ 116586 w 276225"/>
                  <a:gd name="connsiteY261" fmla="*/ 94488 h 495300"/>
                  <a:gd name="connsiteX262" fmla="*/ 114014 w 276225"/>
                  <a:gd name="connsiteY262" fmla="*/ 94488 h 495300"/>
                  <a:gd name="connsiteX263" fmla="*/ 111442 w 276225"/>
                  <a:gd name="connsiteY263" fmla="*/ 94488 h 495300"/>
                  <a:gd name="connsiteX264" fmla="*/ 109728 w 276225"/>
                  <a:gd name="connsiteY264" fmla="*/ 93631 h 495300"/>
                  <a:gd name="connsiteX265" fmla="*/ 108013 w 276225"/>
                  <a:gd name="connsiteY265" fmla="*/ 92773 h 495300"/>
                  <a:gd name="connsiteX266" fmla="*/ 106299 w 276225"/>
                  <a:gd name="connsiteY266" fmla="*/ 91916 h 495300"/>
                  <a:gd name="connsiteX267" fmla="*/ 104680 w 276225"/>
                  <a:gd name="connsiteY267" fmla="*/ 90202 h 495300"/>
                  <a:gd name="connsiteX268" fmla="*/ 102965 w 276225"/>
                  <a:gd name="connsiteY268" fmla="*/ 87630 h 495300"/>
                  <a:gd name="connsiteX269" fmla="*/ 102108 w 276225"/>
                  <a:gd name="connsiteY269" fmla="*/ 86773 h 495300"/>
                  <a:gd name="connsiteX270" fmla="*/ 101251 w 276225"/>
                  <a:gd name="connsiteY270" fmla="*/ 85058 h 495300"/>
                  <a:gd name="connsiteX271" fmla="*/ 101251 w 276225"/>
                  <a:gd name="connsiteY271" fmla="*/ 81724 h 495300"/>
                  <a:gd name="connsiteX272" fmla="*/ 100394 w 276225"/>
                  <a:gd name="connsiteY272" fmla="*/ 80010 h 495300"/>
                  <a:gd name="connsiteX273" fmla="*/ 99536 w 276225"/>
                  <a:gd name="connsiteY273" fmla="*/ 80010 h 495300"/>
                  <a:gd name="connsiteX274" fmla="*/ 98679 w 276225"/>
                  <a:gd name="connsiteY274" fmla="*/ 80010 h 495300"/>
                  <a:gd name="connsiteX275" fmla="*/ 97822 w 276225"/>
                  <a:gd name="connsiteY275" fmla="*/ 79153 h 495300"/>
                  <a:gd name="connsiteX276" fmla="*/ 96965 w 276225"/>
                  <a:gd name="connsiteY276" fmla="*/ 79153 h 495300"/>
                  <a:gd name="connsiteX277" fmla="*/ 96107 w 276225"/>
                  <a:gd name="connsiteY277" fmla="*/ 80010 h 495300"/>
                  <a:gd name="connsiteX278" fmla="*/ 95250 w 276225"/>
                  <a:gd name="connsiteY278" fmla="*/ 80010 h 495300"/>
                  <a:gd name="connsiteX279" fmla="*/ 94393 w 276225"/>
                  <a:gd name="connsiteY279" fmla="*/ 80010 h 495300"/>
                  <a:gd name="connsiteX280" fmla="*/ 93631 w 276225"/>
                  <a:gd name="connsiteY280" fmla="*/ 79153 h 495300"/>
                  <a:gd name="connsiteX281" fmla="*/ 92773 w 276225"/>
                  <a:gd name="connsiteY281" fmla="*/ 78296 h 495300"/>
                  <a:gd name="connsiteX282" fmla="*/ 90202 w 276225"/>
                  <a:gd name="connsiteY282" fmla="*/ 76581 h 495300"/>
                  <a:gd name="connsiteX283" fmla="*/ 89344 w 276225"/>
                  <a:gd name="connsiteY283" fmla="*/ 76581 h 495300"/>
                  <a:gd name="connsiteX284" fmla="*/ 88487 w 276225"/>
                  <a:gd name="connsiteY284" fmla="*/ 76581 h 495300"/>
                  <a:gd name="connsiteX285" fmla="*/ 86773 w 276225"/>
                  <a:gd name="connsiteY285" fmla="*/ 76581 h 495300"/>
                  <a:gd name="connsiteX286" fmla="*/ 85915 w 276225"/>
                  <a:gd name="connsiteY286" fmla="*/ 76581 h 495300"/>
                  <a:gd name="connsiteX287" fmla="*/ 85915 w 276225"/>
                  <a:gd name="connsiteY287" fmla="*/ 76581 h 495300"/>
                  <a:gd name="connsiteX288" fmla="*/ 85058 w 276225"/>
                  <a:gd name="connsiteY288" fmla="*/ 75724 h 495300"/>
                  <a:gd name="connsiteX289" fmla="*/ 84201 w 276225"/>
                  <a:gd name="connsiteY289" fmla="*/ 74866 h 495300"/>
                  <a:gd name="connsiteX290" fmla="*/ 84201 w 276225"/>
                  <a:gd name="connsiteY290" fmla="*/ 73152 h 495300"/>
                  <a:gd name="connsiteX291" fmla="*/ 83344 w 276225"/>
                  <a:gd name="connsiteY291" fmla="*/ 72295 h 495300"/>
                  <a:gd name="connsiteX292" fmla="*/ 81629 w 276225"/>
                  <a:gd name="connsiteY292" fmla="*/ 71533 h 495300"/>
                  <a:gd name="connsiteX293" fmla="*/ 80867 w 276225"/>
                  <a:gd name="connsiteY293" fmla="*/ 71533 h 495300"/>
                  <a:gd name="connsiteX294" fmla="*/ 77438 w 276225"/>
                  <a:gd name="connsiteY294" fmla="*/ 70675 h 495300"/>
                  <a:gd name="connsiteX295" fmla="*/ 75724 w 276225"/>
                  <a:gd name="connsiteY295" fmla="*/ 68961 h 495300"/>
                  <a:gd name="connsiteX296" fmla="*/ 64675 w 276225"/>
                  <a:gd name="connsiteY296" fmla="*/ 57055 h 495300"/>
                  <a:gd name="connsiteX297" fmla="*/ 62960 w 276225"/>
                  <a:gd name="connsiteY297" fmla="*/ 55340 h 495300"/>
                  <a:gd name="connsiteX298" fmla="*/ 62960 w 276225"/>
                  <a:gd name="connsiteY298" fmla="*/ 55340 h 495300"/>
                  <a:gd name="connsiteX299" fmla="*/ 62103 w 276225"/>
                  <a:gd name="connsiteY299" fmla="*/ 55340 h 495300"/>
                  <a:gd name="connsiteX300" fmla="*/ 61246 w 276225"/>
                  <a:gd name="connsiteY300" fmla="*/ 55340 h 495300"/>
                  <a:gd name="connsiteX301" fmla="*/ 60388 w 276225"/>
                  <a:gd name="connsiteY301" fmla="*/ 55340 h 495300"/>
                  <a:gd name="connsiteX302" fmla="*/ 59531 w 276225"/>
                  <a:gd name="connsiteY302" fmla="*/ 55340 h 495300"/>
                  <a:gd name="connsiteX303" fmla="*/ 59531 w 276225"/>
                  <a:gd name="connsiteY303" fmla="*/ 54483 h 495300"/>
                  <a:gd name="connsiteX304" fmla="*/ 58674 w 276225"/>
                  <a:gd name="connsiteY304" fmla="*/ 53626 h 495300"/>
                  <a:gd name="connsiteX305" fmla="*/ 58674 w 276225"/>
                  <a:gd name="connsiteY305" fmla="*/ 52768 h 495300"/>
                  <a:gd name="connsiteX306" fmla="*/ 57817 w 276225"/>
                  <a:gd name="connsiteY306" fmla="*/ 49339 h 495300"/>
                  <a:gd name="connsiteX307" fmla="*/ 56959 w 276225"/>
                  <a:gd name="connsiteY307" fmla="*/ 46767 h 495300"/>
                  <a:gd name="connsiteX308" fmla="*/ 55340 w 276225"/>
                  <a:gd name="connsiteY308" fmla="*/ 45148 h 495300"/>
                  <a:gd name="connsiteX309" fmla="*/ 54483 w 276225"/>
                  <a:gd name="connsiteY309" fmla="*/ 44291 h 495300"/>
                  <a:gd name="connsiteX310" fmla="*/ 53626 w 276225"/>
                  <a:gd name="connsiteY310" fmla="*/ 43434 h 495300"/>
                  <a:gd name="connsiteX311" fmla="*/ 53626 w 276225"/>
                  <a:gd name="connsiteY311" fmla="*/ 42577 h 495300"/>
                  <a:gd name="connsiteX312" fmla="*/ 53626 w 276225"/>
                  <a:gd name="connsiteY312" fmla="*/ 40862 h 495300"/>
                  <a:gd name="connsiteX313" fmla="*/ 53626 w 276225"/>
                  <a:gd name="connsiteY313" fmla="*/ 40005 h 495300"/>
                  <a:gd name="connsiteX314" fmla="*/ 54483 w 276225"/>
                  <a:gd name="connsiteY314" fmla="*/ 39148 h 495300"/>
                  <a:gd name="connsiteX315" fmla="*/ 55340 w 276225"/>
                  <a:gd name="connsiteY315" fmla="*/ 37433 h 495300"/>
                  <a:gd name="connsiteX316" fmla="*/ 56198 w 276225"/>
                  <a:gd name="connsiteY316" fmla="*/ 37433 h 495300"/>
                  <a:gd name="connsiteX317" fmla="*/ 56959 w 276225"/>
                  <a:gd name="connsiteY317" fmla="*/ 36576 h 495300"/>
                  <a:gd name="connsiteX318" fmla="*/ 56959 w 276225"/>
                  <a:gd name="connsiteY318" fmla="*/ 35719 h 495300"/>
                  <a:gd name="connsiteX319" fmla="*/ 56959 w 276225"/>
                  <a:gd name="connsiteY319" fmla="*/ 34861 h 495300"/>
                  <a:gd name="connsiteX320" fmla="*/ 56959 w 276225"/>
                  <a:gd name="connsiteY320" fmla="*/ 34861 h 495300"/>
                  <a:gd name="connsiteX321" fmla="*/ 56959 w 276225"/>
                  <a:gd name="connsiteY321" fmla="*/ 34004 h 495300"/>
                  <a:gd name="connsiteX322" fmla="*/ 56959 w 276225"/>
                  <a:gd name="connsiteY322" fmla="*/ 34004 h 495300"/>
                  <a:gd name="connsiteX323" fmla="*/ 55340 w 276225"/>
                  <a:gd name="connsiteY323" fmla="*/ 34004 h 495300"/>
                  <a:gd name="connsiteX324" fmla="*/ 54483 w 276225"/>
                  <a:gd name="connsiteY324" fmla="*/ 34004 h 495300"/>
                  <a:gd name="connsiteX325" fmla="*/ 51911 w 276225"/>
                  <a:gd name="connsiteY325" fmla="*/ 34861 h 495300"/>
                  <a:gd name="connsiteX326" fmla="*/ 51054 w 276225"/>
                  <a:gd name="connsiteY326" fmla="*/ 34861 h 495300"/>
                  <a:gd name="connsiteX327" fmla="*/ 51054 w 276225"/>
                  <a:gd name="connsiteY327" fmla="*/ 34861 h 495300"/>
                  <a:gd name="connsiteX328" fmla="*/ 50197 w 276225"/>
                  <a:gd name="connsiteY328" fmla="*/ 34861 h 495300"/>
                  <a:gd name="connsiteX329" fmla="*/ 50197 w 276225"/>
                  <a:gd name="connsiteY329" fmla="*/ 34861 h 495300"/>
                  <a:gd name="connsiteX330" fmla="*/ 50197 w 276225"/>
                  <a:gd name="connsiteY330" fmla="*/ 34004 h 495300"/>
                  <a:gd name="connsiteX331" fmla="*/ 48482 w 276225"/>
                  <a:gd name="connsiteY331" fmla="*/ 32385 h 495300"/>
                  <a:gd name="connsiteX332" fmla="*/ 47625 w 276225"/>
                  <a:gd name="connsiteY332" fmla="*/ 31528 h 495300"/>
                  <a:gd name="connsiteX333" fmla="*/ 47625 w 276225"/>
                  <a:gd name="connsiteY333" fmla="*/ 31528 h 495300"/>
                  <a:gd name="connsiteX334" fmla="*/ 47625 w 276225"/>
                  <a:gd name="connsiteY334" fmla="*/ 31528 h 495300"/>
                  <a:gd name="connsiteX335" fmla="*/ 46768 w 276225"/>
                  <a:gd name="connsiteY335" fmla="*/ 31528 h 495300"/>
                  <a:gd name="connsiteX336" fmla="*/ 46768 w 276225"/>
                  <a:gd name="connsiteY336" fmla="*/ 30671 h 495300"/>
                  <a:gd name="connsiteX337" fmla="*/ 45910 w 276225"/>
                  <a:gd name="connsiteY337" fmla="*/ 29813 h 495300"/>
                  <a:gd name="connsiteX338" fmla="*/ 45053 w 276225"/>
                  <a:gd name="connsiteY338" fmla="*/ 28956 h 495300"/>
                  <a:gd name="connsiteX339" fmla="*/ 44196 w 276225"/>
                  <a:gd name="connsiteY339" fmla="*/ 27241 h 495300"/>
                  <a:gd name="connsiteX340" fmla="*/ 43434 w 276225"/>
                  <a:gd name="connsiteY340" fmla="*/ 26384 h 495300"/>
                  <a:gd name="connsiteX341" fmla="*/ 43434 w 276225"/>
                  <a:gd name="connsiteY341" fmla="*/ 25527 h 495300"/>
                  <a:gd name="connsiteX342" fmla="*/ 44196 w 276225"/>
                  <a:gd name="connsiteY342" fmla="*/ 24670 h 495300"/>
                  <a:gd name="connsiteX343" fmla="*/ 45053 w 276225"/>
                  <a:gd name="connsiteY343" fmla="*/ 22955 h 495300"/>
                  <a:gd name="connsiteX344" fmla="*/ 45910 w 276225"/>
                  <a:gd name="connsiteY344" fmla="*/ 20479 h 495300"/>
                  <a:gd name="connsiteX345" fmla="*/ 40862 w 276225"/>
                  <a:gd name="connsiteY345" fmla="*/ 18764 h 495300"/>
                  <a:gd name="connsiteX346" fmla="*/ 40005 w 276225"/>
                  <a:gd name="connsiteY346" fmla="*/ 18764 h 495300"/>
                  <a:gd name="connsiteX347" fmla="*/ 39148 w 276225"/>
                  <a:gd name="connsiteY347" fmla="*/ 19621 h 495300"/>
                  <a:gd name="connsiteX348" fmla="*/ 38290 w 276225"/>
                  <a:gd name="connsiteY348" fmla="*/ 20479 h 495300"/>
                  <a:gd name="connsiteX349" fmla="*/ 38290 w 276225"/>
                  <a:gd name="connsiteY349" fmla="*/ 20479 h 495300"/>
                  <a:gd name="connsiteX350" fmla="*/ 37433 w 276225"/>
                  <a:gd name="connsiteY350" fmla="*/ 20479 h 495300"/>
                  <a:gd name="connsiteX351" fmla="*/ 36576 w 276225"/>
                  <a:gd name="connsiteY351" fmla="*/ 20479 h 495300"/>
                  <a:gd name="connsiteX352" fmla="*/ 35719 w 276225"/>
                  <a:gd name="connsiteY352" fmla="*/ 20479 h 495300"/>
                  <a:gd name="connsiteX353" fmla="*/ 34861 w 276225"/>
                  <a:gd name="connsiteY353" fmla="*/ 19621 h 495300"/>
                  <a:gd name="connsiteX354" fmla="*/ 33147 w 276225"/>
                  <a:gd name="connsiteY354" fmla="*/ 17050 h 495300"/>
                  <a:gd name="connsiteX355" fmla="*/ 32290 w 276225"/>
                  <a:gd name="connsiteY355" fmla="*/ 16192 h 495300"/>
                  <a:gd name="connsiteX356" fmla="*/ 31528 w 276225"/>
                  <a:gd name="connsiteY356" fmla="*/ 16192 h 495300"/>
                  <a:gd name="connsiteX357" fmla="*/ 30671 w 276225"/>
                  <a:gd name="connsiteY357" fmla="*/ 17050 h 495300"/>
                  <a:gd name="connsiteX358" fmla="*/ 29813 w 276225"/>
                  <a:gd name="connsiteY358" fmla="*/ 17050 h 495300"/>
                  <a:gd name="connsiteX359" fmla="*/ 28956 w 276225"/>
                  <a:gd name="connsiteY359" fmla="*/ 17050 h 495300"/>
                  <a:gd name="connsiteX360" fmla="*/ 28099 w 276225"/>
                  <a:gd name="connsiteY360" fmla="*/ 17050 h 495300"/>
                  <a:gd name="connsiteX361" fmla="*/ 27242 w 276225"/>
                  <a:gd name="connsiteY361" fmla="*/ 16192 h 495300"/>
                  <a:gd name="connsiteX362" fmla="*/ 27242 w 276225"/>
                  <a:gd name="connsiteY362" fmla="*/ 15335 h 495300"/>
                  <a:gd name="connsiteX363" fmla="*/ 27242 w 276225"/>
                  <a:gd name="connsiteY363" fmla="*/ 14478 h 495300"/>
                  <a:gd name="connsiteX364" fmla="*/ 27242 w 276225"/>
                  <a:gd name="connsiteY364" fmla="*/ 13621 h 495300"/>
                  <a:gd name="connsiteX365" fmla="*/ 27242 w 276225"/>
                  <a:gd name="connsiteY365" fmla="*/ 12763 h 495300"/>
                  <a:gd name="connsiteX366" fmla="*/ 27242 w 276225"/>
                  <a:gd name="connsiteY366" fmla="*/ 11906 h 495300"/>
                  <a:gd name="connsiteX367" fmla="*/ 27242 w 276225"/>
                  <a:gd name="connsiteY367" fmla="*/ 11049 h 495300"/>
                  <a:gd name="connsiteX368" fmla="*/ 27242 w 276225"/>
                  <a:gd name="connsiteY368" fmla="*/ 11049 h 495300"/>
                  <a:gd name="connsiteX369" fmla="*/ 26384 w 276225"/>
                  <a:gd name="connsiteY369" fmla="*/ 10192 h 495300"/>
                  <a:gd name="connsiteX370" fmla="*/ 23813 w 276225"/>
                  <a:gd name="connsiteY370" fmla="*/ 9334 h 495300"/>
                  <a:gd name="connsiteX371" fmla="*/ 22955 w 276225"/>
                  <a:gd name="connsiteY371" fmla="*/ 8477 h 495300"/>
                  <a:gd name="connsiteX372" fmla="*/ 21241 w 276225"/>
                  <a:gd name="connsiteY372" fmla="*/ 8477 h 495300"/>
                  <a:gd name="connsiteX373" fmla="*/ 20383 w 276225"/>
                  <a:gd name="connsiteY373" fmla="*/ 9334 h 495300"/>
                  <a:gd name="connsiteX374" fmla="*/ 19526 w 276225"/>
                  <a:gd name="connsiteY374" fmla="*/ 10192 h 495300"/>
                  <a:gd name="connsiteX375" fmla="*/ 18764 w 276225"/>
                  <a:gd name="connsiteY375" fmla="*/ 10192 h 495300"/>
                  <a:gd name="connsiteX376" fmla="*/ 18764 w 276225"/>
                  <a:gd name="connsiteY376" fmla="*/ 10192 h 495300"/>
                  <a:gd name="connsiteX377" fmla="*/ 17907 w 276225"/>
                  <a:gd name="connsiteY377" fmla="*/ 10192 h 495300"/>
                  <a:gd name="connsiteX378" fmla="*/ 17050 w 276225"/>
                  <a:gd name="connsiteY378" fmla="*/ 10192 h 495300"/>
                  <a:gd name="connsiteX379" fmla="*/ 16192 w 276225"/>
                  <a:gd name="connsiteY379" fmla="*/ 9334 h 495300"/>
                  <a:gd name="connsiteX380" fmla="*/ 16192 w 276225"/>
                  <a:gd name="connsiteY380" fmla="*/ 8477 h 495300"/>
                  <a:gd name="connsiteX381" fmla="*/ 16192 w 276225"/>
                  <a:gd name="connsiteY381" fmla="*/ 8477 h 495300"/>
                  <a:gd name="connsiteX382" fmla="*/ 17050 w 276225"/>
                  <a:gd name="connsiteY382" fmla="*/ 7715 h 495300"/>
                  <a:gd name="connsiteX383" fmla="*/ 17050 w 276225"/>
                  <a:gd name="connsiteY383" fmla="*/ 7715 h 495300"/>
                  <a:gd name="connsiteX384" fmla="*/ 16192 w 276225"/>
                  <a:gd name="connsiteY384" fmla="*/ 6858 h 495300"/>
                  <a:gd name="connsiteX385" fmla="*/ 16192 w 276225"/>
                  <a:gd name="connsiteY385" fmla="*/ 6858 h 495300"/>
                  <a:gd name="connsiteX386" fmla="*/ 15335 w 276225"/>
                  <a:gd name="connsiteY386" fmla="*/ 6858 h 495300"/>
                  <a:gd name="connsiteX387" fmla="*/ 13621 w 276225"/>
                  <a:gd name="connsiteY387" fmla="*/ 6858 h 495300"/>
                  <a:gd name="connsiteX388" fmla="*/ 12763 w 276225"/>
                  <a:gd name="connsiteY388" fmla="*/ 6001 h 495300"/>
                  <a:gd name="connsiteX389" fmla="*/ 11906 w 276225"/>
                  <a:gd name="connsiteY389" fmla="*/ 6001 h 495300"/>
                  <a:gd name="connsiteX390" fmla="*/ 11049 w 276225"/>
                  <a:gd name="connsiteY390" fmla="*/ 5143 h 495300"/>
                  <a:gd name="connsiteX391" fmla="*/ 11049 w 276225"/>
                  <a:gd name="connsiteY391" fmla="*/ 4286 h 495300"/>
                  <a:gd name="connsiteX392" fmla="*/ 11049 w 276225"/>
                  <a:gd name="connsiteY392" fmla="*/ 4286 h 495300"/>
                  <a:gd name="connsiteX393" fmla="*/ 10192 w 276225"/>
                  <a:gd name="connsiteY393" fmla="*/ 1714 h 495300"/>
                  <a:gd name="connsiteX394" fmla="*/ 10192 w 276225"/>
                  <a:gd name="connsiteY394" fmla="*/ 1714 h 495300"/>
                  <a:gd name="connsiteX395" fmla="*/ 10192 w 276225"/>
                  <a:gd name="connsiteY395" fmla="*/ 857 h 495300"/>
                  <a:gd name="connsiteX396" fmla="*/ 10192 w 276225"/>
                  <a:gd name="connsiteY396" fmla="*/ 857 h 495300"/>
                  <a:gd name="connsiteX397" fmla="*/ 9334 w 276225"/>
                  <a:gd name="connsiteY397" fmla="*/ 0 h 495300"/>
                  <a:gd name="connsiteX398" fmla="*/ 8477 w 276225"/>
                  <a:gd name="connsiteY398" fmla="*/ 0 h 495300"/>
                  <a:gd name="connsiteX399" fmla="*/ 7620 w 276225"/>
                  <a:gd name="connsiteY399" fmla="*/ 0 h 495300"/>
                  <a:gd name="connsiteX400" fmla="*/ 4286 w 276225"/>
                  <a:gd name="connsiteY400" fmla="*/ 0 h 495300"/>
                  <a:gd name="connsiteX401" fmla="*/ 0 w 276225"/>
                  <a:gd name="connsiteY401" fmla="*/ 1714 h 495300"/>
                  <a:gd name="connsiteX402" fmla="*/ 0 w 276225"/>
                  <a:gd name="connsiteY402" fmla="*/ 2572 h 495300"/>
                  <a:gd name="connsiteX403" fmla="*/ 1715 w 276225"/>
                  <a:gd name="connsiteY403" fmla="*/ 4286 h 495300"/>
                  <a:gd name="connsiteX404" fmla="*/ 2572 w 276225"/>
                  <a:gd name="connsiteY404" fmla="*/ 6001 h 495300"/>
                  <a:gd name="connsiteX405" fmla="*/ 11049 w 276225"/>
                  <a:gd name="connsiteY405" fmla="*/ 27241 h 495300"/>
                  <a:gd name="connsiteX406" fmla="*/ 13621 w 276225"/>
                  <a:gd name="connsiteY406" fmla="*/ 30671 h 495300"/>
                  <a:gd name="connsiteX407" fmla="*/ 14478 w 276225"/>
                  <a:gd name="connsiteY407" fmla="*/ 32385 h 495300"/>
                  <a:gd name="connsiteX408" fmla="*/ 14478 w 276225"/>
                  <a:gd name="connsiteY408" fmla="*/ 34861 h 495300"/>
                  <a:gd name="connsiteX409" fmla="*/ 15335 w 276225"/>
                  <a:gd name="connsiteY409" fmla="*/ 35719 h 495300"/>
                  <a:gd name="connsiteX410" fmla="*/ 16192 w 276225"/>
                  <a:gd name="connsiteY410" fmla="*/ 36576 h 495300"/>
                  <a:gd name="connsiteX411" fmla="*/ 17050 w 276225"/>
                  <a:gd name="connsiteY411" fmla="*/ 37433 h 495300"/>
                  <a:gd name="connsiteX412" fmla="*/ 17050 w 276225"/>
                  <a:gd name="connsiteY412" fmla="*/ 37433 h 495300"/>
                  <a:gd name="connsiteX413" fmla="*/ 17050 w 276225"/>
                  <a:gd name="connsiteY413" fmla="*/ 38290 h 495300"/>
                  <a:gd name="connsiteX414" fmla="*/ 17907 w 276225"/>
                  <a:gd name="connsiteY414" fmla="*/ 40862 h 495300"/>
                  <a:gd name="connsiteX415" fmla="*/ 25527 w 276225"/>
                  <a:gd name="connsiteY415" fmla="*/ 53626 h 495300"/>
                  <a:gd name="connsiteX416" fmla="*/ 27242 w 276225"/>
                  <a:gd name="connsiteY416" fmla="*/ 57912 h 495300"/>
                  <a:gd name="connsiteX417" fmla="*/ 28099 w 276225"/>
                  <a:gd name="connsiteY417" fmla="*/ 60388 h 495300"/>
                  <a:gd name="connsiteX418" fmla="*/ 28099 w 276225"/>
                  <a:gd name="connsiteY418" fmla="*/ 61246 h 495300"/>
                  <a:gd name="connsiteX419" fmla="*/ 28099 w 276225"/>
                  <a:gd name="connsiteY419" fmla="*/ 62960 h 495300"/>
                  <a:gd name="connsiteX420" fmla="*/ 28956 w 276225"/>
                  <a:gd name="connsiteY420" fmla="*/ 62103 h 495300"/>
                  <a:gd name="connsiteX421" fmla="*/ 29813 w 276225"/>
                  <a:gd name="connsiteY421" fmla="*/ 61246 h 495300"/>
                  <a:gd name="connsiteX422" fmla="*/ 29813 w 276225"/>
                  <a:gd name="connsiteY422" fmla="*/ 60388 h 495300"/>
                  <a:gd name="connsiteX423" fmla="*/ 31528 w 276225"/>
                  <a:gd name="connsiteY423" fmla="*/ 59531 h 495300"/>
                  <a:gd name="connsiteX424" fmla="*/ 31528 w 276225"/>
                  <a:gd name="connsiteY424" fmla="*/ 60388 h 495300"/>
                  <a:gd name="connsiteX425" fmla="*/ 30671 w 276225"/>
                  <a:gd name="connsiteY425" fmla="*/ 64675 h 495300"/>
                  <a:gd name="connsiteX426" fmla="*/ 32290 w 276225"/>
                  <a:gd name="connsiteY426" fmla="*/ 69818 h 495300"/>
                  <a:gd name="connsiteX427" fmla="*/ 36576 w 276225"/>
                  <a:gd name="connsiteY427" fmla="*/ 79153 h 495300"/>
                  <a:gd name="connsiteX428" fmla="*/ 36576 w 276225"/>
                  <a:gd name="connsiteY428" fmla="*/ 83439 h 495300"/>
                  <a:gd name="connsiteX429" fmla="*/ 37433 w 276225"/>
                  <a:gd name="connsiteY429" fmla="*/ 85058 h 495300"/>
                  <a:gd name="connsiteX430" fmla="*/ 39148 w 276225"/>
                  <a:gd name="connsiteY430" fmla="*/ 86773 h 495300"/>
                  <a:gd name="connsiteX431" fmla="*/ 39148 w 276225"/>
                  <a:gd name="connsiteY431" fmla="*/ 86773 h 495300"/>
                  <a:gd name="connsiteX432" fmla="*/ 39148 w 276225"/>
                  <a:gd name="connsiteY432" fmla="*/ 85915 h 495300"/>
                  <a:gd name="connsiteX433" fmla="*/ 40005 w 276225"/>
                  <a:gd name="connsiteY433" fmla="*/ 85915 h 495300"/>
                  <a:gd name="connsiteX434" fmla="*/ 40862 w 276225"/>
                  <a:gd name="connsiteY434" fmla="*/ 85058 h 495300"/>
                  <a:gd name="connsiteX435" fmla="*/ 40862 w 276225"/>
                  <a:gd name="connsiteY435" fmla="*/ 83439 h 495300"/>
                  <a:gd name="connsiteX436" fmla="*/ 40862 w 276225"/>
                  <a:gd name="connsiteY436" fmla="*/ 76581 h 495300"/>
                  <a:gd name="connsiteX437" fmla="*/ 42577 w 276225"/>
                  <a:gd name="connsiteY437" fmla="*/ 75724 h 495300"/>
                  <a:gd name="connsiteX438" fmla="*/ 44196 w 276225"/>
                  <a:gd name="connsiteY438" fmla="*/ 75724 h 495300"/>
                  <a:gd name="connsiteX439" fmla="*/ 46768 w 276225"/>
                  <a:gd name="connsiteY439" fmla="*/ 76581 h 495300"/>
                  <a:gd name="connsiteX440" fmla="*/ 47625 w 276225"/>
                  <a:gd name="connsiteY440" fmla="*/ 75724 h 495300"/>
                  <a:gd name="connsiteX441" fmla="*/ 48482 w 276225"/>
                  <a:gd name="connsiteY441" fmla="*/ 74866 h 495300"/>
                  <a:gd name="connsiteX442" fmla="*/ 49340 w 276225"/>
                  <a:gd name="connsiteY442" fmla="*/ 74009 h 495300"/>
                  <a:gd name="connsiteX443" fmla="*/ 50197 w 276225"/>
                  <a:gd name="connsiteY443" fmla="*/ 73152 h 495300"/>
                  <a:gd name="connsiteX444" fmla="*/ 51911 w 276225"/>
                  <a:gd name="connsiteY444" fmla="*/ 71533 h 495300"/>
                  <a:gd name="connsiteX445" fmla="*/ 53626 w 276225"/>
                  <a:gd name="connsiteY445" fmla="*/ 72295 h 495300"/>
                  <a:gd name="connsiteX446" fmla="*/ 55340 w 276225"/>
                  <a:gd name="connsiteY446" fmla="*/ 72295 h 495300"/>
                  <a:gd name="connsiteX447" fmla="*/ 56959 w 276225"/>
                  <a:gd name="connsiteY447" fmla="*/ 72295 h 495300"/>
                  <a:gd name="connsiteX448" fmla="*/ 58674 w 276225"/>
                  <a:gd name="connsiteY448" fmla="*/ 71533 h 495300"/>
                  <a:gd name="connsiteX449" fmla="*/ 60388 w 276225"/>
                  <a:gd name="connsiteY449" fmla="*/ 71533 h 495300"/>
                  <a:gd name="connsiteX450" fmla="*/ 60388 w 276225"/>
                  <a:gd name="connsiteY450" fmla="*/ 73152 h 495300"/>
                  <a:gd name="connsiteX451" fmla="*/ 58674 w 276225"/>
                  <a:gd name="connsiteY451" fmla="*/ 73152 h 495300"/>
                  <a:gd name="connsiteX452" fmla="*/ 56959 w 276225"/>
                  <a:gd name="connsiteY452" fmla="*/ 74009 h 495300"/>
                  <a:gd name="connsiteX453" fmla="*/ 55340 w 276225"/>
                  <a:gd name="connsiteY453" fmla="*/ 74866 h 495300"/>
                  <a:gd name="connsiteX454" fmla="*/ 54483 w 276225"/>
                  <a:gd name="connsiteY454" fmla="*/ 76581 h 495300"/>
                  <a:gd name="connsiteX455" fmla="*/ 53626 w 276225"/>
                  <a:gd name="connsiteY455" fmla="*/ 76581 h 495300"/>
                  <a:gd name="connsiteX456" fmla="*/ 52769 w 276225"/>
                  <a:gd name="connsiteY456" fmla="*/ 76581 h 495300"/>
                  <a:gd name="connsiteX457" fmla="*/ 51911 w 276225"/>
                  <a:gd name="connsiteY457" fmla="*/ 75724 h 495300"/>
                  <a:gd name="connsiteX458" fmla="*/ 50197 w 276225"/>
                  <a:gd name="connsiteY458" fmla="*/ 77438 h 495300"/>
                  <a:gd name="connsiteX459" fmla="*/ 49340 w 276225"/>
                  <a:gd name="connsiteY459" fmla="*/ 80010 h 495300"/>
                  <a:gd name="connsiteX460" fmla="*/ 50197 w 276225"/>
                  <a:gd name="connsiteY460" fmla="*/ 81724 h 495300"/>
                  <a:gd name="connsiteX461" fmla="*/ 50197 w 276225"/>
                  <a:gd name="connsiteY461" fmla="*/ 83439 h 495300"/>
                  <a:gd name="connsiteX462" fmla="*/ 50197 w 276225"/>
                  <a:gd name="connsiteY462" fmla="*/ 83439 h 495300"/>
                  <a:gd name="connsiteX463" fmla="*/ 51911 w 276225"/>
                  <a:gd name="connsiteY463" fmla="*/ 85058 h 495300"/>
                  <a:gd name="connsiteX464" fmla="*/ 52769 w 276225"/>
                  <a:gd name="connsiteY464" fmla="*/ 86773 h 495300"/>
                  <a:gd name="connsiteX465" fmla="*/ 51054 w 276225"/>
                  <a:gd name="connsiteY465" fmla="*/ 86773 h 495300"/>
                  <a:gd name="connsiteX466" fmla="*/ 47625 w 276225"/>
                  <a:gd name="connsiteY466" fmla="*/ 86773 h 495300"/>
                  <a:gd name="connsiteX467" fmla="*/ 46768 w 276225"/>
                  <a:gd name="connsiteY467" fmla="*/ 87630 h 495300"/>
                  <a:gd name="connsiteX468" fmla="*/ 48482 w 276225"/>
                  <a:gd name="connsiteY468" fmla="*/ 90202 h 495300"/>
                  <a:gd name="connsiteX469" fmla="*/ 49340 w 276225"/>
                  <a:gd name="connsiteY469" fmla="*/ 91916 h 495300"/>
                  <a:gd name="connsiteX470" fmla="*/ 51054 w 276225"/>
                  <a:gd name="connsiteY470" fmla="*/ 92773 h 495300"/>
                  <a:gd name="connsiteX471" fmla="*/ 52769 w 276225"/>
                  <a:gd name="connsiteY471" fmla="*/ 93631 h 495300"/>
                  <a:gd name="connsiteX472" fmla="*/ 54483 w 276225"/>
                  <a:gd name="connsiteY472" fmla="*/ 93631 h 495300"/>
                  <a:gd name="connsiteX473" fmla="*/ 56198 w 276225"/>
                  <a:gd name="connsiteY473" fmla="*/ 93631 h 495300"/>
                  <a:gd name="connsiteX474" fmla="*/ 58674 w 276225"/>
                  <a:gd name="connsiteY474" fmla="*/ 91059 h 495300"/>
                  <a:gd name="connsiteX475" fmla="*/ 59531 w 276225"/>
                  <a:gd name="connsiteY475" fmla="*/ 91059 h 495300"/>
                  <a:gd name="connsiteX476" fmla="*/ 58674 w 276225"/>
                  <a:gd name="connsiteY476" fmla="*/ 92773 h 495300"/>
                  <a:gd name="connsiteX477" fmla="*/ 58674 w 276225"/>
                  <a:gd name="connsiteY477" fmla="*/ 94488 h 495300"/>
                  <a:gd name="connsiteX478" fmla="*/ 58674 w 276225"/>
                  <a:gd name="connsiteY478" fmla="*/ 95345 h 495300"/>
                  <a:gd name="connsiteX479" fmla="*/ 60388 w 276225"/>
                  <a:gd name="connsiteY479" fmla="*/ 96202 h 495300"/>
                  <a:gd name="connsiteX480" fmla="*/ 60388 w 276225"/>
                  <a:gd name="connsiteY480" fmla="*/ 97059 h 495300"/>
                  <a:gd name="connsiteX481" fmla="*/ 51911 w 276225"/>
                  <a:gd name="connsiteY481" fmla="*/ 95345 h 495300"/>
                  <a:gd name="connsiteX482" fmla="*/ 50197 w 276225"/>
                  <a:gd name="connsiteY482" fmla="*/ 95345 h 495300"/>
                  <a:gd name="connsiteX483" fmla="*/ 51911 w 276225"/>
                  <a:gd name="connsiteY483" fmla="*/ 99536 h 495300"/>
                  <a:gd name="connsiteX484" fmla="*/ 54483 w 276225"/>
                  <a:gd name="connsiteY484" fmla="*/ 102108 h 495300"/>
                  <a:gd name="connsiteX485" fmla="*/ 55340 w 276225"/>
                  <a:gd name="connsiteY485" fmla="*/ 103822 h 495300"/>
                  <a:gd name="connsiteX486" fmla="*/ 55340 w 276225"/>
                  <a:gd name="connsiteY486" fmla="*/ 103822 h 495300"/>
                  <a:gd name="connsiteX487" fmla="*/ 57817 w 276225"/>
                  <a:gd name="connsiteY487" fmla="*/ 102965 h 495300"/>
                  <a:gd name="connsiteX488" fmla="*/ 57817 w 276225"/>
                  <a:gd name="connsiteY488" fmla="*/ 102965 h 495300"/>
                  <a:gd name="connsiteX489" fmla="*/ 72295 w 276225"/>
                  <a:gd name="connsiteY489" fmla="*/ 118300 h 495300"/>
                  <a:gd name="connsiteX490" fmla="*/ 74867 w 276225"/>
                  <a:gd name="connsiteY490" fmla="*/ 122587 h 495300"/>
                  <a:gd name="connsiteX491" fmla="*/ 80867 w 276225"/>
                  <a:gd name="connsiteY491" fmla="*/ 136969 h 495300"/>
                  <a:gd name="connsiteX492" fmla="*/ 80867 w 276225"/>
                  <a:gd name="connsiteY492" fmla="*/ 138684 h 495300"/>
                  <a:gd name="connsiteX493" fmla="*/ 82486 w 276225"/>
                  <a:gd name="connsiteY493" fmla="*/ 141256 h 495300"/>
                  <a:gd name="connsiteX494" fmla="*/ 83344 w 276225"/>
                  <a:gd name="connsiteY494" fmla="*/ 143827 h 495300"/>
                  <a:gd name="connsiteX495" fmla="*/ 83344 w 276225"/>
                  <a:gd name="connsiteY495" fmla="*/ 146399 h 495300"/>
                  <a:gd name="connsiteX496" fmla="*/ 84201 w 276225"/>
                  <a:gd name="connsiteY496" fmla="*/ 147256 h 495300"/>
                  <a:gd name="connsiteX497" fmla="*/ 85915 w 276225"/>
                  <a:gd name="connsiteY497" fmla="*/ 148114 h 495300"/>
                  <a:gd name="connsiteX498" fmla="*/ 88487 w 276225"/>
                  <a:gd name="connsiteY498" fmla="*/ 148114 h 495300"/>
                  <a:gd name="connsiteX499" fmla="*/ 90202 w 276225"/>
                  <a:gd name="connsiteY499" fmla="*/ 148971 h 495300"/>
                  <a:gd name="connsiteX500" fmla="*/ 91059 w 276225"/>
                  <a:gd name="connsiteY500" fmla="*/ 149733 h 495300"/>
                  <a:gd name="connsiteX501" fmla="*/ 92773 w 276225"/>
                  <a:gd name="connsiteY501" fmla="*/ 153162 h 495300"/>
                  <a:gd name="connsiteX502" fmla="*/ 95250 w 276225"/>
                  <a:gd name="connsiteY502" fmla="*/ 157448 h 495300"/>
                  <a:gd name="connsiteX503" fmla="*/ 96107 w 276225"/>
                  <a:gd name="connsiteY503" fmla="*/ 159163 h 495300"/>
                  <a:gd name="connsiteX504" fmla="*/ 97822 w 276225"/>
                  <a:gd name="connsiteY504" fmla="*/ 158305 h 495300"/>
                  <a:gd name="connsiteX505" fmla="*/ 98679 w 276225"/>
                  <a:gd name="connsiteY505" fmla="*/ 160020 h 495300"/>
                  <a:gd name="connsiteX506" fmla="*/ 97822 w 276225"/>
                  <a:gd name="connsiteY506" fmla="*/ 160877 h 495300"/>
                  <a:gd name="connsiteX507" fmla="*/ 96965 w 276225"/>
                  <a:gd name="connsiteY507" fmla="*/ 161734 h 495300"/>
                  <a:gd name="connsiteX508" fmla="*/ 96965 w 276225"/>
                  <a:gd name="connsiteY508" fmla="*/ 163354 h 495300"/>
                  <a:gd name="connsiteX509" fmla="*/ 96965 w 276225"/>
                  <a:gd name="connsiteY509" fmla="*/ 164211 h 495300"/>
                  <a:gd name="connsiteX510" fmla="*/ 97822 w 276225"/>
                  <a:gd name="connsiteY510" fmla="*/ 165068 h 495300"/>
                  <a:gd name="connsiteX511" fmla="*/ 98679 w 276225"/>
                  <a:gd name="connsiteY511" fmla="*/ 165925 h 495300"/>
                  <a:gd name="connsiteX512" fmla="*/ 108871 w 276225"/>
                  <a:gd name="connsiteY512" fmla="*/ 189738 h 495300"/>
                  <a:gd name="connsiteX513" fmla="*/ 114014 w 276225"/>
                  <a:gd name="connsiteY513" fmla="*/ 208502 h 495300"/>
                  <a:gd name="connsiteX514" fmla="*/ 114871 w 276225"/>
                  <a:gd name="connsiteY514" fmla="*/ 217837 h 495300"/>
                  <a:gd name="connsiteX515" fmla="*/ 117443 w 276225"/>
                  <a:gd name="connsiteY515" fmla="*/ 222123 h 495300"/>
                  <a:gd name="connsiteX516" fmla="*/ 120777 w 276225"/>
                  <a:gd name="connsiteY516" fmla="*/ 223838 h 495300"/>
                  <a:gd name="connsiteX517" fmla="*/ 119920 w 276225"/>
                  <a:gd name="connsiteY517" fmla="*/ 223838 h 495300"/>
                  <a:gd name="connsiteX518" fmla="*/ 118300 w 276225"/>
                  <a:gd name="connsiteY518" fmla="*/ 225552 h 495300"/>
                  <a:gd name="connsiteX519" fmla="*/ 118300 w 276225"/>
                  <a:gd name="connsiteY519" fmla="*/ 225552 h 495300"/>
                  <a:gd name="connsiteX520" fmla="*/ 118300 w 276225"/>
                  <a:gd name="connsiteY520" fmla="*/ 227171 h 495300"/>
                  <a:gd name="connsiteX521" fmla="*/ 119063 w 276225"/>
                  <a:gd name="connsiteY521" fmla="*/ 228028 h 495300"/>
                  <a:gd name="connsiteX522" fmla="*/ 119063 w 276225"/>
                  <a:gd name="connsiteY522" fmla="*/ 228886 h 495300"/>
                  <a:gd name="connsiteX523" fmla="*/ 119920 w 276225"/>
                  <a:gd name="connsiteY523" fmla="*/ 229743 h 495300"/>
                  <a:gd name="connsiteX524" fmla="*/ 119920 w 276225"/>
                  <a:gd name="connsiteY524" fmla="*/ 231457 h 495300"/>
                  <a:gd name="connsiteX525" fmla="*/ 126778 w 276225"/>
                  <a:gd name="connsiteY525" fmla="*/ 245078 h 495300"/>
                  <a:gd name="connsiteX526" fmla="*/ 127635 w 276225"/>
                  <a:gd name="connsiteY526" fmla="*/ 249364 h 495300"/>
                  <a:gd name="connsiteX527" fmla="*/ 129349 w 276225"/>
                  <a:gd name="connsiteY527" fmla="*/ 251079 h 495300"/>
                  <a:gd name="connsiteX528" fmla="*/ 131826 w 276225"/>
                  <a:gd name="connsiteY528" fmla="*/ 253555 h 495300"/>
                  <a:gd name="connsiteX529" fmla="*/ 132683 w 276225"/>
                  <a:gd name="connsiteY529" fmla="*/ 255270 h 495300"/>
                  <a:gd name="connsiteX530" fmla="*/ 133540 w 276225"/>
                  <a:gd name="connsiteY530" fmla="*/ 260413 h 495300"/>
                  <a:gd name="connsiteX531" fmla="*/ 134398 w 276225"/>
                  <a:gd name="connsiteY531" fmla="*/ 262128 h 495300"/>
                  <a:gd name="connsiteX532" fmla="*/ 134398 w 276225"/>
                  <a:gd name="connsiteY532" fmla="*/ 263842 h 495300"/>
                  <a:gd name="connsiteX533" fmla="*/ 138684 w 276225"/>
                  <a:gd name="connsiteY533" fmla="*/ 269748 h 495300"/>
                  <a:gd name="connsiteX534" fmla="*/ 140398 w 276225"/>
                  <a:gd name="connsiteY534" fmla="*/ 274034 h 495300"/>
                  <a:gd name="connsiteX535" fmla="*/ 142113 w 276225"/>
                  <a:gd name="connsiteY535" fmla="*/ 283369 h 495300"/>
                  <a:gd name="connsiteX536" fmla="*/ 143732 w 276225"/>
                  <a:gd name="connsiteY536" fmla="*/ 288512 h 495300"/>
                  <a:gd name="connsiteX537" fmla="*/ 144590 w 276225"/>
                  <a:gd name="connsiteY537" fmla="*/ 289369 h 495300"/>
                  <a:gd name="connsiteX538" fmla="*/ 145447 w 276225"/>
                  <a:gd name="connsiteY538" fmla="*/ 290989 h 495300"/>
                  <a:gd name="connsiteX539" fmla="*/ 147161 w 276225"/>
                  <a:gd name="connsiteY539" fmla="*/ 291846 h 495300"/>
                  <a:gd name="connsiteX540" fmla="*/ 149733 w 276225"/>
                  <a:gd name="connsiteY540" fmla="*/ 290131 h 495300"/>
                  <a:gd name="connsiteX541" fmla="*/ 150590 w 276225"/>
                  <a:gd name="connsiteY541" fmla="*/ 288512 h 495300"/>
                  <a:gd name="connsiteX542" fmla="*/ 149733 w 276225"/>
                  <a:gd name="connsiteY542" fmla="*/ 286798 h 495300"/>
                  <a:gd name="connsiteX543" fmla="*/ 148019 w 276225"/>
                  <a:gd name="connsiteY543" fmla="*/ 282511 h 495300"/>
                  <a:gd name="connsiteX544" fmla="*/ 149733 w 276225"/>
                  <a:gd name="connsiteY544" fmla="*/ 283369 h 495300"/>
                  <a:gd name="connsiteX545" fmla="*/ 150590 w 276225"/>
                  <a:gd name="connsiteY545" fmla="*/ 284226 h 495300"/>
                  <a:gd name="connsiteX546" fmla="*/ 151448 w 276225"/>
                  <a:gd name="connsiteY546" fmla="*/ 286798 h 495300"/>
                  <a:gd name="connsiteX547" fmla="*/ 152305 w 276225"/>
                  <a:gd name="connsiteY547" fmla="*/ 286798 h 495300"/>
                  <a:gd name="connsiteX548" fmla="*/ 153162 w 276225"/>
                  <a:gd name="connsiteY548" fmla="*/ 285940 h 495300"/>
                  <a:gd name="connsiteX549" fmla="*/ 154019 w 276225"/>
                  <a:gd name="connsiteY549" fmla="*/ 285940 h 495300"/>
                  <a:gd name="connsiteX550" fmla="*/ 154019 w 276225"/>
                  <a:gd name="connsiteY550" fmla="*/ 286798 h 495300"/>
                  <a:gd name="connsiteX551" fmla="*/ 154019 w 276225"/>
                  <a:gd name="connsiteY551" fmla="*/ 287655 h 495300"/>
                  <a:gd name="connsiteX552" fmla="*/ 153162 w 276225"/>
                  <a:gd name="connsiteY552" fmla="*/ 288512 h 495300"/>
                  <a:gd name="connsiteX553" fmla="*/ 153162 w 276225"/>
                  <a:gd name="connsiteY553" fmla="*/ 289369 h 495300"/>
                  <a:gd name="connsiteX554" fmla="*/ 151448 w 276225"/>
                  <a:gd name="connsiteY554" fmla="*/ 290989 h 495300"/>
                  <a:gd name="connsiteX555" fmla="*/ 146304 w 276225"/>
                  <a:gd name="connsiteY555" fmla="*/ 293560 h 495300"/>
                  <a:gd name="connsiteX556" fmla="*/ 146304 w 276225"/>
                  <a:gd name="connsiteY556" fmla="*/ 295275 h 495300"/>
                  <a:gd name="connsiteX557" fmla="*/ 147161 w 276225"/>
                  <a:gd name="connsiteY557" fmla="*/ 296989 h 495300"/>
                  <a:gd name="connsiteX558" fmla="*/ 147161 w 276225"/>
                  <a:gd name="connsiteY558" fmla="*/ 297847 h 495300"/>
                  <a:gd name="connsiteX559" fmla="*/ 147161 w 276225"/>
                  <a:gd name="connsiteY559" fmla="*/ 299561 h 495300"/>
                  <a:gd name="connsiteX560" fmla="*/ 147161 w 276225"/>
                  <a:gd name="connsiteY560" fmla="*/ 301276 h 495300"/>
                  <a:gd name="connsiteX561" fmla="*/ 150590 w 276225"/>
                  <a:gd name="connsiteY561" fmla="*/ 309753 h 495300"/>
                  <a:gd name="connsiteX562" fmla="*/ 152305 w 276225"/>
                  <a:gd name="connsiteY562" fmla="*/ 313182 h 495300"/>
                  <a:gd name="connsiteX563" fmla="*/ 154019 w 276225"/>
                  <a:gd name="connsiteY563" fmla="*/ 314039 h 495300"/>
                  <a:gd name="connsiteX564" fmla="*/ 153162 w 276225"/>
                  <a:gd name="connsiteY564" fmla="*/ 312325 h 495300"/>
                  <a:gd name="connsiteX565" fmla="*/ 152305 w 276225"/>
                  <a:gd name="connsiteY565" fmla="*/ 309753 h 495300"/>
                  <a:gd name="connsiteX566" fmla="*/ 152305 w 276225"/>
                  <a:gd name="connsiteY566" fmla="*/ 305467 h 495300"/>
                  <a:gd name="connsiteX567" fmla="*/ 151448 w 276225"/>
                  <a:gd name="connsiteY567" fmla="*/ 303752 h 495300"/>
                  <a:gd name="connsiteX568" fmla="*/ 150590 w 276225"/>
                  <a:gd name="connsiteY568" fmla="*/ 302133 h 495300"/>
                  <a:gd name="connsiteX569" fmla="*/ 149733 w 276225"/>
                  <a:gd name="connsiteY569" fmla="*/ 299561 h 495300"/>
                  <a:gd name="connsiteX570" fmla="*/ 150590 w 276225"/>
                  <a:gd name="connsiteY570" fmla="*/ 296989 h 495300"/>
                  <a:gd name="connsiteX571" fmla="*/ 151448 w 276225"/>
                  <a:gd name="connsiteY571" fmla="*/ 299561 h 495300"/>
                  <a:gd name="connsiteX572" fmla="*/ 152305 w 276225"/>
                  <a:gd name="connsiteY572" fmla="*/ 300418 h 495300"/>
                  <a:gd name="connsiteX573" fmla="*/ 153162 w 276225"/>
                  <a:gd name="connsiteY573" fmla="*/ 301276 h 495300"/>
                  <a:gd name="connsiteX574" fmla="*/ 154019 w 276225"/>
                  <a:gd name="connsiteY574" fmla="*/ 301276 h 495300"/>
                  <a:gd name="connsiteX575" fmla="*/ 154876 w 276225"/>
                  <a:gd name="connsiteY575" fmla="*/ 307181 h 495300"/>
                  <a:gd name="connsiteX576" fmla="*/ 157353 w 276225"/>
                  <a:gd name="connsiteY576" fmla="*/ 308896 h 495300"/>
                  <a:gd name="connsiteX577" fmla="*/ 156496 w 276225"/>
                  <a:gd name="connsiteY577" fmla="*/ 310610 h 495300"/>
                  <a:gd name="connsiteX578" fmla="*/ 157353 w 276225"/>
                  <a:gd name="connsiteY578" fmla="*/ 314896 h 495300"/>
                  <a:gd name="connsiteX579" fmla="*/ 159925 w 276225"/>
                  <a:gd name="connsiteY579" fmla="*/ 318230 h 495300"/>
                  <a:gd name="connsiteX580" fmla="*/ 161639 w 276225"/>
                  <a:gd name="connsiteY580" fmla="*/ 316516 h 495300"/>
                  <a:gd name="connsiteX581" fmla="*/ 162496 w 276225"/>
                  <a:gd name="connsiteY581" fmla="*/ 318230 h 495300"/>
                  <a:gd name="connsiteX582" fmla="*/ 166783 w 276225"/>
                  <a:gd name="connsiteY582" fmla="*/ 322516 h 495300"/>
                  <a:gd name="connsiteX583" fmla="*/ 167640 w 276225"/>
                  <a:gd name="connsiteY583" fmla="*/ 324231 h 495300"/>
                  <a:gd name="connsiteX584" fmla="*/ 170117 w 276225"/>
                  <a:gd name="connsiteY584" fmla="*/ 328517 h 495300"/>
                  <a:gd name="connsiteX585" fmla="*/ 170974 w 276225"/>
                  <a:gd name="connsiteY585" fmla="*/ 330136 h 495300"/>
                  <a:gd name="connsiteX586" fmla="*/ 170974 w 276225"/>
                  <a:gd name="connsiteY586" fmla="*/ 332708 h 495300"/>
                  <a:gd name="connsiteX587" fmla="*/ 170117 w 276225"/>
                  <a:gd name="connsiteY587" fmla="*/ 333565 h 495300"/>
                  <a:gd name="connsiteX588" fmla="*/ 169259 w 276225"/>
                  <a:gd name="connsiteY588" fmla="*/ 335280 h 495300"/>
                  <a:gd name="connsiteX589" fmla="*/ 169259 w 276225"/>
                  <a:gd name="connsiteY589" fmla="*/ 336994 h 495300"/>
                  <a:gd name="connsiteX590" fmla="*/ 169259 w 276225"/>
                  <a:gd name="connsiteY590" fmla="*/ 337852 h 495300"/>
                  <a:gd name="connsiteX591" fmla="*/ 170117 w 276225"/>
                  <a:gd name="connsiteY591" fmla="*/ 340423 h 495300"/>
                  <a:gd name="connsiteX592" fmla="*/ 170974 w 276225"/>
                  <a:gd name="connsiteY592" fmla="*/ 341281 h 495300"/>
                  <a:gd name="connsiteX593" fmla="*/ 170974 w 276225"/>
                  <a:gd name="connsiteY593" fmla="*/ 342043 h 495300"/>
                  <a:gd name="connsiteX594" fmla="*/ 170117 w 276225"/>
                  <a:gd name="connsiteY594" fmla="*/ 344614 h 495300"/>
                  <a:gd name="connsiteX595" fmla="*/ 170974 w 276225"/>
                  <a:gd name="connsiteY595" fmla="*/ 345472 h 495300"/>
                  <a:gd name="connsiteX596" fmla="*/ 171831 w 276225"/>
                  <a:gd name="connsiteY596" fmla="*/ 345472 h 495300"/>
                  <a:gd name="connsiteX597" fmla="*/ 172688 w 276225"/>
                  <a:gd name="connsiteY597" fmla="*/ 346329 h 495300"/>
                  <a:gd name="connsiteX598" fmla="*/ 172688 w 276225"/>
                  <a:gd name="connsiteY598" fmla="*/ 348043 h 495300"/>
                  <a:gd name="connsiteX599" fmla="*/ 172688 w 276225"/>
                  <a:gd name="connsiteY599" fmla="*/ 353187 h 495300"/>
                  <a:gd name="connsiteX600" fmla="*/ 173546 w 276225"/>
                  <a:gd name="connsiteY600" fmla="*/ 355663 h 495300"/>
                  <a:gd name="connsiteX601" fmla="*/ 173546 w 276225"/>
                  <a:gd name="connsiteY601" fmla="*/ 358235 h 495300"/>
                  <a:gd name="connsiteX602" fmla="*/ 171831 w 276225"/>
                  <a:gd name="connsiteY602" fmla="*/ 360807 h 495300"/>
                  <a:gd name="connsiteX603" fmla="*/ 173546 w 276225"/>
                  <a:gd name="connsiteY603" fmla="*/ 361664 h 495300"/>
                  <a:gd name="connsiteX604" fmla="*/ 174403 w 276225"/>
                  <a:gd name="connsiteY604" fmla="*/ 362521 h 495300"/>
                  <a:gd name="connsiteX605" fmla="*/ 176974 w 276225"/>
                  <a:gd name="connsiteY605" fmla="*/ 361664 h 495300"/>
                  <a:gd name="connsiteX606" fmla="*/ 178689 w 276225"/>
                  <a:gd name="connsiteY606" fmla="*/ 362521 h 495300"/>
                  <a:gd name="connsiteX607" fmla="*/ 180403 w 276225"/>
                  <a:gd name="connsiteY607" fmla="*/ 364236 h 495300"/>
                  <a:gd name="connsiteX608" fmla="*/ 182880 w 276225"/>
                  <a:gd name="connsiteY608" fmla="*/ 365093 h 495300"/>
                  <a:gd name="connsiteX609" fmla="*/ 179546 w 276225"/>
                  <a:gd name="connsiteY609" fmla="*/ 368427 h 495300"/>
                  <a:gd name="connsiteX610" fmla="*/ 177832 w 276225"/>
                  <a:gd name="connsiteY610" fmla="*/ 369284 h 495300"/>
                  <a:gd name="connsiteX611" fmla="*/ 175260 w 276225"/>
                  <a:gd name="connsiteY611" fmla="*/ 367570 h 495300"/>
                  <a:gd name="connsiteX612" fmla="*/ 174403 w 276225"/>
                  <a:gd name="connsiteY612" fmla="*/ 368427 h 495300"/>
                  <a:gd name="connsiteX613" fmla="*/ 168402 w 276225"/>
                  <a:gd name="connsiteY613" fmla="*/ 366808 h 495300"/>
                  <a:gd name="connsiteX614" fmla="*/ 166783 w 276225"/>
                  <a:gd name="connsiteY614" fmla="*/ 366808 h 495300"/>
                  <a:gd name="connsiteX615" fmla="*/ 165925 w 276225"/>
                  <a:gd name="connsiteY615" fmla="*/ 365093 h 495300"/>
                  <a:gd name="connsiteX616" fmla="*/ 168402 w 276225"/>
                  <a:gd name="connsiteY616" fmla="*/ 354806 h 495300"/>
                  <a:gd name="connsiteX617" fmla="*/ 168402 w 276225"/>
                  <a:gd name="connsiteY617" fmla="*/ 353187 h 495300"/>
                  <a:gd name="connsiteX618" fmla="*/ 170117 w 276225"/>
                  <a:gd name="connsiteY618" fmla="*/ 352330 h 495300"/>
                  <a:gd name="connsiteX619" fmla="*/ 170117 w 276225"/>
                  <a:gd name="connsiteY619" fmla="*/ 350615 h 495300"/>
                  <a:gd name="connsiteX620" fmla="*/ 170974 w 276225"/>
                  <a:gd name="connsiteY620" fmla="*/ 348901 h 495300"/>
                  <a:gd name="connsiteX621" fmla="*/ 168402 w 276225"/>
                  <a:gd name="connsiteY621" fmla="*/ 347186 h 495300"/>
                  <a:gd name="connsiteX622" fmla="*/ 167640 w 276225"/>
                  <a:gd name="connsiteY622" fmla="*/ 344614 h 495300"/>
                  <a:gd name="connsiteX623" fmla="*/ 166783 w 276225"/>
                  <a:gd name="connsiteY623" fmla="*/ 338709 h 495300"/>
                  <a:gd name="connsiteX624" fmla="*/ 166783 w 276225"/>
                  <a:gd name="connsiteY624" fmla="*/ 336994 h 495300"/>
                  <a:gd name="connsiteX625" fmla="*/ 166783 w 276225"/>
                  <a:gd name="connsiteY625" fmla="*/ 334423 h 495300"/>
                  <a:gd name="connsiteX626" fmla="*/ 166783 w 276225"/>
                  <a:gd name="connsiteY626" fmla="*/ 333565 h 495300"/>
                  <a:gd name="connsiteX627" fmla="*/ 165925 w 276225"/>
                  <a:gd name="connsiteY627" fmla="*/ 331851 h 495300"/>
                  <a:gd name="connsiteX628" fmla="*/ 164211 w 276225"/>
                  <a:gd name="connsiteY628" fmla="*/ 328517 h 495300"/>
                  <a:gd name="connsiteX629" fmla="*/ 164211 w 276225"/>
                  <a:gd name="connsiteY629" fmla="*/ 327660 h 495300"/>
                  <a:gd name="connsiteX630" fmla="*/ 162496 w 276225"/>
                  <a:gd name="connsiteY630" fmla="*/ 328517 h 495300"/>
                  <a:gd name="connsiteX631" fmla="*/ 162496 w 276225"/>
                  <a:gd name="connsiteY631" fmla="*/ 330136 h 495300"/>
                  <a:gd name="connsiteX632" fmla="*/ 165068 w 276225"/>
                  <a:gd name="connsiteY632" fmla="*/ 333565 h 495300"/>
                  <a:gd name="connsiteX633" fmla="*/ 164211 w 276225"/>
                  <a:gd name="connsiteY633" fmla="*/ 336137 h 495300"/>
                  <a:gd name="connsiteX634" fmla="*/ 165068 w 276225"/>
                  <a:gd name="connsiteY634" fmla="*/ 342900 h 495300"/>
                  <a:gd name="connsiteX635" fmla="*/ 165068 w 276225"/>
                  <a:gd name="connsiteY635" fmla="*/ 346329 h 495300"/>
                  <a:gd name="connsiteX636" fmla="*/ 164211 w 276225"/>
                  <a:gd name="connsiteY636" fmla="*/ 346329 h 495300"/>
                  <a:gd name="connsiteX637" fmla="*/ 161639 w 276225"/>
                  <a:gd name="connsiteY637" fmla="*/ 328517 h 495300"/>
                  <a:gd name="connsiteX638" fmla="*/ 160782 w 276225"/>
                  <a:gd name="connsiteY638" fmla="*/ 325946 h 495300"/>
                  <a:gd name="connsiteX639" fmla="*/ 159925 w 276225"/>
                  <a:gd name="connsiteY639" fmla="*/ 327660 h 495300"/>
                  <a:gd name="connsiteX640" fmla="*/ 160782 w 276225"/>
                  <a:gd name="connsiteY640" fmla="*/ 328517 h 495300"/>
                  <a:gd name="connsiteX641" fmla="*/ 159925 w 276225"/>
                  <a:gd name="connsiteY641" fmla="*/ 330136 h 495300"/>
                  <a:gd name="connsiteX642" fmla="*/ 159067 w 276225"/>
                  <a:gd name="connsiteY642" fmla="*/ 330136 h 495300"/>
                  <a:gd name="connsiteX643" fmla="*/ 158210 w 276225"/>
                  <a:gd name="connsiteY643" fmla="*/ 330136 h 495300"/>
                  <a:gd name="connsiteX644" fmla="*/ 158210 w 276225"/>
                  <a:gd name="connsiteY644" fmla="*/ 329279 h 495300"/>
                  <a:gd name="connsiteX645" fmla="*/ 159067 w 276225"/>
                  <a:gd name="connsiteY645" fmla="*/ 328517 h 495300"/>
                  <a:gd name="connsiteX646" fmla="*/ 159067 w 276225"/>
                  <a:gd name="connsiteY646" fmla="*/ 326803 h 495300"/>
                  <a:gd name="connsiteX647" fmla="*/ 158210 w 276225"/>
                  <a:gd name="connsiteY647" fmla="*/ 325088 h 495300"/>
                  <a:gd name="connsiteX648" fmla="*/ 157353 w 276225"/>
                  <a:gd name="connsiteY648" fmla="*/ 326803 h 495300"/>
                  <a:gd name="connsiteX649" fmla="*/ 157353 w 276225"/>
                  <a:gd name="connsiteY649" fmla="*/ 327660 h 495300"/>
                  <a:gd name="connsiteX650" fmla="*/ 156496 w 276225"/>
                  <a:gd name="connsiteY650" fmla="*/ 326803 h 495300"/>
                  <a:gd name="connsiteX651" fmla="*/ 155734 w 276225"/>
                  <a:gd name="connsiteY651" fmla="*/ 325946 h 495300"/>
                  <a:gd name="connsiteX652" fmla="*/ 155734 w 276225"/>
                  <a:gd name="connsiteY652" fmla="*/ 324231 h 495300"/>
                  <a:gd name="connsiteX653" fmla="*/ 155734 w 276225"/>
                  <a:gd name="connsiteY653" fmla="*/ 323374 h 495300"/>
                  <a:gd name="connsiteX654" fmla="*/ 155734 w 276225"/>
                  <a:gd name="connsiteY654" fmla="*/ 322516 h 495300"/>
                  <a:gd name="connsiteX655" fmla="*/ 158210 w 276225"/>
                  <a:gd name="connsiteY655" fmla="*/ 323374 h 495300"/>
                  <a:gd name="connsiteX656" fmla="*/ 159067 w 276225"/>
                  <a:gd name="connsiteY656" fmla="*/ 323374 h 495300"/>
                  <a:gd name="connsiteX657" fmla="*/ 158210 w 276225"/>
                  <a:gd name="connsiteY657" fmla="*/ 320802 h 495300"/>
                  <a:gd name="connsiteX658" fmla="*/ 156496 w 276225"/>
                  <a:gd name="connsiteY658" fmla="*/ 318230 h 495300"/>
                  <a:gd name="connsiteX659" fmla="*/ 154876 w 276225"/>
                  <a:gd name="connsiteY659" fmla="*/ 316516 h 495300"/>
                  <a:gd name="connsiteX660" fmla="*/ 153162 w 276225"/>
                  <a:gd name="connsiteY660" fmla="*/ 318230 h 495300"/>
                  <a:gd name="connsiteX661" fmla="*/ 154019 w 276225"/>
                  <a:gd name="connsiteY661" fmla="*/ 319945 h 495300"/>
                  <a:gd name="connsiteX662" fmla="*/ 154019 w 276225"/>
                  <a:gd name="connsiteY662" fmla="*/ 325088 h 495300"/>
                  <a:gd name="connsiteX663" fmla="*/ 154876 w 276225"/>
                  <a:gd name="connsiteY663" fmla="*/ 325946 h 495300"/>
                  <a:gd name="connsiteX664" fmla="*/ 157353 w 276225"/>
                  <a:gd name="connsiteY664" fmla="*/ 334423 h 495300"/>
                  <a:gd name="connsiteX665" fmla="*/ 159925 w 276225"/>
                  <a:gd name="connsiteY665" fmla="*/ 351472 h 495300"/>
                  <a:gd name="connsiteX666" fmla="*/ 159067 w 276225"/>
                  <a:gd name="connsiteY666" fmla="*/ 354044 h 495300"/>
                  <a:gd name="connsiteX667" fmla="*/ 161639 w 276225"/>
                  <a:gd name="connsiteY667" fmla="*/ 369284 h 495300"/>
                  <a:gd name="connsiteX668" fmla="*/ 166783 w 276225"/>
                  <a:gd name="connsiteY668" fmla="*/ 388048 h 495300"/>
                  <a:gd name="connsiteX669" fmla="*/ 176117 w 276225"/>
                  <a:gd name="connsiteY669" fmla="*/ 408432 h 495300"/>
                  <a:gd name="connsiteX670" fmla="*/ 176974 w 276225"/>
                  <a:gd name="connsiteY670" fmla="*/ 408432 h 495300"/>
                  <a:gd name="connsiteX671" fmla="*/ 176117 w 276225"/>
                  <a:gd name="connsiteY671" fmla="*/ 406717 h 495300"/>
                  <a:gd name="connsiteX672" fmla="*/ 172688 w 276225"/>
                  <a:gd name="connsiteY672" fmla="*/ 398240 h 495300"/>
                  <a:gd name="connsiteX673" fmla="*/ 172688 w 276225"/>
                  <a:gd name="connsiteY673" fmla="*/ 397383 h 495300"/>
                  <a:gd name="connsiteX674" fmla="*/ 174403 w 276225"/>
                  <a:gd name="connsiteY674" fmla="*/ 397383 h 495300"/>
                  <a:gd name="connsiteX675" fmla="*/ 176117 w 276225"/>
                  <a:gd name="connsiteY675" fmla="*/ 400812 h 495300"/>
                  <a:gd name="connsiteX676" fmla="*/ 177832 w 276225"/>
                  <a:gd name="connsiteY676" fmla="*/ 407575 h 495300"/>
                  <a:gd name="connsiteX677" fmla="*/ 178689 w 276225"/>
                  <a:gd name="connsiteY677" fmla="*/ 407575 h 495300"/>
                  <a:gd name="connsiteX678" fmla="*/ 178689 w 276225"/>
                  <a:gd name="connsiteY678" fmla="*/ 406717 h 495300"/>
                  <a:gd name="connsiteX679" fmla="*/ 179546 w 276225"/>
                  <a:gd name="connsiteY679" fmla="*/ 405860 h 495300"/>
                  <a:gd name="connsiteX680" fmla="*/ 180403 w 276225"/>
                  <a:gd name="connsiteY680" fmla="*/ 405098 h 495300"/>
                  <a:gd name="connsiteX681" fmla="*/ 179546 w 276225"/>
                  <a:gd name="connsiteY681" fmla="*/ 410146 h 495300"/>
                  <a:gd name="connsiteX682" fmla="*/ 179546 w 276225"/>
                  <a:gd name="connsiteY682" fmla="*/ 411861 h 495300"/>
                  <a:gd name="connsiteX683" fmla="*/ 178689 w 276225"/>
                  <a:gd name="connsiteY683" fmla="*/ 411861 h 495300"/>
                  <a:gd name="connsiteX684" fmla="*/ 178689 w 276225"/>
                  <a:gd name="connsiteY684" fmla="*/ 411004 h 495300"/>
                  <a:gd name="connsiteX685" fmla="*/ 178689 w 276225"/>
                  <a:gd name="connsiteY685" fmla="*/ 410146 h 495300"/>
                  <a:gd name="connsiteX686" fmla="*/ 178689 w 276225"/>
                  <a:gd name="connsiteY686" fmla="*/ 410146 h 495300"/>
                  <a:gd name="connsiteX687" fmla="*/ 177832 w 276225"/>
                  <a:gd name="connsiteY687" fmla="*/ 409289 h 495300"/>
                  <a:gd name="connsiteX688" fmla="*/ 177832 w 276225"/>
                  <a:gd name="connsiteY688" fmla="*/ 411861 h 495300"/>
                  <a:gd name="connsiteX689" fmla="*/ 181165 w 276225"/>
                  <a:gd name="connsiteY689" fmla="*/ 418624 h 495300"/>
                  <a:gd name="connsiteX690" fmla="*/ 182023 w 276225"/>
                  <a:gd name="connsiteY690" fmla="*/ 422053 h 495300"/>
                  <a:gd name="connsiteX691" fmla="*/ 183737 w 276225"/>
                  <a:gd name="connsiteY691" fmla="*/ 424624 h 495300"/>
                  <a:gd name="connsiteX692" fmla="*/ 184594 w 276225"/>
                  <a:gd name="connsiteY692" fmla="*/ 425482 h 495300"/>
                  <a:gd name="connsiteX693" fmla="*/ 184594 w 276225"/>
                  <a:gd name="connsiteY693" fmla="*/ 427196 h 495300"/>
                  <a:gd name="connsiteX694" fmla="*/ 184594 w 276225"/>
                  <a:gd name="connsiteY694" fmla="*/ 428911 h 495300"/>
                  <a:gd name="connsiteX695" fmla="*/ 185452 w 276225"/>
                  <a:gd name="connsiteY695" fmla="*/ 430625 h 495300"/>
                  <a:gd name="connsiteX696" fmla="*/ 186309 w 276225"/>
                  <a:gd name="connsiteY696" fmla="*/ 431387 h 495300"/>
                  <a:gd name="connsiteX697" fmla="*/ 186309 w 276225"/>
                  <a:gd name="connsiteY697" fmla="*/ 429768 h 495300"/>
                  <a:gd name="connsiteX698" fmla="*/ 186309 w 276225"/>
                  <a:gd name="connsiteY698" fmla="*/ 428053 h 495300"/>
                  <a:gd name="connsiteX699" fmla="*/ 188023 w 276225"/>
                  <a:gd name="connsiteY699" fmla="*/ 426339 h 495300"/>
                  <a:gd name="connsiteX700" fmla="*/ 189738 w 276225"/>
                  <a:gd name="connsiteY700" fmla="*/ 425482 h 495300"/>
                  <a:gd name="connsiteX701" fmla="*/ 188881 w 276225"/>
                  <a:gd name="connsiteY701" fmla="*/ 427196 h 495300"/>
                  <a:gd name="connsiteX702" fmla="*/ 188881 w 276225"/>
                  <a:gd name="connsiteY702" fmla="*/ 428053 h 495300"/>
                  <a:gd name="connsiteX703" fmla="*/ 188023 w 276225"/>
                  <a:gd name="connsiteY703" fmla="*/ 428911 h 495300"/>
                  <a:gd name="connsiteX704" fmla="*/ 188881 w 276225"/>
                  <a:gd name="connsiteY704" fmla="*/ 429768 h 495300"/>
                  <a:gd name="connsiteX705" fmla="*/ 189738 w 276225"/>
                  <a:gd name="connsiteY705" fmla="*/ 428911 h 495300"/>
                  <a:gd name="connsiteX706" fmla="*/ 190595 w 276225"/>
                  <a:gd name="connsiteY706" fmla="*/ 425482 h 495300"/>
                  <a:gd name="connsiteX707" fmla="*/ 191452 w 276225"/>
                  <a:gd name="connsiteY707" fmla="*/ 424624 h 495300"/>
                  <a:gd name="connsiteX708" fmla="*/ 193929 w 276225"/>
                  <a:gd name="connsiteY708" fmla="*/ 426339 h 495300"/>
                  <a:gd name="connsiteX709" fmla="*/ 195644 w 276225"/>
                  <a:gd name="connsiteY709" fmla="*/ 426339 h 495300"/>
                  <a:gd name="connsiteX710" fmla="*/ 196501 w 276225"/>
                  <a:gd name="connsiteY710" fmla="*/ 424624 h 495300"/>
                  <a:gd name="connsiteX711" fmla="*/ 197358 w 276225"/>
                  <a:gd name="connsiteY711" fmla="*/ 424624 h 495300"/>
                  <a:gd name="connsiteX712" fmla="*/ 198215 w 276225"/>
                  <a:gd name="connsiteY712" fmla="*/ 423767 h 495300"/>
                  <a:gd name="connsiteX713" fmla="*/ 199930 w 276225"/>
                  <a:gd name="connsiteY713" fmla="*/ 423767 h 495300"/>
                  <a:gd name="connsiteX714" fmla="*/ 200787 w 276225"/>
                  <a:gd name="connsiteY714" fmla="*/ 423767 h 495300"/>
                  <a:gd name="connsiteX715" fmla="*/ 200787 w 276225"/>
                  <a:gd name="connsiteY715" fmla="*/ 424624 h 495300"/>
                  <a:gd name="connsiteX716" fmla="*/ 199930 w 276225"/>
                  <a:gd name="connsiteY716" fmla="*/ 425482 h 495300"/>
                  <a:gd name="connsiteX717" fmla="*/ 198215 w 276225"/>
                  <a:gd name="connsiteY717" fmla="*/ 425482 h 495300"/>
                  <a:gd name="connsiteX718" fmla="*/ 197358 w 276225"/>
                  <a:gd name="connsiteY718" fmla="*/ 426339 h 495300"/>
                  <a:gd name="connsiteX719" fmla="*/ 198215 w 276225"/>
                  <a:gd name="connsiteY719" fmla="*/ 426339 h 495300"/>
                  <a:gd name="connsiteX720" fmla="*/ 199073 w 276225"/>
                  <a:gd name="connsiteY720" fmla="*/ 427196 h 495300"/>
                  <a:gd name="connsiteX721" fmla="*/ 199930 w 276225"/>
                  <a:gd name="connsiteY721" fmla="*/ 428053 h 495300"/>
                  <a:gd name="connsiteX722" fmla="*/ 199930 w 276225"/>
                  <a:gd name="connsiteY722" fmla="*/ 428911 h 495300"/>
                  <a:gd name="connsiteX723" fmla="*/ 193929 w 276225"/>
                  <a:gd name="connsiteY723" fmla="*/ 428053 h 495300"/>
                  <a:gd name="connsiteX724" fmla="*/ 193167 w 276225"/>
                  <a:gd name="connsiteY724" fmla="*/ 428053 h 495300"/>
                  <a:gd name="connsiteX725" fmla="*/ 191452 w 276225"/>
                  <a:gd name="connsiteY725" fmla="*/ 429768 h 495300"/>
                  <a:gd name="connsiteX726" fmla="*/ 190595 w 276225"/>
                  <a:gd name="connsiteY726" fmla="*/ 431387 h 495300"/>
                  <a:gd name="connsiteX727" fmla="*/ 190595 w 276225"/>
                  <a:gd name="connsiteY727" fmla="*/ 432244 h 495300"/>
                  <a:gd name="connsiteX728" fmla="*/ 191452 w 276225"/>
                  <a:gd name="connsiteY728" fmla="*/ 433959 h 495300"/>
                  <a:gd name="connsiteX729" fmla="*/ 193167 w 276225"/>
                  <a:gd name="connsiteY729" fmla="*/ 433102 h 495300"/>
                  <a:gd name="connsiteX730" fmla="*/ 193929 w 276225"/>
                  <a:gd name="connsiteY730" fmla="*/ 433102 h 495300"/>
                  <a:gd name="connsiteX731" fmla="*/ 195644 w 276225"/>
                  <a:gd name="connsiteY731" fmla="*/ 433102 h 495300"/>
                  <a:gd name="connsiteX732" fmla="*/ 194786 w 276225"/>
                  <a:gd name="connsiteY732" fmla="*/ 433959 h 495300"/>
                  <a:gd name="connsiteX733" fmla="*/ 192310 w 276225"/>
                  <a:gd name="connsiteY733" fmla="*/ 434816 h 495300"/>
                  <a:gd name="connsiteX734" fmla="*/ 190595 w 276225"/>
                  <a:gd name="connsiteY734" fmla="*/ 435673 h 495300"/>
                  <a:gd name="connsiteX735" fmla="*/ 188881 w 276225"/>
                  <a:gd name="connsiteY735" fmla="*/ 433102 h 495300"/>
                  <a:gd name="connsiteX736" fmla="*/ 188023 w 276225"/>
                  <a:gd name="connsiteY736" fmla="*/ 433102 h 495300"/>
                  <a:gd name="connsiteX737" fmla="*/ 187166 w 276225"/>
                  <a:gd name="connsiteY737" fmla="*/ 433959 h 495300"/>
                  <a:gd name="connsiteX738" fmla="*/ 188881 w 276225"/>
                  <a:gd name="connsiteY738" fmla="*/ 436531 h 495300"/>
                  <a:gd name="connsiteX739" fmla="*/ 198215 w 276225"/>
                  <a:gd name="connsiteY739" fmla="*/ 445008 h 495300"/>
                  <a:gd name="connsiteX740" fmla="*/ 199930 w 276225"/>
                  <a:gd name="connsiteY740" fmla="*/ 446722 h 495300"/>
                  <a:gd name="connsiteX741" fmla="*/ 204216 w 276225"/>
                  <a:gd name="connsiteY741" fmla="*/ 453580 h 495300"/>
                  <a:gd name="connsiteX742" fmla="*/ 207550 w 276225"/>
                  <a:gd name="connsiteY742" fmla="*/ 456914 h 495300"/>
                  <a:gd name="connsiteX743" fmla="*/ 209264 w 276225"/>
                  <a:gd name="connsiteY743" fmla="*/ 459486 h 495300"/>
                  <a:gd name="connsiteX744" fmla="*/ 216979 w 276225"/>
                  <a:gd name="connsiteY744" fmla="*/ 468916 h 495300"/>
                  <a:gd name="connsiteX745" fmla="*/ 218599 w 276225"/>
                  <a:gd name="connsiteY745" fmla="*/ 472249 h 495300"/>
                  <a:gd name="connsiteX746" fmla="*/ 224599 w 276225"/>
                  <a:gd name="connsiteY746" fmla="*/ 478250 h 495300"/>
                  <a:gd name="connsiteX747" fmla="*/ 233934 w 276225"/>
                  <a:gd name="connsiteY747" fmla="*/ 491014 h 495300"/>
                  <a:gd name="connsiteX748" fmla="*/ 237363 w 276225"/>
                  <a:gd name="connsiteY748" fmla="*/ 495205 h 495300"/>
                  <a:gd name="connsiteX749" fmla="*/ 250126 w 276225"/>
                  <a:gd name="connsiteY749" fmla="*/ 504634 h 495300"/>
                  <a:gd name="connsiteX750" fmla="*/ 250984 w 276225"/>
                  <a:gd name="connsiteY750" fmla="*/ 503777 h 495300"/>
                  <a:gd name="connsiteX751" fmla="*/ 250984 w 276225"/>
                  <a:gd name="connsiteY751" fmla="*/ 502920 h 495300"/>
                  <a:gd name="connsiteX752" fmla="*/ 251841 w 276225"/>
                  <a:gd name="connsiteY752" fmla="*/ 502920 h 495300"/>
                  <a:gd name="connsiteX753" fmla="*/ 254413 w 276225"/>
                  <a:gd name="connsiteY753" fmla="*/ 503777 h 495300"/>
                  <a:gd name="connsiteX754" fmla="*/ 255270 w 276225"/>
                  <a:gd name="connsiteY754" fmla="*/ 502920 h 495300"/>
                  <a:gd name="connsiteX755" fmla="*/ 256032 w 276225"/>
                  <a:gd name="connsiteY755" fmla="*/ 502920 h 495300"/>
                  <a:gd name="connsiteX756" fmla="*/ 256032 w 276225"/>
                  <a:gd name="connsiteY756" fmla="*/ 502063 h 495300"/>
                  <a:gd name="connsiteX757" fmla="*/ 256032 w 276225"/>
                  <a:gd name="connsiteY757" fmla="*/ 501205 h 495300"/>
                  <a:gd name="connsiteX758" fmla="*/ 256032 w 276225"/>
                  <a:gd name="connsiteY758" fmla="*/ 500348 h 495300"/>
                  <a:gd name="connsiteX759" fmla="*/ 256032 w 276225"/>
                  <a:gd name="connsiteY759" fmla="*/ 499491 h 495300"/>
                  <a:gd name="connsiteX760" fmla="*/ 256032 w 276225"/>
                  <a:gd name="connsiteY760" fmla="*/ 498634 h 495300"/>
                  <a:gd name="connsiteX761" fmla="*/ 256889 w 276225"/>
                  <a:gd name="connsiteY761" fmla="*/ 497776 h 495300"/>
                  <a:gd name="connsiteX762" fmla="*/ 257746 w 276225"/>
                  <a:gd name="connsiteY762" fmla="*/ 495205 h 495300"/>
                  <a:gd name="connsiteX763" fmla="*/ 260318 w 276225"/>
                  <a:gd name="connsiteY763" fmla="*/ 492728 h 495300"/>
                  <a:gd name="connsiteX764" fmla="*/ 261175 w 276225"/>
                  <a:gd name="connsiteY764" fmla="*/ 491014 h 495300"/>
                  <a:gd name="connsiteX765" fmla="*/ 262033 w 276225"/>
                  <a:gd name="connsiteY765" fmla="*/ 489299 h 495300"/>
                  <a:gd name="connsiteX766" fmla="*/ 262033 w 276225"/>
                  <a:gd name="connsiteY766" fmla="*/ 488442 h 495300"/>
                  <a:gd name="connsiteX767" fmla="*/ 260318 w 276225"/>
                  <a:gd name="connsiteY767" fmla="*/ 485013 h 495300"/>
                  <a:gd name="connsiteX768" fmla="*/ 260318 w 276225"/>
                  <a:gd name="connsiteY768" fmla="*/ 484156 h 495300"/>
                  <a:gd name="connsiteX769" fmla="*/ 260318 w 276225"/>
                  <a:gd name="connsiteY769" fmla="*/ 483298 h 495300"/>
                  <a:gd name="connsiteX770" fmla="*/ 260318 w 276225"/>
                  <a:gd name="connsiteY770" fmla="*/ 482441 h 495300"/>
                  <a:gd name="connsiteX771" fmla="*/ 260318 w 276225"/>
                  <a:gd name="connsiteY771" fmla="*/ 482441 h 495300"/>
                  <a:gd name="connsiteX772" fmla="*/ 261175 w 276225"/>
                  <a:gd name="connsiteY772" fmla="*/ 482441 h 495300"/>
                  <a:gd name="connsiteX773" fmla="*/ 261175 w 276225"/>
                  <a:gd name="connsiteY773" fmla="*/ 483298 h 495300"/>
                  <a:gd name="connsiteX774" fmla="*/ 262033 w 276225"/>
                  <a:gd name="connsiteY774" fmla="*/ 483298 h 495300"/>
                  <a:gd name="connsiteX775" fmla="*/ 262890 w 276225"/>
                  <a:gd name="connsiteY775" fmla="*/ 484156 h 495300"/>
                  <a:gd name="connsiteX776" fmla="*/ 263747 w 276225"/>
                  <a:gd name="connsiteY776" fmla="*/ 484156 h 495300"/>
                  <a:gd name="connsiteX777" fmla="*/ 264605 w 276225"/>
                  <a:gd name="connsiteY777" fmla="*/ 483298 h 495300"/>
                  <a:gd name="connsiteX778" fmla="*/ 267176 w 276225"/>
                  <a:gd name="connsiteY778" fmla="*/ 480822 h 495300"/>
                  <a:gd name="connsiteX779" fmla="*/ 268034 w 276225"/>
                  <a:gd name="connsiteY779" fmla="*/ 479107 h 495300"/>
                  <a:gd name="connsiteX780" fmla="*/ 268796 w 276225"/>
                  <a:gd name="connsiteY780" fmla="*/ 477393 h 495300"/>
                  <a:gd name="connsiteX781" fmla="*/ 268796 w 276225"/>
                  <a:gd name="connsiteY781" fmla="*/ 476536 h 495300"/>
                  <a:gd name="connsiteX782" fmla="*/ 268034 w 276225"/>
                  <a:gd name="connsiteY782" fmla="*/ 474821 h 495300"/>
                  <a:gd name="connsiteX783" fmla="*/ 268034 w 276225"/>
                  <a:gd name="connsiteY783" fmla="*/ 473964 h 495300"/>
                  <a:gd name="connsiteX784" fmla="*/ 265462 w 276225"/>
                  <a:gd name="connsiteY784" fmla="*/ 472249 h 495300"/>
                  <a:gd name="connsiteX785" fmla="*/ 260318 w 276225"/>
                  <a:gd name="connsiteY785" fmla="*/ 468058 h 495300"/>
                  <a:gd name="connsiteX786" fmla="*/ 259461 w 276225"/>
                  <a:gd name="connsiteY786" fmla="*/ 467201 h 495300"/>
                  <a:gd name="connsiteX787" fmla="*/ 258604 w 276225"/>
                  <a:gd name="connsiteY787" fmla="*/ 466344 h 495300"/>
                  <a:gd name="connsiteX788" fmla="*/ 258604 w 276225"/>
                  <a:gd name="connsiteY788" fmla="*/ 464630 h 495300"/>
                  <a:gd name="connsiteX789" fmla="*/ 258604 w 276225"/>
                  <a:gd name="connsiteY789" fmla="*/ 463772 h 495300"/>
                  <a:gd name="connsiteX790" fmla="*/ 258604 w 276225"/>
                  <a:gd name="connsiteY790" fmla="*/ 462058 h 495300"/>
                  <a:gd name="connsiteX791" fmla="*/ 257746 w 276225"/>
                  <a:gd name="connsiteY791" fmla="*/ 461200 h 495300"/>
                  <a:gd name="connsiteX792" fmla="*/ 257746 w 276225"/>
                  <a:gd name="connsiteY792" fmla="*/ 460343 h 495300"/>
                  <a:gd name="connsiteX793" fmla="*/ 257746 w 276225"/>
                  <a:gd name="connsiteY793" fmla="*/ 458629 h 495300"/>
                  <a:gd name="connsiteX794" fmla="*/ 257746 w 276225"/>
                  <a:gd name="connsiteY794" fmla="*/ 457771 h 495300"/>
                  <a:gd name="connsiteX795" fmla="*/ 258604 w 276225"/>
                  <a:gd name="connsiteY795" fmla="*/ 456152 h 495300"/>
                  <a:gd name="connsiteX796" fmla="*/ 263747 w 276225"/>
                  <a:gd name="connsiteY796" fmla="*/ 448437 h 495300"/>
                  <a:gd name="connsiteX797" fmla="*/ 265462 w 276225"/>
                  <a:gd name="connsiteY797" fmla="*/ 442531 h 495300"/>
                  <a:gd name="connsiteX798" fmla="*/ 266319 w 276225"/>
                  <a:gd name="connsiteY798" fmla="*/ 441674 h 495300"/>
                  <a:gd name="connsiteX799" fmla="*/ 265462 w 276225"/>
                  <a:gd name="connsiteY799" fmla="*/ 440817 h 495300"/>
                  <a:gd name="connsiteX800" fmla="*/ 265462 w 276225"/>
                  <a:gd name="connsiteY800" fmla="*/ 440817 h 495300"/>
                  <a:gd name="connsiteX801" fmla="*/ 264605 w 276225"/>
                  <a:gd name="connsiteY801" fmla="*/ 439959 h 495300"/>
                  <a:gd name="connsiteX802" fmla="*/ 263747 w 276225"/>
                  <a:gd name="connsiteY802" fmla="*/ 439102 h 495300"/>
                  <a:gd name="connsiteX803" fmla="*/ 262033 w 276225"/>
                  <a:gd name="connsiteY803" fmla="*/ 438245 h 495300"/>
                  <a:gd name="connsiteX804" fmla="*/ 260318 w 276225"/>
                  <a:gd name="connsiteY804" fmla="*/ 436531 h 495300"/>
                  <a:gd name="connsiteX805" fmla="*/ 258604 w 276225"/>
                  <a:gd name="connsiteY805" fmla="*/ 433102 h 495300"/>
                  <a:gd name="connsiteX806" fmla="*/ 256032 w 276225"/>
                  <a:gd name="connsiteY806" fmla="*/ 426339 h 495300"/>
                  <a:gd name="connsiteX807" fmla="*/ 256032 w 276225"/>
                  <a:gd name="connsiteY807" fmla="*/ 424624 h 495300"/>
                  <a:gd name="connsiteX808" fmla="*/ 256032 w 276225"/>
                  <a:gd name="connsiteY808" fmla="*/ 423767 h 495300"/>
                  <a:gd name="connsiteX809" fmla="*/ 256889 w 276225"/>
                  <a:gd name="connsiteY809" fmla="*/ 423767 h 495300"/>
                  <a:gd name="connsiteX810" fmla="*/ 261175 w 276225"/>
                  <a:gd name="connsiteY810" fmla="*/ 420338 h 495300"/>
                  <a:gd name="connsiteX811" fmla="*/ 263747 w 276225"/>
                  <a:gd name="connsiteY811" fmla="*/ 417862 h 495300"/>
                  <a:gd name="connsiteX812" fmla="*/ 266319 w 276225"/>
                  <a:gd name="connsiteY812" fmla="*/ 411004 h 495300"/>
                  <a:gd name="connsiteX813" fmla="*/ 272224 w 276225"/>
                  <a:gd name="connsiteY813" fmla="*/ 391477 h 495300"/>
                  <a:gd name="connsiteX814" fmla="*/ 275653 w 276225"/>
                  <a:gd name="connsiteY814" fmla="*/ 386334 h 495300"/>
                  <a:gd name="connsiteX815" fmla="*/ 278225 w 276225"/>
                  <a:gd name="connsiteY815" fmla="*/ 377857 h 495300"/>
                  <a:gd name="connsiteX816" fmla="*/ 279082 w 276225"/>
                  <a:gd name="connsiteY816" fmla="*/ 376999 h 495300"/>
                  <a:gd name="connsiteX817" fmla="*/ 279082 w 276225"/>
                  <a:gd name="connsiteY817" fmla="*/ 376142 h 495300"/>
                  <a:gd name="connsiteX818" fmla="*/ 282416 w 276225"/>
                  <a:gd name="connsiteY818" fmla="*/ 373571 h 495300"/>
                  <a:gd name="connsiteX819" fmla="*/ 282416 w 276225"/>
                  <a:gd name="connsiteY819" fmla="*/ 370141 h 495300"/>
                  <a:gd name="connsiteX820" fmla="*/ 282416 w 276225"/>
                  <a:gd name="connsiteY820" fmla="*/ 368427 h 495300"/>
                  <a:gd name="connsiteX821" fmla="*/ 282416 w 276225"/>
                  <a:gd name="connsiteY821" fmla="*/ 368427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</a:cxnLst>
                <a:rect l="l" t="t" r="r" b="b"/>
                <a:pathLst>
                  <a:path w="276225" h="495300">
                    <a:moveTo>
                      <a:pt x="282416" y="368427"/>
                    </a:moveTo>
                    <a:lnTo>
                      <a:pt x="278225" y="365093"/>
                    </a:lnTo>
                    <a:lnTo>
                      <a:pt x="277368" y="363379"/>
                    </a:lnTo>
                    <a:lnTo>
                      <a:pt x="276511" y="360807"/>
                    </a:lnTo>
                    <a:lnTo>
                      <a:pt x="276511" y="360807"/>
                    </a:lnTo>
                    <a:lnTo>
                      <a:pt x="275653" y="359950"/>
                    </a:lnTo>
                    <a:lnTo>
                      <a:pt x="274796" y="359950"/>
                    </a:lnTo>
                    <a:lnTo>
                      <a:pt x="273082" y="359950"/>
                    </a:lnTo>
                    <a:lnTo>
                      <a:pt x="272224" y="359950"/>
                    </a:lnTo>
                    <a:lnTo>
                      <a:pt x="267176" y="362521"/>
                    </a:lnTo>
                    <a:lnTo>
                      <a:pt x="266319" y="362521"/>
                    </a:lnTo>
                    <a:lnTo>
                      <a:pt x="264605" y="362521"/>
                    </a:lnTo>
                    <a:lnTo>
                      <a:pt x="264605" y="361664"/>
                    </a:lnTo>
                    <a:lnTo>
                      <a:pt x="262890" y="360807"/>
                    </a:lnTo>
                    <a:lnTo>
                      <a:pt x="262890" y="359950"/>
                    </a:lnTo>
                    <a:lnTo>
                      <a:pt x="262033" y="359950"/>
                    </a:lnTo>
                    <a:lnTo>
                      <a:pt x="261175" y="359950"/>
                    </a:lnTo>
                    <a:lnTo>
                      <a:pt x="260318" y="359950"/>
                    </a:lnTo>
                    <a:lnTo>
                      <a:pt x="259461" y="359092"/>
                    </a:lnTo>
                    <a:lnTo>
                      <a:pt x="259461" y="359092"/>
                    </a:lnTo>
                    <a:lnTo>
                      <a:pt x="258604" y="358235"/>
                    </a:lnTo>
                    <a:lnTo>
                      <a:pt x="258604" y="358235"/>
                    </a:lnTo>
                    <a:lnTo>
                      <a:pt x="258604" y="357378"/>
                    </a:lnTo>
                    <a:lnTo>
                      <a:pt x="258604" y="355663"/>
                    </a:lnTo>
                    <a:lnTo>
                      <a:pt x="263747" y="339566"/>
                    </a:lnTo>
                    <a:lnTo>
                      <a:pt x="264605" y="337852"/>
                    </a:lnTo>
                    <a:lnTo>
                      <a:pt x="264605" y="335280"/>
                    </a:lnTo>
                    <a:lnTo>
                      <a:pt x="263747" y="333565"/>
                    </a:lnTo>
                    <a:lnTo>
                      <a:pt x="262890" y="328517"/>
                    </a:lnTo>
                    <a:lnTo>
                      <a:pt x="262890" y="326803"/>
                    </a:lnTo>
                    <a:lnTo>
                      <a:pt x="262890" y="325946"/>
                    </a:lnTo>
                    <a:lnTo>
                      <a:pt x="266319" y="319945"/>
                    </a:lnTo>
                    <a:lnTo>
                      <a:pt x="266319" y="318230"/>
                    </a:lnTo>
                    <a:lnTo>
                      <a:pt x="266319" y="316516"/>
                    </a:lnTo>
                    <a:lnTo>
                      <a:pt x="264605" y="309753"/>
                    </a:lnTo>
                    <a:lnTo>
                      <a:pt x="262890" y="306324"/>
                    </a:lnTo>
                    <a:lnTo>
                      <a:pt x="262890" y="305467"/>
                    </a:lnTo>
                    <a:lnTo>
                      <a:pt x="262890" y="303752"/>
                    </a:lnTo>
                    <a:lnTo>
                      <a:pt x="268034" y="293560"/>
                    </a:lnTo>
                    <a:lnTo>
                      <a:pt x="268796" y="290989"/>
                    </a:lnTo>
                    <a:lnTo>
                      <a:pt x="268796" y="290131"/>
                    </a:lnTo>
                    <a:lnTo>
                      <a:pt x="268796" y="289369"/>
                    </a:lnTo>
                    <a:lnTo>
                      <a:pt x="268034" y="288512"/>
                    </a:lnTo>
                    <a:lnTo>
                      <a:pt x="266319" y="287655"/>
                    </a:lnTo>
                    <a:lnTo>
                      <a:pt x="266319" y="286798"/>
                    </a:lnTo>
                    <a:lnTo>
                      <a:pt x="265462" y="285083"/>
                    </a:lnTo>
                    <a:lnTo>
                      <a:pt x="265462" y="283369"/>
                    </a:lnTo>
                    <a:lnTo>
                      <a:pt x="264605" y="280797"/>
                    </a:lnTo>
                    <a:lnTo>
                      <a:pt x="263747" y="279940"/>
                    </a:lnTo>
                    <a:lnTo>
                      <a:pt x="261175" y="275749"/>
                    </a:lnTo>
                    <a:lnTo>
                      <a:pt x="260318" y="274891"/>
                    </a:lnTo>
                    <a:lnTo>
                      <a:pt x="258604" y="273177"/>
                    </a:lnTo>
                    <a:lnTo>
                      <a:pt x="256032" y="274034"/>
                    </a:lnTo>
                    <a:lnTo>
                      <a:pt x="252698" y="276606"/>
                    </a:lnTo>
                    <a:lnTo>
                      <a:pt x="247555" y="278225"/>
                    </a:lnTo>
                    <a:lnTo>
                      <a:pt x="245840" y="279082"/>
                    </a:lnTo>
                    <a:lnTo>
                      <a:pt x="244983" y="279940"/>
                    </a:lnTo>
                    <a:lnTo>
                      <a:pt x="239935" y="284226"/>
                    </a:lnTo>
                    <a:lnTo>
                      <a:pt x="236506" y="286798"/>
                    </a:lnTo>
                    <a:lnTo>
                      <a:pt x="234791" y="287655"/>
                    </a:lnTo>
                    <a:lnTo>
                      <a:pt x="233077" y="287655"/>
                    </a:lnTo>
                    <a:lnTo>
                      <a:pt x="231362" y="286798"/>
                    </a:lnTo>
                    <a:lnTo>
                      <a:pt x="230600" y="286798"/>
                    </a:lnTo>
                    <a:lnTo>
                      <a:pt x="229743" y="286798"/>
                    </a:lnTo>
                    <a:lnTo>
                      <a:pt x="228886" y="285940"/>
                    </a:lnTo>
                    <a:lnTo>
                      <a:pt x="228028" y="285083"/>
                    </a:lnTo>
                    <a:lnTo>
                      <a:pt x="226314" y="282511"/>
                    </a:lnTo>
                    <a:lnTo>
                      <a:pt x="224599" y="281654"/>
                    </a:lnTo>
                    <a:lnTo>
                      <a:pt x="223742" y="279940"/>
                    </a:lnTo>
                    <a:lnTo>
                      <a:pt x="221171" y="279082"/>
                    </a:lnTo>
                    <a:lnTo>
                      <a:pt x="220313" y="278225"/>
                    </a:lnTo>
                    <a:lnTo>
                      <a:pt x="219456" y="276606"/>
                    </a:lnTo>
                    <a:lnTo>
                      <a:pt x="219456" y="275749"/>
                    </a:lnTo>
                    <a:lnTo>
                      <a:pt x="220313" y="272320"/>
                    </a:lnTo>
                    <a:lnTo>
                      <a:pt x="219456" y="270605"/>
                    </a:lnTo>
                    <a:lnTo>
                      <a:pt x="219456" y="269748"/>
                    </a:lnTo>
                    <a:lnTo>
                      <a:pt x="217837" y="267176"/>
                    </a:lnTo>
                    <a:lnTo>
                      <a:pt x="216979" y="266319"/>
                    </a:lnTo>
                    <a:lnTo>
                      <a:pt x="216979" y="264605"/>
                    </a:lnTo>
                    <a:lnTo>
                      <a:pt x="216979" y="263842"/>
                    </a:lnTo>
                    <a:lnTo>
                      <a:pt x="216979" y="260413"/>
                    </a:lnTo>
                    <a:lnTo>
                      <a:pt x="217837" y="257842"/>
                    </a:lnTo>
                    <a:lnTo>
                      <a:pt x="217837" y="256984"/>
                    </a:lnTo>
                    <a:lnTo>
                      <a:pt x="217837" y="256984"/>
                    </a:lnTo>
                    <a:lnTo>
                      <a:pt x="218599" y="251079"/>
                    </a:lnTo>
                    <a:lnTo>
                      <a:pt x="217837" y="241649"/>
                    </a:lnTo>
                    <a:lnTo>
                      <a:pt x="217837" y="240792"/>
                    </a:lnTo>
                    <a:lnTo>
                      <a:pt x="218599" y="239934"/>
                    </a:lnTo>
                    <a:lnTo>
                      <a:pt x="219456" y="239077"/>
                    </a:lnTo>
                    <a:lnTo>
                      <a:pt x="221171" y="239077"/>
                    </a:lnTo>
                    <a:lnTo>
                      <a:pt x="222885" y="238315"/>
                    </a:lnTo>
                    <a:lnTo>
                      <a:pt x="223742" y="236601"/>
                    </a:lnTo>
                    <a:lnTo>
                      <a:pt x="224599" y="234886"/>
                    </a:lnTo>
                    <a:lnTo>
                      <a:pt x="224599" y="230600"/>
                    </a:lnTo>
                    <a:lnTo>
                      <a:pt x="224599" y="229743"/>
                    </a:lnTo>
                    <a:lnTo>
                      <a:pt x="225457" y="228028"/>
                    </a:lnTo>
                    <a:lnTo>
                      <a:pt x="225457" y="226314"/>
                    </a:lnTo>
                    <a:lnTo>
                      <a:pt x="225457" y="225552"/>
                    </a:lnTo>
                    <a:lnTo>
                      <a:pt x="225457" y="223838"/>
                    </a:lnTo>
                    <a:lnTo>
                      <a:pt x="224599" y="222980"/>
                    </a:lnTo>
                    <a:lnTo>
                      <a:pt x="224599" y="222980"/>
                    </a:lnTo>
                    <a:lnTo>
                      <a:pt x="223742" y="222980"/>
                    </a:lnTo>
                    <a:lnTo>
                      <a:pt x="222885" y="222123"/>
                    </a:lnTo>
                    <a:lnTo>
                      <a:pt x="222028" y="221266"/>
                    </a:lnTo>
                    <a:lnTo>
                      <a:pt x="221171" y="220408"/>
                    </a:lnTo>
                    <a:lnTo>
                      <a:pt x="220313" y="219551"/>
                    </a:lnTo>
                    <a:lnTo>
                      <a:pt x="219456" y="216979"/>
                    </a:lnTo>
                    <a:lnTo>
                      <a:pt x="219456" y="216122"/>
                    </a:lnTo>
                    <a:lnTo>
                      <a:pt x="218599" y="215265"/>
                    </a:lnTo>
                    <a:lnTo>
                      <a:pt x="217837" y="214408"/>
                    </a:lnTo>
                    <a:lnTo>
                      <a:pt x="211836" y="211931"/>
                    </a:lnTo>
                    <a:lnTo>
                      <a:pt x="206692" y="210217"/>
                    </a:lnTo>
                    <a:lnTo>
                      <a:pt x="205073" y="209359"/>
                    </a:lnTo>
                    <a:lnTo>
                      <a:pt x="203359" y="207645"/>
                    </a:lnTo>
                    <a:lnTo>
                      <a:pt x="202501" y="205073"/>
                    </a:lnTo>
                    <a:lnTo>
                      <a:pt x="201644" y="203359"/>
                    </a:lnTo>
                    <a:lnTo>
                      <a:pt x="201644" y="201644"/>
                    </a:lnTo>
                    <a:lnTo>
                      <a:pt x="201644" y="200025"/>
                    </a:lnTo>
                    <a:lnTo>
                      <a:pt x="202501" y="198310"/>
                    </a:lnTo>
                    <a:lnTo>
                      <a:pt x="202501" y="197453"/>
                    </a:lnTo>
                    <a:lnTo>
                      <a:pt x="203359" y="196596"/>
                    </a:lnTo>
                    <a:lnTo>
                      <a:pt x="204216" y="196596"/>
                    </a:lnTo>
                    <a:lnTo>
                      <a:pt x="204216" y="195739"/>
                    </a:lnTo>
                    <a:lnTo>
                      <a:pt x="205835" y="195739"/>
                    </a:lnTo>
                    <a:lnTo>
                      <a:pt x="206692" y="195739"/>
                    </a:lnTo>
                    <a:lnTo>
                      <a:pt x="208407" y="197453"/>
                    </a:lnTo>
                    <a:lnTo>
                      <a:pt x="209264" y="197453"/>
                    </a:lnTo>
                    <a:lnTo>
                      <a:pt x="210979" y="196596"/>
                    </a:lnTo>
                    <a:lnTo>
                      <a:pt x="211836" y="196596"/>
                    </a:lnTo>
                    <a:lnTo>
                      <a:pt x="211836" y="195739"/>
                    </a:lnTo>
                    <a:lnTo>
                      <a:pt x="211836" y="194881"/>
                    </a:lnTo>
                    <a:lnTo>
                      <a:pt x="211836" y="194024"/>
                    </a:lnTo>
                    <a:lnTo>
                      <a:pt x="210979" y="194024"/>
                    </a:lnTo>
                    <a:lnTo>
                      <a:pt x="209264" y="192309"/>
                    </a:lnTo>
                    <a:lnTo>
                      <a:pt x="208407" y="190595"/>
                    </a:lnTo>
                    <a:lnTo>
                      <a:pt x="207550" y="187261"/>
                    </a:lnTo>
                    <a:lnTo>
                      <a:pt x="206692" y="184690"/>
                    </a:lnTo>
                    <a:lnTo>
                      <a:pt x="205835" y="183832"/>
                    </a:lnTo>
                    <a:lnTo>
                      <a:pt x="205073" y="182975"/>
                    </a:lnTo>
                    <a:lnTo>
                      <a:pt x="204216" y="182118"/>
                    </a:lnTo>
                    <a:lnTo>
                      <a:pt x="203359" y="181261"/>
                    </a:lnTo>
                    <a:lnTo>
                      <a:pt x="203359" y="180403"/>
                    </a:lnTo>
                    <a:lnTo>
                      <a:pt x="203359" y="179546"/>
                    </a:lnTo>
                    <a:lnTo>
                      <a:pt x="204216" y="177832"/>
                    </a:lnTo>
                    <a:lnTo>
                      <a:pt x="205073" y="176974"/>
                    </a:lnTo>
                    <a:lnTo>
                      <a:pt x="205073" y="174498"/>
                    </a:lnTo>
                    <a:lnTo>
                      <a:pt x="205073" y="173641"/>
                    </a:lnTo>
                    <a:lnTo>
                      <a:pt x="204216" y="173641"/>
                    </a:lnTo>
                    <a:lnTo>
                      <a:pt x="203359" y="174498"/>
                    </a:lnTo>
                    <a:lnTo>
                      <a:pt x="200787" y="176117"/>
                    </a:lnTo>
                    <a:lnTo>
                      <a:pt x="199930" y="176974"/>
                    </a:lnTo>
                    <a:lnTo>
                      <a:pt x="198215" y="176974"/>
                    </a:lnTo>
                    <a:lnTo>
                      <a:pt x="190595" y="177832"/>
                    </a:lnTo>
                    <a:lnTo>
                      <a:pt x="188023" y="177832"/>
                    </a:lnTo>
                    <a:lnTo>
                      <a:pt x="187166" y="177832"/>
                    </a:lnTo>
                    <a:lnTo>
                      <a:pt x="185452" y="177832"/>
                    </a:lnTo>
                    <a:lnTo>
                      <a:pt x="182880" y="176974"/>
                    </a:lnTo>
                    <a:lnTo>
                      <a:pt x="182880" y="176117"/>
                    </a:lnTo>
                    <a:lnTo>
                      <a:pt x="182023" y="176117"/>
                    </a:lnTo>
                    <a:lnTo>
                      <a:pt x="181165" y="176117"/>
                    </a:lnTo>
                    <a:lnTo>
                      <a:pt x="178689" y="177832"/>
                    </a:lnTo>
                    <a:lnTo>
                      <a:pt x="177832" y="177832"/>
                    </a:lnTo>
                    <a:lnTo>
                      <a:pt x="176974" y="176974"/>
                    </a:lnTo>
                    <a:lnTo>
                      <a:pt x="176117" y="176117"/>
                    </a:lnTo>
                    <a:lnTo>
                      <a:pt x="176117" y="175260"/>
                    </a:lnTo>
                    <a:lnTo>
                      <a:pt x="176117" y="174498"/>
                    </a:lnTo>
                    <a:lnTo>
                      <a:pt x="178689" y="171069"/>
                    </a:lnTo>
                    <a:lnTo>
                      <a:pt x="179546" y="170212"/>
                    </a:lnTo>
                    <a:lnTo>
                      <a:pt x="186309" y="165068"/>
                    </a:lnTo>
                    <a:lnTo>
                      <a:pt x="187166" y="162496"/>
                    </a:lnTo>
                    <a:lnTo>
                      <a:pt x="184594" y="160877"/>
                    </a:lnTo>
                    <a:lnTo>
                      <a:pt x="182023" y="157448"/>
                    </a:lnTo>
                    <a:lnTo>
                      <a:pt x="181165" y="156591"/>
                    </a:lnTo>
                    <a:lnTo>
                      <a:pt x="179546" y="155734"/>
                    </a:lnTo>
                    <a:lnTo>
                      <a:pt x="177832" y="155734"/>
                    </a:lnTo>
                    <a:lnTo>
                      <a:pt x="176974" y="154876"/>
                    </a:lnTo>
                    <a:lnTo>
                      <a:pt x="175260" y="154019"/>
                    </a:lnTo>
                    <a:lnTo>
                      <a:pt x="173546" y="152305"/>
                    </a:lnTo>
                    <a:lnTo>
                      <a:pt x="172688" y="151447"/>
                    </a:lnTo>
                    <a:lnTo>
                      <a:pt x="159925" y="148114"/>
                    </a:lnTo>
                    <a:lnTo>
                      <a:pt x="155734" y="147256"/>
                    </a:lnTo>
                    <a:lnTo>
                      <a:pt x="154019" y="145542"/>
                    </a:lnTo>
                    <a:lnTo>
                      <a:pt x="154019" y="144684"/>
                    </a:lnTo>
                    <a:lnTo>
                      <a:pt x="154019" y="144684"/>
                    </a:lnTo>
                    <a:lnTo>
                      <a:pt x="154019" y="143827"/>
                    </a:lnTo>
                    <a:lnTo>
                      <a:pt x="154019" y="143827"/>
                    </a:lnTo>
                    <a:lnTo>
                      <a:pt x="153162" y="142970"/>
                    </a:lnTo>
                    <a:lnTo>
                      <a:pt x="153162" y="142970"/>
                    </a:lnTo>
                    <a:lnTo>
                      <a:pt x="153162" y="142113"/>
                    </a:lnTo>
                    <a:lnTo>
                      <a:pt x="152305" y="141256"/>
                    </a:lnTo>
                    <a:lnTo>
                      <a:pt x="152305" y="140398"/>
                    </a:lnTo>
                    <a:lnTo>
                      <a:pt x="153162" y="138684"/>
                    </a:lnTo>
                    <a:lnTo>
                      <a:pt x="153162" y="137827"/>
                    </a:lnTo>
                    <a:lnTo>
                      <a:pt x="153162" y="135350"/>
                    </a:lnTo>
                    <a:lnTo>
                      <a:pt x="152305" y="134493"/>
                    </a:lnTo>
                    <a:lnTo>
                      <a:pt x="153162" y="133636"/>
                    </a:lnTo>
                    <a:lnTo>
                      <a:pt x="154019" y="132778"/>
                    </a:lnTo>
                    <a:lnTo>
                      <a:pt x="156496" y="132778"/>
                    </a:lnTo>
                    <a:lnTo>
                      <a:pt x="157353" y="133636"/>
                    </a:lnTo>
                    <a:lnTo>
                      <a:pt x="159925" y="134493"/>
                    </a:lnTo>
                    <a:lnTo>
                      <a:pt x="161639" y="134493"/>
                    </a:lnTo>
                    <a:lnTo>
                      <a:pt x="164211" y="134493"/>
                    </a:lnTo>
                    <a:lnTo>
                      <a:pt x="165925" y="132778"/>
                    </a:lnTo>
                    <a:lnTo>
                      <a:pt x="166783" y="131921"/>
                    </a:lnTo>
                    <a:lnTo>
                      <a:pt x="167640" y="130207"/>
                    </a:lnTo>
                    <a:lnTo>
                      <a:pt x="168402" y="129349"/>
                    </a:lnTo>
                    <a:lnTo>
                      <a:pt x="170117" y="128492"/>
                    </a:lnTo>
                    <a:lnTo>
                      <a:pt x="171831" y="128492"/>
                    </a:lnTo>
                    <a:lnTo>
                      <a:pt x="172688" y="127635"/>
                    </a:lnTo>
                    <a:lnTo>
                      <a:pt x="172688" y="127635"/>
                    </a:lnTo>
                    <a:lnTo>
                      <a:pt x="173546" y="126778"/>
                    </a:lnTo>
                    <a:lnTo>
                      <a:pt x="173546" y="126778"/>
                    </a:lnTo>
                    <a:lnTo>
                      <a:pt x="173546" y="125921"/>
                    </a:lnTo>
                    <a:lnTo>
                      <a:pt x="172688" y="125921"/>
                    </a:lnTo>
                    <a:lnTo>
                      <a:pt x="171831" y="123444"/>
                    </a:lnTo>
                    <a:lnTo>
                      <a:pt x="170974" y="121729"/>
                    </a:lnTo>
                    <a:lnTo>
                      <a:pt x="170974" y="119158"/>
                    </a:lnTo>
                    <a:lnTo>
                      <a:pt x="170974" y="117443"/>
                    </a:lnTo>
                    <a:lnTo>
                      <a:pt x="170117" y="116586"/>
                    </a:lnTo>
                    <a:lnTo>
                      <a:pt x="169259" y="116586"/>
                    </a:lnTo>
                    <a:lnTo>
                      <a:pt x="167640" y="115729"/>
                    </a:lnTo>
                    <a:lnTo>
                      <a:pt x="167640" y="116586"/>
                    </a:lnTo>
                    <a:lnTo>
                      <a:pt x="165925" y="116586"/>
                    </a:lnTo>
                    <a:lnTo>
                      <a:pt x="165068" y="116586"/>
                    </a:lnTo>
                    <a:lnTo>
                      <a:pt x="164211" y="116586"/>
                    </a:lnTo>
                    <a:lnTo>
                      <a:pt x="162496" y="116586"/>
                    </a:lnTo>
                    <a:lnTo>
                      <a:pt x="161639" y="115729"/>
                    </a:lnTo>
                    <a:lnTo>
                      <a:pt x="160782" y="115729"/>
                    </a:lnTo>
                    <a:lnTo>
                      <a:pt x="159067" y="114014"/>
                    </a:lnTo>
                    <a:lnTo>
                      <a:pt x="156496" y="110585"/>
                    </a:lnTo>
                    <a:lnTo>
                      <a:pt x="155734" y="109823"/>
                    </a:lnTo>
                    <a:lnTo>
                      <a:pt x="154876" y="109823"/>
                    </a:lnTo>
                    <a:lnTo>
                      <a:pt x="154019" y="109823"/>
                    </a:lnTo>
                    <a:lnTo>
                      <a:pt x="153162" y="109823"/>
                    </a:lnTo>
                    <a:lnTo>
                      <a:pt x="151448" y="109823"/>
                    </a:lnTo>
                    <a:lnTo>
                      <a:pt x="151448" y="109823"/>
                    </a:lnTo>
                    <a:lnTo>
                      <a:pt x="150590" y="109823"/>
                    </a:lnTo>
                    <a:lnTo>
                      <a:pt x="149733" y="108966"/>
                    </a:lnTo>
                    <a:lnTo>
                      <a:pt x="148876" y="108109"/>
                    </a:lnTo>
                    <a:lnTo>
                      <a:pt x="148019" y="106394"/>
                    </a:lnTo>
                    <a:lnTo>
                      <a:pt x="147161" y="104680"/>
                    </a:lnTo>
                    <a:lnTo>
                      <a:pt x="146304" y="103822"/>
                    </a:lnTo>
                    <a:lnTo>
                      <a:pt x="145447" y="103822"/>
                    </a:lnTo>
                    <a:lnTo>
                      <a:pt x="143732" y="102965"/>
                    </a:lnTo>
                    <a:lnTo>
                      <a:pt x="142113" y="102965"/>
                    </a:lnTo>
                    <a:lnTo>
                      <a:pt x="141256" y="102965"/>
                    </a:lnTo>
                    <a:lnTo>
                      <a:pt x="140398" y="103822"/>
                    </a:lnTo>
                    <a:lnTo>
                      <a:pt x="139541" y="103822"/>
                    </a:lnTo>
                    <a:lnTo>
                      <a:pt x="138684" y="103822"/>
                    </a:lnTo>
                    <a:lnTo>
                      <a:pt x="137827" y="103822"/>
                    </a:lnTo>
                    <a:lnTo>
                      <a:pt x="136112" y="102108"/>
                    </a:lnTo>
                    <a:lnTo>
                      <a:pt x="136112" y="101251"/>
                    </a:lnTo>
                    <a:lnTo>
                      <a:pt x="136112" y="100393"/>
                    </a:lnTo>
                    <a:lnTo>
                      <a:pt x="136112" y="96202"/>
                    </a:lnTo>
                    <a:lnTo>
                      <a:pt x="136112" y="93631"/>
                    </a:lnTo>
                    <a:lnTo>
                      <a:pt x="136112" y="92773"/>
                    </a:lnTo>
                    <a:lnTo>
                      <a:pt x="135255" y="91916"/>
                    </a:lnTo>
                    <a:lnTo>
                      <a:pt x="132683" y="91916"/>
                    </a:lnTo>
                    <a:lnTo>
                      <a:pt x="129349" y="93631"/>
                    </a:lnTo>
                    <a:lnTo>
                      <a:pt x="125063" y="96202"/>
                    </a:lnTo>
                    <a:lnTo>
                      <a:pt x="122492" y="96202"/>
                    </a:lnTo>
                    <a:lnTo>
                      <a:pt x="116586" y="94488"/>
                    </a:lnTo>
                    <a:lnTo>
                      <a:pt x="114014" y="94488"/>
                    </a:lnTo>
                    <a:lnTo>
                      <a:pt x="111442" y="94488"/>
                    </a:lnTo>
                    <a:lnTo>
                      <a:pt x="109728" y="93631"/>
                    </a:lnTo>
                    <a:lnTo>
                      <a:pt x="108013" y="92773"/>
                    </a:lnTo>
                    <a:lnTo>
                      <a:pt x="106299" y="91916"/>
                    </a:lnTo>
                    <a:lnTo>
                      <a:pt x="104680" y="90202"/>
                    </a:lnTo>
                    <a:lnTo>
                      <a:pt x="102965" y="87630"/>
                    </a:lnTo>
                    <a:lnTo>
                      <a:pt x="102108" y="86773"/>
                    </a:lnTo>
                    <a:lnTo>
                      <a:pt x="101251" y="85058"/>
                    </a:lnTo>
                    <a:lnTo>
                      <a:pt x="101251" y="81724"/>
                    </a:lnTo>
                    <a:lnTo>
                      <a:pt x="100394" y="80010"/>
                    </a:lnTo>
                    <a:lnTo>
                      <a:pt x="99536" y="80010"/>
                    </a:lnTo>
                    <a:lnTo>
                      <a:pt x="98679" y="80010"/>
                    </a:lnTo>
                    <a:lnTo>
                      <a:pt x="97822" y="79153"/>
                    </a:lnTo>
                    <a:lnTo>
                      <a:pt x="96965" y="79153"/>
                    </a:lnTo>
                    <a:lnTo>
                      <a:pt x="96107" y="80010"/>
                    </a:lnTo>
                    <a:lnTo>
                      <a:pt x="95250" y="80010"/>
                    </a:lnTo>
                    <a:lnTo>
                      <a:pt x="94393" y="80010"/>
                    </a:lnTo>
                    <a:lnTo>
                      <a:pt x="93631" y="79153"/>
                    </a:lnTo>
                    <a:lnTo>
                      <a:pt x="92773" y="78296"/>
                    </a:lnTo>
                    <a:lnTo>
                      <a:pt x="90202" y="76581"/>
                    </a:lnTo>
                    <a:lnTo>
                      <a:pt x="89344" y="76581"/>
                    </a:lnTo>
                    <a:lnTo>
                      <a:pt x="88487" y="76581"/>
                    </a:lnTo>
                    <a:lnTo>
                      <a:pt x="86773" y="76581"/>
                    </a:lnTo>
                    <a:lnTo>
                      <a:pt x="85915" y="76581"/>
                    </a:lnTo>
                    <a:lnTo>
                      <a:pt x="85915" y="76581"/>
                    </a:lnTo>
                    <a:lnTo>
                      <a:pt x="85058" y="75724"/>
                    </a:lnTo>
                    <a:lnTo>
                      <a:pt x="84201" y="74866"/>
                    </a:lnTo>
                    <a:lnTo>
                      <a:pt x="84201" y="73152"/>
                    </a:lnTo>
                    <a:lnTo>
                      <a:pt x="83344" y="72295"/>
                    </a:lnTo>
                    <a:lnTo>
                      <a:pt x="81629" y="71533"/>
                    </a:lnTo>
                    <a:lnTo>
                      <a:pt x="80867" y="71533"/>
                    </a:lnTo>
                    <a:lnTo>
                      <a:pt x="77438" y="70675"/>
                    </a:lnTo>
                    <a:lnTo>
                      <a:pt x="75724" y="68961"/>
                    </a:lnTo>
                    <a:lnTo>
                      <a:pt x="64675" y="57055"/>
                    </a:lnTo>
                    <a:lnTo>
                      <a:pt x="62960" y="55340"/>
                    </a:lnTo>
                    <a:lnTo>
                      <a:pt x="62960" y="55340"/>
                    </a:lnTo>
                    <a:lnTo>
                      <a:pt x="62103" y="55340"/>
                    </a:lnTo>
                    <a:lnTo>
                      <a:pt x="61246" y="55340"/>
                    </a:lnTo>
                    <a:lnTo>
                      <a:pt x="60388" y="55340"/>
                    </a:lnTo>
                    <a:lnTo>
                      <a:pt x="59531" y="55340"/>
                    </a:lnTo>
                    <a:lnTo>
                      <a:pt x="59531" y="54483"/>
                    </a:lnTo>
                    <a:lnTo>
                      <a:pt x="58674" y="53626"/>
                    </a:lnTo>
                    <a:lnTo>
                      <a:pt x="58674" y="52768"/>
                    </a:lnTo>
                    <a:lnTo>
                      <a:pt x="57817" y="49339"/>
                    </a:lnTo>
                    <a:lnTo>
                      <a:pt x="56959" y="46767"/>
                    </a:lnTo>
                    <a:lnTo>
                      <a:pt x="55340" y="45148"/>
                    </a:lnTo>
                    <a:lnTo>
                      <a:pt x="54483" y="44291"/>
                    </a:lnTo>
                    <a:lnTo>
                      <a:pt x="53626" y="43434"/>
                    </a:lnTo>
                    <a:lnTo>
                      <a:pt x="53626" y="42577"/>
                    </a:lnTo>
                    <a:lnTo>
                      <a:pt x="53626" y="40862"/>
                    </a:lnTo>
                    <a:lnTo>
                      <a:pt x="53626" y="40005"/>
                    </a:lnTo>
                    <a:lnTo>
                      <a:pt x="54483" y="39148"/>
                    </a:lnTo>
                    <a:lnTo>
                      <a:pt x="55340" y="37433"/>
                    </a:lnTo>
                    <a:lnTo>
                      <a:pt x="56198" y="37433"/>
                    </a:lnTo>
                    <a:lnTo>
                      <a:pt x="56959" y="36576"/>
                    </a:lnTo>
                    <a:lnTo>
                      <a:pt x="56959" y="35719"/>
                    </a:lnTo>
                    <a:lnTo>
                      <a:pt x="56959" y="34861"/>
                    </a:lnTo>
                    <a:lnTo>
                      <a:pt x="56959" y="34861"/>
                    </a:lnTo>
                    <a:lnTo>
                      <a:pt x="56959" y="34004"/>
                    </a:lnTo>
                    <a:lnTo>
                      <a:pt x="56959" y="34004"/>
                    </a:lnTo>
                    <a:lnTo>
                      <a:pt x="55340" y="34004"/>
                    </a:lnTo>
                    <a:lnTo>
                      <a:pt x="54483" y="34004"/>
                    </a:lnTo>
                    <a:lnTo>
                      <a:pt x="51911" y="34861"/>
                    </a:lnTo>
                    <a:lnTo>
                      <a:pt x="51054" y="34861"/>
                    </a:lnTo>
                    <a:lnTo>
                      <a:pt x="51054" y="34861"/>
                    </a:lnTo>
                    <a:lnTo>
                      <a:pt x="50197" y="34861"/>
                    </a:lnTo>
                    <a:lnTo>
                      <a:pt x="50197" y="34861"/>
                    </a:lnTo>
                    <a:lnTo>
                      <a:pt x="50197" y="34004"/>
                    </a:lnTo>
                    <a:lnTo>
                      <a:pt x="48482" y="32385"/>
                    </a:lnTo>
                    <a:lnTo>
                      <a:pt x="47625" y="31528"/>
                    </a:lnTo>
                    <a:lnTo>
                      <a:pt x="47625" y="31528"/>
                    </a:lnTo>
                    <a:lnTo>
                      <a:pt x="47625" y="31528"/>
                    </a:lnTo>
                    <a:lnTo>
                      <a:pt x="46768" y="31528"/>
                    </a:lnTo>
                    <a:lnTo>
                      <a:pt x="46768" y="30671"/>
                    </a:lnTo>
                    <a:lnTo>
                      <a:pt x="45910" y="29813"/>
                    </a:lnTo>
                    <a:lnTo>
                      <a:pt x="45053" y="28956"/>
                    </a:lnTo>
                    <a:lnTo>
                      <a:pt x="44196" y="27241"/>
                    </a:lnTo>
                    <a:lnTo>
                      <a:pt x="43434" y="26384"/>
                    </a:lnTo>
                    <a:lnTo>
                      <a:pt x="43434" y="25527"/>
                    </a:lnTo>
                    <a:lnTo>
                      <a:pt x="44196" y="24670"/>
                    </a:lnTo>
                    <a:lnTo>
                      <a:pt x="45053" y="22955"/>
                    </a:lnTo>
                    <a:lnTo>
                      <a:pt x="45910" y="20479"/>
                    </a:lnTo>
                    <a:lnTo>
                      <a:pt x="40862" y="18764"/>
                    </a:lnTo>
                    <a:lnTo>
                      <a:pt x="40005" y="18764"/>
                    </a:lnTo>
                    <a:lnTo>
                      <a:pt x="39148" y="19621"/>
                    </a:lnTo>
                    <a:lnTo>
                      <a:pt x="38290" y="20479"/>
                    </a:lnTo>
                    <a:lnTo>
                      <a:pt x="38290" y="20479"/>
                    </a:lnTo>
                    <a:lnTo>
                      <a:pt x="37433" y="20479"/>
                    </a:lnTo>
                    <a:lnTo>
                      <a:pt x="36576" y="20479"/>
                    </a:lnTo>
                    <a:lnTo>
                      <a:pt x="35719" y="20479"/>
                    </a:lnTo>
                    <a:lnTo>
                      <a:pt x="34861" y="19621"/>
                    </a:lnTo>
                    <a:lnTo>
                      <a:pt x="33147" y="17050"/>
                    </a:lnTo>
                    <a:lnTo>
                      <a:pt x="32290" y="16192"/>
                    </a:lnTo>
                    <a:lnTo>
                      <a:pt x="31528" y="16192"/>
                    </a:lnTo>
                    <a:lnTo>
                      <a:pt x="30671" y="17050"/>
                    </a:lnTo>
                    <a:lnTo>
                      <a:pt x="29813" y="17050"/>
                    </a:lnTo>
                    <a:lnTo>
                      <a:pt x="28956" y="17050"/>
                    </a:lnTo>
                    <a:lnTo>
                      <a:pt x="28099" y="17050"/>
                    </a:lnTo>
                    <a:lnTo>
                      <a:pt x="27242" y="16192"/>
                    </a:lnTo>
                    <a:lnTo>
                      <a:pt x="27242" y="15335"/>
                    </a:lnTo>
                    <a:lnTo>
                      <a:pt x="27242" y="14478"/>
                    </a:lnTo>
                    <a:lnTo>
                      <a:pt x="27242" y="13621"/>
                    </a:lnTo>
                    <a:lnTo>
                      <a:pt x="27242" y="12763"/>
                    </a:lnTo>
                    <a:lnTo>
                      <a:pt x="27242" y="11906"/>
                    </a:lnTo>
                    <a:lnTo>
                      <a:pt x="27242" y="11049"/>
                    </a:lnTo>
                    <a:lnTo>
                      <a:pt x="27242" y="11049"/>
                    </a:lnTo>
                    <a:lnTo>
                      <a:pt x="26384" y="10192"/>
                    </a:lnTo>
                    <a:lnTo>
                      <a:pt x="23813" y="9334"/>
                    </a:lnTo>
                    <a:lnTo>
                      <a:pt x="22955" y="8477"/>
                    </a:lnTo>
                    <a:lnTo>
                      <a:pt x="21241" y="8477"/>
                    </a:lnTo>
                    <a:lnTo>
                      <a:pt x="20383" y="9334"/>
                    </a:lnTo>
                    <a:lnTo>
                      <a:pt x="19526" y="10192"/>
                    </a:lnTo>
                    <a:lnTo>
                      <a:pt x="18764" y="10192"/>
                    </a:lnTo>
                    <a:lnTo>
                      <a:pt x="18764" y="10192"/>
                    </a:lnTo>
                    <a:lnTo>
                      <a:pt x="17907" y="10192"/>
                    </a:lnTo>
                    <a:lnTo>
                      <a:pt x="17050" y="10192"/>
                    </a:lnTo>
                    <a:lnTo>
                      <a:pt x="16192" y="9334"/>
                    </a:lnTo>
                    <a:lnTo>
                      <a:pt x="16192" y="8477"/>
                    </a:lnTo>
                    <a:lnTo>
                      <a:pt x="16192" y="8477"/>
                    </a:lnTo>
                    <a:lnTo>
                      <a:pt x="17050" y="7715"/>
                    </a:lnTo>
                    <a:lnTo>
                      <a:pt x="17050" y="7715"/>
                    </a:lnTo>
                    <a:lnTo>
                      <a:pt x="16192" y="6858"/>
                    </a:lnTo>
                    <a:lnTo>
                      <a:pt x="16192" y="6858"/>
                    </a:lnTo>
                    <a:lnTo>
                      <a:pt x="15335" y="6858"/>
                    </a:lnTo>
                    <a:lnTo>
                      <a:pt x="13621" y="6858"/>
                    </a:lnTo>
                    <a:lnTo>
                      <a:pt x="12763" y="6001"/>
                    </a:lnTo>
                    <a:lnTo>
                      <a:pt x="11906" y="6001"/>
                    </a:lnTo>
                    <a:lnTo>
                      <a:pt x="11049" y="5143"/>
                    </a:lnTo>
                    <a:lnTo>
                      <a:pt x="11049" y="4286"/>
                    </a:lnTo>
                    <a:lnTo>
                      <a:pt x="11049" y="4286"/>
                    </a:lnTo>
                    <a:lnTo>
                      <a:pt x="10192" y="1714"/>
                    </a:lnTo>
                    <a:lnTo>
                      <a:pt x="10192" y="1714"/>
                    </a:lnTo>
                    <a:lnTo>
                      <a:pt x="10192" y="857"/>
                    </a:lnTo>
                    <a:lnTo>
                      <a:pt x="10192" y="857"/>
                    </a:lnTo>
                    <a:lnTo>
                      <a:pt x="9334" y="0"/>
                    </a:lnTo>
                    <a:lnTo>
                      <a:pt x="8477" y="0"/>
                    </a:lnTo>
                    <a:lnTo>
                      <a:pt x="7620" y="0"/>
                    </a:lnTo>
                    <a:lnTo>
                      <a:pt x="4286" y="0"/>
                    </a:lnTo>
                    <a:lnTo>
                      <a:pt x="0" y="1714"/>
                    </a:lnTo>
                    <a:lnTo>
                      <a:pt x="0" y="2572"/>
                    </a:lnTo>
                    <a:lnTo>
                      <a:pt x="1715" y="4286"/>
                    </a:lnTo>
                    <a:lnTo>
                      <a:pt x="2572" y="6001"/>
                    </a:lnTo>
                    <a:lnTo>
                      <a:pt x="11049" y="27241"/>
                    </a:lnTo>
                    <a:lnTo>
                      <a:pt x="13621" y="30671"/>
                    </a:lnTo>
                    <a:lnTo>
                      <a:pt x="14478" y="32385"/>
                    </a:lnTo>
                    <a:lnTo>
                      <a:pt x="14478" y="34861"/>
                    </a:lnTo>
                    <a:lnTo>
                      <a:pt x="15335" y="35719"/>
                    </a:lnTo>
                    <a:lnTo>
                      <a:pt x="16192" y="36576"/>
                    </a:lnTo>
                    <a:lnTo>
                      <a:pt x="17050" y="37433"/>
                    </a:lnTo>
                    <a:lnTo>
                      <a:pt x="17050" y="37433"/>
                    </a:lnTo>
                    <a:lnTo>
                      <a:pt x="17050" y="38290"/>
                    </a:lnTo>
                    <a:lnTo>
                      <a:pt x="17907" y="40862"/>
                    </a:lnTo>
                    <a:lnTo>
                      <a:pt x="25527" y="53626"/>
                    </a:lnTo>
                    <a:lnTo>
                      <a:pt x="27242" y="57912"/>
                    </a:lnTo>
                    <a:lnTo>
                      <a:pt x="28099" y="60388"/>
                    </a:lnTo>
                    <a:lnTo>
                      <a:pt x="28099" y="61246"/>
                    </a:lnTo>
                    <a:lnTo>
                      <a:pt x="28099" y="62960"/>
                    </a:lnTo>
                    <a:lnTo>
                      <a:pt x="28956" y="62103"/>
                    </a:lnTo>
                    <a:lnTo>
                      <a:pt x="29813" y="61246"/>
                    </a:lnTo>
                    <a:lnTo>
                      <a:pt x="29813" y="60388"/>
                    </a:lnTo>
                    <a:lnTo>
                      <a:pt x="31528" y="59531"/>
                    </a:lnTo>
                    <a:lnTo>
                      <a:pt x="31528" y="60388"/>
                    </a:lnTo>
                    <a:lnTo>
                      <a:pt x="30671" y="64675"/>
                    </a:lnTo>
                    <a:lnTo>
                      <a:pt x="32290" y="69818"/>
                    </a:lnTo>
                    <a:lnTo>
                      <a:pt x="36576" y="79153"/>
                    </a:lnTo>
                    <a:lnTo>
                      <a:pt x="36576" y="83439"/>
                    </a:lnTo>
                    <a:lnTo>
                      <a:pt x="37433" y="85058"/>
                    </a:lnTo>
                    <a:lnTo>
                      <a:pt x="39148" y="86773"/>
                    </a:lnTo>
                    <a:lnTo>
                      <a:pt x="39148" y="86773"/>
                    </a:lnTo>
                    <a:lnTo>
                      <a:pt x="39148" y="85915"/>
                    </a:lnTo>
                    <a:lnTo>
                      <a:pt x="40005" y="85915"/>
                    </a:lnTo>
                    <a:lnTo>
                      <a:pt x="40862" y="85058"/>
                    </a:lnTo>
                    <a:lnTo>
                      <a:pt x="40862" y="83439"/>
                    </a:lnTo>
                    <a:lnTo>
                      <a:pt x="40862" y="76581"/>
                    </a:lnTo>
                    <a:lnTo>
                      <a:pt x="42577" y="75724"/>
                    </a:lnTo>
                    <a:lnTo>
                      <a:pt x="44196" y="75724"/>
                    </a:lnTo>
                    <a:lnTo>
                      <a:pt x="46768" y="76581"/>
                    </a:lnTo>
                    <a:lnTo>
                      <a:pt x="47625" y="75724"/>
                    </a:lnTo>
                    <a:lnTo>
                      <a:pt x="48482" y="74866"/>
                    </a:lnTo>
                    <a:lnTo>
                      <a:pt x="49340" y="74009"/>
                    </a:lnTo>
                    <a:lnTo>
                      <a:pt x="50197" y="73152"/>
                    </a:lnTo>
                    <a:lnTo>
                      <a:pt x="51911" y="71533"/>
                    </a:lnTo>
                    <a:lnTo>
                      <a:pt x="53626" y="72295"/>
                    </a:lnTo>
                    <a:lnTo>
                      <a:pt x="55340" y="72295"/>
                    </a:lnTo>
                    <a:lnTo>
                      <a:pt x="56959" y="72295"/>
                    </a:lnTo>
                    <a:lnTo>
                      <a:pt x="58674" y="71533"/>
                    </a:lnTo>
                    <a:lnTo>
                      <a:pt x="60388" y="71533"/>
                    </a:lnTo>
                    <a:lnTo>
                      <a:pt x="60388" y="73152"/>
                    </a:lnTo>
                    <a:lnTo>
                      <a:pt x="58674" y="73152"/>
                    </a:lnTo>
                    <a:lnTo>
                      <a:pt x="56959" y="74009"/>
                    </a:lnTo>
                    <a:lnTo>
                      <a:pt x="55340" y="74866"/>
                    </a:lnTo>
                    <a:lnTo>
                      <a:pt x="54483" y="76581"/>
                    </a:lnTo>
                    <a:lnTo>
                      <a:pt x="53626" y="76581"/>
                    </a:lnTo>
                    <a:lnTo>
                      <a:pt x="52769" y="76581"/>
                    </a:lnTo>
                    <a:lnTo>
                      <a:pt x="51911" y="75724"/>
                    </a:lnTo>
                    <a:lnTo>
                      <a:pt x="50197" y="77438"/>
                    </a:lnTo>
                    <a:lnTo>
                      <a:pt x="49340" y="80010"/>
                    </a:lnTo>
                    <a:lnTo>
                      <a:pt x="50197" y="81724"/>
                    </a:lnTo>
                    <a:lnTo>
                      <a:pt x="50197" y="83439"/>
                    </a:lnTo>
                    <a:lnTo>
                      <a:pt x="50197" y="83439"/>
                    </a:lnTo>
                    <a:lnTo>
                      <a:pt x="51911" y="85058"/>
                    </a:lnTo>
                    <a:lnTo>
                      <a:pt x="52769" y="86773"/>
                    </a:lnTo>
                    <a:lnTo>
                      <a:pt x="51054" y="86773"/>
                    </a:lnTo>
                    <a:lnTo>
                      <a:pt x="47625" y="86773"/>
                    </a:lnTo>
                    <a:lnTo>
                      <a:pt x="46768" y="87630"/>
                    </a:lnTo>
                    <a:lnTo>
                      <a:pt x="48482" y="90202"/>
                    </a:lnTo>
                    <a:lnTo>
                      <a:pt x="49340" y="91916"/>
                    </a:lnTo>
                    <a:lnTo>
                      <a:pt x="51054" y="92773"/>
                    </a:lnTo>
                    <a:lnTo>
                      <a:pt x="52769" y="93631"/>
                    </a:lnTo>
                    <a:lnTo>
                      <a:pt x="54483" y="93631"/>
                    </a:lnTo>
                    <a:lnTo>
                      <a:pt x="56198" y="93631"/>
                    </a:lnTo>
                    <a:lnTo>
                      <a:pt x="58674" y="91059"/>
                    </a:lnTo>
                    <a:lnTo>
                      <a:pt x="59531" y="91059"/>
                    </a:lnTo>
                    <a:lnTo>
                      <a:pt x="58674" y="92773"/>
                    </a:lnTo>
                    <a:lnTo>
                      <a:pt x="58674" y="94488"/>
                    </a:lnTo>
                    <a:lnTo>
                      <a:pt x="58674" y="95345"/>
                    </a:lnTo>
                    <a:lnTo>
                      <a:pt x="60388" y="96202"/>
                    </a:lnTo>
                    <a:lnTo>
                      <a:pt x="60388" y="97059"/>
                    </a:lnTo>
                    <a:lnTo>
                      <a:pt x="51911" y="95345"/>
                    </a:lnTo>
                    <a:lnTo>
                      <a:pt x="50197" y="95345"/>
                    </a:lnTo>
                    <a:lnTo>
                      <a:pt x="51911" y="99536"/>
                    </a:lnTo>
                    <a:lnTo>
                      <a:pt x="54483" y="102108"/>
                    </a:lnTo>
                    <a:lnTo>
                      <a:pt x="55340" y="103822"/>
                    </a:lnTo>
                    <a:lnTo>
                      <a:pt x="55340" y="103822"/>
                    </a:lnTo>
                    <a:lnTo>
                      <a:pt x="57817" y="102965"/>
                    </a:lnTo>
                    <a:lnTo>
                      <a:pt x="57817" y="102965"/>
                    </a:lnTo>
                    <a:lnTo>
                      <a:pt x="72295" y="118300"/>
                    </a:lnTo>
                    <a:lnTo>
                      <a:pt x="74867" y="122587"/>
                    </a:lnTo>
                    <a:lnTo>
                      <a:pt x="80867" y="136969"/>
                    </a:lnTo>
                    <a:lnTo>
                      <a:pt x="80867" y="138684"/>
                    </a:lnTo>
                    <a:lnTo>
                      <a:pt x="82486" y="141256"/>
                    </a:lnTo>
                    <a:lnTo>
                      <a:pt x="83344" y="143827"/>
                    </a:lnTo>
                    <a:lnTo>
                      <a:pt x="83344" y="146399"/>
                    </a:lnTo>
                    <a:lnTo>
                      <a:pt x="84201" y="147256"/>
                    </a:lnTo>
                    <a:lnTo>
                      <a:pt x="85915" y="148114"/>
                    </a:lnTo>
                    <a:lnTo>
                      <a:pt x="88487" y="148114"/>
                    </a:lnTo>
                    <a:lnTo>
                      <a:pt x="90202" y="148971"/>
                    </a:lnTo>
                    <a:lnTo>
                      <a:pt x="91059" y="149733"/>
                    </a:lnTo>
                    <a:lnTo>
                      <a:pt x="92773" y="153162"/>
                    </a:lnTo>
                    <a:lnTo>
                      <a:pt x="95250" y="157448"/>
                    </a:lnTo>
                    <a:lnTo>
                      <a:pt x="96107" y="159163"/>
                    </a:lnTo>
                    <a:lnTo>
                      <a:pt x="97822" y="158305"/>
                    </a:lnTo>
                    <a:lnTo>
                      <a:pt x="98679" y="160020"/>
                    </a:lnTo>
                    <a:lnTo>
                      <a:pt x="97822" y="160877"/>
                    </a:lnTo>
                    <a:lnTo>
                      <a:pt x="96965" y="161734"/>
                    </a:lnTo>
                    <a:lnTo>
                      <a:pt x="96965" y="163354"/>
                    </a:lnTo>
                    <a:lnTo>
                      <a:pt x="96965" y="164211"/>
                    </a:lnTo>
                    <a:lnTo>
                      <a:pt x="97822" y="165068"/>
                    </a:lnTo>
                    <a:lnTo>
                      <a:pt x="98679" y="165925"/>
                    </a:lnTo>
                    <a:lnTo>
                      <a:pt x="108871" y="189738"/>
                    </a:lnTo>
                    <a:lnTo>
                      <a:pt x="114014" y="208502"/>
                    </a:lnTo>
                    <a:lnTo>
                      <a:pt x="114871" y="217837"/>
                    </a:lnTo>
                    <a:lnTo>
                      <a:pt x="117443" y="222123"/>
                    </a:lnTo>
                    <a:lnTo>
                      <a:pt x="120777" y="223838"/>
                    </a:lnTo>
                    <a:lnTo>
                      <a:pt x="119920" y="223838"/>
                    </a:lnTo>
                    <a:lnTo>
                      <a:pt x="118300" y="225552"/>
                    </a:lnTo>
                    <a:lnTo>
                      <a:pt x="118300" y="225552"/>
                    </a:lnTo>
                    <a:lnTo>
                      <a:pt x="118300" y="227171"/>
                    </a:lnTo>
                    <a:lnTo>
                      <a:pt x="119063" y="228028"/>
                    </a:lnTo>
                    <a:lnTo>
                      <a:pt x="119063" y="228886"/>
                    </a:lnTo>
                    <a:lnTo>
                      <a:pt x="119920" y="229743"/>
                    </a:lnTo>
                    <a:lnTo>
                      <a:pt x="119920" y="231457"/>
                    </a:lnTo>
                    <a:lnTo>
                      <a:pt x="126778" y="245078"/>
                    </a:lnTo>
                    <a:lnTo>
                      <a:pt x="127635" y="249364"/>
                    </a:lnTo>
                    <a:lnTo>
                      <a:pt x="129349" y="251079"/>
                    </a:lnTo>
                    <a:lnTo>
                      <a:pt x="131826" y="253555"/>
                    </a:lnTo>
                    <a:lnTo>
                      <a:pt x="132683" y="255270"/>
                    </a:lnTo>
                    <a:lnTo>
                      <a:pt x="133540" y="260413"/>
                    </a:lnTo>
                    <a:lnTo>
                      <a:pt x="134398" y="262128"/>
                    </a:lnTo>
                    <a:lnTo>
                      <a:pt x="134398" y="263842"/>
                    </a:lnTo>
                    <a:lnTo>
                      <a:pt x="138684" y="269748"/>
                    </a:lnTo>
                    <a:lnTo>
                      <a:pt x="140398" y="274034"/>
                    </a:lnTo>
                    <a:lnTo>
                      <a:pt x="142113" y="283369"/>
                    </a:lnTo>
                    <a:lnTo>
                      <a:pt x="143732" y="288512"/>
                    </a:lnTo>
                    <a:lnTo>
                      <a:pt x="144590" y="289369"/>
                    </a:lnTo>
                    <a:lnTo>
                      <a:pt x="145447" y="290989"/>
                    </a:lnTo>
                    <a:lnTo>
                      <a:pt x="147161" y="291846"/>
                    </a:lnTo>
                    <a:lnTo>
                      <a:pt x="149733" y="290131"/>
                    </a:lnTo>
                    <a:lnTo>
                      <a:pt x="150590" y="288512"/>
                    </a:lnTo>
                    <a:lnTo>
                      <a:pt x="149733" y="286798"/>
                    </a:lnTo>
                    <a:lnTo>
                      <a:pt x="148019" y="282511"/>
                    </a:lnTo>
                    <a:lnTo>
                      <a:pt x="149733" y="283369"/>
                    </a:lnTo>
                    <a:lnTo>
                      <a:pt x="150590" y="284226"/>
                    </a:lnTo>
                    <a:lnTo>
                      <a:pt x="151448" y="286798"/>
                    </a:lnTo>
                    <a:lnTo>
                      <a:pt x="152305" y="286798"/>
                    </a:lnTo>
                    <a:lnTo>
                      <a:pt x="153162" y="285940"/>
                    </a:lnTo>
                    <a:lnTo>
                      <a:pt x="154019" y="285940"/>
                    </a:lnTo>
                    <a:lnTo>
                      <a:pt x="154019" y="286798"/>
                    </a:lnTo>
                    <a:lnTo>
                      <a:pt x="154019" y="287655"/>
                    </a:lnTo>
                    <a:lnTo>
                      <a:pt x="153162" y="288512"/>
                    </a:lnTo>
                    <a:lnTo>
                      <a:pt x="153162" y="289369"/>
                    </a:lnTo>
                    <a:lnTo>
                      <a:pt x="151448" y="290989"/>
                    </a:lnTo>
                    <a:lnTo>
                      <a:pt x="146304" y="293560"/>
                    </a:lnTo>
                    <a:lnTo>
                      <a:pt x="146304" y="295275"/>
                    </a:lnTo>
                    <a:lnTo>
                      <a:pt x="147161" y="296989"/>
                    </a:lnTo>
                    <a:lnTo>
                      <a:pt x="147161" y="297847"/>
                    </a:lnTo>
                    <a:lnTo>
                      <a:pt x="147161" y="299561"/>
                    </a:lnTo>
                    <a:lnTo>
                      <a:pt x="147161" y="301276"/>
                    </a:lnTo>
                    <a:lnTo>
                      <a:pt x="150590" y="309753"/>
                    </a:lnTo>
                    <a:lnTo>
                      <a:pt x="152305" y="313182"/>
                    </a:lnTo>
                    <a:lnTo>
                      <a:pt x="154019" y="314039"/>
                    </a:lnTo>
                    <a:lnTo>
                      <a:pt x="153162" y="312325"/>
                    </a:lnTo>
                    <a:lnTo>
                      <a:pt x="152305" y="309753"/>
                    </a:lnTo>
                    <a:lnTo>
                      <a:pt x="152305" y="305467"/>
                    </a:lnTo>
                    <a:lnTo>
                      <a:pt x="151448" y="303752"/>
                    </a:lnTo>
                    <a:lnTo>
                      <a:pt x="150590" y="302133"/>
                    </a:lnTo>
                    <a:lnTo>
                      <a:pt x="149733" y="299561"/>
                    </a:lnTo>
                    <a:lnTo>
                      <a:pt x="150590" y="296989"/>
                    </a:lnTo>
                    <a:lnTo>
                      <a:pt x="151448" y="299561"/>
                    </a:lnTo>
                    <a:lnTo>
                      <a:pt x="152305" y="300418"/>
                    </a:lnTo>
                    <a:lnTo>
                      <a:pt x="153162" y="301276"/>
                    </a:lnTo>
                    <a:lnTo>
                      <a:pt x="154019" y="301276"/>
                    </a:lnTo>
                    <a:lnTo>
                      <a:pt x="154876" y="307181"/>
                    </a:lnTo>
                    <a:lnTo>
                      <a:pt x="157353" y="308896"/>
                    </a:lnTo>
                    <a:lnTo>
                      <a:pt x="156496" y="310610"/>
                    </a:lnTo>
                    <a:lnTo>
                      <a:pt x="157353" y="314896"/>
                    </a:lnTo>
                    <a:lnTo>
                      <a:pt x="159925" y="318230"/>
                    </a:lnTo>
                    <a:lnTo>
                      <a:pt x="161639" y="316516"/>
                    </a:lnTo>
                    <a:lnTo>
                      <a:pt x="162496" y="318230"/>
                    </a:lnTo>
                    <a:lnTo>
                      <a:pt x="166783" y="322516"/>
                    </a:lnTo>
                    <a:lnTo>
                      <a:pt x="167640" y="324231"/>
                    </a:lnTo>
                    <a:lnTo>
                      <a:pt x="170117" y="328517"/>
                    </a:lnTo>
                    <a:lnTo>
                      <a:pt x="170974" y="330136"/>
                    </a:lnTo>
                    <a:lnTo>
                      <a:pt x="170974" y="332708"/>
                    </a:lnTo>
                    <a:lnTo>
                      <a:pt x="170117" y="333565"/>
                    </a:lnTo>
                    <a:lnTo>
                      <a:pt x="169259" y="335280"/>
                    </a:lnTo>
                    <a:lnTo>
                      <a:pt x="169259" y="336994"/>
                    </a:lnTo>
                    <a:lnTo>
                      <a:pt x="169259" y="337852"/>
                    </a:lnTo>
                    <a:lnTo>
                      <a:pt x="170117" y="340423"/>
                    </a:lnTo>
                    <a:lnTo>
                      <a:pt x="170974" y="341281"/>
                    </a:lnTo>
                    <a:lnTo>
                      <a:pt x="170974" y="342043"/>
                    </a:lnTo>
                    <a:lnTo>
                      <a:pt x="170117" y="344614"/>
                    </a:lnTo>
                    <a:lnTo>
                      <a:pt x="170974" y="345472"/>
                    </a:lnTo>
                    <a:lnTo>
                      <a:pt x="171831" y="345472"/>
                    </a:lnTo>
                    <a:lnTo>
                      <a:pt x="172688" y="346329"/>
                    </a:lnTo>
                    <a:lnTo>
                      <a:pt x="172688" y="348043"/>
                    </a:lnTo>
                    <a:lnTo>
                      <a:pt x="172688" y="353187"/>
                    </a:lnTo>
                    <a:lnTo>
                      <a:pt x="173546" y="355663"/>
                    </a:lnTo>
                    <a:lnTo>
                      <a:pt x="173546" y="358235"/>
                    </a:lnTo>
                    <a:lnTo>
                      <a:pt x="171831" y="360807"/>
                    </a:lnTo>
                    <a:lnTo>
                      <a:pt x="173546" y="361664"/>
                    </a:lnTo>
                    <a:lnTo>
                      <a:pt x="174403" y="362521"/>
                    </a:lnTo>
                    <a:lnTo>
                      <a:pt x="176974" y="361664"/>
                    </a:lnTo>
                    <a:lnTo>
                      <a:pt x="178689" y="362521"/>
                    </a:lnTo>
                    <a:lnTo>
                      <a:pt x="180403" y="364236"/>
                    </a:lnTo>
                    <a:lnTo>
                      <a:pt x="182880" y="365093"/>
                    </a:lnTo>
                    <a:lnTo>
                      <a:pt x="179546" y="368427"/>
                    </a:lnTo>
                    <a:lnTo>
                      <a:pt x="177832" y="369284"/>
                    </a:lnTo>
                    <a:lnTo>
                      <a:pt x="175260" y="367570"/>
                    </a:lnTo>
                    <a:lnTo>
                      <a:pt x="174403" y="368427"/>
                    </a:lnTo>
                    <a:lnTo>
                      <a:pt x="168402" y="366808"/>
                    </a:lnTo>
                    <a:lnTo>
                      <a:pt x="166783" y="366808"/>
                    </a:lnTo>
                    <a:lnTo>
                      <a:pt x="165925" y="365093"/>
                    </a:lnTo>
                    <a:lnTo>
                      <a:pt x="168402" y="354806"/>
                    </a:lnTo>
                    <a:lnTo>
                      <a:pt x="168402" y="353187"/>
                    </a:lnTo>
                    <a:lnTo>
                      <a:pt x="170117" y="352330"/>
                    </a:lnTo>
                    <a:lnTo>
                      <a:pt x="170117" y="350615"/>
                    </a:lnTo>
                    <a:lnTo>
                      <a:pt x="170974" y="348901"/>
                    </a:lnTo>
                    <a:lnTo>
                      <a:pt x="168402" y="347186"/>
                    </a:lnTo>
                    <a:lnTo>
                      <a:pt x="167640" y="344614"/>
                    </a:lnTo>
                    <a:lnTo>
                      <a:pt x="166783" y="338709"/>
                    </a:lnTo>
                    <a:lnTo>
                      <a:pt x="166783" y="336994"/>
                    </a:lnTo>
                    <a:lnTo>
                      <a:pt x="166783" y="334423"/>
                    </a:lnTo>
                    <a:lnTo>
                      <a:pt x="166783" y="333565"/>
                    </a:lnTo>
                    <a:lnTo>
                      <a:pt x="165925" y="331851"/>
                    </a:lnTo>
                    <a:lnTo>
                      <a:pt x="164211" y="328517"/>
                    </a:lnTo>
                    <a:lnTo>
                      <a:pt x="164211" y="327660"/>
                    </a:lnTo>
                    <a:lnTo>
                      <a:pt x="162496" y="328517"/>
                    </a:lnTo>
                    <a:lnTo>
                      <a:pt x="162496" y="330136"/>
                    </a:lnTo>
                    <a:lnTo>
                      <a:pt x="165068" y="333565"/>
                    </a:lnTo>
                    <a:lnTo>
                      <a:pt x="164211" y="336137"/>
                    </a:lnTo>
                    <a:lnTo>
                      <a:pt x="165068" y="342900"/>
                    </a:lnTo>
                    <a:lnTo>
                      <a:pt x="165068" y="346329"/>
                    </a:lnTo>
                    <a:lnTo>
                      <a:pt x="164211" y="346329"/>
                    </a:lnTo>
                    <a:lnTo>
                      <a:pt x="161639" y="328517"/>
                    </a:lnTo>
                    <a:lnTo>
                      <a:pt x="160782" y="325946"/>
                    </a:lnTo>
                    <a:lnTo>
                      <a:pt x="159925" y="327660"/>
                    </a:lnTo>
                    <a:lnTo>
                      <a:pt x="160782" y="328517"/>
                    </a:lnTo>
                    <a:lnTo>
                      <a:pt x="159925" y="330136"/>
                    </a:lnTo>
                    <a:lnTo>
                      <a:pt x="159067" y="330136"/>
                    </a:lnTo>
                    <a:lnTo>
                      <a:pt x="158210" y="330136"/>
                    </a:lnTo>
                    <a:lnTo>
                      <a:pt x="158210" y="329279"/>
                    </a:lnTo>
                    <a:lnTo>
                      <a:pt x="159067" y="328517"/>
                    </a:lnTo>
                    <a:lnTo>
                      <a:pt x="159067" y="326803"/>
                    </a:lnTo>
                    <a:lnTo>
                      <a:pt x="158210" y="325088"/>
                    </a:lnTo>
                    <a:lnTo>
                      <a:pt x="157353" y="326803"/>
                    </a:lnTo>
                    <a:lnTo>
                      <a:pt x="157353" y="327660"/>
                    </a:lnTo>
                    <a:lnTo>
                      <a:pt x="156496" y="326803"/>
                    </a:lnTo>
                    <a:lnTo>
                      <a:pt x="155734" y="325946"/>
                    </a:lnTo>
                    <a:lnTo>
                      <a:pt x="155734" y="324231"/>
                    </a:lnTo>
                    <a:lnTo>
                      <a:pt x="155734" y="323374"/>
                    </a:lnTo>
                    <a:lnTo>
                      <a:pt x="155734" y="322516"/>
                    </a:lnTo>
                    <a:lnTo>
                      <a:pt x="158210" y="323374"/>
                    </a:lnTo>
                    <a:lnTo>
                      <a:pt x="159067" y="323374"/>
                    </a:lnTo>
                    <a:lnTo>
                      <a:pt x="158210" y="320802"/>
                    </a:lnTo>
                    <a:lnTo>
                      <a:pt x="156496" y="318230"/>
                    </a:lnTo>
                    <a:lnTo>
                      <a:pt x="154876" y="316516"/>
                    </a:lnTo>
                    <a:lnTo>
                      <a:pt x="153162" y="318230"/>
                    </a:lnTo>
                    <a:lnTo>
                      <a:pt x="154019" y="319945"/>
                    </a:lnTo>
                    <a:lnTo>
                      <a:pt x="154019" y="325088"/>
                    </a:lnTo>
                    <a:lnTo>
                      <a:pt x="154876" y="325946"/>
                    </a:lnTo>
                    <a:lnTo>
                      <a:pt x="157353" y="334423"/>
                    </a:lnTo>
                    <a:lnTo>
                      <a:pt x="159925" y="351472"/>
                    </a:lnTo>
                    <a:lnTo>
                      <a:pt x="159067" y="354044"/>
                    </a:lnTo>
                    <a:lnTo>
                      <a:pt x="161639" y="369284"/>
                    </a:lnTo>
                    <a:lnTo>
                      <a:pt x="166783" y="388048"/>
                    </a:lnTo>
                    <a:lnTo>
                      <a:pt x="176117" y="408432"/>
                    </a:lnTo>
                    <a:lnTo>
                      <a:pt x="176974" y="408432"/>
                    </a:lnTo>
                    <a:lnTo>
                      <a:pt x="176117" y="406717"/>
                    </a:lnTo>
                    <a:lnTo>
                      <a:pt x="172688" y="398240"/>
                    </a:lnTo>
                    <a:lnTo>
                      <a:pt x="172688" y="397383"/>
                    </a:lnTo>
                    <a:lnTo>
                      <a:pt x="174403" y="397383"/>
                    </a:lnTo>
                    <a:lnTo>
                      <a:pt x="176117" y="400812"/>
                    </a:lnTo>
                    <a:lnTo>
                      <a:pt x="177832" y="407575"/>
                    </a:lnTo>
                    <a:lnTo>
                      <a:pt x="178689" y="407575"/>
                    </a:lnTo>
                    <a:lnTo>
                      <a:pt x="178689" y="406717"/>
                    </a:lnTo>
                    <a:lnTo>
                      <a:pt x="179546" y="405860"/>
                    </a:lnTo>
                    <a:lnTo>
                      <a:pt x="180403" y="405098"/>
                    </a:lnTo>
                    <a:lnTo>
                      <a:pt x="179546" y="410146"/>
                    </a:lnTo>
                    <a:lnTo>
                      <a:pt x="179546" y="411861"/>
                    </a:lnTo>
                    <a:lnTo>
                      <a:pt x="178689" y="411861"/>
                    </a:lnTo>
                    <a:lnTo>
                      <a:pt x="178689" y="411004"/>
                    </a:lnTo>
                    <a:lnTo>
                      <a:pt x="178689" y="410146"/>
                    </a:lnTo>
                    <a:lnTo>
                      <a:pt x="178689" y="410146"/>
                    </a:lnTo>
                    <a:lnTo>
                      <a:pt x="177832" y="409289"/>
                    </a:lnTo>
                    <a:lnTo>
                      <a:pt x="177832" y="411861"/>
                    </a:lnTo>
                    <a:lnTo>
                      <a:pt x="181165" y="418624"/>
                    </a:lnTo>
                    <a:lnTo>
                      <a:pt x="182023" y="422053"/>
                    </a:lnTo>
                    <a:lnTo>
                      <a:pt x="183737" y="424624"/>
                    </a:lnTo>
                    <a:lnTo>
                      <a:pt x="184594" y="425482"/>
                    </a:lnTo>
                    <a:lnTo>
                      <a:pt x="184594" y="427196"/>
                    </a:lnTo>
                    <a:lnTo>
                      <a:pt x="184594" y="428911"/>
                    </a:lnTo>
                    <a:lnTo>
                      <a:pt x="185452" y="430625"/>
                    </a:lnTo>
                    <a:lnTo>
                      <a:pt x="186309" y="431387"/>
                    </a:lnTo>
                    <a:lnTo>
                      <a:pt x="186309" y="429768"/>
                    </a:lnTo>
                    <a:lnTo>
                      <a:pt x="186309" y="428053"/>
                    </a:lnTo>
                    <a:lnTo>
                      <a:pt x="188023" y="426339"/>
                    </a:lnTo>
                    <a:lnTo>
                      <a:pt x="189738" y="425482"/>
                    </a:lnTo>
                    <a:lnTo>
                      <a:pt x="188881" y="427196"/>
                    </a:lnTo>
                    <a:lnTo>
                      <a:pt x="188881" y="428053"/>
                    </a:lnTo>
                    <a:lnTo>
                      <a:pt x="188023" y="428911"/>
                    </a:lnTo>
                    <a:lnTo>
                      <a:pt x="188881" y="429768"/>
                    </a:lnTo>
                    <a:lnTo>
                      <a:pt x="189738" y="428911"/>
                    </a:lnTo>
                    <a:lnTo>
                      <a:pt x="190595" y="425482"/>
                    </a:lnTo>
                    <a:lnTo>
                      <a:pt x="191452" y="424624"/>
                    </a:lnTo>
                    <a:lnTo>
                      <a:pt x="193929" y="426339"/>
                    </a:lnTo>
                    <a:lnTo>
                      <a:pt x="195644" y="426339"/>
                    </a:lnTo>
                    <a:lnTo>
                      <a:pt x="196501" y="424624"/>
                    </a:lnTo>
                    <a:lnTo>
                      <a:pt x="197358" y="424624"/>
                    </a:lnTo>
                    <a:lnTo>
                      <a:pt x="198215" y="423767"/>
                    </a:lnTo>
                    <a:lnTo>
                      <a:pt x="199930" y="423767"/>
                    </a:lnTo>
                    <a:lnTo>
                      <a:pt x="200787" y="423767"/>
                    </a:lnTo>
                    <a:lnTo>
                      <a:pt x="200787" y="424624"/>
                    </a:lnTo>
                    <a:lnTo>
                      <a:pt x="199930" y="425482"/>
                    </a:lnTo>
                    <a:lnTo>
                      <a:pt x="198215" y="425482"/>
                    </a:lnTo>
                    <a:lnTo>
                      <a:pt x="197358" y="426339"/>
                    </a:lnTo>
                    <a:lnTo>
                      <a:pt x="198215" y="426339"/>
                    </a:lnTo>
                    <a:lnTo>
                      <a:pt x="199073" y="427196"/>
                    </a:lnTo>
                    <a:lnTo>
                      <a:pt x="199930" y="428053"/>
                    </a:lnTo>
                    <a:lnTo>
                      <a:pt x="199930" y="428911"/>
                    </a:lnTo>
                    <a:lnTo>
                      <a:pt x="193929" y="428053"/>
                    </a:lnTo>
                    <a:lnTo>
                      <a:pt x="193167" y="428053"/>
                    </a:lnTo>
                    <a:lnTo>
                      <a:pt x="191452" y="429768"/>
                    </a:lnTo>
                    <a:lnTo>
                      <a:pt x="190595" y="431387"/>
                    </a:lnTo>
                    <a:lnTo>
                      <a:pt x="190595" y="432244"/>
                    </a:lnTo>
                    <a:lnTo>
                      <a:pt x="191452" y="433959"/>
                    </a:lnTo>
                    <a:lnTo>
                      <a:pt x="193167" y="433102"/>
                    </a:lnTo>
                    <a:lnTo>
                      <a:pt x="193929" y="433102"/>
                    </a:lnTo>
                    <a:lnTo>
                      <a:pt x="195644" y="433102"/>
                    </a:lnTo>
                    <a:lnTo>
                      <a:pt x="194786" y="433959"/>
                    </a:lnTo>
                    <a:lnTo>
                      <a:pt x="192310" y="434816"/>
                    </a:lnTo>
                    <a:lnTo>
                      <a:pt x="190595" y="435673"/>
                    </a:lnTo>
                    <a:lnTo>
                      <a:pt x="188881" y="433102"/>
                    </a:lnTo>
                    <a:lnTo>
                      <a:pt x="188023" y="433102"/>
                    </a:lnTo>
                    <a:lnTo>
                      <a:pt x="187166" y="433959"/>
                    </a:lnTo>
                    <a:lnTo>
                      <a:pt x="188881" y="436531"/>
                    </a:lnTo>
                    <a:lnTo>
                      <a:pt x="198215" y="445008"/>
                    </a:lnTo>
                    <a:lnTo>
                      <a:pt x="199930" y="446722"/>
                    </a:lnTo>
                    <a:lnTo>
                      <a:pt x="204216" y="453580"/>
                    </a:lnTo>
                    <a:lnTo>
                      <a:pt x="207550" y="456914"/>
                    </a:lnTo>
                    <a:lnTo>
                      <a:pt x="209264" y="459486"/>
                    </a:lnTo>
                    <a:lnTo>
                      <a:pt x="216979" y="468916"/>
                    </a:lnTo>
                    <a:lnTo>
                      <a:pt x="218599" y="472249"/>
                    </a:lnTo>
                    <a:lnTo>
                      <a:pt x="224599" y="478250"/>
                    </a:lnTo>
                    <a:lnTo>
                      <a:pt x="233934" y="491014"/>
                    </a:lnTo>
                    <a:lnTo>
                      <a:pt x="237363" y="495205"/>
                    </a:lnTo>
                    <a:lnTo>
                      <a:pt x="250126" y="504634"/>
                    </a:lnTo>
                    <a:lnTo>
                      <a:pt x="250984" y="503777"/>
                    </a:lnTo>
                    <a:lnTo>
                      <a:pt x="250984" y="502920"/>
                    </a:lnTo>
                    <a:lnTo>
                      <a:pt x="251841" y="502920"/>
                    </a:lnTo>
                    <a:lnTo>
                      <a:pt x="254413" y="503777"/>
                    </a:lnTo>
                    <a:lnTo>
                      <a:pt x="255270" y="502920"/>
                    </a:lnTo>
                    <a:lnTo>
                      <a:pt x="256032" y="502920"/>
                    </a:lnTo>
                    <a:lnTo>
                      <a:pt x="256032" y="502063"/>
                    </a:lnTo>
                    <a:lnTo>
                      <a:pt x="256032" y="501205"/>
                    </a:lnTo>
                    <a:lnTo>
                      <a:pt x="256032" y="500348"/>
                    </a:lnTo>
                    <a:lnTo>
                      <a:pt x="256032" y="499491"/>
                    </a:lnTo>
                    <a:lnTo>
                      <a:pt x="256032" y="498634"/>
                    </a:lnTo>
                    <a:lnTo>
                      <a:pt x="256889" y="497776"/>
                    </a:lnTo>
                    <a:lnTo>
                      <a:pt x="257746" y="495205"/>
                    </a:lnTo>
                    <a:lnTo>
                      <a:pt x="260318" y="492728"/>
                    </a:lnTo>
                    <a:lnTo>
                      <a:pt x="261175" y="491014"/>
                    </a:lnTo>
                    <a:lnTo>
                      <a:pt x="262033" y="489299"/>
                    </a:lnTo>
                    <a:lnTo>
                      <a:pt x="262033" y="488442"/>
                    </a:lnTo>
                    <a:lnTo>
                      <a:pt x="260318" y="485013"/>
                    </a:lnTo>
                    <a:lnTo>
                      <a:pt x="260318" y="484156"/>
                    </a:lnTo>
                    <a:lnTo>
                      <a:pt x="260318" y="483298"/>
                    </a:lnTo>
                    <a:lnTo>
                      <a:pt x="260318" y="482441"/>
                    </a:lnTo>
                    <a:lnTo>
                      <a:pt x="260318" y="482441"/>
                    </a:lnTo>
                    <a:lnTo>
                      <a:pt x="261175" y="482441"/>
                    </a:lnTo>
                    <a:lnTo>
                      <a:pt x="261175" y="483298"/>
                    </a:lnTo>
                    <a:lnTo>
                      <a:pt x="262033" y="483298"/>
                    </a:lnTo>
                    <a:lnTo>
                      <a:pt x="262890" y="484156"/>
                    </a:lnTo>
                    <a:lnTo>
                      <a:pt x="263747" y="484156"/>
                    </a:lnTo>
                    <a:lnTo>
                      <a:pt x="264605" y="483298"/>
                    </a:lnTo>
                    <a:lnTo>
                      <a:pt x="267176" y="480822"/>
                    </a:lnTo>
                    <a:lnTo>
                      <a:pt x="268034" y="479107"/>
                    </a:lnTo>
                    <a:lnTo>
                      <a:pt x="268796" y="477393"/>
                    </a:lnTo>
                    <a:lnTo>
                      <a:pt x="268796" y="476536"/>
                    </a:lnTo>
                    <a:lnTo>
                      <a:pt x="268034" y="474821"/>
                    </a:lnTo>
                    <a:lnTo>
                      <a:pt x="268034" y="473964"/>
                    </a:lnTo>
                    <a:lnTo>
                      <a:pt x="265462" y="472249"/>
                    </a:lnTo>
                    <a:lnTo>
                      <a:pt x="260318" y="468058"/>
                    </a:lnTo>
                    <a:lnTo>
                      <a:pt x="259461" y="467201"/>
                    </a:lnTo>
                    <a:lnTo>
                      <a:pt x="258604" y="466344"/>
                    </a:lnTo>
                    <a:lnTo>
                      <a:pt x="258604" y="464630"/>
                    </a:lnTo>
                    <a:lnTo>
                      <a:pt x="258604" y="463772"/>
                    </a:lnTo>
                    <a:lnTo>
                      <a:pt x="258604" y="462058"/>
                    </a:lnTo>
                    <a:lnTo>
                      <a:pt x="257746" y="461200"/>
                    </a:lnTo>
                    <a:lnTo>
                      <a:pt x="257746" y="460343"/>
                    </a:lnTo>
                    <a:lnTo>
                      <a:pt x="257746" y="458629"/>
                    </a:lnTo>
                    <a:lnTo>
                      <a:pt x="257746" y="457771"/>
                    </a:lnTo>
                    <a:lnTo>
                      <a:pt x="258604" y="456152"/>
                    </a:lnTo>
                    <a:lnTo>
                      <a:pt x="263747" y="448437"/>
                    </a:lnTo>
                    <a:lnTo>
                      <a:pt x="265462" y="442531"/>
                    </a:lnTo>
                    <a:lnTo>
                      <a:pt x="266319" y="441674"/>
                    </a:lnTo>
                    <a:lnTo>
                      <a:pt x="265462" y="440817"/>
                    </a:lnTo>
                    <a:lnTo>
                      <a:pt x="265462" y="440817"/>
                    </a:lnTo>
                    <a:lnTo>
                      <a:pt x="264605" y="439959"/>
                    </a:lnTo>
                    <a:lnTo>
                      <a:pt x="263747" y="439102"/>
                    </a:lnTo>
                    <a:lnTo>
                      <a:pt x="262033" y="438245"/>
                    </a:lnTo>
                    <a:lnTo>
                      <a:pt x="260318" y="436531"/>
                    </a:lnTo>
                    <a:lnTo>
                      <a:pt x="258604" y="433102"/>
                    </a:lnTo>
                    <a:lnTo>
                      <a:pt x="256032" y="426339"/>
                    </a:lnTo>
                    <a:lnTo>
                      <a:pt x="256032" y="424624"/>
                    </a:lnTo>
                    <a:lnTo>
                      <a:pt x="256032" y="423767"/>
                    </a:lnTo>
                    <a:lnTo>
                      <a:pt x="256889" y="423767"/>
                    </a:lnTo>
                    <a:lnTo>
                      <a:pt x="261175" y="420338"/>
                    </a:lnTo>
                    <a:lnTo>
                      <a:pt x="263747" y="417862"/>
                    </a:lnTo>
                    <a:lnTo>
                      <a:pt x="266319" y="411004"/>
                    </a:lnTo>
                    <a:lnTo>
                      <a:pt x="272224" y="391477"/>
                    </a:lnTo>
                    <a:lnTo>
                      <a:pt x="275653" y="386334"/>
                    </a:lnTo>
                    <a:lnTo>
                      <a:pt x="278225" y="377857"/>
                    </a:lnTo>
                    <a:lnTo>
                      <a:pt x="279082" y="376999"/>
                    </a:lnTo>
                    <a:lnTo>
                      <a:pt x="279082" y="376142"/>
                    </a:lnTo>
                    <a:lnTo>
                      <a:pt x="282416" y="373571"/>
                    </a:lnTo>
                    <a:lnTo>
                      <a:pt x="282416" y="370141"/>
                    </a:lnTo>
                    <a:lnTo>
                      <a:pt x="282416" y="368427"/>
                    </a:lnTo>
                    <a:lnTo>
                      <a:pt x="282416" y="368427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43" name="Freeform: Shape 147">
                <a:extLst>
                  <a:ext uri="{FF2B5EF4-FFF2-40B4-BE49-F238E27FC236}">
                    <a16:creationId xmlns:a16="http://schemas.microsoft.com/office/drawing/2014/main" id="{32A3A7FF-529E-4DE7-93AF-38F1FC5FECE1}"/>
                  </a:ext>
                </a:extLst>
              </p:cNvPr>
              <p:cNvSpPr/>
              <p:nvPr/>
            </p:nvSpPr>
            <p:spPr>
              <a:xfrm>
                <a:off x="5141975" y="3923062"/>
                <a:ext cx="485775" cy="771525"/>
              </a:xfrm>
              <a:custGeom>
                <a:avLst/>
                <a:gdLst>
                  <a:gd name="connsiteX0" fmla="*/ 491014 w 485775"/>
                  <a:gd name="connsiteY0" fmla="*/ 592931 h 771525"/>
                  <a:gd name="connsiteX1" fmla="*/ 490157 w 485775"/>
                  <a:gd name="connsiteY1" fmla="*/ 591217 h 771525"/>
                  <a:gd name="connsiteX2" fmla="*/ 490157 w 485775"/>
                  <a:gd name="connsiteY2" fmla="*/ 590360 h 771525"/>
                  <a:gd name="connsiteX3" fmla="*/ 490157 w 485775"/>
                  <a:gd name="connsiteY3" fmla="*/ 590360 h 771525"/>
                  <a:gd name="connsiteX4" fmla="*/ 489395 w 485775"/>
                  <a:gd name="connsiteY4" fmla="*/ 589502 h 771525"/>
                  <a:gd name="connsiteX5" fmla="*/ 487680 w 485775"/>
                  <a:gd name="connsiteY5" fmla="*/ 591217 h 771525"/>
                  <a:gd name="connsiteX6" fmla="*/ 487680 w 485775"/>
                  <a:gd name="connsiteY6" fmla="*/ 592074 h 771525"/>
                  <a:gd name="connsiteX7" fmla="*/ 486823 w 485775"/>
                  <a:gd name="connsiteY7" fmla="*/ 592074 h 771525"/>
                  <a:gd name="connsiteX8" fmla="*/ 485966 w 485775"/>
                  <a:gd name="connsiteY8" fmla="*/ 592074 h 771525"/>
                  <a:gd name="connsiteX9" fmla="*/ 485108 w 485775"/>
                  <a:gd name="connsiteY9" fmla="*/ 592074 h 771525"/>
                  <a:gd name="connsiteX10" fmla="*/ 484346 w 485775"/>
                  <a:gd name="connsiteY10" fmla="*/ 592074 h 771525"/>
                  <a:gd name="connsiteX11" fmla="*/ 484346 w 485775"/>
                  <a:gd name="connsiteY11" fmla="*/ 592074 h 771525"/>
                  <a:gd name="connsiteX12" fmla="*/ 479298 w 485775"/>
                  <a:gd name="connsiteY12" fmla="*/ 588645 h 771525"/>
                  <a:gd name="connsiteX13" fmla="*/ 479298 w 485775"/>
                  <a:gd name="connsiteY13" fmla="*/ 588645 h 771525"/>
                  <a:gd name="connsiteX14" fmla="*/ 478441 w 485775"/>
                  <a:gd name="connsiteY14" fmla="*/ 588645 h 771525"/>
                  <a:gd name="connsiteX15" fmla="*/ 477584 w 485775"/>
                  <a:gd name="connsiteY15" fmla="*/ 588645 h 771525"/>
                  <a:gd name="connsiteX16" fmla="*/ 476726 w 485775"/>
                  <a:gd name="connsiteY16" fmla="*/ 588645 h 771525"/>
                  <a:gd name="connsiteX17" fmla="*/ 476726 w 485775"/>
                  <a:gd name="connsiteY17" fmla="*/ 587883 h 771525"/>
                  <a:gd name="connsiteX18" fmla="*/ 475869 w 485775"/>
                  <a:gd name="connsiteY18" fmla="*/ 587883 h 771525"/>
                  <a:gd name="connsiteX19" fmla="*/ 475012 w 485775"/>
                  <a:gd name="connsiteY19" fmla="*/ 587026 h 771525"/>
                  <a:gd name="connsiteX20" fmla="*/ 474155 w 485775"/>
                  <a:gd name="connsiteY20" fmla="*/ 587026 h 771525"/>
                  <a:gd name="connsiteX21" fmla="*/ 473393 w 485775"/>
                  <a:gd name="connsiteY21" fmla="*/ 587026 h 771525"/>
                  <a:gd name="connsiteX22" fmla="*/ 471678 w 485775"/>
                  <a:gd name="connsiteY22" fmla="*/ 587883 h 771525"/>
                  <a:gd name="connsiteX23" fmla="*/ 470821 w 485775"/>
                  <a:gd name="connsiteY23" fmla="*/ 587883 h 771525"/>
                  <a:gd name="connsiteX24" fmla="*/ 469964 w 485775"/>
                  <a:gd name="connsiteY24" fmla="*/ 587883 h 771525"/>
                  <a:gd name="connsiteX25" fmla="*/ 469964 w 485775"/>
                  <a:gd name="connsiteY25" fmla="*/ 586169 h 771525"/>
                  <a:gd name="connsiteX26" fmla="*/ 469106 w 485775"/>
                  <a:gd name="connsiteY26" fmla="*/ 584454 h 771525"/>
                  <a:gd name="connsiteX27" fmla="*/ 468344 w 485775"/>
                  <a:gd name="connsiteY27" fmla="*/ 583597 h 771525"/>
                  <a:gd name="connsiteX28" fmla="*/ 468344 w 485775"/>
                  <a:gd name="connsiteY28" fmla="*/ 582739 h 771525"/>
                  <a:gd name="connsiteX29" fmla="*/ 467487 w 485775"/>
                  <a:gd name="connsiteY29" fmla="*/ 582739 h 771525"/>
                  <a:gd name="connsiteX30" fmla="*/ 466630 w 485775"/>
                  <a:gd name="connsiteY30" fmla="*/ 581025 h 771525"/>
                  <a:gd name="connsiteX31" fmla="*/ 466630 w 485775"/>
                  <a:gd name="connsiteY31" fmla="*/ 580168 h 771525"/>
                  <a:gd name="connsiteX32" fmla="*/ 467487 w 485775"/>
                  <a:gd name="connsiteY32" fmla="*/ 579406 h 771525"/>
                  <a:gd name="connsiteX33" fmla="*/ 467487 w 485775"/>
                  <a:gd name="connsiteY33" fmla="*/ 578548 h 771525"/>
                  <a:gd name="connsiteX34" fmla="*/ 468344 w 485775"/>
                  <a:gd name="connsiteY34" fmla="*/ 578548 h 771525"/>
                  <a:gd name="connsiteX35" fmla="*/ 468344 w 485775"/>
                  <a:gd name="connsiteY35" fmla="*/ 577691 h 771525"/>
                  <a:gd name="connsiteX36" fmla="*/ 468344 w 485775"/>
                  <a:gd name="connsiteY36" fmla="*/ 576834 h 771525"/>
                  <a:gd name="connsiteX37" fmla="*/ 468344 w 485775"/>
                  <a:gd name="connsiteY37" fmla="*/ 572548 h 771525"/>
                  <a:gd name="connsiteX38" fmla="*/ 468344 w 485775"/>
                  <a:gd name="connsiteY38" fmla="*/ 570833 h 771525"/>
                  <a:gd name="connsiteX39" fmla="*/ 468344 w 485775"/>
                  <a:gd name="connsiteY39" fmla="*/ 570071 h 771525"/>
                  <a:gd name="connsiteX40" fmla="*/ 468344 w 485775"/>
                  <a:gd name="connsiteY40" fmla="*/ 569214 h 771525"/>
                  <a:gd name="connsiteX41" fmla="*/ 469106 w 485775"/>
                  <a:gd name="connsiteY41" fmla="*/ 567500 h 771525"/>
                  <a:gd name="connsiteX42" fmla="*/ 469106 w 485775"/>
                  <a:gd name="connsiteY42" fmla="*/ 567500 h 771525"/>
                  <a:gd name="connsiteX43" fmla="*/ 468344 w 485775"/>
                  <a:gd name="connsiteY43" fmla="*/ 564071 h 771525"/>
                  <a:gd name="connsiteX44" fmla="*/ 468344 w 485775"/>
                  <a:gd name="connsiteY44" fmla="*/ 563213 h 771525"/>
                  <a:gd name="connsiteX45" fmla="*/ 468344 w 485775"/>
                  <a:gd name="connsiteY45" fmla="*/ 561594 h 771525"/>
                  <a:gd name="connsiteX46" fmla="*/ 469106 w 485775"/>
                  <a:gd name="connsiteY46" fmla="*/ 559880 h 771525"/>
                  <a:gd name="connsiteX47" fmla="*/ 469964 w 485775"/>
                  <a:gd name="connsiteY47" fmla="*/ 558165 h 771525"/>
                  <a:gd name="connsiteX48" fmla="*/ 469106 w 485775"/>
                  <a:gd name="connsiteY48" fmla="*/ 558165 h 771525"/>
                  <a:gd name="connsiteX49" fmla="*/ 469106 w 485775"/>
                  <a:gd name="connsiteY49" fmla="*/ 557308 h 771525"/>
                  <a:gd name="connsiteX50" fmla="*/ 468344 w 485775"/>
                  <a:gd name="connsiteY50" fmla="*/ 557308 h 771525"/>
                  <a:gd name="connsiteX51" fmla="*/ 467487 w 485775"/>
                  <a:gd name="connsiteY51" fmla="*/ 557308 h 771525"/>
                  <a:gd name="connsiteX52" fmla="*/ 465773 w 485775"/>
                  <a:gd name="connsiteY52" fmla="*/ 557308 h 771525"/>
                  <a:gd name="connsiteX53" fmla="*/ 464915 w 485775"/>
                  <a:gd name="connsiteY53" fmla="*/ 557308 h 771525"/>
                  <a:gd name="connsiteX54" fmla="*/ 464915 w 485775"/>
                  <a:gd name="connsiteY54" fmla="*/ 557308 h 771525"/>
                  <a:gd name="connsiteX55" fmla="*/ 464058 w 485775"/>
                  <a:gd name="connsiteY55" fmla="*/ 557308 h 771525"/>
                  <a:gd name="connsiteX56" fmla="*/ 462439 w 485775"/>
                  <a:gd name="connsiteY56" fmla="*/ 556451 h 771525"/>
                  <a:gd name="connsiteX57" fmla="*/ 461582 w 485775"/>
                  <a:gd name="connsiteY57" fmla="*/ 556451 h 771525"/>
                  <a:gd name="connsiteX58" fmla="*/ 461582 w 485775"/>
                  <a:gd name="connsiteY58" fmla="*/ 556451 h 771525"/>
                  <a:gd name="connsiteX59" fmla="*/ 460724 w 485775"/>
                  <a:gd name="connsiteY59" fmla="*/ 556451 h 771525"/>
                  <a:gd name="connsiteX60" fmla="*/ 459010 w 485775"/>
                  <a:gd name="connsiteY60" fmla="*/ 557308 h 771525"/>
                  <a:gd name="connsiteX61" fmla="*/ 458153 w 485775"/>
                  <a:gd name="connsiteY61" fmla="*/ 558165 h 771525"/>
                  <a:gd name="connsiteX62" fmla="*/ 457391 w 485775"/>
                  <a:gd name="connsiteY62" fmla="*/ 558165 h 771525"/>
                  <a:gd name="connsiteX63" fmla="*/ 456533 w 485775"/>
                  <a:gd name="connsiteY63" fmla="*/ 558165 h 771525"/>
                  <a:gd name="connsiteX64" fmla="*/ 453962 w 485775"/>
                  <a:gd name="connsiteY64" fmla="*/ 557308 h 771525"/>
                  <a:gd name="connsiteX65" fmla="*/ 451485 w 485775"/>
                  <a:gd name="connsiteY65" fmla="*/ 556451 h 771525"/>
                  <a:gd name="connsiteX66" fmla="*/ 450628 w 485775"/>
                  <a:gd name="connsiteY66" fmla="*/ 556451 h 771525"/>
                  <a:gd name="connsiteX67" fmla="*/ 448913 w 485775"/>
                  <a:gd name="connsiteY67" fmla="*/ 556451 h 771525"/>
                  <a:gd name="connsiteX68" fmla="*/ 448913 w 485775"/>
                  <a:gd name="connsiteY68" fmla="*/ 556451 h 771525"/>
                  <a:gd name="connsiteX69" fmla="*/ 448056 w 485775"/>
                  <a:gd name="connsiteY69" fmla="*/ 555593 h 771525"/>
                  <a:gd name="connsiteX70" fmla="*/ 447294 w 485775"/>
                  <a:gd name="connsiteY70" fmla="*/ 554736 h 771525"/>
                  <a:gd name="connsiteX71" fmla="*/ 443008 w 485775"/>
                  <a:gd name="connsiteY71" fmla="*/ 549688 h 771525"/>
                  <a:gd name="connsiteX72" fmla="*/ 442151 w 485775"/>
                  <a:gd name="connsiteY72" fmla="*/ 549688 h 771525"/>
                  <a:gd name="connsiteX73" fmla="*/ 441389 w 485775"/>
                  <a:gd name="connsiteY73" fmla="*/ 548830 h 771525"/>
                  <a:gd name="connsiteX74" fmla="*/ 440531 w 485775"/>
                  <a:gd name="connsiteY74" fmla="*/ 548830 h 771525"/>
                  <a:gd name="connsiteX75" fmla="*/ 439674 w 485775"/>
                  <a:gd name="connsiteY75" fmla="*/ 549688 h 771525"/>
                  <a:gd name="connsiteX76" fmla="*/ 437960 w 485775"/>
                  <a:gd name="connsiteY76" fmla="*/ 549688 h 771525"/>
                  <a:gd name="connsiteX77" fmla="*/ 437102 w 485775"/>
                  <a:gd name="connsiteY77" fmla="*/ 549688 h 771525"/>
                  <a:gd name="connsiteX78" fmla="*/ 436340 w 485775"/>
                  <a:gd name="connsiteY78" fmla="*/ 549688 h 771525"/>
                  <a:gd name="connsiteX79" fmla="*/ 435483 w 485775"/>
                  <a:gd name="connsiteY79" fmla="*/ 547973 h 771525"/>
                  <a:gd name="connsiteX80" fmla="*/ 434626 w 485775"/>
                  <a:gd name="connsiteY80" fmla="*/ 547116 h 771525"/>
                  <a:gd name="connsiteX81" fmla="*/ 434626 w 485775"/>
                  <a:gd name="connsiteY81" fmla="*/ 545402 h 771525"/>
                  <a:gd name="connsiteX82" fmla="*/ 435483 w 485775"/>
                  <a:gd name="connsiteY82" fmla="*/ 545402 h 771525"/>
                  <a:gd name="connsiteX83" fmla="*/ 436340 w 485775"/>
                  <a:gd name="connsiteY83" fmla="*/ 545402 h 771525"/>
                  <a:gd name="connsiteX84" fmla="*/ 437960 w 485775"/>
                  <a:gd name="connsiteY84" fmla="*/ 545402 h 771525"/>
                  <a:gd name="connsiteX85" fmla="*/ 438817 w 485775"/>
                  <a:gd name="connsiteY85" fmla="*/ 545402 h 771525"/>
                  <a:gd name="connsiteX86" fmla="*/ 439674 w 485775"/>
                  <a:gd name="connsiteY86" fmla="*/ 545402 h 771525"/>
                  <a:gd name="connsiteX87" fmla="*/ 439674 w 485775"/>
                  <a:gd name="connsiteY87" fmla="*/ 544544 h 771525"/>
                  <a:gd name="connsiteX88" fmla="*/ 440531 w 485775"/>
                  <a:gd name="connsiteY88" fmla="*/ 543782 h 771525"/>
                  <a:gd name="connsiteX89" fmla="*/ 439674 w 485775"/>
                  <a:gd name="connsiteY89" fmla="*/ 542925 h 771525"/>
                  <a:gd name="connsiteX90" fmla="*/ 438817 w 485775"/>
                  <a:gd name="connsiteY90" fmla="*/ 541211 h 771525"/>
                  <a:gd name="connsiteX91" fmla="*/ 437960 w 485775"/>
                  <a:gd name="connsiteY91" fmla="*/ 539496 h 771525"/>
                  <a:gd name="connsiteX92" fmla="*/ 437960 w 485775"/>
                  <a:gd name="connsiteY92" fmla="*/ 538639 h 771525"/>
                  <a:gd name="connsiteX93" fmla="*/ 437960 w 485775"/>
                  <a:gd name="connsiteY93" fmla="*/ 537781 h 771525"/>
                  <a:gd name="connsiteX94" fmla="*/ 438817 w 485775"/>
                  <a:gd name="connsiteY94" fmla="*/ 535210 h 771525"/>
                  <a:gd name="connsiteX95" fmla="*/ 439674 w 485775"/>
                  <a:gd name="connsiteY95" fmla="*/ 533591 h 771525"/>
                  <a:gd name="connsiteX96" fmla="*/ 438817 w 485775"/>
                  <a:gd name="connsiteY96" fmla="*/ 532733 h 771525"/>
                  <a:gd name="connsiteX97" fmla="*/ 438817 w 485775"/>
                  <a:gd name="connsiteY97" fmla="*/ 530162 h 771525"/>
                  <a:gd name="connsiteX98" fmla="*/ 437102 w 485775"/>
                  <a:gd name="connsiteY98" fmla="*/ 526733 h 771525"/>
                  <a:gd name="connsiteX99" fmla="*/ 432054 w 485775"/>
                  <a:gd name="connsiteY99" fmla="*/ 524256 h 771525"/>
                  <a:gd name="connsiteX100" fmla="*/ 428720 w 485775"/>
                  <a:gd name="connsiteY100" fmla="*/ 525971 h 771525"/>
                  <a:gd name="connsiteX101" fmla="*/ 428720 w 485775"/>
                  <a:gd name="connsiteY101" fmla="*/ 525971 h 771525"/>
                  <a:gd name="connsiteX102" fmla="*/ 427863 w 485775"/>
                  <a:gd name="connsiteY102" fmla="*/ 525971 h 771525"/>
                  <a:gd name="connsiteX103" fmla="*/ 427006 w 485775"/>
                  <a:gd name="connsiteY103" fmla="*/ 525113 h 771525"/>
                  <a:gd name="connsiteX104" fmla="*/ 425387 w 485775"/>
                  <a:gd name="connsiteY104" fmla="*/ 525113 h 771525"/>
                  <a:gd name="connsiteX105" fmla="*/ 424529 w 485775"/>
                  <a:gd name="connsiteY105" fmla="*/ 525971 h 771525"/>
                  <a:gd name="connsiteX106" fmla="*/ 422815 w 485775"/>
                  <a:gd name="connsiteY106" fmla="*/ 526733 h 771525"/>
                  <a:gd name="connsiteX107" fmla="*/ 421100 w 485775"/>
                  <a:gd name="connsiteY107" fmla="*/ 529304 h 771525"/>
                  <a:gd name="connsiteX108" fmla="*/ 420338 w 485775"/>
                  <a:gd name="connsiteY108" fmla="*/ 530162 h 771525"/>
                  <a:gd name="connsiteX109" fmla="*/ 419481 w 485775"/>
                  <a:gd name="connsiteY109" fmla="*/ 530162 h 771525"/>
                  <a:gd name="connsiteX110" fmla="*/ 419481 w 485775"/>
                  <a:gd name="connsiteY110" fmla="*/ 529304 h 771525"/>
                  <a:gd name="connsiteX111" fmla="*/ 419481 w 485775"/>
                  <a:gd name="connsiteY111" fmla="*/ 529304 h 771525"/>
                  <a:gd name="connsiteX112" fmla="*/ 418624 w 485775"/>
                  <a:gd name="connsiteY112" fmla="*/ 527590 h 771525"/>
                  <a:gd name="connsiteX113" fmla="*/ 418624 w 485775"/>
                  <a:gd name="connsiteY113" fmla="*/ 525113 h 771525"/>
                  <a:gd name="connsiteX114" fmla="*/ 418624 w 485775"/>
                  <a:gd name="connsiteY114" fmla="*/ 524256 h 771525"/>
                  <a:gd name="connsiteX115" fmla="*/ 418624 w 485775"/>
                  <a:gd name="connsiteY115" fmla="*/ 523399 h 771525"/>
                  <a:gd name="connsiteX116" fmla="*/ 419481 w 485775"/>
                  <a:gd name="connsiteY116" fmla="*/ 523399 h 771525"/>
                  <a:gd name="connsiteX117" fmla="*/ 421100 w 485775"/>
                  <a:gd name="connsiteY117" fmla="*/ 520827 h 771525"/>
                  <a:gd name="connsiteX118" fmla="*/ 421958 w 485775"/>
                  <a:gd name="connsiteY118" fmla="*/ 520827 h 771525"/>
                  <a:gd name="connsiteX119" fmla="*/ 421958 w 485775"/>
                  <a:gd name="connsiteY119" fmla="*/ 519970 h 771525"/>
                  <a:gd name="connsiteX120" fmla="*/ 421958 w 485775"/>
                  <a:gd name="connsiteY120" fmla="*/ 519970 h 771525"/>
                  <a:gd name="connsiteX121" fmla="*/ 421958 w 485775"/>
                  <a:gd name="connsiteY121" fmla="*/ 516636 h 771525"/>
                  <a:gd name="connsiteX122" fmla="*/ 421958 w 485775"/>
                  <a:gd name="connsiteY122" fmla="*/ 515779 h 771525"/>
                  <a:gd name="connsiteX123" fmla="*/ 421958 w 485775"/>
                  <a:gd name="connsiteY123" fmla="*/ 515779 h 771525"/>
                  <a:gd name="connsiteX124" fmla="*/ 421958 w 485775"/>
                  <a:gd name="connsiteY124" fmla="*/ 514921 h 771525"/>
                  <a:gd name="connsiteX125" fmla="*/ 421100 w 485775"/>
                  <a:gd name="connsiteY125" fmla="*/ 514921 h 771525"/>
                  <a:gd name="connsiteX126" fmla="*/ 420338 w 485775"/>
                  <a:gd name="connsiteY126" fmla="*/ 514921 h 771525"/>
                  <a:gd name="connsiteX127" fmla="*/ 419481 w 485775"/>
                  <a:gd name="connsiteY127" fmla="*/ 515779 h 771525"/>
                  <a:gd name="connsiteX128" fmla="*/ 418624 w 485775"/>
                  <a:gd name="connsiteY128" fmla="*/ 516636 h 771525"/>
                  <a:gd name="connsiteX129" fmla="*/ 417767 w 485775"/>
                  <a:gd name="connsiteY129" fmla="*/ 517398 h 771525"/>
                  <a:gd name="connsiteX130" fmla="*/ 417767 w 485775"/>
                  <a:gd name="connsiteY130" fmla="*/ 518255 h 771525"/>
                  <a:gd name="connsiteX131" fmla="*/ 416909 w 485775"/>
                  <a:gd name="connsiteY131" fmla="*/ 519113 h 771525"/>
                  <a:gd name="connsiteX132" fmla="*/ 416052 w 485775"/>
                  <a:gd name="connsiteY132" fmla="*/ 519970 h 771525"/>
                  <a:gd name="connsiteX133" fmla="*/ 415290 w 485775"/>
                  <a:gd name="connsiteY133" fmla="*/ 519970 h 771525"/>
                  <a:gd name="connsiteX134" fmla="*/ 413576 w 485775"/>
                  <a:gd name="connsiteY134" fmla="*/ 519970 h 771525"/>
                  <a:gd name="connsiteX135" fmla="*/ 412718 w 485775"/>
                  <a:gd name="connsiteY135" fmla="*/ 519113 h 771525"/>
                  <a:gd name="connsiteX136" fmla="*/ 411861 w 485775"/>
                  <a:gd name="connsiteY136" fmla="*/ 519113 h 771525"/>
                  <a:gd name="connsiteX137" fmla="*/ 411861 w 485775"/>
                  <a:gd name="connsiteY137" fmla="*/ 518255 h 771525"/>
                  <a:gd name="connsiteX138" fmla="*/ 411004 w 485775"/>
                  <a:gd name="connsiteY138" fmla="*/ 518255 h 771525"/>
                  <a:gd name="connsiteX139" fmla="*/ 408527 w 485775"/>
                  <a:gd name="connsiteY139" fmla="*/ 518255 h 771525"/>
                  <a:gd name="connsiteX140" fmla="*/ 406813 w 485775"/>
                  <a:gd name="connsiteY140" fmla="*/ 517398 h 771525"/>
                  <a:gd name="connsiteX141" fmla="*/ 405956 w 485775"/>
                  <a:gd name="connsiteY141" fmla="*/ 517398 h 771525"/>
                  <a:gd name="connsiteX142" fmla="*/ 405098 w 485775"/>
                  <a:gd name="connsiteY142" fmla="*/ 518255 h 771525"/>
                  <a:gd name="connsiteX143" fmla="*/ 404336 w 485775"/>
                  <a:gd name="connsiteY143" fmla="*/ 518255 h 771525"/>
                  <a:gd name="connsiteX144" fmla="*/ 403479 w 485775"/>
                  <a:gd name="connsiteY144" fmla="*/ 519113 h 771525"/>
                  <a:gd name="connsiteX145" fmla="*/ 403479 w 485775"/>
                  <a:gd name="connsiteY145" fmla="*/ 519970 h 771525"/>
                  <a:gd name="connsiteX146" fmla="*/ 403479 w 485775"/>
                  <a:gd name="connsiteY146" fmla="*/ 520827 h 771525"/>
                  <a:gd name="connsiteX147" fmla="*/ 404336 w 485775"/>
                  <a:gd name="connsiteY147" fmla="*/ 521684 h 771525"/>
                  <a:gd name="connsiteX148" fmla="*/ 404336 w 485775"/>
                  <a:gd name="connsiteY148" fmla="*/ 522542 h 771525"/>
                  <a:gd name="connsiteX149" fmla="*/ 405098 w 485775"/>
                  <a:gd name="connsiteY149" fmla="*/ 523399 h 771525"/>
                  <a:gd name="connsiteX150" fmla="*/ 405956 w 485775"/>
                  <a:gd name="connsiteY150" fmla="*/ 524256 h 771525"/>
                  <a:gd name="connsiteX151" fmla="*/ 405956 w 485775"/>
                  <a:gd name="connsiteY151" fmla="*/ 525113 h 771525"/>
                  <a:gd name="connsiteX152" fmla="*/ 405098 w 485775"/>
                  <a:gd name="connsiteY152" fmla="*/ 525113 h 771525"/>
                  <a:gd name="connsiteX153" fmla="*/ 405098 w 485775"/>
                  <a:gd name="connsiteY153" fmla="*/ 525971 h 771525"/>
                  <a:gd name="connsiteX154" fmla="*/ 404336 w 485775"/>
                  <a:gd name="connsiteY154" fmla="*/ 526733 h 771525"/>
                  <a:gd name="connsiteX155" fmla="*/ 401765 w 485775"/>
                  <a:gd name="connsiteY155" fmla="*/ 528447 h 771525"/>
                  <a:gd name="connsiteX156" fmla="*/ 400907 w 485775"/>
                  <a:gd name="connsiteY156" fmla="*/ 529304 h 771525"/>
                  <a:gd name="connsiteX157" fmla="*/ 399288 w 485775"/>
                  <a:gd name="connsiteY157" fmla="*/ 531019 h 771525"/>
                  <a:gd name="connsiteX158" fmla="*/ 398431 w 485775"/>
                  <a:gd name="connsiteY158" fmla="*/ 531019 h 771525"/>
                  <a:gd name="connsiteX159" fmla="*/ 397574 w 485775"/>
                  <a:gd name="connsiteY159" fmla="*/ 531876 h 771525"/>
                  <a:gd name="connsiteX160" fmla="*/ 395859 w 485775"/>
                  <a:gd name="connsiteY160" fmla="*/ 531876 h 771525"/>
                  <a:gd name="connsiteX161" fmla="*/ 395002 w 485775"/>
                  <a:gd name="connsiteY161" fmla="*/ 532733 h 771525"/>
                  <a:gd name="connsiteX162" fmla="*/ 394145 w 485775"/>
                  <a:gd name="connsiteY162" fmla="*/ 533591 h 771525"/>
                  <a:gd name="connsiteX163" fmla="*/ 394145 w 485775"/>
                  <a:gd name="connsiteY163" fmla="*/ 534448 h 771525"/>
                  <a:gd name="connsiteX164" fmla="*/ 393383 w 485775"/>
                  <a:gd name="connsiteY164" fmla="*/ 536067 h 771525"/>
                  <a:gd name="connsiteX165" fmla="*/ 392525 w 485775"/>
                  <a:gd name="connsiteY165" fmla="*/ 536924 h 771525"/>
                  <a:gd name="connsiteX166" fmla="*/ 392525 w 485775"/>
                  <a:gd name="connsiteY166" fmla="*/ 537781 h 771525"/>
                  <a:gd name="connsiteX167" fmla="*/ 391668 w 485775"/>
                  <a:gd name="connsiteY167" fmla="*/ 537781 h 771525"/>
                  <a:gd name="connsiteX168" fmla="*/ 390811 w 485775"/>
                  <a:gd name="connsiteY168" fmla="*/ 536924 h 771525"/>
                  <a:gd name="connsiteX169" fmla="*/ 390811 w 485775"/>
                  <a:gd name="connsiteY169" fmla="*/ 536924 h 771525"/>
                  <a:gd name="connsiteX170" fmla="*/ 389954 w 485775"/>
                  <a:gd name="connsiteY170" fmla="*/ 536067 h 771525"/>
                  <a:gd name="connsiteX171" fmla="*/ 389096 w 485775"/>
                  <a:gd name="connsiteY171" fmla="*/ 535210 h 771525"/>
                  <a:gd name="connsiteX172" fmla="*/ 387477 w 485775"/>
                  <a:gd name="connsiteY172" fmla="*/ 535210 h 771525"/>
                  <a:gd name="connsiteX173" fmla="*/ 386620 w 485775"/>
                  <a:gd name="connsiteY173" fmla="*/ 536067 h 771525"/>
                  <a:gd name="connsiteX174" fmla="*/ 384905 w 485775"/>
                  <a:gd name="connsiteY174" fmla="*/ 536067 h 771525"/>
                  <a:gd name="connsiteX175" fmla="*/ 384905 w 485775"/>
                  <a:gd name="connsiteY175" fmla="*/ 536924 h 771525"/>
                  <a:gd name="connsiteX176" fmla="*/ 384048 w 485775"/>
                  <a:gd name="connsiteY176" fmla="*/ 536924 h 771525"/>
                  <a:gd name="connsiteX177" fmla="*/ 384048 w 485775"/>
                  <a:gd name="connsiteY177" fmla="*/ 537781 h 771525"/>
                  <a:gd name="connsiteX178" fmla="*/ 384048 w 485775"/>
                  <a:gd name="connsiteY178" fmla="*/ 538639 h 771525"/>
                  <a:gd name="connsiteX179" fmla="*/ 384048 w 485775"/>
                  <a:gd name="connsiteY179" fmla="*/ 540353 h 771525"/>
                  <a:gd name="connsiteX180" fmla="*/ 384048 w 485775"/>
                  <a:gd name="connsiteY180" fmla="*/ 540353 h 771525"/>
                  <a:gd name="connsiteX181" fmla="*/ 382429 w 485775"/>
                  <a:gd name="connsiteY181" fmla="*/ 540353 h 771525"/>
                  <a:gd name="connsiteX182" fmla="*/ 380714 w 485775"/>
                  <a:gd name="connsiteY182" fmla="*/ 540353 h 771525"/>
                  <a:gd name="connsiteX183" fmla="*/ 379000 w 485775"/>
                  <a:gd name="connsiteY183" fmla="*/ 540353 h 771525"/>
                  <a:gd name="connsiteX184" fmla="*/ 376523 w 485775"/>
                  <a:gd name="connsiteY184" fmla="*/ 542068 h 771525"/>
                  <a:gd name="connsiteX185" fmla="*/ 373952 w 485775"/>
                  <a:gd name="connsiteY185" fmla="*/ 544544 h 771525"/>
                  <a:gd name="connsiteX186" fmla="*/ 373094 w 485775"/>
                  <a:gd name="connsiteY186" fmla="*/ 544544 h 771525"/>
                  <a:gd name="connsiteX187" fmla="*/ 372332 w 485775"/>
                  <a:gd name="connsiteY187" fmla="*/ 544544 h 771525"/>
                  <a:gd name="connsiteX188" fmla="*/ 369761 w 485775"/>
                  <a:gd name="connsiteY188" fmla="*/ 544544 h 771525"/>
                  <a:gd name="connsiteX189" fmla="*/ 369761 w 485775"/>
                  <a:gd name="connsiteY189" fmla="*/ 544544 h 771525"/>
                  <a:gd name="connsiteX190" fmla="*/ 368903 w 485775"/>
                  <a:gd name="connsiteY190" fmla="*/ 544544 h 771525"/>
                  <a:gd name="connsiteX191" fmla="*/ 368046 w 485775"/>
                  <a:gd name="connsiteY191" fmla="*/ 544544 h 771525"/>
                  <a:gd name="connsiteX192" fmla="*/ 367284 w 485775"/>
                  <a:gd name="connsiteY192" fmla="*/ 544544 h 771525"/>
                  <a:gd name="connsiteX193" fmla="*/ 367284 w 485775"/>
                  <a:gd name="connsiteY193" fmla="*/ 542925 h 771525"/>
                  <a:gd name="connsiteX194" fmla="*/ 367284 w 485775"/>
                  <a:gd name="connsiteY194" fmla="*/ 539496 h 771525"/>
                  <a:gd name="connsiteX195" fmla="*/ 367284 w 485775"/>
                  <a:gd name="connsiteY195" fmla="*/ 538639 h 771525"/>
                  <a:gd name="connsiteX196" fmla="*/ 366427 w 485775"/>
                  <a:gd name="connsiteY196" fmla="*/ 536067 h 771525"/>
                  <a:gd name="connsiteX197" fmla="*/ 365570 w 485775"/>
                  <a:gd name="connsiteY197" fmla="*/ 535210 h 771525"/>
                  <a:gd name="connsiteX198" fmla="*/ 365570 w 485775"/>
                  <a:gd name="connsiteY198" fmla="*/ 533591 h 771525"/>
                  <a:gd name="connsiteX199" fmla="*/ 364712 w 485775"/>
                  <a:gd name="connsiteY199" fmla="*/ 532733 h 771525"/>
                  <a:gd name="connsiteX200" fmla="*/ 362998 w 485775"/>
                  <a:gd name="connsiteY200" fmla="*/ 531876 h 771525"/>
                  <a:gd name="connsiteX201" fmla="*/ 362998 w 485775"/>
                  <a:gd name="connsiteY201" fmla="*/ 531019 h 771525"/>
                  <a:gd name="connsiteX202" fmla="*/ 362141 w 485775"/>
                  <a:gd name="connsiteY202" fmla="*/ 530162 h 771525"/>
                  <a:gd name="connsiteX203" fmla="*/ 362141 w 485775"/>
                  <a:gd name="connsiteY203" fmla="*/ 529304 h 771525"/>
                  <a:gd name="connsiteX204" fmla="*/ 361379 w 485775"/>
                  <a:gd name="connsiteY204" fmla="*/ 528447 h 771525"/>
                  <a:gd name="connsiteX205" fmla="*/ 360521 w 485775"/>
                  <a:gd name="connsiteY205" fmla="*/ 528447 h 771525"/>
                  <a:gd name="connsiteX206" fmla="*/ 357950 w 485775"/>
                  <a:gd name="connsiteY206" fmla="*/ 528447 h 771525"/>
                  <a:gd name="connsiteX207" fmla="*/ 355473 w 485775"/>
                  <a:gd name="connsiteY207" fmla="*/ 528447 h 771525"/>
                  <a:gd name="connsiteX208" fmla="*/ 353759 w 485775"/>
                  <a:gd name="connsiteY208" fmla="*/ 527590 h 771525"/>
                  <a:gd name="connsiteX209" fmla="*/ 352901 w 485775"/>
                  <a:gd name="connsiteY209" fmla="*/ 527590 h 771525"/>
                  <a:gd name="connsiteX210" fmla="*/ 352044 w 485775"/>
                  <a:gd name="connsiteY210" fmla="*/ 527590 h 771525"/>
                  <a:gd name="connsiteX211" fmla="*/ 350425 w 485775"/>
                  <a:gd name="connsiteY211" fmla="*/ 527590 h 771525"/>
                  <a:gd name="connsiteX212" fmla="*/ 349568 w 485775"/>
                  <a:gd name="connsiteY212" fmla="*/ 527590 h 771525"/>
                  <a:gd name="connsiteX213" fmla="*/ 347853 w 485775"/>
                  <a:gd name="connsiteY213" fmla="*/ 526733 h 771525"/>
                  <a:gd name="connsiteX214" fmla="*/ 346996 w 485775"/>
                  <a:gd name="connsiteY214" fmla="*/ 525971 h 771525"/>
                  <a:gd name="connsiteX215" fmla="*/ 346139 w 485775"/>
                  <a:gd name="connsiteY215" fmla="*/ 525971 h 771525"/>
                  <a:gd name="connsiteX216" fmla="*/ 344519 w 485775"/>
                  <a:gd name="connsiteY216" fmla="*/ 525971 h 771525"/>
                  <a:gd name="connsiteX217" fmla="*/ 342805 w 485775"/>
                  <a:gd name="connsiteY217" fmla="*/ 525971 h 771525"/>
                  <a:gd name="connsiteX218" fmla="*/ 341090 w 485775"/>
                  <a:gd name="connsiteY218" fmla="*/ 523399 h 771525"/>
                  <a:gd name="connsiteX219" fmla="*/ 340328 w 485775"/>
                  <a:gd name="connsiteY219" fmla="*/ 523399 h 771525"/>
                  <a:gd name="connsiteX220" fmla="*/ 339471 w 485775"/>
                  <a:gd name="connsiteY220" fmla="*/ 523399 h 771525"/>
                  <a:gd name="connsiteX221" fmla="*/ 338614 w 485775"/>
                  <a:gd name="connsiteY221" fmla="*/ 523399 h 771525"/>
                  <a:gd name="connsiteX222" fmla="*/ 336899 w 485775"/>
                  <a:gd name="connsiteY222" fmla="*/ 525113 h 771525"/>
                  <a:gd name="connsiteX223" fmla="*/ 336042 w 485775"/>
                  <a:gd name="connsiteY223" fmla="*/ 525113 h 771525"/>
                  <a:gd name="connsiteX224" fmla="*/ 336042 w 485775"/>
                  <a:gd name="connsiteY224" fmla="*/ 524256 h 771525"/>
                  <a:gd name="connsiteX225" fmla="*/ 335185 w 485775"/>
                  <a:gd name="connsiteY225" fmla="*/ 523399 h 771525"/>
                  <a:gd name="connsiteX226" fmla="*/ 335185 w 485775"/>
                  <a:gd name="connsiteY226" fmla="*/ 522542 h 771525"/>
                  <a:gd name="connsiteX227" fmla="*/ 335185 w 485775"/>
                  <a:gd name="connsiteY227" fmla="*/ 521684 h 771525"/>
                  <a:gd name="connsiteX228" fmla="*/ 335185 w 485775"/>
                  <a:gd name="connsiteY228" fmla="*/ 521684 h 771525"/>
                  <a:gd name="connsiteX229" fmla="*/ 334423 w 485775"/>
                  <a:gd name="connsiteY229" fmla="*/ 520827 h 771525"/>
                  <a:gd name="connsiteX230" fmla="*/ 334423 w 485775"/>
                  <a:gd name="connsiteY230" fmla="*/ 520827 h 771525"/>
                  <a:gd name="connsiteX231" fmla="*/ 333566 w 485775"/>
                  <a:gd name="connsiteY231" fmla="*/ 521684 h 771525"/>
                  <a:gd name="connsiteX232" fmla="*/ 333566 w 485775"/>
                  <a:gd name="connsiteY232" fmla="*/ 522542 h 771525"/>
                  <a:gd name="connsiteX233" fmla="*/ 332708 w 485775"/>
                  <a:gd name="connsiteY233" fmla="*/ 522542 h 771525"/>
                  <a:gd name="connsiteX234" fmla="*/ 332708 w 485775"/>
                  <a:gd name="connsiteY234" fmla="*/ 523399 h 771525"/>
                  <a:gd name="connsiteX235" fmla="*/ 332708 w 485775"/>
                  <a:gd name="connsiteY235" fmla="*/ 523399 h 771525"/>
                  <a:gd name="connsiteX236" fmla="*/ 332708 w 485775"/>
                  <a:gd name="connsiteY236" fmla="*/ 524256 h 771525"/>
                  <a:gd name="connsiteX237" fmla="*/ 332708 w 485775"/>
                  <a:gd name="connsiteY237" fmla="*/ 525113 h 771525"/>
                  <a:gd name="connsiteX238" fmla="*/ 332708 w 485775"/>
                  <a:gd name="connsiteY238" fmla="*/ 525113 h 771525"/>
                  <a:gd name="connsiteX239" fmla="*/ 332708 w 485775"/>
                  <a:gd name="connsiteY239" fmla="*/ 525113 h 771525"/>
                  <a:gd name="connsiteX240" fmla="*/ 331851 w 485775"/>
                  <a:gd name="connsiteY240" fmla="*/ 525971 h 771525"/>
                  <a:gd name="connsiteX241" fmla="*/ 330137 w 485775"/>
                  <a:gd name="connsiteY241" fmla="*/ 526733 h 771525"/>
                  <a:gd name="connsiteX242" fmla="*/ 329375 w 485775"/>
                  <a:gd name="connsiteY242" fmla="*/ 526733 h 771525"/>
                  <a:gd name="connsiteX243" fmla="*/ 329375 w 485775"/>
                  <a:gd name="connsiteY243" fmla="*/ 527590 h 771525"/>
                  <a:gd name="connsiteX244" fmla="*/ 330137 w 485775"/>
                  <a:gd name="connsiteY244" fmla="*/ 527590 h 771525"/>
                  <a:gd name="connsiteX245" fmla="*/ 330994 w 485775"/>
                  <a:gd name="connsiteY245" fmla="*/ 528447 h 771525"/>
                  <a:gd name="connsiteX246" fmla="*/ 331851 w 485775"/>
                  <a:gd name="connsiteY246" fmla="*/ 529304 h 771525"/>
                  <a:gd name="connsiteX247" fmla="*/ 332708 w 485775"/>
                  <a:gd name="connsiteY247" fmla="*/ 529304 h 771525"/>
                  <a:gd name="connsiteX248" fmla="*/ 332708 w 485775"/>
                  <a:gd name="connsiteY248" fmla="*/ 530162 h 771525"/>
                  <a:gd name="connsiteX249" fmla="*/ 332708 w 485775"/>
                  <a:gd name="connsiteY249" fmla="*/ 531876 h 771525"/>
                  <a:gd name="connsiteX250" fmla="*/ 332708 w 485775"/>
                  <a:gd name="connsiteY250" fmla="*/ 532733 h 771525"/>
                  <a:gd name="connsiteX251" fmla="*/ 332708 w 485775"/>
                  <a:gd name="connsiteY251" fmla="*/ 533591 h 771525"/>
                  <a:gd name="connsiteX252" fmla="*/ 333566 w 485775"/>
                  <a:gd name="connsiteY252" fmla="*/ 535210 h 771525"/>
                  <a:gd name="connsiteX253" fmla="*/ 333566 w 485775"/>
                  <a:gd name="connsiteY253" fmla="*/ 536067 h 771525"/>
                  <a:gd name="connsiteX254" fmla="*/ 332708 w 485775"/>
                  <a:gd name="connsiteY254" fmla="*/ 536924 h 771525"/>
                  <a:gd name="connsiteX255" fmla="*/ 331851 w 485775"/>
                  <a:gd name="connsiteY255" fmla="*/ 537781 h 771525"/>
                  <a:gd name="connsiteX256" fmla="*/ 330994 w 485775"/>
                  <a:gd name="connsiteY256" fmla="*/ 537781 h 771525"/>
                  <a:gd name="connsiteX257" fmla="*/ 329375 w 485775"/>
                  <a:gd name="connsiteY257" fmla="*/ 537781 h 771525"/>
                  <a:gd name="connsiteX258" fmla="*/ 328517 w 485775"/>
                  <a:gd name="connsiteY258" fmla="*/ 537781 h 771525"/>
                  <a:gd name="connsiteX259" fmla="*/ 326803 w 485775"/>
                  <a:gd name="connsiteY259" fmla="*/ 536924 h 771525"/>
                  <a:gd name="connsiteX260" fmla="*/ 325946 w 485775"/>
                  <a:gd name="connsiteY260" fmla="*/ 536924 h 771525"/>
                  <a:gd name="connsiteX261" fmla="*/ 325088 w 485775"/>
                  <a:gd name="connsiteY261" fmla="*/ 536924 h 771525"/>
                  <a:gd name="connsiteX262" fmla="*/ 325088 w 485775"/>
                  <a:gd name="connsiteY262" fmla="*/ 537781 h 771525"/>
                  <a:gd name="connsiteX263" fmla="*/ 324326 w 485775"/>
                  <a:gd name="connsiteY263" fmla="*/ 538639 h 771525"/>
                  <a:gd name="connsiteX264" fmla="*/ 324326 w 485775"/>
                  <a:gd name="connsiteY264" fmla="*/ 539496 h 771525"/>
                  <a:gd name="connsiteX265" fmla="*/ 323469 w 485775"/>
                  <a:gd name="connsiteY265" fmla="*/ 539496 h 771525"/>
                  <a:gd name="connsiteX266" fmla="*/ 322612 w 485775"/>
                  <a:gd name="connsiteY266" fmla="*/ 539496 h 771525"/>
                  <a:gd name="connsiteX267" fmla="*/ 320897 w 485775"/>
                  <a:gd name="connsiteY267" fmla="*/ 538639 h 771525"/>
                  <a:gd name="connsiteX268" fmla="*/ 320040 w 485775"/>
                  <a:gd name="connsiteY268" fmla="*/ 536924 h 771525"/>
                  <a:gd name="connsiteX269" fmla="*/ 319183 w 485775"/>
                  <a:gd name="connsiteY269" fmla="*/ 536067 h 771525"/>
                  <a:gd name="connsiteX270" fmla="*/ 319183 w 485775"/>
                  <a:gd name="connsiteY270" fmla="*/ 536067 h 771525"/>
                  <a:gd name="connsiteX271" fmla="*/ 318421 w 485775"/>
                  <a:gd name="connsiteY271" fmla="*/ 536067 h 771525"/>
                  <a:gd name="connsiteX272" fmla="*/ 318421 w 485775"/>
                  <a:gd name="connsiteY272" fmla="*/ 536067 h 771525"/>
                  <a:gd name="connsiteX273" fmla="*/ 317564 w 485775"/>
                  <a:gd name="connsiteY273" fmla="*/ 536067 h 771525"/>
                  <a:gd name="connsiteX274" fmla="*/ 317564 w 485775"/>
                  <a:gd name="connsiteY274" fmla="*/ 536067 h 771525"/>
                  <a:gd name="connsiteX275" fmla="*/ 317564 w 485775"/>
                  <a:gd name="connsiteY275" fmla="*/ 536924 h 771525"/>
                  <a:gd name="connsiteX276" fmla="*/ 317564 w 485775"/>
                  <a:gd name="connsiteY276" fmla="*/ 537781 h 771525"/>
                  <a:gd name="connsiteX277" fmla="*/ 316706 w 485775"/>
                  <a:gd name="connsiteY277" fmla="*/ 538639 h 771525"/>
                  <a:gd name="connsiteX278" fmla="*/ 315849 w 485775"/>
                  <a:gd name="connsiteY278" fmla="*/ 538639 h 771525"/>
                  <a:gd name="connsiteX279" fmla="*/ 315849 w 485775"/>
                  <a:gd name="connsiteY279" fmla="*/ 538639 h 771525"/>
                  <a:gd name="connsiteX280" fmla="*/ 314992 w 485775"/>
                  <a:gd name="connsiteY280" fmla="*/ 536924 h 771525"/>
                  <a:gd name="connsiteX281" fmla="*/ 314135 w 485775"/>
                  <a:gd name="connsiteY281" fmla="*/ 535210 h 771525"/>
                  <a:gd name="connsiteX282" fmla="*/ 314135 w 485775"/>
                  <a:gd name="connsiteY282" fmla="*/ 532733 h 771525"/>
                  <a:gd name="connsiteX283" fmla="*/ 314135 w 485775"/>
                  <a:gd name="connsiteY283" fmla="*/ 531019 h 771525"/>
                  <a:gd name="connsiteX284" fmla="*/ 314135 w 485775"/>
                  <a:gd name="connsiteY284" fmla="*/ 530162 h 771525"/>
                  <a:gd name="connsiteX285" fmla="*/ 314992 w 485775"/>
                  <a:gd name="connsiteY285" fmla="*/ 529304 h 771525"/>
                  <a:gd name="connsiteX286" fmla="*/ 316706 w 485775"/>
                  <a:gd name="connsiteY286" fmla="*/ 526733 h 771525"/>
                  <a:gd name="connsiteX287" fmla="*/ 316706 w 485775"/>
                  <a:gd name="connsiteY287" fmla="*/ 526733 h 771525"/>
                  <a:gd name="connsiteX288" fmla="*/ 317564 w 485775"/>
                  <a:gd name="connsiteY288" fmla="*/ 525971 h 771525"/>
                  <a:gd name="connsiteX289" fmla="*/ 317564 w 485775"/>
                  <a:gd name="connsiteY289" fmla="*/ 525113 h 771525"/>
                  <a:gd name="connsiteX290" fmla="*/ 317564 w 485775"/>
                  <a:gd name="connsiteY290" fmla="*/ 524256 h 771525"/>
                  <a:gd name="connsiteX291" fmla="*/ 318421 w 485775"/>
                  <a:gd name="connsiteY291" fmla="*/ 523399 h 771525"/>
                  <a:gd name="connsiteX292" fmla="*/ 318421 w 485775"/>
                  <a:gd name="connsiteY292" fmla="*/ 523399 h 771525"/>
                  <a:gd name="connsiteX293" fmla="*/ 319183 w 485775"/>
                  <a:gd name="connsiteY293" fmla="*/ 522542 h 771525"/>
                  <a:gd name="connsiteX294" fmla="*/ 319183 w 485775"/>
                  <a:gd name="connsiteY294" fmla="*/ 522542 h 771525"/>
                  <a:gd name="connsiteX295" fmla="*/ 320040 w 485775"/>
                  <a:gd name="connsiteY295" fmla="*/ 521684 h 771525"/>
                  <a:gd name="connsiteX296" fmla="*/ 320040 w 485775"/>
                  <a:gd name="connsiteY296" fmla="*/ 520827 h 771525"/>
                  <a:gd name="connsiteX297" fmla="*/ 319183 w 485775"/>
                  <a:gd name="connsiteY297" fmla="*/ 519113 h 771525"/>
                  <a:gd name="connsiteX298" fmla="*/ 319183 w 485775"/>
                  <a:gd name="connsiteY298" fmla="*/ 519113 h 771525"/>
                  <a:gd name="connsiteX299" fmla="*/ 316706 w 485775"/>
                  <a:gd name="connsiteY299" fmla="*/ 516636 h 771525"/>
                  <a:gd name="connsiteX300" fmla="*/ 315849 w 485775"/>
                  <a:gd name="connsiteY300" fmla="*/ 515779 h 771525"/>
                  <a:gd name="connsiteX301" fmla="*/ 314992 w 485775"/>
                  <a:gd name="connsiteY301" fmla="*/ 513207 h 771525"/>
                  <a:gd name="connsiteX302" fmla="*/ 313373 w 485775"/>
                  <a:gd name="connsiteY302" fmla="*/ 511493 h 771525"/>
                  <a:gd name="connsiteX303" fmla="*/ 313373 w 485775"/>
                  <a:gd name="connsiteY303" fmla="*/ 510635 h 771525"/>
                  <a:gd name="connsiteX304" fmla="*/ 312515 w 485775"/>
                  <a:gd name="connsiteY304" fmla="*/ 510635 h 771525"/>
                  <a:gd name="connsiteX305" fmla="*/ 311658 w 485775"/>
                  <a:gd name="connsiteY305" fmla="*/ 509778 h 771525"/>
                  <a:gd name="connsiteX306" fmla="*/ 311658 w 485775"/>
                  <a:gd name="connsiteY306" fmla="*/ 508159 h 771525"/>
                  <a:gd name="connsiteX307" fmla="*/ 311658 w 485775"/>
                  <a:gd name="connsiteY307" fmla="*/ 506444 h 771525"/>
                  <a:gd name="connsiteX308" fmla="*/ 311658 w 485775"/>
                  <a:gd name="connsiteY308" fmla="*/ 505587 h 771525"/>
                  <a:gd name="connsiteX309" fmla="*/ 312515 w 485775"/>
                  <a:gd name="connsiteY309" fmla="*/ 504730 h 771525"/>
                  <a:gd name="connsiteX310" fmla="*/ 312515 w 485775"/>
                  <a:gd name="connsiteY310" fmla="*/ 503872 h 771525"/>
                  <a:gd name="connsiteX311" fmla="*/ 312515 w 485775"/>
                  <a:gd name="connsiteY311" fmla="*/ 503015 h 771525"/>
                  <a:gd name="connsiteX312" fmla="*/ 311658 w 485775"/>
                  <a:gd name="connsiteY312" fmla="*/ 501301 h 771525"/>
                  <a:gd name="connsiteX313" fmla="*/ 304895 w 485775"/>
                  <a:gd name="connsiteY313" fmla="*/ 495395 h 771525"/>
                  <a:gd name="connsiteX314" fmla="*/ 304038 w 485775"/>
                  <a:gd name="connsiteY314" fmla="*/ 494538 h 771525"/>
                  <a:gd name="connsiteX315" fmla="*/ 304038 w 485775"/>
                  <a:gd name="connsiteY315" fmla="*/ 493681 h 771525"/>
                  <a:gd name="connsiteX316" fmla="*/ 304895 w 485775"/>
                  <a:gd name="connsiteY316" fmla="*/ 492823 h 771525"/>
                  <a:gd name="connsiteX317" fmla="*/ 305753 w 485775"/>
                  <a:gd name="connsiteY317" fmla="*/ 491966 h 771525"/>
                  <a:gd name="connsiteX318" fmla="*/ 307467 w 485775"/>
                  <a:gd name="connsiteY318" fmla="*/ 491966 h 771525"/>
                  <a:gd name="connsiteX319" fmla="*/ 307467 w 485775"/>
                  <a:gd name="connsiteY319" fmla="*/ 491966 h 771525"/>
                  <a:gd name="connsiteX320" fmla="*/ 308324 w 485775"/>
                  <a:gd name="connsiteY320" fmla="*/ 490347 h 771525"/>
                  <a:gd name="connsiteX321" fmla="*/ 309086 w 485775"/>
                  <a:gd name="connsiteY321" fmla="*/ 490347 h 771525"/>
                  <a:gd name="connsiteX322" fmla="*/ 309944 w 485775"/>
                  <a:gd name="connsiteY322" fmla="*/ 489490 h 771525"/>
                  <a:gd name="connsiteX323" fmla="*/ 309944 w 485775"/>
                  <a:gd name="connsiteY323" fmla="*/ 489490 h 771525"/>
                  <a:gd name="connsiteX324" fmla="*/ 310801 w 485775"/>
                  <a:gd name="connsiteY324" fmla="*/ 489490 h 771525"/>
                  <a:gd name="connsiteX325" fmla="*/ 311658 w 485775"/>
                  <a:gd name="connsiteY325" fmla="*/ 490347 h 771525"/>
                  <a:gd name="connsiteX326" fmla="*/ 312515 w 485775"/>
                  <a:gd name="connsiteY326" fmla="*/ 491109 h 771525"/>
                  <a:gd name="connsiteX327" fmla="*/ 313373 w 485775"/>
                  <a:gd name="connsiteY327" fmla="*/ 491966 h 771525"/>
                  <a:gd name="connsiteX328" fmla="*/ 314135 w 485775"/>
                  <a:gd name="connsiteY328" fmla="*/ 491966 h 771525"/>
                  <a:gd name="connsiteX329" fmla="*/ 314135 w 485775"/>
                  <a:gd name="connsiteY329" fmla="*/ 491966 h 771525"/>
                  <a:gd name="connsiteX330" fmla="*/ 314992 w 485775"/>
                  <a:gd name="connsiteY330" fmla="*/ 491109 h 771525"/>
                  <a:gd name="connsiteX331" fmla="*/ 314992 w 485775"/>
                  <a:gd name="connsiteY331" fmla="*/ 491109 h 771525"/>
                  <a:gd name="connsiteX332" fmla="*/ 315849 w 485775"/>
                  <a:gd name="connsiteY332" fmla="*/ 491966 h 771525"/>
                  <a:gd name="connsiteX333" fmla="*/ 315849 w 485775"/>
                  <a:gd name="connsiteY333" fmla="*/ 492823 h 771525"/>
                  <a:gd name="connsiteX334" fmla="*/ 316706 w 485775"/>
                  <a:gd name="connsiteY334" fmla="*/ 498824 h 771525"/>
                  <a:gd name="connsiteX335" fmla="*/ 317564 w 485775"/>
                  <a:gd name="connsiteY335" fmla="*/ 501301 h 771525"/>
                  <a:gd name="connsiteX336" fmla="*/ 317564 w 485775"/>
                  <a:gd name="connsiteY336" fmla="*/ 502158 h 771525"/>
                  <a:gd name="connsiteX337" fmla="*/ 318421 w 485775"/>
                  <a:gd name="connsiteY337" fmla="*/ 503015 h 771525"/>
                  <a:gd name="connsiteX338" fmla="*/ 318421 w 485775"/>
                  <a:gd name="connsiteY338" fmla="*/ 503872 h 771525"/>
                  <a:gd name="connsiteX339" fmla="*/ 319183 w 485775"/>
                  <a:gd name="connsiteY339" fmla="*/ 504730 h 771525"/>
                  <a:gd name="connsiteX340" fmla="*/ 320897 w 485775"/>
                  <a:gd name="connsiteY340" fmla="*/ 504730 h 771525"/>
                  <a:gd name="connsiteX341" fmla="*/ 322612 w 485775"/>
                  <a:gd name="connsiteY341" fmla="*/ 505587 h 771525"/>
                  <a:gd name="connsiteX342" fmla="*/ 325946 w 485775"/>
                  <a:gd name="connsiteY342" fmla="*/ 506444 h 771525"/>
                  <a:gd name="connsiteX343" fmla="*/ 326803 w 485775"/>
                  <a:gd name="connsiteY343" fmla="*/ 506444 h 771525"/>
                  <a:gd name="connsiteX344" fmla="*/ 327660 w 485775"/>
                  <a:gd name="connsiteY344" fmla="*/ 507302 h 771525"/>
                  <a:gd name="connsiteX345" fmla="*/ 328517 w 485775"/>
                  <a:gd name="connsiteY345" fmla="*/ 507302 h 771525"/>
                  <a:gd name="connsiteX346" fmla="*/ 329375 w 485775"/>
                  <a:gd name="connsiteY346" fmla="*/ 508921 h 771525"/>
                  <a:gd name="connsiteX347" fmla="*/ 330137 w 485775"/>
                  <a:gd name="connsiteY347" fmla="*/ 509778 h 771525"/>
                  <a:gd name="connsiteX348" fmla="*/ 330994 w 485775"/>
                  <a:gd name="connsiteY348" fmla="*/ 510635 h 771525"/>
                  <a:gd name="connsiteX349" fmla="*/ 332708 w 485775"/>
                  <a:gd name="connsiteY349" fmla="*/ 510635 h 771525"/>
                  <a:gd name="connsiteX350" fmla="*/ 334423 w 485775"/>
                  <a:gd name="connsiteY350" fmla="*/ 509778 h 771525"/>
                  <a:gd name="connsiteX351" fmla="*/ 336899 w 485775"/>
                  <a:gd name="connsiteY351" fmla="*/ 509778 h 771525"/>
                  <a:gd name="connsiteX352" fmla="*/ 338614 w 485775"/>
                  <a:gd name="connsiteY352" fmla="*/ 509778 h 771525"/>
                  <a:gd name="connsiteX353" fmla="*/ 345377 w 485775"/>
                  <a:gd name="connsiteY353" fmla="*/ 508159 h 771525"/>
                  <a:gd name="connsiteX354" fmla="*/ 346139 w 485775"/>
                  <a:gd name="connsiteY354" fmla="*/ 508159 h 771525"/>
                  <a:gd name="connsiteX355" fmla="*/ 346996 w 485775"/>
                  <a:gd name="connsiteY355" fmla="*/ 508921 h 771525"/>
                  <a:gd name="connsiteX356" fmla="*/ 347853 w 485775"/>
                  <a:gd name="connsiteY356" fmla="*/ 508921 h 771525"/>
                  <a:gd name="connsiteX357" fmla="*/ 348710 w 485775"/>
                  <a:gd name="connsiteY357" fmla="*/ 508921 h 771525"/>
                  <a:gd name="connsiteX358" fmla="*/ 350425 w 485775"/>
                  <a:gd name="connsiteY358" fmla="*/ 508921 h 771525"/>
                  <a:gd name="connsiteX359" fmla="*/ 350425 w 485775"/>
                  <a:gd name="connsiteY359" fmla="*/ 509778 h 771525"/>
                  <a:gd name="connsiteX360" fmla="*/ 351187 w 485775"/>
                  <a:gd name="connsiteY360" fmla="*/ 509778 h 771525"/>
                  <a:gd name="connsiteX361" fmla="*/ 351187 w 485775"/>
                  <a:gd name="connsiteY361" fmla="*/ 510635 h 771525"/>
                  <a:gd name="connsiteX362" fmla="*/ 352901 w 485775"/>
                  <a:gd name="connsiteY362" fmla="*/ 514064 h 771525"/>
                  <a:gd name="connsiteX363" fmla="*/ 354616 w 485775"/>
                  <a:gd name="connsiteY363" fmla="*/ 516636 h 771525"/>
                  <a:gd name="connsiteX364" fmla="*/ 355473 w 485775"/>
                  <a:gd name="connsiteY364" fmla="*/ 517398 h 771525"/>
                  <a:gd name="connsiteX365" fmla="*/ 355473 w 485775"/>
                  <a:gd name="connsiteY365" fmla="*/ 519113 h 771525"/>
                  <a:gd name="connsiteX366" fmla="*/ 354616 w 485775"/>
                  <a:gd name="connsiteY366" fmla="*/ 519970 h 771525"/>
                  <a:gd name="connsiteX367" fmla="*/ 354616 w 485775"/>
                  <a:gd name="connsiteY367" fmla="*/ 520827 h 771525"/>
                  <a:gd name="connsiteX368" fmla="*/ 355473 w 485775"/>
                  <a:gd name="connsiteY368" fmla="*/ 521684 h 771525"/>
                  <a:gd name="connsiteX369" fmla="*/ 356330 w 485775"/>
                  <a:gd name="connsiteY369" fmla="*/ 521684 h 771525"/>
                  <a:gd name="connsiteX370" fmla="*/ 357950 w 485775"/>
                  <a:gd name="connsiteY370" fmla="*/ 521684 h 771525"/>
                  <a:gd name="connsiteX371" fmla="*/ 360521 w 485775"/>
                  <a:gd name="connsiteY371" fmla="*/ 523399 h 771525"/>
                  <a:gd name="connsiteX372" fmla="*/ 361379 w 485775"/>
                  <a:gd name="connsiteY372" fmla="*/ 523399 h 771525"/>
                  <a:gd name="connsiteX373" fmla="*/ 362141 w 485775"/>
                  <a:gd name="connsiteY373" fmla="*/ 523399 h 771525"/>
                  <a:gd name="connsiteX374" fmla="*/ 362998 w 485775"/>
                  <a:gd name="connsiteY374" fmla="*/ 522542 h 771525"/>
                  <a:gd name="connsiteX375" fmla="*/ 362998 w 485775"/>
                  <a:gd name="connsiteY375" fmla="*/ 521684 h 771525"/>
                  <a:gd name="connsiteX376" fmla="*/ 362998 w 485775"/>
                  <a:gd name="connsiteY376" fmla="*/ 520827 h 771525"/>
                  <a:gd name="connsiteX377" fmla="*/ 361379 w 485775"/>
                  <a:gd name="connsiteY377" fmla="*/ 518255 h 771525"/>
                  <a:gd name="connsiteX378" fmla="*/ 360521 w 485775"/>
                  <a:gd name="connsiteY378" fmla="*/ 517398 h 771525"/>
                  <a:gd name="connsiteX379" fmla="*/ 361379 w 485775"/>
                  <a:gd name="connsiteY379" fmla="*/ 517398 h 771525"/>
                  <a:gd name="connsiteX380" fmla="*/ 361379 w 485775"/>
                  <a:gd name="connsiteY380" fmla="*/ 514921 h 771525"/>
                  <a:gd name="connsiteX381" fmla="*/ 361379 w 485775"/>
                  <a:gd name="connsiteY381" fmla="*/ 514064 h 771525"/>
                  <a:gd name="connsiteX382" fmla="*/ 360521 w 485775"/>
                  <a:gd name="connsiteY382" fmla="*/ 513207 h 771525"/>
                  <a:gd name="connsiteX383" fmla="*/ 359664 w 485775"/>
                  <a:gd name="connsiteY383" fmla="*/ 513207 h 771525"/>
                  <a:gd name="connsiteX384" fmla="*/ 358807 w 485775"/>
                  <a:gd name="connsiteY384" fmla="*/ 512350 h 771525"/>
                  <a:gd name="connsiteX385" fmla="*/ 357950 w 485775"/>
                  <a:gd name="connsiteY385" fmla="*/ 511493 h 771525"/>
                  <a:gd name="connsiteX386" fmla="*/ 357950 w 485775"/>
                  <a:gd name="connsiteY386" fmla="*/ 511493 h 771525"/>
                  <a:gd name="connsiteX387" fmla="*/ 357092 w 485775"/>
                  <a:gd name="connsiteY387" fmla="*/ 510635 h 771525"/>
                  <a:gd name="connsiteX388" fmla="*/ 357092 w 485775"/>
                  <a:gd name="connsiteY388" fmla="*/ 508159 h 771525"/>
                  <a:gd name="connsiteX389" fmla="*/ 357092 w 485775"/>
                  <a:gd name="connsiteY389" fmla="*/ 508159 h 771525"/>
                  <a:gd name="connsiteX390" fmla="*/ 355473 w 485775"/>
                  <a:gd name="connsiteY390" fmla="*/ 506444 h 771525"/>
                  <a:gd name="connsiteX391" fmla="*/ 354616 w 485775"/>
                  <a:gd name="connsiteY391" fmla="*/ 505587 h 771525"/>
                  <a:gd name="connsiteX392" fmla="*/ 354616 w 485775"/>
                  <a:gd name="connsiteY392" fmla="*/ 504730 h 771525"/>
                  <a:gd name="connsiteX393" fmla="*/ 354616 w 485775"/>
                  <a:gd name="connsiteY393" fmla="*/ 504730 h 771525"/>
                  <a:gd name="connsiteX394" fmla="*/ 355473 w 485775"/>
                  <a:gd name="connsiteY394" fmla="*/ 503872 h 771525"/>
                  <a:gd name="connsiteX395" fmla="*/ 357950 w 485775"/>
                  <a:gd name="connsiteY395" fmla="*/ 500444 h 771525"/>
                  <a:gd name="connsiteX396" fmla="*/ 357950 w 485775"/>
                  <a:gd name="connsiteY396" fmla="*/ 499586 h 771525"/>
                  <a:gd name="connsiteX397" fmla="*/ 358807 w 485775"/>
                  <a:gd name="connsiteY397" fmla="*/ 498824 h 771525"/>
                  <a:gd name="connsiteX398" fmla="*/ 357950 w 485775"/>
                  <a:gd name="connsiteY398" fmla="*/ 497967 h 771525"/>
                  <a:gd name="connsiteX399" fmla="*/ 357092 w 485775"/>
                  <a:gd name="connsiteY399" fmla="*/ 497967 h 771525"/>
                  <a:gd name="connsiteX400" fmla="*/ 356330 w 485775"/>
                  <a:gd name="connsiteY400" fmla="*/ 497110 h 771525"/>
                  <a:gd name="connsiteX401" fmla="*/ 355473 w 485775"/>
                  <a:gd name="connsiteY401" fmla="*/ 497110 h 771525"/>
                  <a:gd name="connsiteX402" fmla="*/ 354616 w 485775"/>
                  <a:gd name="connsiteY402" fmla="*/ 497110 h 771525"/>
                  <a:gd name="connsiteX403" fmla="*/ 354616 w 485775"/>
                  <a:gd name="connsiteY403" fmla="*/ 496253 h 771525"/>
                  <a:gd name="connsiteX404" fmla="*/ 355473 w 485775"/>
                  <a:gd name="connsiteY404" fmla="*/ 496253 h 771525"/>
                  <a:gd name="connsiteX405" fmla="*/ 357092 w 485775"/>
                  <a:gd name="connsiteY405" fmla="*/ 494538 h 771525"/>
                  <a:gd name="connsiteX406" fmla="*/ 358807 w 485775"/>
                  <a:gd name="connsiteY406" fmla="*/ 491966 h 771525"/>
                  <a:gd name="connsiteX407" fmla="*/ 359664 w 485775"/>
                  <a:gd name="connsiteY407" fmla="*/ 491966 h 771525"/>
                  <a:gd name="connsiteX408" fmla="*/ 360521 w 485775"/>
                  <a:gd name="connsiteY408" fmla="*/ 491966 h 771525"/>
                  <a:gd name="connsiteX409" fmla="*/ 362141 w 485775"/>
                  <a:gd name="connsiteY409" fmla="*/ 491109 h 771525"/>
                  <a:gd name="connsiteX410" fmla="*/ 367284 w 485775"/>
                  <a:gd name="connsiteY410" fmla="*/ 491109 h 771525"/>
                  <a:gd name="connsiteX411" fmla="*/ 368046 w 485775"/>
                  <a:gd name="connsiteY411" fmla="*/ 491109 h 771525"/>
                  <a:gd name="connsiteX412" fmla="*/ 368903 w 485775"/>
                  <a:gd name="connsiteY412" fmla="*/ 490347 h 771525"/>
                  <a:gd name="connsiteX413" fmla="*/ 369761 w 485775"/>
                  <a:gd name="connsiteY413" fmla="*/ 489490 h 771525"/>
                  <a:gd name="connsiteX414" fmla="*/ 369761 w 485775"/>
                  <a:gd name="connsiteY414" fmla="*/ 489490 h 771525"/>
                  <a:gd name="connsiteX415" fmla="*/ 369761 w 485775"/>
                  <a:gd name="connsiteY415" fmla="*/ 488633 h 771525"/>
                  <a:gd name="connsiteX416" fmla="*/ 369761 w 485775"/>
                  <a:gd name="connsiteY416" fmla="*/ 487775 h 771525"/>
                  <a:gd name="connsiteX417" fmla="*/ 368903 w 485775"/>
                  <a:gd name="connsiteY417" fmla="*/ 484346 h 771525"/>
                  <a:gd name="connsiteX418" fmla="*/ 368903 w 485775"/>
                  <a:gd name="connsiteY418" fmla="*/ 483489 h 771525"/>
                  <a:gd name="connsiteX419" fmla="*/ 368903 w 485775"/>
                  <a:gd name="connsiteY419" fmla="*/ 482632 h 771525"/>
                  <a:gd name="connsiteX420" fmla="*/ 368903 w 485775"/>
                  <a:gd name="connsiteY420" fmla="*/ 481775 h 771525"/>
                  <a:gd name="connsiteX421" fmla="*/ 369761 w 485775"/>
                  <a:gd name="connsiteY421" fmla="*/ 479298 h 771525"/>
                  <a:gd name="connsiteX422" fmla="*/ 369761 w 485775"/>
                  <a:gd name="connsiteY422" fmla="*/ 478441 h 771525"/>
                  <a:gd name="connsiteX423" fmla="*/ 369761 w 485775"/>
                  <a:gd name="connsiteY423" fmla="*/ 478441 h 771525"/>
                  <a:gd name="connsiteX424" fmla="*/ 368046 w 485775"/>
                  <a:gd name="connsiteY424" fmla="*/ 477584 h 771525"/>
                  <a:gd name="connsiteX425" fmla="*/ 365570 w 485775"/>
                  <a:gd name="connsiteY425" fmla="*/ 477584 h 771525"/>
                  <a:gd name="connsiteX426" fmla="*/ 364712 w 485775"/>
                  <a:gd name="connsiteY426" fmla="*/ 476726 h 771525"/>
                  <a:gd name="connsiteX427" fmla="*/ 364712 w 485775"/>
                  <a:gd name="connsiteY427" fmla="*/ 476726 h 771525"/>
                  <a:gd name="connsiteX428" fmla="*/ 364712 w 485775"/>
                  <a:gd name="connsiteY428" fmla="*/ 475869 h 771525"/>
                  <a:gd name="connsiteX429" fmla="*/ 364712 w 485775"/>
                  <a:gd name="connsiteY429" fmla="*/ 475012 h 771525"/>
                  <a:gd name="connsiteX430" fmla="*/ 363855 w 485775"/>
                  <a:gd name="connsiteY430" fmla="*/ 474155 h 771525"/>
                  <a:gd name="connsiteX431" fmla="*/ 363855 w 485775"/>
                  <a:gd name="connsiteY431" fmla="*/ 474155 h 771525"/>
                  <a:gd name="connsiteX432" fmla="*/ 362998 w 485775"/>
                  <a:gd name="connsiteY432" fmla="*/ 473297 h 771525"/>
                  <a:gd name="connsiteX433" fmla="*/ 361379 w 485775"/>
                  <a:gd name="connsiteY433" fmla="*/ 472440 h 771525"/>
                  <a:gd name="connsiteX434" fmla="*/ 360521 w 485775"/>
                  <a:gd name="connsiteY434" fmla="*/ 472440 h 771525"/>
                  <a:gd name="connsiteX435" fmla="*/ 359664 w 485775"/>
                  <a:gd name="connsiteY435" fmla="*/ 472440 h 771525"/>
                  <a:gd name="connsiteX436" fmla="*/ 358807 w 485775"/>
                  <a:gd name="connsiteY436" fmla="*/ 473297 h 771525"/>
                  <a:gd name="connsiteX437" fmla="*/ 357950 w 485775"/>
                  <a:gd name="connsiteY437" fmla="*/ 474155 h 771525"/>
                  <a:gd name="connsiteX438" fmla="*/ 357950 w 485775"/>
                  <a:gd name="connsiteY438" fmla="*/ 475012 h 771525"/>
                  <a:gd name="connsiteX439" fmla="*/ 357950 w 485775"/>
                  <a:gd name="connsiteY439" fmla="*/ 476726 h 771525"/>
                  <a:gd name="connsiteX440" fmla="*/ 358807 w 485775"/>
                  <a:gd name="connsiteY440" fmla="*/ 477584 h 771525"/>
                  <a:gd name="connsiteX441" fmla="*/ 358807 w 485775"/>
                  <a:gd name="connsiteY441" fmla="*/ 478441 h 771525"/>
                  <a:gd name="connsiteX442" fmla="*/ 360521 w 485775"/>
                  <a:gd name="connsiteY442" fmla="*/ 481013 h 771525"/>
                  <a:gd name="connsiteX443" fmla="*/ 361379 w 485775"/>
                  <a:gd name="connsiteY443" fmla="*/ 481775 h 771525"/>
                  <a:gd name="connsiteX444" fmla="*/ 361379 w 485775"/>
                  <a:gd name="connsiteY444" fmla="*/ 483489 h 771525"/>
                  <a:gd name="connsiteX445" fmla="*/ 360521 w 485775"/>
                  <a:gd name="connsiteY445" fmla="*/ 483489 h 771525"/>
                  <a:gd name="connsiteX446" fmla="*/ 358807 w 485775"/>
                  <a:gd name="connsiteY446" fmla="*/ 483489 h 771525"/>
                  <a:gd name="connsiteX447" fmla="*/ 357950 w 485775"/>
                  <a:gd name="connsiteY447" fmla="*/ 482632 h 771525"/>
                  <a:gd name="connsiteX448" fmla="*/ 356330 w 485775"/>
                  <a:gd name="connsiteY448" fmla="*/ 481775 h 771525"/>
                  <a:gd name="connsiteX449" fmla="*/ 354616 w 485775"/>
                  <a:gd name="connsiteY449" fmla="*/ 479298 h 771525"/>
                  <a:gd name="connsiteX450" fmla="*/ 353759 w 485775"/>
                  <a:gd name="connsiteY450" fmla="*/ 478441 h 771525"/>
                  <a:gd name="connsiteX451" fmla="*/ 352044 w 485775"/>
                  <a:gd name="connsiteY451" fmla="*/ 478441 h 771525"/>
                  <a:gd name="connsiteX452" fmla="*/ 349568 w 485775"/>
                  <a:gd name="connsiteY452" fmla="*/ 477584 h 771525"/>
                  <a:gd name="connsiteX453" fmla="*/ 347853 w 485775"/>
                  <a:gd name="connsiteY453" fmla="*/ 476726 h 771525"/>
                  <a:gd name="connsiteX454" fmla="*/ 347853 w 485775"/>
                  <a:gd name="connsiteY454" fmla="*/ 475869 h 771525"/>
                  <a:gd name="connsiteX455" fmla="*/ 347853 w 485775"/>
                  <a:gd name="connsiteY455" fmla="*/ 475012 h 771525"/>
                  <a:gd name="connsiteX456" fmla="*/ 347853 w 485775"/>
                  <a:gd name="connsiteY456" fmla="*/ 474155 h 771525"/>
                  <a:gd name="connsiteX457" fmla="*/ 347853 w 485775"/>
                  <a:gd name="connsiteY457" fmla="*/ 473297 h 771525"/>
                  <a:gd name="connsiteX458" fmla="*/ 346996 w 485775"/>
                  <a:gd name="connsiteY458" fmla="*/ 472440 h 771525"/>
                  <a:gd name="connsiteX459" fmla="*/ 346139 w 485775"/>
                  <a:gd name="connsiteY459" fmla="*/ 472440 h 771525"/>
                  <a:gd name="connsiteX460" fmla="*/ 344519 w 485775"/>
                  <a:gd name="connsiteY460" fmla="*/ 473297 h 771525"/>
                  <a:gd name="connsiteX461" fmla="*/ 341090 w 485775"/>
                  <a:gd name="connsiteY461" fmla="*/ 473297 h 771525"/>
                  <a:gd name="connsiteX462" fmla="*/ 339471 w 485775"/>
                  <a:gd name="connsiteY462" fmla="*/ 473297 h 771525"/>
                  <a:gd name="connsiteX463" fmla="*/ 337757 w 485775"/>
                  <a:gd name="connsiteY463" fmla="*/ 473297 h 771525"/>
                  <a:gd name="connsiteX464" fmla="*/ 336042 w 485775"/>
                  <a:gd name="connsiteY464" fmla="*/ 473297 h 771525"/>
                  <a:gd name="connsiteX465" fmla="*/ 334423 w 485775"/>
                  <a:gd name="connsiteY465" fmla="*/ 471678 h 771525"/>
                  <a:gd name="connsiteX466" fmla="*/ 333566 w 485775"/>
                  <a:gd name="connsiteY466" fmla="*/ 471678 h 771525"/>
                  <a:gd name="connsiteX467" fmla="*/ 332708 w 485775"/>
                  <a:gd name="connsiteY467" fmla="*/ 472440 h 771525"/>
                  <a:gd name="connsiteX468" fmla="*/ 330994 w 485775"/>
                  <a:gd name="connsiteY468" fmla="*/ 473297 h 771525"/>
                  <a:gd name="connsiteX469" fmla="*/ 329375 w 485775"/>
                  <a:gd name="connsiteY469" fmla="*/ 475869 h 771525"/>
                  <a:gd name="connsiteX470" fmla="*/ 328517 w 485775"/>
                  <a:gd name="connsiteY470" fmla="*/ 477584 h 771525"/>
                  <a:gd name="connsiteX471" fmla="*/ 327660 w 485775"/>
                  <a:gd name="connsiteY471" fmla="*/ 478441 h 771525"/>
                  <a:gd name="connsiteX472" fmla="*/ 327660 w 485775"/>
                  <a:gd name="connsiteY472" fmla="*/ 479298 h 771525"/>
                  <a:gd name="connsiteX473" fmla="*/ 327660 w 485775"/>
                  <a:gd name="connsiteY473" fmla="*/ 482632 h 771525"/>
                  <a:gd name="connsiteX474" fmla="*/ 327660 w 485775"/>
                  <a:gd name="connsiteY474" fmla="*/ 483489 h 771525"/>
                  <a:gd name="connsiteX475" fmla="*/ 327660 w 485775"/>
                  <a:gd name="connsiteY475" fmla="*/ 483489 h 771525"/>
                  <a:gd name="connsiteX476" fmla="*/ 326803 w 485775"/>
                  <a:gd name="connsiteY476" fmla="*/ 484346 h 771525"/>
                  <a:gd name="connsiteX477" fmla="*/ 325946 w 485775"/>
                  <a:gd name="connsiteY477" fmla="*/ 484346 h 771525"/>
                  <a:gd name="connsiteX478" fmla="*/ 324326 w 485775"/>
                  <a:gd name="connsiteY478" fmla="*/ 484346 h 771525"/>
                  <a:gd name="connsiteX479" fmla="*/ 321755 w 485775"/>
                  <a:gd name="connsiteY479" fmla="*/ 483489 h 771525"/>
                  <a:gd name="connsiteX480" fmla="*/ 318421 w 485775"/>
                  <a:gd name="connsiteY480" fmla="*/ 483489 h 771525"/>
                  <a:gd name="connsiteX481" fmla="*/ 314992 w 485775"/>
                  <a:gd name="connsiteY481" fmla="*/ 482632 h 771525"/>
                  <a:gd name="connsiteX482" fmla="*/ 308324 w 485775"/>
                  <a:gd name="connsiteY482" fmla="*/ 481775 h 771525"/>
                  <a:gd name="connsiteX483" fmla="*/ 308324 w 485775"/>
                  <a:gd name="connsiteY483" fmla="*/ 480155 h 771525"/>
                  <a:gd name="connsiteX484" fmla="*/ 309086 w 485775"/>
                  <a:gd name="connsiteY484" fmla="*/ 479298 h 771525"/>
                  <a:gd name="connsiteX485" fmla="*/ 309086 w 485775"/>
                  <a:gd name="connsiteY485" fmla="*/ 478441 h 771525"/>
                  <a:gd name="connsiteX486" fmla="*/ 309944 w 485775"/>
                  <a:gd name="connsiteY486" fmla="*/ 477584 h 771525"/>
                  <a:gd name="connsiteX487" fmla="*/ 309944 w 485775"/>
                  <a:gd name="connsiteY487" fmla="*/ 476726 h 771525"/>
                  <a:gd name="connsiteX488" fmla="*/ 309944 w 485775"/>
                  <a:gd name="connsiteY488" fmla="*/ 476726 h 771525"/>
                  <a:gd name="connsiteX489" fmla="*/ 309086 w 485775"/>
                  <a:gd name="connsiteY489" fmla="*/ 475869 h 771525"/>
                  <a:gd name="connsiteX490" fmla="*/ 305753 w 485775"/>
                  <a:gd name="connsiteY490" fmla="*/ 474155 h 771525"/>
                  <a:gd name="connsiteX491" fmla="*/ 304895 w 485775"/>
                  <a:gd name="connsiteY491" fmla="*/ 473297 h 771525"/>
                  <a:gd name="connsiteX492" fmla="*/ 304038 w 485775"/>
                  <a:gd name="connsiteY492" fmla="*/ 472440 h 771525"/>
                  <a:gd name="connsiteX493" fmla="*/ 304038 w 485775"/>
                  <a:gd name="connsiteY493" fmla="*/ 471678 h 771525"/>
                  <a:gd name="connsiteX494" fmla="*/ 303181 w 485775"/>
                  <a:gd name="connsiteY494" fmla="*/ 469963 h 771525"/>
                  <a:gd name="connsiteX495" fmla="*/ 303181 w 485775"/>
                  <a:gd name="connsiteY495" fmla="*/ 469106 h 771525"/>
                  <a:gd name="connsiteX496" fmla="*/ 303181 w 485775"/>
                  <a:gd name="connsiteY496" fmla="*/ 467392 h 771525"/>
                  <a:gd name="connsiteX497" fmla="*/ 303181 w 485775"/>
                  <a:gd name="connsiteY497" fmla="*/ 466535 h 771525"/>
                  <a:gd name="connsiteX498" fmla="*/ 304038 w 485775"/>
                  <a:gd name="connsiteY498" fmla="*/ 465677 h 771525"/>
                  <a:gd name="connsiteX499" fmla="*/ 304038 w 485775"/>
                  <a:gd name="connsiteY499" fmla="*/ 464820 h 771525"/>
                  <a:gd name="connsiteX500" fmla="*/ 304895 w 485775"/>
                  <a:gd name="connsiteY500" fmla="*/ 464820 h 771525"/>
                  <a:gd name="connsiteX501" fmla="*/ 305753 w 485775"/>
                  <a:gd name="connsiteY501" fmla="*/ 464820 h 771525"/>
                  <a:gd name="connsiteX502" fmla="*/ 305753 w 485775"/>
                  <a:gd name="connsiteY502" fmla="*/ 464820 h 771525"/>
                  <a:gd name="connsiteX503" fmla="*/ 306610 w 485775"/>
                  <a:gd name="connsiteY503" fmla="*/ 464820 h 771525"/>
                  <a:gd name="connsiteX504" fmla="*/ 307467 w 485775"/>
                  <a:gd name="connsiteY504" fmla="*/ 464820 h 771525"/>
                  <a:gd name="connsiteX505" fmla="*/ 308324 w 485775"/>
                  <a:gd name="connsiteY505" fmla="*/ 464820 h 771525"/>
                  <a:gd name="connsiteX506" fmla="*/ 308324 w 485775"/>
                  <a:gd name="connsiteY506" fmla="*/ 463963 h 771525"/>
                  <a:gd name="connsiteX507" fmla="*/ 309086 w 485775"/>
                  <a:gd name="connsiteY507" fmla="*/ 463963 h 771525"/>
                  <a:gd name="connsiteX508" fmla="*/ 309086 w 485775"/>
                  <a:gd name="connsiteY508" fmla="*/ 462344 h 771525"/>
                  <a:gd name="connsiteX509" fmla="*/ 309944 w 485775"/>
                  <a:gd name="connsiteY509" fmla="*/ 461486 h 771525"/>
                  <a:gd name="connsiteX510" fmla="*/ 310801 w 485775"/>
                  <a:gd name="connsiteY510" fmla="*/ 460629 h 771525"/>
                  <a:gd name="connsiteX511" fmla="*/ 310801 w 485775"/>
                  <a:gd name="connsiteY511" fmla="*/ 459772 h 771525"/>
                  <a:gd name="connsiteX512" fmla="*/ 310801 w 485775"/>
                  <a:gd name="connsiteY512" fmla="*/ 458914 h 771525"/>
                  <a:gd name="connsiteX513" fmla="*/ 310801 w 485775"/>
                  <a:gd name="connsiteY513" fmla="*/ 458057 h 771525"/>
                  <a:gd name="connsiteX514" fmla="*/ 309944 w 485775"/>
                  <a:gd name="connsiteY514" fmla="*/ 456343 h 771525"/>
                  <a:gd name="connsiteX515" fmla="*/ 309944 w 485775"/>
                  <a:gd name="connsiteY515" fmla="*/ 455486 h 771525"/>
                  <a:gd name="connsiteX516" fmla="*/ 309086 w 485775"/>
                  <a:gd name="connsiteY516" fmla="*/ 455486 h 771525"/>
                  <a:gd name="connsiteX517" fmla="*/ 306610 w 485775"/>
                  <a:gd name="connsiteY517" fmla="*/ 455486 h 771525"/>
                  <a:gd name="connsiteX518" fmla="*/ 304038 w 485775"/>
                  <a:gd name="connsiteY518" fmla="*/ 455486 h 771525"/>
                  <a:gd name="connsiteX519" fmla="*/ 304038 w 485775"/>
                  <a:gd name="connsiteY519" fmla="*/ 455486 h 771525"/>
                  <a:gd name="connsiteX520" fmla="*/ 303181 w 485775"/>
                  <a:gd name="connsiteY520" fmla="*/ 455486 h 771525"/>
                  <a:gd name="connsiteX521" fmla="*/ 301562 w 485775"/>
                  <a:gd name="connsiteY521" fmla="*/ 456343 h 771525"/>
                  <a:gd name="connsiteX522" fmla="*/ 300704 w 485775"/>
                  <a:gd name="connsiteY522" fmla="*/ 456343 h 771525"/>
                  <a:gd name="connsiteX523" fmla="*/ 299847 w 485775"/>
                  <a:gd name="connsiteY523" fmla="*/ 456343 h 771525"/>
                  <a:gd name="connsiteX524" fmla="*/ 299847 w 485775"/>
                  <a:gd name="connsiteY524" fmla="*/ 456343 h 771525"/>
                  <a:gd name="connsiteX525" fmla="*/ 298990 w 485775"/>
                  <a:gd name="connsiteY525" fmla="*/ 455486 h 771525"/>
                  <a:gd name="connsiteX526" fmla="*/ 298133 w 485775"/>
                  <a:gd name="connsiteY526" fmla="*/ 453866 h 771525"/>
                  <a:gd name="connsiteX527" fmla="*/ 297371 w 485775"/>
                  <a:gd name="connsiteY527" fmla="*/ 451295 h 771525"/>
                  <a:gd name="connsiteX528" fmla="*/ 296513 w 485775"/>
                  <a:gd name="connsiteY528" fmla="*/ 450437 h 771525"/>
                  <a:gd name="connsiteX529" fmla="*/ 295656 w 485775"/>
                  <a:gd name="connsiteY529" fmla="*/ 449580 h 771525"/>
                  <a:gd name="connsiteX530" fmla="*/ 294799 w 485775"/>
                  <a:gd name="connsiteY530" fmla="*/ 448723 h 771525"/>
                  <a:gd name="connsiteX531" fmla="*/ 294799 w 485775"/>
                  <a:gd name="connsiteY531" fmla="*/ 448723 h 771525"/>
                  <a:gd name="connsiteX532" fmla="*/ 293084 w 485775"/>
                  <a:gd name="connsiteY532" fmla="*/ 447866 h 771525"/>
                  <a:gd name="connsiteX533" fmla="*/ 292322 w 485775"/>
                  <a:gd name="connsiteY533" fmla="*/ 447008 h 771525"/>
                  <a:gd name="connsiteX534" fmla="*/ 291465 w 485775"/>
                  <a:gd name="connsiteY534" fmla="*/ 446151 h 771525"/>
                  <a:gd name="connsiteX535" fmla="*/ 290608 w 485775"/>
                  <a:gd name="connsiteY535" fmla="*/ 441103 h 771525"/>
                  <a:gd name="connsiteX536" fmla="*/ 289751 w 485775"/>
                  <a:gd name="connsiteY536" fmla="*/ 439388 h 771525"/>
                  <a:gd name="connsiteX537" fmla="*/ 289751 w 485775"/>
                  <a:gd name="connsiteY537" fmla="*/ 437674 h 771525"/>
                  <a:gd name="connsiteX538" fmla="*/ 290608 w 485775"/>
                  <a:gd name="connsiteY538" fmla="*/ 435197 h 771525"/>
                  <a:gd name="connsiteX539" fmla="*/ 292322 w 485775"/>
                  <a:gd name="connsiteY539" fmla="*/ 432626 h 771525"/>
                  <a:gd name="connsiteX540" fmla="*/ 293084 w 485775"/>
                  <a:gd name="connsiteY540" fmla="*/ 430911 h 771525"/>
                  <a:gd name="connsiteX541" fmla="*/ 293084 w 485775"/>
                  <a:gd name="connsiteY541" fmla="*/ 429196 h 771525"/>
                  <a:gd name="connsiteX542" fmla="*/ 293084 w 485775"/>
                  <a:gd name="connsiteY542" fmla="*/ 427577 h 771525"/>
                  <a:gd name="connsiteX543" fmla="*/ 293084 w 485775"/>
                  <a:gd name="connsiteY543" fmla="*/ 424148 h 771525"/>
                  <a:gd name="connsiteX544" fmla="*/ 293084 w 485775"/>
                  <a:gd name="connsiteY544" fmla="*/ 423291 h 771525"/>
                  <a:gd name="connsiteX545" fmla="*/ 293084 w 485775"/>
                  <a:gd name="connsiteY545" fmla="*/ 422434 h 771525"/>
                  <a:gd name="connsiteX546" fmla="*/ 295656 w 485775"/>
                  <a:gd name="connsiteY546" fmla="*/ 421577 h 771525"/>
                  <a:gd name="connsiteX547" fmla="*/ 296513 w 485775"/>
                  <a:gd name="connsiteY547" fmla="*/ 421577 h 771525"/>
                  <a:gd name="connsiteX548" fmla="*/ 296513 w 485775"/>
                  <a:gd name="connsiteY548" fmla="*/ 420719 h 771525"/>
                  <a:gd name="connsiteX549" fmla="*/ 296513 w 485775"/>
                  <a:gd name="connsiteY549" fmla="*/ 420719 h 771525"/>
                  <a:gd name="connsiteX550" fmla="*/ 298133 w 485775"/>
                  <a:gd name="connsiteY550" fmla="*/ 413099 h 771525"/>
                  <a:gd name="connsiteX551" fmla="*/ 298990 w 485775"/>
                  <a:gd name="connsiteY551" fmla="*/ 410528 h 771525"/>
                  <a:gd name="connsiteX552" fmla="*/ 298990 w 485775"/>
                  <a:gd name="connsiteY552" fmla="*/ 408908 h 771525"/>
                  <a:gd name="connsiteX553" fmla="*/ 298990 w 485775"/>
                  <a:gd name="connsiteY553" fmla="*/ 406337 h 771525"/>
                  <a:gd name="connsiteX554" fmla="*/ 298990 w 485775"/>
                  <a:gd name="connsiteY554" fmla="*/ 405479 h 771525"/>
                  <a:gd name="connsiteX555" fmla="*/ 298990 w 485775"/>
                  <a:gd name="connsiteY555" fmla="*/ 404622 h 771525"/>
                  <a:gd name="connsiteX556" fmla="*/ 298133 w 485775"/>
                  <a:gd name="connsiteY556" fmla="*/ 402908 h 771525"/>
                  <a:gd name="connsiteX557" fmla="*/ 297371 w 485775"/>
                  <a:gd name="connsiteY557" fmla="*/ 402908 h 771525"/>
                  <a:gd name="connsiteX558" fmla="*/ 296513 w 485775"/>
                  <a:gd name="connsiteY558" fmla="*/ 402050 h 771525"/>
                  <a:gd name="connsiteX559" fmla="*/ 295656 w 485775"/>
                  <a:gd name="connsiteY559" fmla="*/ 402050 h 771525"/>
                  <a:gd name="connsiteX560" fmla="*/ 294799 w 485775"/>
                  <a:gd name="connsiteY560" fmla="*/ 402050 h 771525"/>
                  <a:gd name="connsiteX561" fmla="*/ 293084 w 485775"/>
                  <a:gd name="connsiteY561" fmla="*/ 400431 h 771525"/>
                  <a:gd name="connsiteX562" fmla="*/ 292322 w 485775"/>
                  <a:gd name="connsiteY562" fmla="*/ 400431 h 771525"/>
                  <a:gd name="connsiteX563" fmla="*/ 288893 w 485775"/>
                  <a:gd name="connsiteY563" fmla="*/ 399574 h 771525"/>
                  <a:gd name="connsiteX564" fmla="*/ 288036 w 485775"/>
                  <a:gd name="connsiteY564" fmla="*/ 399574 h 771525"/>
                  <a:gd name="connsiteX565" fmla="*/ 288036 w 485775"/>
                  <a:gd name="connsiteY565" fmla="*/ 398717 h 771525"/>
                  <a:gd name="connsiteX566" fmla="*/ 288036 w 485775"/>
                  <a:gd name="connsiteY566" fmla="*/ 398717 h 771525"/>
                  <a:gd name="connsiteX567" fmla="*/ 288893 w 485775"/>
                  <a:gd name="connsiteY567" fmla="*/ 397002 h 771525"/>
                  <a:gd name="connsiteX568" fmla="*/ 289751 w 485775"/>
                  <a:gd name="connsiteY568" fmla="*/ 396145 h 771525"/>
                  <a:gd name="connsiteX569" fmla="*/ 290608 w 485775"/>
                  <a:gd name="connsiteY569" fmla="*/ 395288 h 771525"/>
                  <a:gd name="connsiteX570" fmla="*/ 290608 w 485775"/>
                  <a:gd name="connsiteY570" fmla="*/ 395288 h 771525"/>
                  <a:gd name="connsiteX571" fmla="*/ 290608 w 485775"/>
                  <a:gd name="connsiteY571" fmla="*/ 394430 h 771525"/>
                  <a:gd name="connsiteX572" fmla="*/ 290608 w 485775"/>
                  <a:gd name="connsiteY572" fmla="*/ 392716 h 771525"/>
                  <a:gd name="connsiteX573" fmla="*/ 290608 w 485775"/>
                  <a:gd name="connsiteY573" fmla="*/ 390239 h 771525"/>
                  <a:gd name="connsiteX574" fmla="*/ 293084 w 485775"/>
                  <a:gd name="connsiteY574" fmla="*/ 386810 h 771525"/>
                  <a:gd name="connsiteX575" fmla="*/ 293942 w 485775"/>
                  <a:gd name="connsiteY575" fmla="*/ 386810 h 771525"/>
                  <a:gd name="connsiteX576" fmla="*/ 304038 w 485775"/>
                  <a:gd name="connsiteY576" fmla="*/ 392716 h 771525"/>
                  <a:gd name="connsiteX577" fmla="*/ 305753 w 485775"/>
                  <a:gd name="connsiteY577" fmla="*/ 392716 h 771525"/>
                  <a:gd name="connsiteX578" fmla="*/ 308324 w 485775"/>
                  <a:gd name="connsiteY578" fmla="*/ 392716 h 771525"/>
                  <a:gd name="connsiteX579" fmla="*/ 309944 w 485775"/>
                  <a:gd name="connsiteY579" fmla="*/ 393573 h 771525"/>
                  <a:gd name="connsiteX580" fmla="*/ 311658 w 485775"/>
                  <a:gd name="connsiteY580" fmla="*/ 394430 h 771525"/>
                  <a:gd name="connsiteX581" fmla="*/ 313373 w 485775"/>
                  <a:gd name="connsiteY581" fmla="*/ 394430 h 771525"/>
                  <a:gd name="connsiteX582" fmla="*/ 314135 w 485775"/>
                  <a:gd name="connsiteY582" fmla="*/ 394430 h 771525"/>
                  <a:gd name="connsiteX583" fmla="*/ 315849 w 485775"/>
                  <a:gd name="connsiteY583" fmla="*/ 393573 h 771525"/>
                  <a:gd name="connsiteX584" fmla="*/ 316706 w 485775"/>
                  <a:gd name="connsiteY584" fmla="*/ 393573 h 771525"/>
                  <a:gd name="connsiteX585" fmla="*/ 318421 w 485775"/>
                  <a:gd name="connsiteY585" fmla="*/ 393573 h 771525"/>
                  <a:gd name="connsiteX586" fmla="*/ 318421 w 485775"/>
                  <a:gd name="connsiteY586" fmla="*/ 393573 h 771525"/>
                  <a:gd name="connsiteX587" fmla="*/ 319183 w 485775"/>
                  <a:gd name="connsiteY587" fmla="*/ 393573 h 771525"/>
                  <a:gd name="connsiteX588" fmla="*/ 320040 w 485775"/>
                  <a:gd name="connsiteY588" fmla="*/ 394430 h 771525"/>
                  <a:gd name="connsiteX589" fmla="*/ 320897 w 485775"/>
                  <a:gd name="connsiteY589" fmla="*/ 395288 h 771525"/>
                  <a:gd name="connsiteX590" fmla="*/ 320897 w 485775"/>
                  <a:gd name="connsiteY590" fmla="*/ 396145 h 771525"/>
                  <a:gd name="connsiteX591" fmla="*/ 321755 w 485775"/>
                  <a:gd name="connsiteY591" fmla="*/ 396145 h 771525"/>
                  <a:gd name="connsiteX592" fmla="*/ 322612 w 485775"/>
                  <a:gd name="connsiteY592" fmla="*/ 397002 h 771525"/>
                  <a:gd name="connsiteX593" fmla="*/ 323469 w 485775"/>
                  <a:gd name="connsiteY593" fmla="*/ 397002 h 771525"/>
                  <a:gd name="connsiteX594" fmla="*/ 324326 w 485775"/>
                  <a:gd name="connsiteY594" fmla="*/ 396145 h 771525"/>
                  <a:gd name="connsiteX595" fmla="*/ 325088 w 485775"/>
                  <a:gd name="connsiteY595" fmla="*/ 395288 h 771525"/>
                  <a:gd name="connsiteX596" fmla="*/ 327660 w 485775"/>
                  <a:gd name="connsiteY596" fmla="*/ 392716 h 771525"/>
                  <a:gd name="connsiteX597" fmla="*/ 328517 w 485775"/>
                  <a:gd name="connsiteY597" fmla="*/ 391954 h 771525"/>
                  <a:gd name="connsiteX598" fmla="*/ 329375 w 485775"/>
                  <a:gd name="connsiteY598" fmla="*/ 390239 h 771525"/>
                  <a:gd name="connsiteX599" fmla="*/ 330137 w 485775"/>
                  <a:gd name="connsiteY599" fmla="*/ 387668 h 771525"/>
                  <a:gd name="connsiteX600" fmla="*/ 330137 w 485775"/>
                  <a:gd name="connsiteY600" fmla="*/ 385953 h 771525"/>
                  <a:gd name="connsiteX601" fmla="*/ 330994 w 485775"/>
                  <a:gd name="connsiteY601" fmla="*/ 385096 h 771525"/>
                  <a:gd name="connsiteX602" fmla="*/ 331851 w 485775"/>
                  <a:gd name="connsiteY602" fmla="*/ 384238 h 771525"/>
                  <a:gd name="connsiteX603" fmla="*/ 332708 w 485775"/>
                  <a:gd name="connsiteY603" fmla="*/ 383381 h 771525"/>
                  <a:gd name="connsiteX604" fmla="*/ 332708 w 485775"/>
                  <a:gd name="connsiteY604" fmla="*/ 381762 h 771525"/>
                  <a:gd name="connsiteX605" fmla="*/ 333566 w 485775"/>
                  <a:gd name="connsiteY605" fmla="*/ 380905 h 771525"/>
                  <a:gd name="connsiteX606" fmla="*/ 333566 w 485775"/>
                  <a:gd name="connsiteY606" fmla="*/ 380047 h 771525"/>
                  <a:gd name="connsiteX607" fmla="*/ 333566 w 485775"/>
                  <a:gd name="connsiteY607" fmla="*/ 377476 h 771525"/>
                  <a:gd name="connsiteX608" fmla="*/ 332708 w 485775"/>
                  <a:gd name="connsiteY608" fmla="*/ 374904 h 771525"/>
                  <a:gd name="connsiteX609" fmla="*/ 330994 w 485775"/>
                  <a:gd name="connsiteY609" fmla="*/ 369856 h 771525"/>
                  <a:gd name="connsiteX610" fmla="*/ 330137 w 485775"/>
                  <a:gd name="connsiteY610" fmla="*/ 362236 h 771525"/>
                  <a:gd name="connsiteX611" fmla="*/ 329375 w 485775"/>
                  <a:gd name="connsiteY611" fmla="*/ 360521 h 771525"/>
                  <a:gd name="connsiteX612" fmla="*/ 328517 w 485775"/>
                  <a:gd name="connsiteY612" fmla="*/ 359664 h 771525"/>
                  <a:gd name="connsiteX613" fmla="*/ 326803 w 485775"/>
                  <a:gd name="connsiteY613" fmla="*/ 359664 h 771525"/>
                  <a:gd name="connsiteX614" fmla="*/ 323469 w 485775"/>
                  <a:gd name="connsiteY614" fmla="*/ 357950 h 771525"/>
                  <a:gd name="connsiteX615" fmla="*/ 322612 w 485775"/>
                  <a:gd name="connsiteY615" fmla="*/ 357950 h 771525"/>
                  <a:gd name="connsiteX616" fmla="*/ 321755 w 485775"/>
                  <a:gd name="connsiteY616" fmla="*/ 357092 h 771525"/>
                  <a:gd name="connsiteX617" fmla="*/ 320897 w 485775"/>
                  <a:gd name="connsiteY617" fmla="*/ 355473 h 771525"/>
                  <a:gd name="connsiteX618" fmla="*/ 320040 w 485775"/>
                  <a:gd name="connsiteY618" fmla="*/ 349472 h 771525"/>
                  <a:gd name="connsiteX619" fmla="*/ 319183 w 485775"/>
                  <a:gd name="connsiteY619" fmla="*/ 347758 h 771525"/>
                  <a:gd name="connsiteX620" fmla="*/ 319183 w 485775"/>
                  <a:gd name="connsiteY620" fmla="*/ 346996 h 771525"/>
                  <a:gd name="connsiteX621" fmla="*/ 318421 w 485775"/>
                  <a:gd name="connsiteY621" fmla="*/ 346138 h 771525"/>
                  <a:gd name="connsiteX622" fmla="*/ 317564 w 485775"/>
                  <a:gd name="connsiteY622" fmla="*/ 345281 h 771525"/>
                  <a:gd name="connsiteX623" fmla="*/ 317564 w 485775"/>
                  <a:gd name="connsiteY623" fmla="*/ 344424 h 771525"/>
                  <a:gd name="connsiteX624" fmla="*/ 316706 w 485775"/>
                  <a:gd name="connsiteY624" fmla="*/ 342710 h 771525"/>
                  <a:gd name="connsiteX625" fmla="*/ 315849 w 485775"/>
                  <a:gd name="connsiteY625" fmla="*/ 340138 h 771525"/>
                  <a:gd name="connsiteX626" fmla="*/ 314992 w 485775"/>
                  <a:gd name="connsiteY626" fmla="*/ 340138 h 771525"/>
                  <a:gd name="connsiteX627" fmla="*/ 314992 w 485775"/>
                  <a:gd name="connsiteY627" fmla="*/ 339280 h 771525"/>
                  <a:gd name="connsiteX628" fmla="*/ 314992 w 485775"/>
                  <a:gd name="connsiteY628" fmla="*/ 338519 h 771525"/>
                  <a:gd name="connsiteX629" fmla="*/ 315849 w 485775"/>
                  <a:gd name="connsiteY629" fmla="*/ 337661 h 771525"/>
                  <a:gd name="connsiteX630" fmla="*/ 316706 w 485775"/>
                  <a:gd name="connsiteY630" fmla="*/ 337661 h 771525"/>
                  <a:gd name="connsiteX631" fmla="*/ 318421 w 485775"/>
                  <a:gd name="connsiteY631" fmla="*/ 339280 h 771525"/>
                  <a:gd name="connsiteX632" fmla="*/ 319183 w 485775"/>
                  <a:gd name="connsiteY632" fmla="*/ 340138 h 771525"/>
                  <a:gd name="connsiteX633" fmla="*/ 319183 w 485775"/>
                  <a:gd name="connsiteY633" fmla="*/ 339280 h 771525"/>
                  <a:gd name="connsiteX634" fmla="*/ 319183 w 485775"/>
                  <a:gd name="connsiteY634" fmla="*/ 338519 h 771525"/>
                  <a:gd name="connsiteX635" fmla="*/ 320040 w 485775"/>
                  <a:gd name="connsiteY635" fmla="*/ 337661 h 771525"/>
                  <a:gd name="connsiteX636" fmla="*/ 320040 w 485775"/>
                  <a:gd name="connsiteY636" fmla="*/ 332518 h 771525"/>
                  <a:gd name="connsiteX637" fmla="*/ 318421 w 485775"/>
                  <a:gd name="connsiteY637" fmla="*/ 327470 h 771525"/>
                  <a:gd name="connsiteX638" fmla="*/ 318421 w 485775"/>
                  <a:gd name="connsiteY638" fmla="*/ 326612 h 771525"/>
                  <a:gd name="connsiteX639" fmla="*/ 319183 w 485775"/>
                  <a:gd name="connsiteY639" fmla="*/ 325755 h 771525"/>
                  <a:gd name="connsiteX640" fmla="*/ 319183 w 485775"/>
                  <a:gd name="connsiteY640" fmla="*/ 324898 h 771525"/>
                  <a:gd name="connsiteX641" fmla="*/ 320040 w 485775"/>
                  <a:gd name="connsiteY641" fmla="*/ 324041 h 771525"/>
                  <a:gd name="connsiteX642" fmla="*/ 320897 w 485775"/>
                  <a:gd name="connsiteY642" fmla="*/ 322326 h 771525"/>
                  <a:gd name="connsiteX643" fmla="*/ 321755 w 485775"/>
                  <a:gd name="connsiteY643" fmla="*/ 322326 h 771525"/>
                  <a:gd name="connsiteX644" fmla="*/ 323469 w 485775"/>
                  <a:gd name="connsiteY644" fmla="*/ 321469 h 771525"/>
                  <a:gd name="connsiteX645" fmla="*/ 324326 w 485775"/>
                  <a:gd name="connsiteY645" fmla="*/ 321469 h 771525"/>
                  <a:gd name="connsiteX646" fmla="*/ 325088 w 485775"/>
                  <a:gd name="connsiteY646" fmla="*/ 322326 h 771525"/>
                  <a:gd name="connsiteX647" fmla="*/ 325946 w 485775"/>
                  <a:gd name="connsiteY647" fmla="*/ 322326 h 771525"/>
                  <a:gd name="connsiteX648" fmla="*/ 327660 w 485775"/>
                  <a:gd name="connsiteY648" fmla="*/ 322326 h 771525"/>
                  <a:gd name="connsiteX649" fmla="*/ 327660 w 485775"/>
                  <a:gd name="connsiteY649" fmla="*/ 322326 h 771525"/>
                  <a:gd name="connsiteX650" fmla="*/ 328517 w 485775"/>
                  <a:gd name="connsiteY650" fmla="*/ 321469 h 771525"/>
                  <a:gd name="connsiteX651" fmla="*/ 327660 w 485775"/>
                  <a:gd name="connsiteY651" fmla="*/ 318992 h 771525"/>
                  <a:gd name="connsiteX652" fmla="*/ 325946 w 485775"/>
                  <a:gd name="connsiteY652" fmla="*/ 315563 h 771525"/>
                  <a:gd name="connsiteX653" fmla="*/ 324326 w 485775"/>
                  <a:gd name="connsiteY653" fmla="*/ 312992 h 771525"/>
                  <a:gd name="connsiteX654" fmla="*/ 324326 w 485775"/>
                  <a:gd name="connsiteY654" fmla="*/ 312992 h 771525"/>
                  <a:gd name="connsiteX655" fmla="*/ 323469 w 485775"/>
                  <a:gd name="connsiteY655" fmla="*/ 312134 h 771525"/>
                  <a:gd name="connsiteX656" fmla="*/ 322612 w 485775"/>
                  <a:gd name="connsiteY656" fmla="*/ 312134 h 771525"/>
                  <a:gd name="connsiteX657" fmla="*/ 322612 w 485775"/>
                  <a:gd name="connsiteY657" fmla="*/ 312134 h 771525"/>
                  <a:gd name="connsiteX658" fmla="*/ 321755 w 485775"/>
                  <a:gd name="connsiteY658" fmla="*/ 310515 h 771525"/>
                  <a:gd name="connsiteX659" fmla="*/ 321755 w 485775"/>
                  <a:gd name="connsiteY659" fmla="*/ 307943 h 771525"/>
                  <a:gd name="connsiteX660" fmla="*/ 322612 w 485775"/>
                  <a:gd name="connsiteY660" fmla="*/ 302800 h 771525"/>
                  <a:gd name="connsiteX661" fmla="*/ 322612 w 485775"/>
                  <a:gd name="connsiteY661" fmla="*/ 300323 h 771525"/>
                  <a:gd name="connsiteX662" fmla="*/ 322612 w 485775"/>
                  <a:gd name="connsiteY662" fmla="*/ 299466 h 771525"/>
                  <a:gd name="connsiteX663" fmla="*/ 322612 w 485775"/>
                  <a:gd name="connsiteY663" fmla="*/ 297752 h 771525"/>
                  <a:gd name="connsiteX664" fmla="*/ 326803 w 485775"/>
                  <a:gd name="connsiteY664" fmla="*/ 291846 h 771525"/>
                  <a:gd name="connsiteX665" fmla="*/ 334423 w 485775"/>
                  <a:gd name="connsiteY665" fmla="*/ 287560 h 771525"/>
                  <a:gd name="connsiteX666" fmla="*/ 336899 w 485775"/>
                  <a:gd name="connsiteY666" fmla="*/ 286703 h 771525"/>
                  <a:gd name="connsiteX667" fmla="*/ 343662 w 485775"/>
                  <a:gd name="connsiteY667" fmla="*/ 285845 h 771525"/>
                  <a:gd name="connsiteX668" fmla="*/ 344519 w 485775"/>
                  <a:gd name="connsiteY668" fmla="*/ 285845 h 771525"/>
                  <a:gd name="connsiteX669" fmla="*/ 346139 w 485775"/>
                  <a:gd name="connsiteY669" fmla="*/ 286703 h 771525"/>
                  <a:gd name="connsiteX670" fmla="*/ 347853 w 485775"/>
                  <a:gd name="connsiteY670" fmla="*/ 287560 h 771525"/>
                  <a:gd name="connsiteX671" fmla="*/ 352901 w 485775"/>
                  <a:gd name="connsiteY671" fmla="*/ 287560 h 771525"/>
                  <a:gd name="connsiteX672" fmla="*/ 365570 w 485775"/>
                  <a:gd name="connsiteY672" fmla="*/ 288417 h 771525"/>
                  <a:gd name="connsiteX673" fmla="*/ 366427 w 485775"/>
                  <a:gd name="connsiteY673" fmla="*/ 288417 h 771525"/>
                  <a:gd name="connsiteX674" fmla="*/ 368046 w 485775"/>
                  <a:gd name="connsiteY674" fmla="*/ 288417 h 771525"/>
                  <a:gd name="connsiteX675" fmla="*/ 368903 w 485775"/>
                  <a:gd name="connsiteY675" fmla="*/ 286703 h 771525"/>
                  <a:gd name="connsiteX676" fmla="*/ 370618 w 485775"/>
                  <a:gd name="connsiteY676" fmla="*/ 284988 h 771525"/>
                  <a:gd name="connsiteX677" fmla="*/ 371475 w 485775"/>
                  <a:gd name="connsiteY677" fmla="*/ 284226 h 771525"/>
                  <a:gd name="connsiteX678" fmla="*/ 371475 w 485775"/>
                  <a:gd name="connsiteY678" fmla="*/ 282512 h 771525"/>
                  <a:gd name="connsiteX679" fmla="*/ 371475 w 485775"/>
                  <a:gd name="connsiteY679" fmla="*/ 278225 h 771525"/>
                  <a:gd name="connsiteX680" fmla="*/ 371475 w 485775"/>
                  <a:gd name="connsiteY680" fmla="*/ 274892 h 771525"/>
                  <a:gd name="connsiteX681" fmla="*/ 372332 w 485775"/>
                  <a:gd name="connsiteY681" fmla="*/ 272320 h 771525"/>
                  <a:gd name="connsiteX682" fmla="*/ 372332 w 485775"/>
                  <a:gd name="connsiteY682" fmla="*/ 270605 h 771525"/>
                  <a:gd name="connsiteX683" fmla="*/ 371475 w 485775"/>
                  <a:gd name="connsiteY683" fmla="*/ 264700 h 771525"/>
                  <a:gd name="connsiteX684" fmla="*/ 371475 w 485775"/>
                  <a:gd name="connsiteY684" fmla="*/ 262128 h 771525"/>
                  <a:gd name="connsiteX685" fmla="*/ 371475 w 485775"/>
                  <a:gd name="connsiteY685" fmla="*/ 260413 h 771525"/>
                  <a:gd name="connsiteX686" fmla="*/ 372332 w 485775"/>
                  <a:gd name="connsiteY686" fmla="*/ 258699 h 771525"/>
                  <a:gd name="connsiteX687" fmla="*/ 372332 w 485775"/>
                  <a:gd name="connsiteY687" fmla="*/ 257937 h 771525"/>
                  <a:gd name="connsiteX688" fmla="*/ 372332 w 485775"/>
                  <a:gd name="connsiteY688" fmla="*/ 254508 h 771525"/>
                  <a:gd name="connsiteX689" fmla="*/ 372332 w 485775"/>
                  <a:gd name="connsiteY689" fmla="*/ 252794 h 771525"/>
                  <a:gd name="connsiteX690" fmla="*/ 373094 w 485775"/>
                  <a:gd name="connsiteY690" fmla="*/ 251936 h 771525"/>
                  <a:gd name="connsiteX691" fmla="*/ 373952 w 485775"/>
                  <a:gd name="connsiteY691" fmla="*/ 251936 h 771525"/>
                  <a:gd name="connsiteX692" fmla="*/ 377381 w 485775"/>
                  <a:gd name="connsiteY692" fmla="*/ 249364 h 771525"/>
                  <a:gd name="connsiteX693" fmla="*/ 378143 w 485775"/>
                  <a:gd name="connsiteY693" fmla="*/ 248603 h 771525"/>
                  <a:gd name="connsiteX694" fmla="*/ 379000 w 485775"/>
                  <a:gd name="connsiteY694" fmla="*/ 247745 h 771525"/>
                  <a:gd name="connsiteX695" fmla="*/ 379000 w 485775"/>
                  <a:gd name="connsiteY695" fmla="*/ 246888 h 771525"/>
                  <a:gd name="connsiteX696" fmla="*/ 379000 w 485775"/>
                  <a:gd name="connsiteY696" fmla="*/ 245173 h 771525"/>
                  <a:gd name="connsiteX697" fmla="*/ 379000 w 485775"/>
                  <a:gd name="connsiteY697" fmla="*/ 243459 h 771525"/>
                  <a:gd name="connsiteX698" fmla="*/ 378143 w 485775"/>
                  <a:gd name="connsiteY698" fmla="*/ 242602 h 771525"/>
                  <a:gd name="connsiteX699" fmla="*/ 377381 w 485775"/>
                  <a:gd name="connsiteY699" fmla="*/ 241745 h 771525"/>
                  <a:gd name="connsiteX700" fmla="*/ 373094 w 485775"/>
                  <a:gd name="connsiteY700" fmla="*/ 240125 h 771525"/>
                  <a:gd name="connsiteX701" fmla="*/ 370618 w 485775"/>
                  <a:gd name="connsiteY701" fmla="*/ 239268 h 771525"/>
                  <a:gd name="connsiteX702" fmla="*/ 363855 w 485775"/>
                  <a:gd name="connsiteY702" fmla="*/ 240125 h 771525"/>
                  <a:gd name="connsiteX703" fmla="*/ 362141 w 485775"/>
                  <a:gd name="connsiteY703" fmla="*/ 239268 h 771525"/>
                  <a:gd name="connsiteX704" fmla="*/ 351187 w 485775"/>
                  <a:gd name="connsiteY704" fmla="*/ 236696 h 771525"/>
                  <a:gd name="connsiteX705" fmla="*/ 350425 w 485775"/>
                  <a:gd name="connsiteY705" fmla="*/ 235839 h 771525"/>
                  <a:gd name="connsiteX706" fmla="*/ 346996 w 485775"/>
                  <a:gd name="connsiteY706" fmla="*/ 231553 h 771525"/>
                  <a:gd name="connsiteX707" fmla="*/ 346996 w 485775"/>
                  <a:gd name="connsiteY707" fmla="*/ 230791 h 771525"/>
                  <a:gd name="connsiteX708" fmla="*/ 348710 w 485775"/>
                  <a:gd name="connsiteY708" fmla="*/ 229934 h 771525"/>
                  <a:gd name="connsiteX709" fmla="*/ 352901 w 485775"/>
                  <a:gd name="connsiteY709" fmla="*/ 227362 h 771525"/>
                  <a:gd name="connsiteX710" fmla="*/ 356330 w 485775"/>
                  <a:gd name="connsiteY710" fmla="*/ 224790 h 771525"/>
                  <a:gd name="connsiteX711" fmla="*/ 359664 w 485775"/>
                  <a:gd name="connsiteY711" fmla="*/ 223076 h 771525"/>
                  <a:gd name="connsiteX712" fmla="*/ 360521 w 485775"/>
                  <a:gd name="connsiteY712" fmla="*/ 222313 h 771525"/>
                  <a:gd name="connsiteX713" fmla="*/ 360521 w 485775"/>
                  <a:gd name="connsiteY713" fmla="*/ 220599 h 771525"/>
                  <a:gd name="connsiteX714" fmla="*/ 360521 w 485775"/>
                  <a:gd name="connsiteY714" fmla="*/ 219742 h 771525"/>
                  <a:gd name="connsiteX715" fmla="*/ 361379 w 485775"/>
                  <a:gd name="connsiteY715" fmla="*/ 218027 h 771525"/>
                  <a:gd name="connsiteX716" fmla="*/ 362141 w 485775"/>
                  <a:gd name="connsiteY716" fmla="*/ 217170 h 771525"/>
                  <a:gd name="connsiteX717" fmla="*/ 364712 w 485775"/>
                  <a:gd name="connsiteY717" fmla="*/ 216313 h 771525"/>
                  <a:gd name="connsiteX718" fmla="*/ 365570 w 485775"/>
                  <a:gd name="connsiteY718" fmla="*/ 216313 h 771525"/>
                  <a:gd name="connsiteX719" fmla="*/ 366427 w 485775"/>
                  <a:gd name="connsiteY719" fmla="*/ 215455 h 771525"/>
                  <a:gd name="connsiteX720" fmla="*/ 366427 w 485775"/>
                  <a:gd name="connsiteY720" fmla="*/ 213741 h 771525"/>
                  <a:gd name="connsiteX721" fmla="*/ 367284 w 485775"/>
                  <a:gd name="connsiteY721" fmla="*/ 212122 h 771525"/>
                  <a:gd name="connsiteX722" fmla="*/ 367284 w 485775"/>
                  <a:gd name="connsiteY722" fmla="*/ 210407 h 771525"/>
                  <a:gd name="connsiteX723" fmla="*/ 368046 w 485775"/>
                  <a:gd name="connsiteY723" fmla="*/ 209550 h 771525"/>
                  <a:gd name="connsiteX724" fmla="*/ 368046 w 485775"/>
                  <a:gd name="connsiteY724" fmla="*/ 208693 h 771525"/>
                  <a:gd name="connsiteX725" fmla="*/ 367284 w 485775"/>
                  <a:gd name="connsiteY725" fmla="*/ 208693 h 771525"/>
                  <a:gd name="connsiteX726" fmla="*/ 366427 w 485775"/>
                  <a:gd name="connsiteY726" fmla="*/ 208693 h 771525"/>
                  <a:gd name="connsiteX727" fmla="*/ 365570 w 485775"/>
                  <a:gd name="connsiteY727" fmla="*/ 208693 h 771525"/>
                  <a:gd name="connsiteX728" fmla="*/ 363855 w 485775"/>
                  <a:gd name="connsiteY728" fmla="*/ 208693 h 771525"/>
                  <a:gd name="connsiteX729" fmla="*/ 363855 w 485775"/>
                  <a:gd name="connsiteY729" fmla="*/ 208693 h 771525"/>
                  <a:gd name="connsiteX730" fmla="*/ 363855 w 485775"/>
                  <a:gd name="connsiteY730" fmla="*/ 207836 h 771525"/>
                  <a:gd name="connsiteX731" fmla="*/ 364712 w 485775"/>
                  <a:gd name="connsiteY731" fmla="*/ 206978 h 771525"/>
                  <a:gd name="connsiteX732" fmla="*/ 365570 w 485775"/>
                  <a:gd name="connsiteY732" fmla="*/ 206121 h 771525"/>
                  <a:gd name="connsiteX733" fmla="*/ 367284 w 485775"/>
                  <a:gd name="connsiteY733" fmla="*/ 204502 h 771525"/>
                  <a:gd name="connsiteX734" fmla="*/ 368046 w 485775"/>
                  <a:gd name="connsiteY734" fmla="*/ 203645 h 771525"/>
                  <a:gd name="connsiteX735" fmla="*/ 367284 w 485775"/>
                  <a:gd name="connsiteY735" fmla="*/ 203645 h 771525"/>
                  <a:gd name="connsiteX736" fmla="*/ 366427 w 485775"/>
                  <a:gd name="connsiteY736" fmla="*/ 201930 h 771525"/>
                  <a:gd name="connsiteX737" fmla="*/ 364712 w 485775"/>
                  <a:gd name="connsiteY737" fmla="*/ 201073 h 771525"/>
                  <a:gd name="connsiteX738" fmla="*/ 363855 w 485775"/>
                  <a:gd name="connsiteY738" fmla="*/ 200216 h 771525"/>
                  <a:gd name="connsiteX739" fmla="*/ 363855 w 485775"/>
                  <a:gd name="connsiteY739" fmla="*/ 200216 h 771525"/>
                  <a:gd name="connsiteX740" fmla="*/ 363855 w 485775"/>
                  <a:gd name="connsiteY740" fmla="*/ 198501 h 771525"/>
                  <a:gd name="connsiteX741" fmla="*/ 364712 w 485775"/>
                  <a:gd name="connsiteY741" fmla="*/ 193453 h 771525"/>
                  <a:gd name="connsiteX742" fmla="*/ 364712 w 485775"/>
                  <a:gd name="connsiteY742" fmla="*/ 192596 h 771525"/>
                  <a:gd name="connsiteX743" fmla="*/ 365570 w 485775"/>
                  <a:gd name="connsiteY743" fmla="*/ 191738 h 771525"/>
                  <a:gd name="connsiteX744" fmla="*/ 366427 w 485775"/>
                  <a:gd name="connsiteY744" fmla="*/ 191738 h 771525"/>
                  <a:gd name="connsiteX745" fmla="*/ 366427 w 485775"/>
                  <a:gd name="connsiteY745" fmla="*/ 190024 h 771525"/>
                  <a:gd name="connsiteX746" fmla="*/ 366427 w 485775"/>
                  <a:gd name="connsiteY746" fmla="*/ 175641 h 771525"/>
                  <a:gd name="connsiteX747" fmla="*/ 366427 w 485775"/>
                  <a:gd name="connsiteY747" fmla="*/ 173927 h 771525"/>
                  <a:gd name="connsiteX748" fmla="*/ 367284 w 485775"/>
                  <a:gd name="connsiteY748" fmla="*/ 171355 h 771525"/>
                  <a:gd name="connsiteX749" fmla="*/ 368046 w 485775"/>
                  <a:gd name="connsiteY749" fmla="*/ 168878 h 771525"/>
                  <a:gd name="connsiteX750" fmla="*/ 369761 w 485775"/>
                  <a:gd name="connsiteY750" fmla="*/ 167164 h 771525"/>
                  <a:gd name="connsiteX751" fmla="*/ 369761 w 485775"/>
                  <a:gd name="connsiteY751" fmla="*/ 165449 h 771525"/>
                  <a:gd name="connsiteX752" fmla="*/ 369761 w 485775"/>
                  <a:gd name="connsiteY752" fmla="*/ 163735 h 771525"/>
                  <a:gd name="connsiteX753" fmla="*/ 367284 w 485775"/>
                  <a:gd name="connsiteY753" fmla="*/ 159544 h 771525"/>
                  <a:gd name="connsiteX754" fmla="*/ 366427 w 485775"/>
                  <a:gd name="connsiteY754" fmla="*/ 156972 h 771525"/>
                  <a:gd name="connsiteX755" fmla="*/ 365570 w 485775"/>
                  <a:gd name="connsiteY755" fmla="*/ 152686 h 771525"/>
                  <a:gd name="connsiteX756" fmla="*/ 365570 w 485775"/>
                  <a:gd name="connsiteY756" fmla="*/ 151829 h 771525"/>
                  <a:gd name="connsiteX757" fmla="*/ 364712 w 485775"/>
                  <a:gd name="connsiteY757" fmla="*/ 150971 h 771525"/>
                  <a:gd name="connsiteX758" fmla="*/ 363855 w 485775"/>
                  <a:gd name="connsiteY758" fmla="*/ 150971 h 771525"/>
                  <a:gd name="connsiteX759" fmla="*/ 361379 w 485775"/>
                  <a:gd name="connsiteY759" fmla="*/ 150209 h 771525"/>
                  <a:gd name="connsiteX760" fmla="*/ 360521 w 485775"/>
                  <a:gd name="connsiteY760" fmla="*/ 150209 h 771525"/>
                  <a:gd name="connsiteX761" fmla="*/ 359664 w 485775"/>
                  <a:gd name="connsiteY761" fmla="*/ 149352 h 771525"/>
                  <a:gd name="connsiteX762" fmla="*/ 358807 w 485775"/>
                  <a:gd name="connsiteY762" fmla="*/ 147638 h 771525"/>
                  <a:gd name="connsiteX763" fmla="*/ 358807 w 485775"/>
                  <a:gd name="connsiteY763" fmla="*/ 145923 h 771525"/>
                  <a:gd name="connsiteX764" fmla="*/ 359664 w 485775"/>
                  <a:gd name="connsiteY764" fmla="*/ 142494 h 771525"/>
                  <a:gd name="connsiteX765" fmla="*/ 373094 w 485775"/>
                  <a:gd name="connsiteY765" fmla="*/ 125539 h 771525"/>
                  <a:gd name="connsiteX766" fmla="*/ 374809 w 485775"/>
                  <a:gd name="connsiteY766" fmla="*/ 123063 h 771525"/>
                  <a:gd name="connsiteX767" fmla="*/ 375666 w 485775"/>
                  <a:gd name="connsiteY767" fmla="*/ 120491 h 771525"/>
                  <a:gd name="connsiteX768" fmla="*/ 376523 w 485775"/>
                  <a:gd name="connsiteY768" fmla="*/ 118777 h 771525"/>
                  <a:gd name="connsiteX769" fmla="*/ 377381 w 485775"/>
                  <a:gd name="connsiteY769" fmla="*/ 118777 h 771525"/>
                  <a:gd name="connsiteX770" fmla="*/ 379000 w 485775"/>
                  <a:gd name="connsiteY770" fmla="*/ 117920 h 771525"/>
                  <a:gd name="connsiteX771" fmla="*/ 380714 w 485775"/>
                  <a:gd name="connsiteY771" fmla="*/ 117920 h 771525"/>
                  <a:gd name="connsiteX772" fmla="*/ 381572 w 485775"/>
                  <a:gd name="connsiteY772" fmla="*/ 117062 h 771525"/>
                  <a:gd name="connsiteX773" fmla="*/ 382429 w 485775"/>
                  <a:gd name="connsiteY773" fmla="*/ 116205 h 771525"/>
                  <a:gd name="connsiteX774" fmla="*/ 382429 w 485775"/>
                  <a:gd name="connsiteY774" fmla="*/ 113729 h 771525"/>
                  <a:gd name="connsiteX775" fmla="*/ 383286 w 485775"/>
                  <a:gd name="connsiteY775" fmla="*/ 112871 h 771525"/>
                  <a:gd name="connsiteX776" fmla="*/ 384905 w 485775"/>
                  <a:gd name="connsiteY776" fmla="*/ 112014 h 771525"/>
                  <a:gd name="connsiteX777" fmla="*/ 389954 w 485775"/>
                  <a:gd name="connsiteY777" fmla="*/ 111157 h 771525"/>
                  <a:gd name="connsiteX778" fmla="*/ 389954 w 485775"/>
                  <a:gd name="connsiteY778" fmla="*/ 111157 h 771525"/>
                  <a:gd name="connsiteX779" fmla="*/ 390811 w 485775"/>
                  <a:gd name="connsiteY779" fmla="*/ 111157 h 771525"/>
                  <a:gd name="connsiteX780" fmla="*/ 393383 w 485775"/>
                  <a:gd name="connsiteY780" fmla="*/ 104394 h 771525"/>
                  <a:gd name="connsiteX781" fmla="*/ 394145 w 485775"/>
                  <a:gd name="connsiteY781" fmla="*/ 102679 h 771525"/>
                  <a:gd name="connsiteX782" fmla="*/ 394145 w 485775"/>
                  <a:gd name="connsiteY782" fmla="*/ 101822 h 771525"/>
                  <a:gd name="connsiteX783" fmla="*/ 392525 w 485775"/>
                  <a:gd name="connsiteY783" fmla="*/ 101822 h 771525"/>
                  <a:gd name="connsiteX784" fmla="*/ 390811 w 485775"/>
                  <a:gd name="connsiteY784" fmla="*/ 102679 h 771525"/>
                  <a:gd name="connsiteX785" fmla="*/ 389096 w 485775"/>
                  <a:gd name="connsiteY785" fmla="*/ 103537 h 771525"/>
                  <a:gd name="connsiteX786" fmla="*/ 386620 w 485775"/>
                  <a:gd name="connsiteY786" fmla="*/ 105251 h 771525"/>
                  <a:gd name="connsiteX787" fmla="*/ 385763 w 485775"/>
                  <a:gd name="connsiteY787" fmla="*/ 105251 h 771525"/>
                  <a:gd name="connsiteX788" fmla="*/ 384905 w 485775"/>
                  <a:gd name="connsiteY788" fmla="*/ 105251 h 771525"/>
                  <a:gd name="connsiteX789" fmla="*/ 384048 w 485775"/>
                  <a:gd name="connsiteY789" fmla="*/ 105251 h 771525"/>
                  <a:gd name="connsiteX790" fmla="*/ 383286 w 485775"/>
                  <a:gd name="connsiteY790" fmla="*/ 104394 h 771525"/>
                  <a:gd name="connsiteX791" fmla="*/ 382429 w 485775"/>
                  <a:gd name="connsiteY791" fmla="*/ 101822 h 771525"/>
                  <a:gd name="connsiteX792" fmla="*/ 379000 w 485775"/>
                  <a:gd name="connsiteY792" fmla="*/ 101822 h 771525"/>
                  <a:gd name="connsiteX793" fmla="*/ 377381 w 485775"/>
                  <a:gd name="connsiteY793" fmla="*/ 101822 h 771525"/>
                  <a:gd name="connsiteX794" fmla="*/ 375666 w 485775"/>
                  <a:gd name="connsiteY794" fmla="*/ 101822 h 771525"/>
                  <a:gd name="connsiteX795" fmla="*/ 373952 w 485775"/>
                  <a:gd name="connsiteY795" fmla="*/ 101822 h 771525"/>
                  <a:gd name="connsiteX796" fmla="*/ 373094 w 485775"/>
                  <a:gd name="connsiteY796" fmla="*/ 101822 h 771525"/>
                  <a:gd name="connsiteX797" fmla="*/ 372332 w 485775"/>
                  <a:gd name="connsiteY797" fmla="*/ 101822 h 771525"/>
                  <a:gd name="connsiteX798" fmla="*/ 370618 w 485775"/>
                  <a:gd name="connsiteY798" fmla="*/ 100108 h 771525"/>
                  <a:gd name="connsiteX799" fmla="*/ 368903 w 485775"/>
                  <a:gd name="connsiteY799" fmla="*/ 99250 h 771525"/>
                  <a:gd name="connsiteX800" fmla="*/ 365570 w 485775"/>
                  <a:gd name="connsiteY800" fmla="*/ 97536 h 771525"/>
                  <a:gd name="connsiteX801" fmla="*/ 363855 w 485775"/>
                  <a:gd name="connsiteY801" fmla="*/ 95917 h 771525"/>
                  <a:gd name="connsiteX802" fmla="*/ 365570 w 485775"/>
                  <a:gd name="connsiteY802" fmla="*/ 93345 h 771525"/>
                  <a:gd name="connsiteX803" fmla="*/ 368046 w 485775"/>
                  <a:gd name="connsiteY803" fmla="*/ 89059 h 771525"/>
                  <a:gd name="connsiteX804" fmla="*/ 369761 w 485775"/>
                  <a:gd name="connsiteY804" fmla="*/ 86582 h 771525"/>
                  <a:gd name="connsiteX805" fmla="*/ 370618 w 485775"/>
                  <a:gd name="connsiteY805" fmla="*/ 85725 h 771525"/>
                  <a:gd name="connsiteX806" fmla="*/ 371475 w 485775"/>
                  <a:gd name="connsiteY806" fmla="*/ 84868 h 771525"/>
                  <a:gd name="connsiteX807" fmla="*/ 375666 w 485775"/>
                  <a:gd name="connsiteY807" fmla="*/ 83153 h 771525"/>
                  <a:gd name="connsiteX808" fmla="*/ 376523 w 485775"/>
                  <a:gd name="connsiteY808" fmla="*/ 82296 h 771525"/>
                  <a:gd name="connsiteX809" fmla="*/ 377381 w 485775"/>
                  <a:gd name="connsiteY809" fmla="*/ 81439 h 771525"/>
                  <a:gd name="connsiteX810" fmla="*/ 377381 w 485775"/>
                  <a:gd name="connsiteY810" fmla="*/ 80582 h 771525"/>
                  <a:gd name="connsiteX811" fmla="*/ 377381 w 485775"/>
                  <a:gd name="connsiteY811" fmla="*/ 78962 h 771525"/>
                  <a:gd name="connsiteX812" fmla="*/ 376523 w 485775"/>
                  <a:gd name="connsiteY812" fmla="*/ 78105 h 771525"/>
                  <a:gd name="connsiteX813" fmla="*/ 375666 w 485775"/>
                  <a:gd name="connsiteY813" fmla="*/ 77248 h 771525"/>
                  <a:gd name="connsiteX814" fmla="*/ 374809 w 485775"/>
                  <a:gd name="connsiteY814" fmla="*/ 75533 h 771525"/>
                  <a:gd name="connsiteX815" fmla="*/ 373952 w 485775"/>
                  <a:gd name="connsiteY815" fmla="*/ 74676 h 771525"/>
                  <a:gd name="connsiteX816" fmla="*/ 373952 w 485775"/>
                  <a:gd name="connsiteY816" fmla="*/ 74676 h 771525"/>
                  <a:gd name="connsiteX817" fmla="*/ 373952 w 485775"/>
                  <a:gd name="connsiteY817" fmla="*/ 74676 h 771525"/>
                  <a:gd name="connsiteX818" fmla="*/ 373952 w 485775"/>
                  <a:gd name="connsiteY818" fmla="*/ 73819 h 771525"/>
                  <a:gd name="connsiteX819" fmla="*/ 374809 w 485775"/>
                  <a:gd name="connsiteY819" fmla="*/ 72104 h 771525"/>
                  <a:gd name="connsiteX820" fmla="*/ 375666 w 485775"/>
                  <a:gd name="connsiteY820" fmla="*/ 71247 h 771525"/>
                  <a:gd name="connsiteX821" fmla="*/ 376523 w 485775"/>
                  <a:gd name="connsiteY821" fmla="*/ 70485 h 771525"/>
                  <a:gd name="connsiteX822" fmla="*/ 377381 w 485775"/>
                  <a:gd name="connsiteY822" fmla="*/ 69628 h 771525"/>
                  <a:gd name="connsiteX823" fmla="*/ 378143 w 485775"/>
                  <a:gd name="connsiteY823" fmla="*/ 69628 h 771525"/>
                  <a:gd name="connsiteX824" fmla="*/ 379000 w 485775"/>
                  <a:gd name="connsiteY824" fmla="*/ 68771 h 771525"/>
                  <a:gd name="connsiteX825" fmla="*/ 379857 w 485775"/>
                  <a:gd name="connsiteY825" fmla="*/ 67913 h 771525"/>
                  <a:gd name="connsiteX826" fmla="*/ 386620 w 485775"/>
                  <a:gd name="connsiteY826" fmla="*/ 61913 h 771525"/>
                  <a:gd name="connsiteX827" fmla="*/ 387477 w 485775"/>
                  <a:gd name="connsiteY827" fmla="*/ 61150 h 771525"/>
                  <a:gd name="connsiteX828" fmla="*/ 387477 w 485775"/>
                  <a:gd name="connsiteY828" fmla="*/ 59436 h 771525"/>
                  <a:gd name="connsiteX829" fmla="*/ 387477 w 485775"/>
                  <a:gd name="connsiteY829" fmla="*/ 57721 h 771525"/>
                  <a:gd name="connsiteX830" fmla="*/ 386620 w 485775"/>
                  <a:gd name="connsiteY830" fmla="*/ 54293 h 771525"/>
                  <a:gd name="connsiteX831" fmla="*/ 385763 w 485775"/>
                  <a:gd name="connsiteY831" fmla="*/ 50959 h 771525"/>
                  <a:gd name="connsiteX832" fmla="*/ 384905 w 485775"/>
                  <a:gd name="connsiteY832" fmla="*/ 49244 h 771525"/>
                  <a:gd name="connsiteX833" fmla="*/ 384048 w 485775"/>
                  <a:gd name="connsiteY833" fmla="*/ 47530 h 771525"/>
                  <a:gd name="connsiteX834" fmla="*/ 380714 w 485775"/>
                  <a:gd name="connsiteY834" fmla="*/ 44958 h 771525"/>
                  <a:gd name="connsiteX835" fmla="*/ 379857 w 485775"/>
                  <a:gd name="connsiteY835" fmla="*/ 44101 h 771525"/>
                  <a:gd name="connsiteX836" fmla="*/ 379857 w 485775"/>
                  <a:gd name="connsiteY836" fmla="*/ 43339 h 771525"/>
                  <a:gd name="connsiteX837" fmla="*/ 380714 w 485775"/>
                  <a:gd name="connsiteY837" fmla="*/ 42482 h 771525"/>
                  <a:gd name="connsiteX838" fmla="*/ 380714 w 485775"/>
                  <a:gd name="connsiteY838" fmla="*/ 41624 h 771525"/>
                  <a:gd name="connsiteX839" fmla="*/ 381572 w 485775"/>
                  <a:gd name="connsiteY839" fmla="*/ 40767 h 771525"/>
                  <a:gd name="connsiteX840" fmla="*/ 383286 w 485775"/>
                  <a:gd name="connsiteY840" fmla="*/ 40767 h 771525"/>
                  <a:gd name="connsiteX841" fmla="*/ 384048 w 485775"/>
                  <a:gd name="connsiteY841" fmla="*/ 40767 h 771525"/>
                  <a:gd name="connsiteX842" fmla="*/ 384048 w 485775"/>
                  <a:gd name="connsiteY842" fmla="*/ 39910 h 771525"/>
                  <a:gd name="connsiteX843" fmla="*/ 384905 w 485775"/>
                  <a:gd name="connsiteY843" fmla="*/ 39910 h 771525"/>
                  <a:gd name="connsiteX844" fmla="*/ 384905 w 485775"/>
                  <a:gd name="connsiteY844" fmla="*/ 39053 h 771525"/>
                  <a:gd name="connsiteX845" fmla="*/ 384048 w 485775"/>
                  <a:gd name="connsiteY845" fmla="*/ 33147 h 771525"/>
                  <a:gd name="connsiteX846" fmla="*/ 381572 w 485775"/>
                  <a:gd name="connsiteY846" fmla="*/ 27146 h 771525"/>
                  <a:gd name="connsiteX847" fmla="*/ 380714 w 485775"/>
                  <a:gd name="connsiteY847" fmla="*/ 26289 h 771525"/>
                  <a:gd name="connsiteX848" fmla="*/ 381572 w 485775"/>
                  <a:gd name="connsiteY848" fmla="*/ 24670 h 771525"/>
                  <a:gd name="connsiteX849" fmla="*/ 381572 w 485775"/>
                  <a:gd name="connsiteY849" fmla="*/ 22955 h 771525"/>
                  <a:gd name="connsiteX850" fmla="*/ 382429 w 485775"/>
                  <a:gd name="connsiteY850" fmla="*/ 21241 h 771525"/>
                  <a:gd name="connsiteX851" fmla="*/ 382429 w 485775"/>
                  <a:gd name="connsiteY851" fmla="*/ 20383 h 771525"/>
                  <a:gd name="connsiteX852" fmla="*/ 382429 w 485775"/>
                  <a:gd name="connsiteY852" fmla="*/ 19526 h 771525"/>
                  <a:gd name="connsiteX853" fmla="*/ 379000 w 485775"/>
                  <a:gd name="connsiteY853" fmla="*/ 17812 h 771525"/>
                  <a:gd name="connsiteX854" fmla="*/ 374809 w 485775"/>
                  <a:gd name="connsiteY854" fmla="*/ 17050 h 771525"/>
                  <a:gd name="connsiteX855" fmla="*/ 373952 w 485775"/>
                  <a:gd name="connsiteY855" fmla="*/ 17050 h 771525"/>
                  <a:gd name="connsiteX856" fmla="*/ 373094 w 485775"/>
                  <a:gd name="connsiteY856" fmla="*/ 17050 h 771525"/>
                  <a:gd name="connsiteX857" fmla="*/ 371475 w 485775"/>
                  <a:gd name="connsiteY857" fmla="*/ 19526 h 771525"/>
                  <a:gd name="connsiteX858" fmla="*/ 369761 w 485775"/>
                  <a:gd name="connsiteY858" fmla="*/ 20383 h 771525"/>
                  <a:gd name="connsiteX859" fmla="*/ 368046 w 485775"/>
                  <a:gd name="connsiteY859" fmla="*/ 20383 h 771525"/>
                  <a:gd name="connsiteX860" fmla="*/ 367284 w 485775"/>
                  <a:gd name="connsiteY860" fmla="*/ 20383 h 771525"/>
                  <a:gd name="connsiteX861" fmla="*/ 366427 w 485775"/>
                  <a:gd name="connsiteY861" fmla="*/ 19526 h 771525"/>
                  <a:gd name="connsiteX862" fmla="*/ 365570 w 485775"/>
                  <a:gd name="connsiteY862" fmla="*/ 18669 h 771525"/>
                  <a:gd name="connsiteX863" fmla="*/ 365570 w 485775"/>
                  <a:gd name="connsiteY863" fmla="*/ 16193 h 771525"/>
                  <a:gd name="connsiteX864" fmla="*/ 364712 w 485775"/>
                  <a:gd name="connsiteY864" fmla="*/ 16193 h 771525"/>
                  <a:gd name="connsiteX865" fmla="*/ 363855 w 485775"/>
                  <a:gd name="connsiteY865" fmla="*/ 15335 h 771525"/>
                  <a:gd name="connsiteX866" fmla="*/ 359664 w 485775"/>
                  <a:gd name="connsiteY866" fmla="*/ 13621 h 771525"/>
                  <a:gd name="connsiteX867" fmla="*/ 357950 w 485775"/>
                  <a:gd name="connsiteY867" fmla="*/ 12764 h 771525"/>
                  <a:gd name="connsiteX868" fmla="*/ 357092 w 485775"/>
                  <a:gd name="connsiteY868" fmla="*/ 12764 h 771525"/>
                  <a:gd name="connsiteX869" fmla="*/ 356330 w 485775"/>
                  <a:gd name="connsiteY869" fmla="*/ 11049 h 771525"/>
                  <a:gd name="connsiteX870" fmla="*/ 356330 w 485775"/>
                  <a:gd name="connsiteY870" fmla="*/ 10192 h 771525"/>
                  <a:gd name="connsiteX871" fmla="*/ 356330 w 485775"/>
                  <a:gd name="connsiteY871" fmla="*/ 5144 h 771525"/>
                  <a:gd name="connsiteX872" fmla="*/ 356330 w 485775"/>
                  <a:gd name="connsiteY872" fmla="*/ 3429 h 771525"/>
                  <a:gd name="connsiteX873" fmla="*/ 355473 w 485775"/>
                  <a:gd name="connsiteY873" fmla="*/ 2572 h 771525"/>
                  <a:gd name="connsiteX874" fmla="*/ 354616 w 485775"/>
                  <a:gd name="connsiteY874" fmla="*/ 857 h 771525"/>
                  <a:gd name="connsiteX875" fmla="*/ 352901 w 485775"/>
                  <a:gd name="connsiteY875" fmla="*/ 0 h 771525"/>
                  <a:gd name="connsiteX876" fmla="*/ 352044 w 485775"/>
                  <a:gd name="connsiteY876" fmla="*/ 0 h 771525"/>
                  <a:gd name="connsiteX877" fmla="*/ 350425 w 485775"/>
                  <a:gd name="connsiteY877" fmla="*/ 0 h 771525"/>
                  <a:gd name="connsiteX878" fmla="*/ 349568 w 485775"/>
                  <a:gd name="connsiteY878" fmla="*/ 0 h 771525"/>
                  <a:gd name="connsiteX879" fmla="*/ 347853 w 485775"/>
                  <a:gd name="connsiteY879" fmla="*/ 857 h 771525"/>
                  <a:gd name="connsiteX880" fmla="*/ 344519 w 485775"/>
                  <a:gd name="connsiteY880" fmla="*/ 5144 h 771525"/>
                  <a:gd name="connsiteX881" fmla="*/ 343662 w 485775"/>
                  <a:gd name="connsiteY881" fmla="*/ 6858 h 771525"/>
                  <a:gd name="connsiteX882" fmla="*/ 343662 w 485775"/>
                  <a:gd name="connsiteY882" fmla="*/ 8477 h 771525"/>
                  <a:gd name="connsiteX883" fmla="*/ 344519 w 485775"/>
                  <a:gd name="connsiteY883" fmla="*/ 11906 h 771525"/>
                  <a:gd name="connsiteX884" fmla="*/ 344519 w 485775"/>
                  <a:gd name="connsiteY884" fmla="*/ 14478 h 771525"/>
                  <a:gd name="connsiteX885" fmla="*/ 343662 w 485775"/>
                  <a:gd name="connsiteY885" fmla="*/ 16193 h 771525"/>
                  <a:gd name="connsiteX886" fmla="*/ 342805 w 485775"/>
                  <a:gd name="connsiteY886" fmla="*/ 17050 h 771525"/>
                  <a:gd name="connsiteX887" fmla="*/ 341948 w 485775"/>
                  <a:gd name="connsiteY887" fmla="*/ 17050 h 771525"/>
                  <a:gd name="connsiteX888" fmla="*/ 341090 w 485775"/>
                  <a:gd name="connsiteY888" fmla="*/ 17812 h 771525"/>
                  <a:gd name="connsiteX889" fmla="*/ 338614 w 485775"/>
                  <a:gd name="connsiteY889" fmla="*/ 18669 h 771525"/>
                  <a:gd name="connsiteX890" fmla="*/ 331851 w 485775"/>
                  <a:gd name="connsiteY890" fmla="*/ 23813 h 771525"/>
                  <a:gd name="connsiteX891" fmla="*/ 330137 w 485775"/>
                  <a:gd name="connsiteY891" fmla="*/ 25527 h 771525"/>
                  <a:gd name="connsiteX892" fmla="*/ 329375 w 485775"/>
                  <a:gd name="connsiteY892" fmla="*/ 26289 h 771525"/>
                  <a:gd name="connsiteX893" fmla="*/ 329375 w 485775"/>
                  <a:gd name="connsiteY893" fmla="*/ 28004 h 771525"/>
                  <a:gd name="connsiteX894" fmla="*/ 328517 w 485775"/>
                  <a:gd name="connsiteY894" fmla="*/ 28861 h 771525"/>
                  <a:gd name="connsiteX895" fmla="*/ 328517 w 485775"/>
                  <a:gd name="connsiteY895" fmla="*/ 30575 h 771525"/>
                  <a:gd name="connsiteX896" fmla="*/ 327660 w 485775"/>
                  <a:gd name="connsiteY896" fmla="*/ 30575 h 771525"/>
                  <a:gd name="connsiteX897" fmla="*/ 326803 w 485775"/>
                  <a:gd name="connsiteY897" fmla="*/ 31433 h 771525"/>
                  <a:gd name="connsiteX898" fmla="*/ 324326 w 485775"/>
                  <a:gd name="connsiteY898" fmla="*/ 30575 h 771525"/>
                  <a:gd name="connsiteX899" fmla="*/ 323469 w 485775"/>
                  <a:gd name="connsiteY899" fmla="*/ 30575 h 771525"/>
                  <a:gd name="connsiteX900" fmla="*/ 321755 w 485775"/>
                  <a:gd name="connsiteY900" fmla="*/ 31433 h 771525"/>
                  <a:gd name="connsiteX901" fmla="*/ 320040 w 485775"/>
                  <a:gd name="connsiteY901" fmla="*/ 32290 h 771525"/>
                  <a:gd name="connsiteX902" fmla="*/ 319183 w 485775"/>
                  <a:gd name="connsiteY902" fmla="*/ 32290 h 771525"/>
                  <a:gd name="connsiteX903" fmla="*/ 318421 w 485775"/>
                  <a:gd name="connsiteY903" fmla="*/ 32290 h 771525"/>
                  <a:gd name="connsiteX904" fmla="*/ 315849 w 485775"/>
                  <a:gd name="connsiteY904" fmla="*/ 32290 h 771525"/>
                  <a:gd name="connsiteX905" fmla="*/ 313373 w 485775"/>
                  <a:gd name="connsiteY905" fmla="*/ 32290 h 771525"/>
                  <a:gd name="connsiteX906" fmla="*/ 309086 w 485775"/>
                  <a:gd name="connsiteY906" fmla="*/ 34004 h 771525"/>
                  <a:gd name="connsiteX907" fmla="*/ 307467 w 485775"/>
                  <a:gd name="connsiteY907" fmla="*/ 34862 h 771525"/>
                  <a:gd name="connsiteX908" fmla="*/ 307467 w 485775"/>
                  <a:gd name="connsiteY908" fmla="*/ 36481 h 771525"/>
                  <a:gd name="connsiteX909" fmla="*/ 307467 w 485775"/>
                  <a:gd name="connsiteY909" fmla="*/ 40767 h 771525"/>
                  <a:gd name="connsiteX910" fmla="*/ 307467 w 485775"/>
                  <a:gd name="connsiteY910" fmla="*/ 42482 h 771525"/>
                  <a:gd name="connsiteX911" fmla="*/ 307467 w 485775"/>
                  <a:gd name="connsiteY911" fmla="*/ 44101 h 771525"/>
                  <a:gd name="connsiteX912" fmla="*/ 305753 w 485775"/>
                  <a:gd name="connsiteY912" fmla="*/ 49244 h 771525"/>
                  <a:gd name="connsiteX913" fmla="*/ 305753 w 485775"/>
                  <a:gd name="connsiteY913" fmla="*/ 50959 h 771525"/>
                  <a:gd name="connsiteX914" fmla="*/ 305753 w 485775"/>
                  <a:gd name="connsiteY914" fmla="*/ 52673 h 771525"/>
                  <a:gd name="connsiteX915" fmla="*/ 306610 w 485775"/>
                  <a:gd name="connsiteY915" fmla="*/ 56007 h 771525"/>
                  <a:gd name="connsiteX916" fmla="*/ 305753 w 485775"/>
                  <a:gd name="connsiteY916" fmla="*/ 58579 h 771525"/>
                  <a:gd name="connsiteX917" fmla="*/ 305753 w 485775"/>
                  <a:gd name="connsiteY917" fmla="*/ 61150 h 771525"/>
                  <a:gd name="connsiteX918" fmla="*/ 304038 w 485775"/>
                  <a:gd name="connsiteY918" fmla="*/ 64484 h 771525"/>
                  <a:gd name="connsiteX919" fmla="*/ 302419 w 485775"/>
                  <a:gd name="connsiteY919" fmla="*/ 66199 h 771525"/>
                  <a:gd name="connsiteX920" fmla="*/ 300704 w 485775"/>
                  <a:gd name="connsiteY920" fmla="*/ 66199 h 771525"/>
                  <a:gd name="connsiteX921" fmla="*/ 299847 w 485775"/>
                  <a:gd name="connsiteY921" fmla="*/ 66199 h 771525"/>
                  <a:gd name="connsiteX922" fmla="*/ 293942 w 485775"/>
                  <a:gd name="connsiteY922" fmla="*/ 64484 h 771525"/>
                  <a:gd name="connsiteX923" fmla="*/ 293084 w 485775"/>
                  <a:gd name="connsiteY923" fmla="*/ 64484 h 771525"/>
                  <a:gd name="connsiteX924" fmla="*/ 292322 w 485775"/>
                  <a:gd name="connsiteY924" fmla="*/ 64484 h 771525"/>
                  <a:gd name="connsiteX925" fmla="*/ 290608 w 485775"/>
                  <a:gd name="connsiteY925" fmla="*/ 65342 h 771525"/>
                  <a:gd name="connsiteX926" fmla="*/ 290608 w 485775"/>
                  <a:gd name="connsiteY926" fmla="*/ 67056 h 771525"/>
                  <a:gd name="connsiteX927" fmla="*/ 292322 w 485775"/>
                  <a:gd name="connsiteY927" fmla="*/ 70485 h 771525"/>
                  <a:gd name="connsiteX928" fmla="*/ 292322 w 485775"/>
                  <a:gd name="connsiteY928" fmla="*/ 72104 h 771525"/>
                  <a:gd name="connsiteX929" fmla="*/ 292322 w 485775"/>
                  <a:gd name="connsiteY929" fmla="*/ 72962 h 771525"/>
                  <a:gd name="connsiteX930" fmla="*/ 291465 w 485775"/>
                  <a:gd name="connsiteY930" fmla="*/ 73819 h 771525"/>
                  <a:gd name="connsiteX931" fmla="*/ 290608 w 485775"/>
                  <a:gd name="connsiteY931" fmla="*/ 74676 h 771525"/>
                  <a:gd name="connsiteX932" fmla="*/ 289751 w 485775"/>
                  <a:gd name="connsiteY932" fmla="*/ 75533 h 771525"/>
                  <a:gd name="connsiteX933" fmla="*/ 287179 w 485775"/>
                  <a:gd name="connsiteY933" fmla="*/ 76391 h 771525"/>
                  <a:gd name="connsiteX934" fmla="*/ 286417 w 485775"/>
                  <a:gd name="connsiteY934" fmla="*/ 77248 h 771525"/>
                  <a:gd name="connsiteX935" fmla="*/ 285560 w 485775"/>
                  <a:gd name="connsiteY935" fmla="*/ 78962 h 771525"/>
                  <a:gd name="connsiteX936" fmla="*/ 284702 w 485775"/>
                  <a:gd name="connsiteY936" fmla="*/ 81439 h 771525"/>
                  <a:gd name="connsiteX937" fmla="*/ 282988 w 485775"/>
                  <a:gd name="connsiteY937" fmla="*/ 86582 h 771525"/>
                  <a:gd name="connsiteX938" fmla="*/ 281369 w 485775"/>
                  <a:gd name="connsiteY938" fmla="*/ 86582 h 771525"/>
                  <a:gd name="connsiteX939" fmla="*/ 278797 w 485775"/>
                  <a:gd name="connsiteY939" fmla="*/ 84011 h 771525"/>
                  <a:gd name="connsiteX940" fmla="*/ 277940 w 485775"/>
                  <a:gd name="connsiteY940" fmla="*/ 83153 h 771525"/>
                  <a:gd name="connsiteX941" fmla="*/ 277082 w 485775"/>
                  <a:gd name="connsiteY941" fmla="*/ 82296 h 771525"/>
                  <a:gd name="connsiteX942" fmla="*/ 275463 w 485775"/>
                  <a:gd name="connsiteY942" fmla="*/ 80582 h 771525"/>
                  <a:gd name="connsiteX943" fmla="*/ 273749 w 485775"/>
                  <a:gd name="connsiteY943" fmla="*/ 79724 h 771525"/>
                  <a:gd name="connsiteX944" fmla="*/ 272891 w 485775"/>
                  <a:gd name="connsiteY944" fmla="*/ 79724 h 771525"/>
                  <a:gd name="connsiteX945" fmla="*/ 272034 w 485775"/>
                  <a:gd name="connsiteY945" fmla="*/ 79724 h 771525"/>
                  <a:gd name="connsiteX946" fmla="*/ 269558 w 485775"/>
                  <a:gd name="connsiteY946" fmla="*/ 79724 h 771525"/>
                  <a:gd name="connsiteX947" fmla="*/ 267843 w 485775"/>
                  <a:gd name="connsiteY947" fmla="*/ 78962 h 771525"/>
                  <a:gd name="connsiteX948" fmla="*/ 266129 w 485775"/>
                  <a:gd name="connsiteY948" fmla="*/ 78962 h 771525"/>
                  <a:gd name="connsiteX949" fmla="*/ 265367 w 485775"/>
                  <a:gd name="connsiteY949" fmla="*/ 79724 h 771525"/>
                  <a:gd name="connsiteX950" fmla="*/ 265367 w 485775"/>
                  <a:gd name="connsiteY950" fmla="*/ 79724 h 771525"/>
                  <a:gd name="connsiteX951" fmla="*/ 264509 w 485775"/>
                  <a:gd name="connsiteY951" fmla="*/ 82296 h 771525"/>
                  <a:gd name="connsiteX952" fmla="*/ 263652 w 485775"/>
                  <a:gd name="connsiteY952" fmla="*/ 82296 h 771525"/>
                  <a:gd name="connsiteX953" fmla="*/ 262795 w 485775"/>
                  <a:gd name="connsiteY953" fmla="*/ 83153 h 771525"/>
                  <a:gd name="connsiteX954" fmla="*/ 261080 w 485775"/>
                  <a:gd name="connsiteY954" fmla="*/ 83153 h 771525"/>
                  <a:gd name="connsiteX955" fmla="*/ 260318 w 485775"/>
                  <a:gd name="connsiteY955" fmla="*/ 84011 h 771525"/>
                  <a:gd name="connsiteX956" fmla="*/ 260318 w 485775"/>
                  <a:gd name="connsiteY956" fmla="*/ 84868 h 771525"/>
                  <a:gd name="connsiteX957" fmla="*/ 260318 w 485775"/>
                  <a:gd name="connsiteY957" fmla="*/ 85725 h 771525"/>
                  <a:gd name="connsiteX958" fmla="*/ 260318 w 485775"/>
                  <a:gd name="connsiteY958" fmla="*/ 86582 h 771525"/>
                  <a:gd name="connsiteX959" fmla="*/ 260318 w 485775"/>
                  <a:gd name="connsiteY959" fmla="*/ 87440 h 771525"/>
                  <a:gd name="connsiteX960" fmla="*/ 259461 w 485775"/>
                  <a:gd name="connsiteY960" fmla="*/ 88297 h 771525"/>
                  <a:gd name="connsiteX961" fmla="*/ 258604 w 485775"/>
                  <a:gd name="connsiteY961" fmla="*/ 88297 h 771525"/>
                  <a:gd name="connsiteX962" fmla="*/ 256032 w 485775"/>
                  <a:gd name="connsiteY962" fmla="*/ 89916 h 771525"/>
                  <a:gd name="connsiteX963" fmla="*/ 255175 w 485775"/>
                  <a:gd name="connsiteY963" fmla="*/ 89916 h 771525"/>
                  <a:gd name="connsiteX964" fmla="*/ 255175 w 485775"/>
                  <a:gd name="connsiteY964" fmla="*/ 90773 h 771525"/>
                  <a:gd name="connsiteX965" fmla="*/ 254413 w 485775"/>
                  <a:gd name="connsiteY965" fmla="*/ 91631 h 771525"/>
                  <a:gd name="connsiteX966" fmla="*/ 254413 w 485775"/>
                  <a:gd name="connsiteY966" fmla="*/ 93345 h 771525"/>
                  <a:gd name="connsiteX967" fmla="*/ 251841 w 485775"/>
                  <a:gd name="connsiteY967" fmla="*/ 95060 h 771525"/>
                  <a:gd name="connsiteX968" fmla="*/ 244316 w 485775"/>
                  <a:gd name="connsiteY968" fmla="*/ 97536 h 771525"/>
                  <a:gd name="connsiteX969" fmla="*/ 243459 w 485775"/>
                  <a:gd name="connsiteY969" fmla="*/ 98393 h 771525"/>
                  <a:gd name="connsiteX970" fmla="*/ 243459 w 485775"/>
                  <a:gd name="connsiteY970" fmla="*/ 99250 h 771525"/>
                  <a:gd name="connsiteX971" fmla="*/ 244316 w 485775"/>
                  <a:gd name="connsiteY971" fmla="*/ 100108 h 771525"/>
                  <a:gd name="connsiteX972" fmla="*/ 245078 w 485775"/>
                  <a:gd name="connsiteY972" fmla="*/ 101822 h 771525"/>
                  <a:gd name="connsiteX973" fmla="*/ 245936 w 485775"/>
                  <a:gd name="connsiteY973" fmla="*/ 102679 h 771525"/>
                  <a:gd name="connsiteX974" fmla="*/ 245936 w 485775"/>
                  <a:gd name="connsiteY974" fmla="*/ 104394 h 771525"/>
                  <a:gd name="connsiteX975" fmla="*/ 245936 w 485775"/>
                  <a:gd name="connsiteY975" fmla="*/ 105251 h 771525"/>
                  <a:gd name="connsiteX976" fmla="*/ 245078 w 485775"/>
                  <a:gd name="connsiteY976" fmla="*/ 106871 h 771525"/>
                  <a:gd name="connsiteX977" fmla="*/ 245936 w 485775"/>
                  <a:gd name="connsiteY977" fmla="*/ 106871 h 771525"/>
                  <a:gd name="connsiteX978" fmla="*/ 245936 w 485775"/>
                  <a:gd name="connsiteY978" fmla="*/ 108585 h 771525"/>
                  <a:gd name="connsiteX979" fmla="*/ 246793 w 485775"/>
                  <a:gd name="connsiteY979" fmla="*/ 109442 h 771525"/>
                  <a:gd name="connsiteX980" fmla="*/ 245936 w 485775"/>
                  <a:gd name="connsiteY980" fmla="*/ 109442 h 771525"/>
                  <a:gd name="connsiteX981" fmla="*/ 245078 w 485775"/>
                  <a:gd name="connsiteY981" fmla="*/ 111157 h 771525"/>
                  <a:gd name="connsiteX982" fmla="*/ 244316 w 485775"/>
                  <a:gd name="connsiteY982" fmla="*/ 112014 h 771525"/>
                  <a:gd name="connsiteX983" fmla="*/ 243459 w 485775"/>
                  <a:gd name="connsiteY983" fmla="*/ 113729 h 771525"/>
                  <a:gd name="connsiteX984" fmla="*/ 244316 w 485775"/>
                  <a:gd name="connsiteY984" fmla="*/ 114586 h 771525"/>
                  <a:gd name="connsiteX985" fmla="*/ 245936 w 485775"/>
                  <a:gd name="connsiteY985" fmla="*/ 116205 h 771525"/>
                  <a:gd name="connsiteX986" fmla="*/ 245936 w 485775"/>
                  <a:gd name="connsiteY986" fmla="*/ 117062 h 771525"/>
                  <a:gd name="connsiteX987" fmla="*/ 246793 w 485775"/>
                  <a:gd name="connsiteY987" fmla="*/ 119634 h 771525"/>
                  <a:gd name="connsiteX988" fmla="*/ 246793 w 485775"/>
                  <a:gd name="connsiteY988" fmla="*/ 120491 h 771525"/>
                  <a:gd name="connsiteX989" fmla="*/ 249365 w 485775"/>
                  <a:gd name="connsiteY989" fmla="*/ 122206 h 771525"/>
                  <a:gd name="connsiteX990" fmla="*/ 250127 w 485775"/>
                  <a:gd name="connsiteY990" fmla="*/ 123920 h 771525"/>
                  <a:gd name="connsiteX991" fmla="*/ 250984 w 485775"/>
                  <a:gd name="connsiteY991" fmla="*/ 124682 h 771525"/>
                  <a:gd name="connsiteX992" fmla="*/ 250127 w 485775"/>
                  <a:gd name="connsiteY992" fmla="*/ 125539 h 771525"/>
                  <a:gd name="connsiteX993" fmla="*/ 247650 w 485775"/>
                  <a:gd name="connsiteY993" fmla="*/ 127254 h 771525"/>
                  <a:gd name="connsiteX994" fmla="*/ 246793 w 485775"/>
                  <a:gd name="connsiteY994" fmla="*/ 128111 h 771525"/>
                  <a:gd name="connsiteX995" fmla="*/ 245078 w 485775"/>
                  <a:gd name="connsiteY995" fmla="*/ 128111 h 771525"/>
                  <a:gd name="connsiteX996" fmla="*/ 242602 w 485775"/>
                  <a:gd name="connsiteY996" fmla="*/ 127254 h 771525"/>
                  <a:gd name="connsiteX997" fmla="*/ 240887 w 485775"/>
                  <a:gd name="connsiteY997" fmla="*/ 127254 h 771525"/>
                  <a:gd name="connsiteX998" fmla="*/ 238411 w 485775"/>
                  <a:gd name="connsiteY998" fmla="*/ 127254 h 771525"/>
                  <a:gd name="connsiteX999" fmla="*/ 236696 w 485775"/>
                  <a:gd name="connsiteY999" fmla="*/ 127254 h 771525"/>
                  <a:gd name="connsiteX1000" fmla="*/ 235839 w 485775"/>
                  <a:gd name="connsiteY1000" fmla="*/ 126397 h 771525"/>
                  <a:gd name="connsiteX1001" fmla="*/ 234125 w 485775"/>
                  <a:gd name="connsiteY1001" fmla="*/ 124682 h 771525"/>
                  <a:gd name="connsiteX1002" fmla="*/ 233363 w 485775"/>
                  <a:gd name="connsiteY1002" fmla="*/ 123920 h 771525"/>
                  <a:gd name="connsiteX1003" fmla="*/ 232505 w 485775"/>
                  <a:gd name="connsiteY1003" fmla="*/ 123920 h 771525"/>
                  <a:gd name="connsiteX1004" fmla="*/ 230791 w 485775"/>
                  <a:gd name="connsiteY1004" fmla="*/ 123920 h 771525"/>
                  <a:gd name="connsiteX1005" fmla="*/ 229076 w 485775"/>
                  <a:gd name="connsiteY1005" fmla="*/ 123920 h 771525"/>
                  <a:gd name="connsiteX1006" fmla="*/ 227457 w 485775"/>
                  <a:gd name="connsiteY1006" fmla="*/ 125539 h 771525"/>
                  <a:gd name="connsiteX1007" fmla="*/ 226600 w 485775"/>
                  <a:gd name="connsiteY1007" fmla="*/ 125539 h 771525"/>
                  <a:gd name="connsiteX1008" fmla="*/ 224885 w 485775"/>
                  <a:gd name="connsiteY1008" fmla="*/ 125539 h 771525"/>
                  <a:gd name="connsiteX1009" fmla="*/ 223171 w 485775"/>
                  <a:gd name="connsiteY1009" fmla="*/ 124682 h 771525"/>
                  <a:gd name="connsiteX1010" fmla="*/ 221552 w 485775"/>
                  <a:gd name="connsiteY1010" fmla="*/ 124682 h 771525"/>
                  <a:gd name="connsiteX1011" fmla="*/ 218980 w 485775"/>
                  <a:gd name="connsiteY1011" fmla="*/ 124682 h 771525"/>
                  <a:gd name="connsiteX1012" fmla="*/ 215646 w 485775"/>
                  <a:gd name="connsiteY1012" fmla="*/ 127254 h 771525"/>
                  <a:gd name="connsiteX1013" fmla="*/ 213932 w 485775"/>
                  <a:gd name="connsiteY1013" fmla="*/ 128111 h 771525"/>
                  <a:gd name="connsiteX1014" fmla="*/ 212312 w 485775"/>
                  <a:gd name="connsiteY1014" fmla="*/ 128111 h 771525"/>
                  <a:gd name="connsiteX1015" fmla="*/ 211455 w 485775"/>
                  <a:gd name="connsiteY1015" fmla="*/ 128111 h 771525"/>
                  <a:gd name="connsiteX1016" fmla="*/ 209741 w 485775"/>
                  <a:gd name="connsiteY1016" fmla="*/ 127254 h 771525"/>
                  <a:gd name="connsiteX1017" fmla="*/ 208883 w 485775"/>
                  <a:gd name="connsiteY1017" fmla="*/ 128111 h 771525"/>
                  <a:gd name="connsiteX1018" fmla="*/ 204692 w 485775"/>
                  <a:gd name="connsiteY1018" fmla="*/ 128969 h 771525"/>
                  <a:gd name="connsiteX1019" fmla="*/ 203835 w 485775"/>
                  <a:gd name="connsiteY1019" fmla="*/ 129826 h 771525"/>
                  <a:gd name="connsiteX1020" fmla="*/ 202121 w 485775"/>
                  <a:gd name="connsiteY1020" fmla="*/ 130683 h 771525"/>
                  <a:gd name="connsiteX1021" fmla="*/ 201359 w 485775"/>
                  <a:gd name="connsiteY1021" fmla="*/ 129826 h 771525"/>
                  <a:gd name="connsiteX1022" fmla="*/ 200501 w 485775"/>
                  <a:gd name="connsiteY1022" fmla="*/ 128969 h 771525"/>
                  <a:gd name="connsiteX1023" fmla="*/ 198787 w 485775"/>
                  <a:gd name="connsiteY1023" fmla="*/ 128111 h 771525"/>
                  <a:gd name="connsiteX1024" fmla="*/ 197930 w 485775"/>
                  <a:gd name="connsiteY1024" fmla="*/ 128111 h 771525"/>
                  <a:gd name="connsiteX1025" fmla="*/ 197072 w 485775"/>
                  <a:gd name="connsiteY1025" fmla="*/ 126397 h 771525"/>
                  <a:gd name="connsiteX1026" fmla="*/ 197072 w 485775"/>
                  <a:gd name="connsiteY1026" fmla="*/ 124682 h 771525"/>
                  <a:gd name="connsiteX1027" fmla="*/ 196310 w 485775"/>
                  <a:gd name="connsiteY1027" fmla="*/ 123063 h 771525"/>
                  <a:gd name="connsiteX1028" fmla="*/ 195453 w 485775"/>
                  <a:gd name="connsiteY1028" fmla="*/ 121348 h 771525"/>
                  <a:gd name="connsiteX1029" fmla="*/ 194596 w 485775"/>
                  <a:gd name="connsiteY1029" fmla="*/ 120491 h 771525"/>
                  <a:gd name="connsiteX1030" fmla="*/ 192024 w 485775"/>
                  <a:gd name="connsiteY1030" fmla="*/ 122206 h 771525"/>
                  <a:gd name="connsiteX1031" fmla="*/ 190405 w 485775"/>
                  <a:gd name="connsiteY1031" fmla="*/ 120491 h 771525"/>
                  <a:gd name="connsiteX1032" fmla="*/ 188690 w 485775"/>
                  <a:gd name="connsiteY1032" fmla="*/ 121348 h 771525"/>
                  <a:gd name="connsiteX1033" fmla="*/ 186976 w 485775"/>
                  <a:gd name="connsiteY1033" fmla="*/ 123920 h 771525"/>
                  <a:gd name="connsiteX1034" fmla="*/ 185357 w 485775"/>
                  <a:gd name="connsiteY1034" fmla="*/ 125539 h 771525"/>
                  <a:gd name="connsiteX1035" fmla="*/ 183642 w 485775"/>
                  <a:gd name="connsiteY1035" fmla="*/ 124682 h 771525"/>
                  <a:gd name="connsiteX1036" fmla="*/ 182785 w 485775"/>
                  <a:gd name="connsiteY1036" fmla="*/ 123920 h 771525"/>
                  <a:gd name="connsiteX1037" fmla="*/ 182785 w 485775"/>
                  <a:gd name="connsiteY1037" fmla="*/ 123063 h 771525"/>
                  <a:gd name="connsiteX1038" fmla="*/ 181928 w 485775"/>
                  <a:gd name="connsiteY1038" fmla="*/ 122206 h 771525"/>
                  <a:gd name="connsiteX1039" fmla="*/ 181070 w 485775"/>
                  <a:gd name="connsiteY1039" fmla="*/ 120491 h 771525"/>
                  <a:gd name="connsiteX1040" fmla="*/ 179451 w 485775"/>
                  <a:gd name="connsiteY1040" fmla="*/ 120491 h 771525"/>
                  <a:gd name="connsiteX1041" fmla="*/ 176879 w 485775"/>
                  <a:gd name="connsiteY1041" fmla="*/ 120491 h 771525"/>
                  <a:gd name="connsiteX1042" fmla="*/ 173546 w 485775"/>
                  <a:gd name="connsiteY1042" fmla="*/ 119634 h 771525"/>
                  <a:gd name="connsiteX1043" fmla="*/ 172688 w 485775"/>
                  <a:gd name="connsiteY1043" fmla="*/ 117062 h 771525"/>
                  <a:gd name="connsiteX1044" fmla="*/ 171831 w 485775"/>
                  <a:gd name="connsiteY1044" fmla="*/ 114586 h 771525"/>
                  <a:gd name="connsiteX1045" fmla="*/ 170117 w 485775"/>
                  <a:gd name="connsiteY1045" fmla="*/ 113729 h 771525"/>
                  <a:gd name="connsiteX1046" fmla="*/ 168497 w 485775"/>
                  <a:gd name="connsiteY1046" fmla="*/ 112871 h 771525"/>
                  <a:gd name="connsiteX1047" fmla="*/ 167640 w 485775"/>
                  <a:gd name="connsiteY1047" fmla="*/ 113729 h 771525"/>
                  <a:gd name="connsiteX1048" fmla="*/ 166783 w 485775"/>
                  <a:gd name="connsiteY1048" fmla="*/ 113729 h 771525"/>
                  <a:gd name="connsiteX1049" fmla="*/ 165926 w 485775"/>
                  <a:gd name="connsiteY1049" fmla="*/ 114586 h 771525"/>
                  <a:gd name="connsiteX1050" fmla="*/ 165068 w 485775"/>
                  <a:gd name="connsiteY1050" fmla="*/ 116205 h 771525"/>
                  <a:gd name="connsiteX1051" fmla="*/ 164306 w 485775"/>
                  <a:gd name="connsiteY1051" fmla="*/ 119634 h 771525"/>
                  <a:gd name="connsiteX1052" fmla="*/ 163449 w 485775"/>
                  <a:gd name="connsiteY1052" fmla="*/ 120491 h 771525"/>
                  <a:gd name="connsiteX1053" fmla="*/ 162592 w 485775"/>
                  <a:gd name="connsiteY1053" fmla="*/ 121348 h 771525"/>
                  <a:gd name="connsiteX1054" fmla="*/ 160877 w 485775"/>
                  <a:gd name="connsiteY1054" fmla="*/ 122206 h 771525"/>
                  <a:gd name="connsiteX1055" fmla="*/ 160020 w 485775"/>
                  <a:gd name="connsiteY1055" fmla="*/ 123920 h 771525"/>
                  <a:gd name="connsiteX1056" fmla="*/ 160020 w 485775"/>
                  <a:gd name="connsiteY1056" fmla="*/ 126397 h 771525"/>
                  <a:gd name="connsiteX1057" fmla="*/ 161735 w 485775"/>
                  <a:gd name="connsiteY1057" fmla="*/ 129826 h 771525"/>
                  <a:gd name="connsiteX1058" fmla="*/ 162592 w 485775"/>
                  <a:gd name="connsiteY1058" fmla="*/ 131540 h 771525"/>
                  <a:gd name="connsiteX1059" fmla="*/ 162592 w 485775"/>
                  <a:gd name="connsiteY1059" fmla="*/ 134017 h 771525"/>
                  <a:gd name="connsiteX1060" fmla="*/ 163449 w 485775"/>
                  <a:gd name="connsiteY1060" fmla="*/ 134874 h 771525"/>
                  <a:gd name="connsiteX1061" fmla="*/ 163449 w 485775"/>
                  <a:gd name="connsiteY1061" fmla="*/ 135731 h 771525"/>
                  <a:gd name="connsiteX1062" fmla="*/ 165068 w 485775"/>
                  <a:gd name="connsiteY1062" fmla="*/ 136588 h 771525"/>
                  <a:gd name="connsiteX1063" fmla="*/ 166783 w 485775"/>
                  <a:gd name="connsiteY1063" fmla="*/ 137446 h 771525"/>
                  <a:gd name="connsiteX1064" fmla="*/ 166783 w 485775"/>
                  <a:gd name="connsiteY1064" fmla="*/ 138303 h 771525"/>
                  <a:gd name="connsiteX1065" fmla="*/ 167640 w 485775"/>
                  <a:gd name="connsiteY1065" fmla="*/ 140875 h 771525"/>
                  <a:gd name="connsiteX1066" fmla="*/ 167640 w 485775"/>
                  <a:gd name="connsiteY1066" fmla="*/ 141732 h 771525"/>
                  <a:gd name="connsiteX1067" fmla="*/ 167640 w 485775"/>
                  <a:gd name="connsiteY1067" fmla="*/ 142494 h 771525"/>
                  <a:gd name="connsiteX1068" fmla="*/ 166783 w 485775"/>
                  <a:gd name="connsiteY1068" fmla="*/ 144209 h 771525"/>
                  <a:gd name="connsiteX1069" fmla="*/ 166783 w 485775"/>
                  <a:gd name="connsiteY1069" fmla="*/ 145066 h 771525"/>
                  <a:gd name="connsiteX1070" fmla="*/ 165926 w 485775"/>
                  <a:gd name="connsiteY1070" fmla="*/ 145923 h 771525"/>
                  <a:gd name="connsiteX1071" fmla="*/ 165926 w 485775"/>
                  <a:gd name="connsiteY1071" fmla="*/ 147638 h 771525"/>
                  <a:gd name="connsiteX1072" fmla="*/ 165926 w 485775"/>
                  <a:gd name="connsiteY1072" fmla="*/ 150209 h 771525"/>
                  <a:gd name="connsiteX1073" fmla="*/ 165926 w 485775"/>
                  <a:gd name="connsiteY1073" fmla="*/ 151829 h 771525"/>
                  <a:gd name="connsiteX1074" fmla="*/ 166783 w 485775"/>
                  <a:gd name="connsiteY1074" fmla="*/ 152686 h 771525"/>
                  <a:gd name="connsiteX1075" fmla="*/ 167640 w 485775"/>
                  <a:gd name="connsiteY1075" fmla="*/ 153543 h 771525"/>
                  <a:gd name="connsiteX1076" fmla="*/ 168497 w 485775"/>
                  <a:gd name="connsiteY1076" fmla="*/ 154400 h 771525"/>
                  <a:gd name="connsiteX1077" fmla="*/ 170117 w 485775"/>
                  <a:gd name="connsiteY1077" fmla="*/ 156115 h 771525"/>
                  <a:gd name="connsiteX1078" fmla="*/ 170117 w 485775"/>
                  <a:gd name="connsiteY1078" fmla="*/ 157829 h 771525"/>
                  <a:gd name="connsiteX1079" fmla="*/ 170117 w 485775"/>
                  <a:gd name="connsiteY1079" fmla="*/ 159544 h 771525"/>
                  <a:gd name="connsiteX1080" fmla="*/ 169355 w 485775"/>
                  <a:gd name="connsiteY1080" fmla="*/ 159544 h 771525"/>
                  <a:gd name="connsiteX1081" fmla="*/ 168497 w 485775"/>
                  <a:gd name="connsiteY1081" fmla="*/ 161163 h 771525"/>
                  <a:gd name="connsiteX1082" fmla="*/ 167640 w 485775"/>
                  <a:gd name="connsiteY1082" fmla="*/ 161163 h 771525"/>
                  <a:gd name="connsiteX1083" fmla="*/ 167640 w 485775"/>
                  <a:gd name="connsiteY1083" fmla="*/ 162020 h 771525"/>
                  <a:gd name="connsiteX1084" fmla="*/ 167640 w 485775"/>
                  <a:gd name="connsiteY1084" fmla="*/ 162878 h 771525"/>
                  <a:gd name="connsiteX1085" fmla="*/ 169355 w 485775"/>
                  <a:gd name="connsiteY1085" fmla="*/ 165449 h 771525"/>
                  <a:gd name="connsiteX1086" fmla="*/ 169355 w 485775"/>
                  <a:gd name="connsiteY1086" fmla="*/ 166306 h 771525"/>
                  <a:gd name="connsiteX1087" fmla="*/ 169355 w 485775"/>
                  <a:gd name="connsiteY1087" fmla="*/ 167164 h 771525"/>
                  <a:gd name="connsiteX1088" fmla="*/ 169355 w 485775"/>
                  <a:gd name="connsiteY1088" fmla="*/ 168878 h 771525"/>
                  <a:gd name="connsiteX1089" fmla="*/ 169355 w 485775"/>
                  <a:gd name="connsiteY1089" fmla="*/ 169640 h 771525"/>
                  <a:gd name="connsiteX1090" fmla="*/ 168497 w 485775"/>
                  <a:gd name="connsiteY1090" fmla="*/ 170497 h 771525"/>
                  <a:gd name="connsiteX1091" fmla="*/ 168497 w 485775"/>
                  <a:gd name="connsiteY1091" fmla="*/ 171355 h 771525"/>
                  <a:gd name="connsiteX1092" fmla="*/ 166783 w 485775"/>
                  <a:gd name="connsiteY1092" fmla="*/ 171355 h 771525"/>
                  <a:gd name="connsiteX1093" fmla="*/ 165068 w 485775"/>
                  <a:gd name="connsiteY1093" fmla="*/ 171355 h 771525"/>
                  <a:gd name="connsiteX1094" fmla="*/ 164306 w 485775"/>
                  <a:gd name="connsiteY1094" fmla="*/ 169640 h 771525"/>
                  <a:gd name="connsiteX1095" fmla="*/ 160877 w 485775"/>
                  <a:gd name="connsiteY1095" fmla="*/ 167164 h 771525"/>
                  <a:gd name="connsiteX1096" fmla="*/ 160020 w 485775"/>
                  <a:gd name="connsiteY1096" fmla="*/ 166306 h 771525"/>
                  <a:gd name="connsiteX1097" fmla="*/ 160020 w 485775"/>
                  <a:gd name="connsiteY1097" fmla="*/ 166306 h 771525"/>
                  <a:gd name="connsiteX1098" fmla="*/ 159163 w 485775"/>
                  <a:gd name="connsiteY1098" fmla="*/ 167164 h 771525"/>
                  <a:gd name="connsiteX1099" fmla="*/ 157544 w 485775"/>
                  <a:gd name="connsiteY1099" fmla="*/ 168878 h 771525"/>
                  <a:gd name="connsiteX1100" fmla="*/ 156686 w 485775"/>
                  <a:gd name="connsiteY1100" fmla="*/ 169640 h 771525"/>
                  <a:gd name="connsiteX1101" fmla="*/ 155829 w 485775"/>
                  <a:gd name="connsiteY1101" fmla="*/ 170497 h 771525"/>
                  <a:gd name="connsiteX1102" fmla="*/ 154972 w 485775"/>
                  <a:gd name="connsiteY1102" fmla="*/ 171355 h 771525"/>
                  <a:gd name="connsiteX1103" fmla="*/ 150781 w 485775"/>
                  <a:gd name="connsiteY1103" fmla="*/ 173069 h 771525"/>
                  <a:gd name="connsiteX1104" fmla="*/ 149924 w 485775"/>
                  <a:gd name="connsiteY1104" fmla="*/ 173069 h 771525"/>
                  <a:gd name="connsiteX1105" fmla="*/ 149066 w 485775"/>
                  <a:gd name="connsiteY1105" fmla="*/ 172212 h 771525"/>
                  <a:gd name="connsiteX1106" fmla="*/ 148209 w 485775"/>
                  <a:gd name="connsiteY1106" fmla="*/ 172212 h 771525"/>
                  <a:gd name="connsiteX1107" fmla="*/ 147447 w 485775"/>
                  <a:gd name="connsiteY1107" fmla="*/ 171355 h 771525"/>
                  <a:gd name="connsiteX1108" fmla="*/ 147447 w 485775"/>
                  <a:gd name="connsiteY1108" fmla="*/ 170497 h 771525"/>
                  <a:gd name="connsiteX1109" fmla="*/ 145733 w 485775"/>
                  <a:gd name="connsiteY1109" fmla="*/ 170497 h 771525"/>
                  <a:gd name="connsiteX1110" fmla="*/ 139827 w 485775"/>
                  <a:gd name="connsiteY1110" fmla="*/ 170497 h 771525"/>
                  <a:gd name="connsiteX1111" fmla="*/ 138970 w 485775"/>
                  <a:gd name="connsiteY1111" fmla="*/ 170497 h 771525"/>
                  <a:gd name="connsiteX1112" fmla="*/ 136493 w 485775"/>
                  <a:gd name="connsiteY1112" fmla="*/ 172212 h 771525"/>
                  <a:gd name="connsiteX1113" fmla="*/ 134779 w 485775"/>
                  <a:gd name="connsiteY1113" fmla="*/ 173069 h 771525"/>
                  <a:gd name="connsiteX1114" fmla="*/ 133064 w 485775"/>
                  <a:gd name="connsiteY1114" fmla="*/ 173069 h 771525"/>
                  <a:gd name="connsiteX1115" fmla="*/ 127159 w 485775"/>
                  <a:gd name="connsiteY1115" fmla="*/ 173069 h 771525"/>
                  <a:gd name="connsiteX1116" fmla="*/ 126397 w 485775"/>
                  <a:gd name="connsiteY1116" fmla="*/ 173927 h 771525"/>
                  <a:gd name="connsiteX1117" fmla="*/ 125540 w 485775"/>
                  <a:gd name="connsiteY1117" fmla="*/ 174784 h 771525"/>
                  <a:gd name="connsiteX1118" fmla="*/ 125540 w 485775"/>
                  <a:gd name="connsiteY1118" fmla="*/ 175641 h 771525"/>
                  <a:gd name="connsiteX1119" fmla="*/ 126397 w 485775"/>
                  <a:gd name="connsiteY1119" fmla="*/ 178118 h 771525"/>
                  <a:gd name="connsiteX1120" fmla="*/ 125540 w 485775"/>
                  <a:gd name="connsiteY1120" fmla="*/ 179832 h 771525"/>
                  <a:gd name="connsiteX1121" fmla="*/ 121349 w 485775"/>
                  <a:gd name="connsiteY1121" fmla="*/ 182404 h 771525"/>
                  <a:gd name="connsiteX1122" fmla="*/ 117920 w 485775"/>
                  <a:gd name="connsiteY1122" fmla="*/ 184118 h 771525"/>
                  <a:gd name="connsiteX1123" fmla="*/ 116205 w 485775"/>
                  <a:gd name="connsiteY1123" fmla="*/ 183261 h 771525"/>
                  <a:gd name="connsiteX1124" fmla="*/ 115443 w 485775"/>
                  <a:gd name="connsiteY1124" fmla="*/ 183261 h 771525"/>
                  <a:gd name="connsiteX1125" fmla="*/ 113729 w 485775"/>
                  <a:gd name="connsiteY1125" fmla="*/ 182404 h 771525"/>
                  <a:gd name="connsiteX1126" fmla="*/ 112014 w 485775"/>
                  <a:gd name="connsiteY1126" fmla="*/ 181546 h 771525"/>
                  <a:gd name="connsiteX1127" fmla="*/ 111157 w 485775"/>
                  <a:gd name="connsiteY1127" fmla="*/ 180689 h 771525"/>
                  <a:gd name="connsiteX1128" fmla="*/ 110395 w 485775"/>
                  <a:gd name="connsiteY1128" fmla="*/ 179832 h 771525"/>
                  <a:gd name="connsiteX1129" fmla="*/ 110395 w 485775"/>
                  <a:gd name="connsiteY1129" fmla="*/ 178975 h 771525"/>
                  <a:gd name="connsiteX1130" fmla="*/ 109538 w 485775"/>
                  <a:gd name="connsiteY1130" fmla="*/ 178975 h 771525"/>
                  <a:gd name="connsiteX1131" fmla="*/ 107823 w 485775"/>
                  <a:gd name="connsiteY1131" fmla="*/ 178118 h 771525"/>
                  <a:gd name="connsiteX1132" fmla="*/ 106966 w 485775"/>
                  <a:gd name="connsiteY1132" fmla="*/ 177355 h 771525"/>
                  <a:gd name="connsiteX1133" fmla="*/ 106109 w 485775"/>
                  <a:gd name="connsiteY1133" fmla="*/ 176498 h 771525"/>
                  <a:gd name="connsiteX1134" fmla="*/ 105347 w 485775"/>
                  <a:gd name="connsiteY1134" fmla="*/ 174784 h 771525"/>
                  <a:gd name="connsiteX1135" fmla="*/ 105347 w 485775"/>
                  <a:gd name="connsiteY1135" fmla="*/ 173927 h 771525"/>
                  <a:gd name="connsiteX1136" fmla="*/ 104489 w 485775"/>
                  <a:gd name="connsiteY1136" fmla="*/ 173927 h 771525"/>
                  <a:gd name="connsiteX1137" fmla="*/ 104489 w 485775"/>
                  <a:gd name="connsiteY1137" fmla="*/ 173927 h 771525"/>
                  <a:gd name="connsiteX1138" fmla="*/ 99441 w 485775"/>
                  <a:gd name="connsiteY1138" fmla="*/ 174784 h 771525"/>
                  <a:gd name="connsiteX1139" fmla="*/ 96012 w 485775"/>
                  <a:gd name="connsiteY1139" fmla="*/ 173927 h 771525"/>
                  <a:gd name="connsiteX1140" fmla="*/ 95155 w 485775"/>
                  <a:gd name="connsiteY1140" fmla="*/ 173927 h 771525"/>
                  <a:gd name="connsiteX1141" fmla="*/ 95155 w 485775"/>
                  <a:gd name="connsiteY1141" fmla="*/ 173927 h 771525"/>
                  <a:gd name="connsiteX1142" fmla="*/ 94393 w 485775"/>
                  <a:gd name="connsiteY1142" fmla="*/ 177355 h 771525"/>
                  <a:gd name="connsiteX1143" fmla="*/ 93536 w 485775"/>
                  <a:gd name="connsiteY1143" fmla="*/ 178118 h 771525"/>
                  <a:gd name="connsiteX1144" fmla="*/ 91821 w 485775"/>
                  <a:gd name="connsiteY1144" fmla="*/ 179832 h 771525"/>
                  <a:gd name="connsiteX1145" fmla="*/ 91821 w 485775"/>
                  <a:gd name="connsiteY1145" fmla="*/ 179832 h 771525"/>
                  <a:gd name="connsiteX1146" fmla="*/ 90964 w 485775"/>
                  <a:gd name="connsiteY1146" fmla="*/ 180689 h 771525"/>
                  <a:gd name="connsiteX1147" fmla="*/ 90107 w 485775"/>
                  <a:gd name="connsiteY1147" fmla="*/ 181546 h 771525"/>
                  <a:gd name="connsiteX1148" fmla="*/ 88487 w 485775"/>
                  <a:gd name="connsiteY1148" fmla="*/ 182404 h 771525"/>
                  <a:gd name="connsiteX1149" fmla="*/ 83439 w 485775"/>
                  <a:gd name="connsiteY1149" fmla="*/ 184118 h 771525"/>
                  <a:gd name="connsiteX1150" fmla="*/ 82582 w 485775"/>
                  <a:gd name="connsiteY1150" fmla="*/ 184118 h 771525"/>
                  <a:gd name="connsiteX1151" fmla="*/ 82582 w 485775"/>
                  <a:gd name="connsiteY1151" fmla="*/ 184976 h 771525"/>
                  <a:gd name="connsiteX1152" fmla="*/ 82582 w 485775"/>
                  <a:gd name="connsiteY1152" fmla="*/ 184976 h 771525"/>
                  <a:gd name="connsiteX1153" fmla="*/ 82582 w 485775"/>
                  <a:gd name="connsiteY1153" fmla="*/ 185833 h 771525"/>
                  <a:gd name="connsiteX1154" fmla="*/ 83439 w 485775"/>
                  <a:gd name="connsiteY1154" fmla="*/ 186690 h 771525"/>
                  <a:gd name="connsiteX1155" fmla="*/ 83439 w 485775"/>
                  <a:gd name="connsiteY1155" fmla="*/ 188309 h 771525"/>
                  <a:gd name="connsiteX1156" fmla="*/ 84201 w 485775"/>
                  <a:gd name="connsiteY1156" fmla="*/ 189167 h 771525"/>
                  <a:gd name="connsiteX1157" fmla="*/ 85058 w 485775"/>
                  <a:gd name="connsiteY1157" fmla="*/ 194310 h 771525"/>
                  <a:gd name="connsiteX1158" fmla="*/ 85058 w 485775"/>
                  <a:gd name="connsiteY1158" fmla="*/ 194310 h 771525"/>
                  <a:gd name="connsiteX1159" fmla="*/ 84201 w 485775"/>
                  <a:gd name="connsiteY1159" fmla="*/ 195167 h 771525"/>
                  <a:gd name="connsiteX1160" fmla="*/ 84201 w 485775"/>
                  <a:gd name="connsiteY1160" fmla="*/ 195929 h 771525"/>
                  <a:gd name="connsiteX1161" fmla="*/ 83439 w 485775"/>
                  <a:gd name="connsiteY1161" fmla="*/ 195929 h 771525"/>
                  <a:gd name="connsiteX1162" fmla="*/ 82582 w 485775"/>
                  <a:gd name="connsiteY1162" fmla="*/ 195929 h 771525"/>
                  <a:gd name="connsiteX1163" fmla="*/ 81725 w 485775"/>
                  <a:gd name="connsiteY1163" fmla="*/ 195929 h 771525"/>
                  <a:gd name="connsiteX1164" fmla="*/ 80010 w 485775"/>
                  <a:gd name="connsiteY1164" fmla="*/ 195167 h 771525"/>
                  <a:gd name="connsiteX1165" fmla="*/ 78391 w 485775"/>
                  <a:gd name="connsiteY1165" fmla="*/ 195167 h 771525"/>
                  <a:gd name="connsiteX1166" fmla="*/ 76676 w 485775"/>
                  <a:gd name="connsiteY1166" fmla="*/ 195167 h 771525"/>
                  <a:gd name="connsiteX1167" fmla="*/ 75819 w 485775"/>
                  <a:gd name="connsiteY1167" fmla="*/ 195929 h 771525"/>
                  <a:gd name="connsiteX1168" fmla="*/ 74962 w 485775"/>
                  <a:gd name="connsiteY1168" fmla="*/ 195929 h 771525"/>
                  <a:gd name="connsiteX1169" fmla="*/ 72485 w 485775"/>
                  <a:gd name="connsiteY1169" fmla="*/ 197644 h 771525"/>
                  <a:gd name="connsiteX1170" fmla="*/ 71628 w 485775"/>
                  <a:gd name="connsiteY1170" fmla="*/ 197644 h 771525"/>
                  <a:gd name="connsiteX1171" fmla="*/ 70771 w 485775"/>
                  <a:gd name="connsiteY1171" fmla="*/ 198501 h 771525"/>
                  <a:gd name="connsiteX1172" fmla="*/ 70771 w 485775"/>
                  <a:gd name="connsiteY1172" fmla="*/ 198501 h 771525"/>
                  <a:gd name="connsiteX1173" fmla="*/ 69914 w 485775"/>
                  <a:gd name="connsiteY1173" fmla="*/ 200216 h 771525"/>
                  <a:gd name="connsiteX1174" fmla="*/ 69056 w 485775"/>
                  <a:gd name="connsiteY1174" fmla="*/ 201073 h 771525"/>
                  <a:gd name="connsiteX1175" fmla="*/ 67437 w 485775"/>
                  <a:gd name="connsiteY1175" fmla="*/ 201073 h 771525"/>
                  <a:gd name="connsiteX1176" fmla="*/ 66580 w 485775"/>
                  <a:gd name="connsiteY1176" fmla="*/ 201073 h 771525"/>
                  <a:gd name="connsiteX1177" fmla="*/ 65723 w 485775"/>
                  <a:gd name="connsiteY1177" fmla="*/ 201073 h 771525"/>
                  <a:gd name="connsiteX1178" fmla="*/ 64865 w 485775"/>
                  <a:gd name="connsiteY1178" fmla="*/ 201073 h 771525"/>
                  <a:gd name="connsiteX1179" fmla="*/ 64865 w 485775"/>
                  <a:gd name="connsiteY1179" fmla="*/ 201930 h 771525"/>
                  <a:gd name="connsiteX1180" fmla="*/ 64008 w 485775"/>
                  <a:gd name="connsiteY1180" fmla="*/ 205264 h 771525"/>
                  <a:gd name="connsiteX1181" fmla="*/ 63151 w 485775"/>
                  <a:gd name="connsiteY1181" fmla="*/ 206121 h 771525"/>
                  <a:gd name="connsiteX1182" fmla="*/ 63151 w 485775"/>
                  <a:gd name="connsiteY1182" fmla="*/ 206121 h 771525"/>
                  <a:gd name="connsiteX1183" fmla="*/ 62389 w 485775"/>
                  <a:gd name="connsiteY1183" fmla="*/ 206978 h 771525"/>
                  <a:gd name="connsiteX1184" fmla="*/ 60674 w 485775"/>
                  <a:gd name="connsiteY1184" fmla="*/ 208693 h 771525"/>
                  <a:gd name="connsiteX1185" fmla="*/ 63151 w 485775"/>
                  <a:gd name="connsiteY1185" fmla="*/ 211264 h 771525"/>
                  <a:gd name="connsiteX1186" fmla="*/ 63151 w 485775"/>
                  <a:gd name="connsiteY1186" fmla="*/ 212979 h 771525"/>
                  <a:gd name="connsiteX1187" fmla="*/ 62389 w 485775"/>
                  <a:gd name="connsiteY1187" fmla="*/ 213741 h 771525"/>
                  <a:gd name="connsiteX1188" fmla="*/ 61532 w 485775"/>
                  <a:gd name="connsiteY1188" fmla="*/ 213741 h 771525"/>
                  <a:gd name="connsiteX1189" fmla="*/ 59817 w 485775"/>
                  <a:gd name="connsiteY1189" fmla="*/ 214598 h 771525"/>
                  <a:gd name="connsiteX1190" fmla="*/ 58960 w 485775"/>
                  <a:gd name="connsiteY1190" fmla="*/ 214598 h 771525"/>
                  <a:gd name="connsiteX1191" fmla="*/ 58103 w 485775"/>
                  <a:gd name="connsiteY1191" fmla="*/ 214598 h 771525"/>
                  <a:gd name="connsiteX1192" fmla="*/ 57341 w 485775"/>
                  <a:gd name="connsiteY1192" fmla="*/ 215455 h 771525"/>
                  <a:gd name="connsiteX1193" fmla="*/ 53054 w 485775"/>
                  <a:gd name="connsiteY1193" fmla="*/ 218885 h 771525"/>
                  <a:gd name="connsiteX1194" fmla="*/ 52197 w 485775"/>
                  <a:gd name="connsiteY1194" fmla="*/ 218885 h 771525"/>
                  <a:gd name="connsiteX1195" fmla="*/ 51435 w 485775"/>
                  <a:gd name="connsiteY1195" fmla="*/ 219742 h 771525"/>
                  <a:gd name="connsiteX1196" fmla="*/ 50578 w 485775"/>
                  <a:gd name="connsiteY1196" fmla="*/ 219742 h 771525"/>
                  <a:gd name="connsiteX1197" fmla="*/ 50578 w 485775"/>
                  <a:gd name="connsiteY1197" fmla="*/ 219742 h 771525"/>
                  <a:gd name="connsiteX1198" fmla="*/ 49721 w 485775"/>
                  <a:gd name="connsiteY1198" fmla="*/ 219742 h 771525"/>
                  <a:gd name="connsiteX1199" fmla="*/ 49721 w 485775"/>
                  <a:gd name="connsiteY1199" fmla="*/ 219742 h 771525"/>
                  <a:gd name="connsiteX1200" fmla="*/ 49721 w 485775"/>
                  <a:gd name="connsiteY1200" fmla="*/ 218885 h 771525"/>
                  <a:gd name="connsiteX1201" fmla="*/ 49721 w 485775"/>
                  <a:gd name="connsiteY1201" fmla="*/ 218885 h 771525"/>
                  <a:gd name="connsiteX1202" fmla="*/ 49721 w 485775"/>
                  <a:gd name="connsiteY1202" fmla="*/ 218027 h 771525"/>
                  <a:gd name="connsiteX1203" fmla="*/ 49721 w 485775"/>
                  <a:gd name="connsiteY1203" fmla="*/ 218027 h 771525"/>
                  <a:gd name="connsiteX1204" fmla="*/ 49721 w 485775"/>
                  <a:gd name="connsiteY1204" fmla="*/ 217170 h 771525"/>
                  <a:gd name="connsiteX1205" fmla="*/ 48863 w 485775"/>
                  <a:gd name="connsiteY1205" fmla="*/ 216313 h 771525"/>
                  <a:gd name="connsiteX1206" fmla="*/ 48006 w 485775"/>
                  <a:gd name="connsiteY1206" fmla="*/ 215455 h 771525"/>
                  <a:gd name="connsiteX1207" fmla="*/ 47149 w 485775"/>
                  <a:gd name="connsiteY1207" fmla="*/ 214598 h 771525"/>
                  <a:gd name="connsiteX1208" fmla="*/ 47149 w 485775"/>
                  <a:gd name="connsiteY1208" fmla="*/ 212979 h 771525"/>
                  <a:gd name="connsiteX1209" fmla="*/ 47149 w 485775"/>
                  <a:gd name="connsiteY1209" fmla="*/ 212122 h 771525"/>
                  <a:gd name="connsiteX1210" fmla="*/ 46387 w 485775"/>
                  <a:gd name="connsiteY1210" fmla="*/ 211264 h 771525"/>
                  <a:gd name="connsiteX1211" fmla="*/ 45530 w 485775"/>
                  <a:gd name="connsiteY1211" fmla="*/ 211264 h 771525"/>
                  <a:gd name="connsiteX1212" fmla="*/ 42101 w 485775"/>
                  <a:gd name="connsiteY1212" fmla="*/ 211264 h 771525"/>
                  <a:gd name="connsiteX1213" fmla="*/ 41339 w 485775"/>
                  <a:gd name="connsiteY1213" fmla="*/ 210407 h 771525"/>
                  <a:gd name="connsiteX1214" fmla="*/ 39624 w 485775"/>
                  <a:gd name="connsiteY1214" fmla="*/ 209550 h 771525"/>
                  <a:gd name="connsiteX1215" fmla="*/ 37910 w 485775"/>
                  <a:gd name="connsiteY1215" fmla="*/ 208693 h 771525"/>
                  <a:gd name="connsiteX1216" fmla="*/ 37052 w 485775"/>
                  <a:gd name="connsiteY1216" fmla="*/ 208693 h 771525"/>
                  <a:gd name="connsiteX1217" fmla="*/ 37052 w 485775"/>
                  <a:gd name="connsiteY1217" fmla="*/ 209550 h 771525"/>
                  <a:gd name="connsiteX1218" fmla="*/ 36195 w 485775"/>
                  <a:gd name="connsiteY1218" fmla="*/ 210407 h 771525"/>
                  <a:gd name="connsiteX1219" fmla="*/ 35433 w 485775"/>
                  <a:gd name="connsiteY1219" fmla="*/ 213741 h 771525"/>
                  <a:gd name="connsiteX1220" fmla="*/ 35433 w 485775"/>
                  <a:gd name="connsiteY1220" fmla="*/ 214598 h 771525"/>
                  <a:gd name="connsiteX1221" fmla="*/ 34576 w 485775"/>
                  <a:gd name="connsiteY1221" fmla="*/ 215455 h 771525"/>
                  <a:gd name="connsiteX1222" fmla="*/ 34576 w 485775"/>
                  <a:gd name="connsiteY1222" fmla="*/ 215455 h 771525"/>
                  <a:gd name="connsiteX1223" fmla="*/ 33719 w 485775"/>
                  <a:gd name="connsiteY1223" fmla="*/ 216313 h 771525"/>
                  <a:gd name="connsiteX1224" fmla="*/ 32004 w 485775"/>
                  <a:gd name="connsiteY1224" fmla="*/ 217170 h 771525"/>
                  <a:gd name="connsiteX1225" fmla="*/ 31147 w 485775"/>
                  <a:gd name="connsiteY1225" fmla="*/ 217170 h 771525"/>
                  <a:gd name="connsiteX1226" fmla="*/ 31147 w 485775"/>
                  <a:gd name="connsiteY1226" fmla="*/ 218027 h 771525"/>
                  <a:gd name="connsiteX1227" fmla="*/ 29528 w 485775"/>
                  <a:gd name="connsiteY1227" fmla="*/ 219742 h 771525"/>
                  <a:gd name="connsiteX1228" fmla="*/ 28670 w 485775"/>
                  <a:gd name="connsiteY1228" fmla="*/ 220599 h 771525"/>
                  <a:gd name="connsiteX1229" fmla="*/ 27813 w 485775"/>
                  <a:gd name="connsiteY1229" fmla="*/ 220599 h 771525"/>
                  <a:gd name="connsiteX1230" fmla="*/ 26956 w 485775"/>
                  <a:gd name="connsiteY1230" fmla="*/ 220599 h 771525"/>
                  <a:gd name="connsiteX1231" fmla="*/ 26099 w 485775"/>
                  <a:gd name="connsiteY1231" fmla="*/ 219742 h 771525"/>
                  <a:gd name="connsiteX1232" fmla="*/ 26099 w 485775"/>
                  <a:gd name="connsiteY1232" fmla="*/ 219742 h 771525"/>
                  <a:gd name="connsiteX1233" fmla="*/ 25337 w 485775"/>
                  <a:gd name="connsiteY1233" fmla="*/ 218885 h 771525"/>
                  <a:gd name="connsiteX1234" fmla="*/ 24479 w 485775"/>
                  <a:gd name="connsiteY1234" fmla="*/ 218885 h 771525"/>
                  <a:gd name="connsiteX1235" fmla="*/ 24479 w 485775"/>
                  <a:gd name="connsiteY1235" fmla="*/ 218027 h 771525"/>
                  <a:gd name="connsiteX1236" fmla="*/ 23622 w 485775"/>
                  <a:gd name="connsiteY1236" fmla="*/ 218885 h 771525"/>
                  <a:gd name="connsiteX1237" fmla="*/ 23622 w 485775"/>
                  <a:gd name="connsiteY1237" fmla="*/ 218885 h 771525"/>
                  <a:gd name="connsiteX1238" fmla="*/ 22765 w 485775"/>
                  <a:gd name="connsiteY1238" fmla="*/ 221456 h 771525"/>
                  <a:gd name="connsiteX1239" fmla="*/ 21908 w 485775"/>
                  <a:gd name="connsiteY1239" fmla="*/ 222313 h 771525"/>
                  <a:gd name="connsiteX1240" fmla="*/ 21908 w 485775"/>
                  <a:gd name="connsiteY1240" fmla="*/ 222313 h 771525"/>
                  <a:gd name="connsiteX1241" fmla="*/ 21050 w 485775"/>
                  <a:gd name="connsiteY1241" fmla="*/ 223076 h 771525"/>
                  <a:gd name="connsiteX1242" fmla="*/ 20193 w 485775"/>
                  <a:gd name="connsiteY1242" fmla="*/ 222313 h 771525"/>
                  <a:gd name="connsiteX1243" fmla="*/ 19431 w 485775"/>
                  <a:gd name="connsiteY1243" fmla="*/ 222313 h 771525"/>
                  <a:gd name="connsiteX1244" fmla="*/ 18574 w 485775"/>
                  <a:gd name="connsiteY1244" fmla="*/ 221456 h 771525"/>
                  <a:gd name="connsiteX1245" fmla="*/ 17717 w 485775"/>
                  <a:gd name="connsiteY1245" fmla="*/ 220599 h 771525"/>
                  <a:gd name="connsiteX1246" fmla="*/ 16859 w 485775"/>
                  <a:gd name="connsiteY1246" fmla="*/ 220599 h 771525"/>
                  <a:gd name="connsiteX1247" fmla="*/ 16002 w 485775"/>
                  <a:gd name="connsiteY1247" fmla="*/ 221456 h 771525"/>
                  <a:gd name="connsiteX1248" fmla="*/ 16002 w 485775"/>
                  <a:gd name="connsiteY1248" fmla="*/ 223933 h 771525"/>
                  <a:gd name="connsiteX1249" fmla="*/ 14383 w 485775"/>
                  <a:gd name="connsiteY1249" fmla="*/ 226504 h 771525"/>
                  <a:gd name="connsiteX1250" fmla="*/ 14383 w 485775"/>
                  <a:gd name="connsiteY1250" fmla="*/ 227362 h 771525"/>
                  <a:gd name="connsiteX1251" fmla="*/ 14383 w 485775"/>
                  <a:gd name="connsiteY1251" fmla="*/ 227362 h 771525"/>
                  <a:gd name="connsiteX1252" fmla="*/ 14383 w 485775"/>
                  <a:gd name="connsiteY1252" fmla="*/ 227362 h 771525"/>
                  <a:gd name="connsiteX1253" fmla="*/ 15145 w 485775"/>
                  <a:gd name="connsiteY1253" fmla="*/ 228219 h 771525"/>
                  <a:gd name="connsiteX1254" fmla="*/ 15145 w 485775"/>
                  <a:gd name="connsiteY1254" fmla="*/ 228219 h 771525"/>
                  <a:gd name="connsiteX1255" fmla="*/ 16002 w 485775"/>
                  <a:gd name="connsiteY1255" fmla="*/ 228219 h 771525"/>
                  <a:gd name="connsiteX1256" fmla="*/ 16002 w 485775"/>
                  <a:gd name="connsiteY1256" fmla="*/ 227362 h 771525"/>
                  <a:gd name="connsiteX1257" fmla="*/ 16859 w 485775"/>
                  <a:gd name="connsiteY1257" fmla="*/ 226504 h 771525"/>
                  <a:gd name="connsiteX1258" fmla="*/ 18574 w 485775"/>
                  <a:gd name="connsiteY1258" fmla="*/ 226504 h 771525"/>
                  <a:gd name="connsiteX1259" fmla="*/ 18574 w 485775"/>
                  <a:gd name="connsiteY1259" fmla="*/ 226504 h 771525"/>
                  <a:gd name="connsiteX1260" fmla="*/ 18574 w 485775"/>
                  <a:gd name="connsiteY1260" fmla="*/ 226504 h 771525"/>
                  <a:gd name="connsiteX1261" fmla="*/ 19431 w 485775"/>
                  <a:gd name="connsiteY1261" fmla="*/ 226504 h 771525"/>
                  <a:gd name="connsiteX1262" fmla="*/ 19431 w 485775"/>
                  <a:gd name="connsiteY1262" fmla="*/ 227362 h 771525"/>
                  <a:gd name="connsiteX1263" fmla="*/ 19431 w 485775"/>
                  <a:gd name="connsiteY1263" fmla="*/ 228219 h 771525"/>
                  <a:gd name="connsiteX1264" fmla="*/ 19431 w 485775"/>
                  <a:gd name="connsiteY1264" fmla="*/ 229076 h 771525"/>
                  <a:gd name="connsiteX1265" fmla="*/ 20193 w 485775"/>
                  <a:gd name="connsiteY1265" fmla="*/ 229076 h 771525"/>
                  <a:gd name="connsiteX1266" fmla="*/ 20193 w 485775"/>
                  <a:gd name="connsiteY1266" fmla="*/ 229934 h 771525"/>
                  <a:gd name="connsiteX1267" fmla="*/ 20193 w 485775"/>
                  <a:gd name="connsiteY1267" fmla="*/ 229934 h 771525"/>
                  <a:gd name="connsiteX1268" fmla="*/ 21050 w 485775"/>
                  <a:gd name="connsiteY1268" fmla="*/ 230791 h 771525"/>
                  <a:gd name="connsiteX1269" fmla="*/ 21050 w 485775"/>
                  <a:gd name="connsiteY1269" fmla="*/ 230791 h 771525"/>
                  <a:gd name="connsiteX1270" fmla="*/ 21908 w 485775"/>
                  <a:gd name="connsiteY1270" fmla="*/ 230791 h 771525"/>
                  <a:gd name="connsiteX1271" fmla="*/ 23622 w 485775"/>
                  <a:gd name="connsiteY1271" fmla="*/ 230791 h 771525"/>
                  <a:gd name="connsiteX1272" fmla="*/ 23622 w 485775"/>
                  <a:gd name="connsiteY1272" fmla="*/ 230791 h 771525"/>
                  <a:gd name="connsiteX1273" fmla="*/ 24479 w 485775"/>
                  <a:gd name="connsiteY1273" fmla="*/ 230791 h 771525"/>
                  <a:gd name="connsiteX1274" fmla="*/ 24479 w 485775"/>
                  <a:gd name="connsiteY1274" fmla="*/ 231553 h 771525"/>
                  <a:gd name="connsiteX1275" fmla="*/ 24479 w 485775"/>
                  <a:gd name="connsiteY1275" fmla="*/ 232410 h 771525"/>
                  <a:gd name="connsiteX1276" fmla="*/ 24479 w 485775"/>
                  <a:gd name="connsiteY1276" fmla="*/ 233267 h 771525"/>
                  <a:gd name="connsiteX1277" fmla="*/ 24479 w 485775"/>
                  <a:gd name="connsiteY1277" fmla="*/ 234125 h 771525"/>
                  <a:gd name="connsiteX1278" fmla="*/ 25337 w 485775"/>
                  <a:gd name="connsiteY1278" fmla="*/ 234125 h 771525"/>
                  <a:gd name="connsiteX1279" fmla="*/ 25337 w 485775"/>
                  <a:gd name="connsiteY1279" fmla="*/ 234982 h 771525"/>
                  <a:gd name="connsiteX1280" fmla="*/ 26099 w 485775"/>
                  <a:gd name="connsiteY1280" fmla="*/ 234982 h 771525"/>
                  <a:gd name="connsiteX1281" fmla="*/ 26956 w 485775"/>
                  <a:gd name="connsiteY1281" fmla="*/ 235839 h 771525"/>
                  <a:gd name="connsiteX1282" fmla="*/ 28670 w 485775"/>
                  <a:gd name="connsiteY1282" fmla="*/ 236696 h 771525"/>
                  <a:gd name="connsiteX1283" fmla="*/ 28670 w 485775"/>
                  <a:gd name="connsiteY1283" fmla="*/ 236696 h 771525"/>
                  <a:gd name="connsiteX1284" fmla="*/ 28670 w 485775"/>
                  <a:gd name="connsiteY1284" fmla="*/ 237554 h 771525"/>
                  <a:gd name="connsiteX1285" fmla="*/ 28670 w 485775"/>
                  <a:gd name="connsiteY1285" fmla="*/ 237554 h 771525"/>
                  <a:gd name="connsiteX1286" fmla="*/ 28670 w 485775"/>
                  <a:gd name="connsiteY1286" fmla="*/ 238411 h 771525"/>
                  <a:gd name="connsiteX1287" fmla="*/ 27813 w 485775"/>
                  <a:gd name="connsiteY1287" fmla="*/ 238411 h 771525"/>
                  <a:gd name="connsiteX1288" fmla="*/ 26956 w 485775"/>
                  <a:gd name="connsiteY1288" fmla="*/ 239268 h 771525"/>
                  <a:gd name="connsiteX1289" fmla="*/ 25337 w 485775"/>
                  <a:gd name="connsiteY1289" fmla="*/ 239268 h 771525"/>
                  <a:gd name="connsiteX1290" fmla="*/ 23622 w 485775"/>
                  <a:gd name="connsiteY1290" fmla="*/ 239268 h 771525"/>
                  <a:gd name="connsiteX1291" fmla="*/ 22765 w 485775"/>
                  <a:gd name="connsiteY1291" fmla="*/ 240125 h 771525"/>
                  <a:gd name="connsiteX1292" fmla="*/ 22765 w 485775"/>
                  <a:gd name="connsiteY1292" fmla="*/ 240887 h 771525"/>
                  <a:gd name="connsiteX1293" fmla="*/ 22765 w 485775"/>
                  <a:gd name="connsiteY1293" fmla="*/ 242602 h 771525"/>
                  <a:gd name="connsiteX1294" fmla="*/ 23622 w 485775"/>
                  <a:gd name="connsiteY1294" fmla="*/ 243459 h 771525"/>
                  <a:gd name="connsiteX1295" fmla="*/ 23622 w 485775"/>
                  <a:gd name="connsiteY1295" fmla="*/ 244316 h 771525"/>
                  <a:gd name="connsiteX1296" fmla="*/ 24479 w 485775"/>
                  <a:gd name="connsiteY1296" fmla="*/ 246031 h 771525"/>
                  <a:gd name="connsiteX1297" fmla="*/ 24479 w 485775"/>
                  <a:gd name="connsiteY1297" fmla="*/ 246031 h 771525"/>
                  <a:gd name="connsiteX1298" fmla="*/ 24479 w 485775"/>
                  <a:gd name="connsiteY1298" fmla="*/ 246888 h 771525"/>
                  <a:gd name="connsiteX1299" fmla="*/ 24479 w 485775"/>
                  <a:gd name="connsiteY1299" fmla="*/ 248603 h 771525"/>
                  <a:gd name="connsiteX1300" fmla="*/ 24479 w 485775"/>
                  <a:gd name="connsiteY1300" fmla="*/ 250222 h 771525"/>
                  <a:gd name="connsiteX1301" fmla="*/ 25337 w 485775"/>
                  <a:gd name="connsiteY1301" fmla="*/ 251079 h 771525"/>
                  <a:gd name="connsiteX1302" fmla="*/ 25337 w 485775"/>
                  <a:gd name="connsiteY1302" fmla="*/ 251079 h 771525"/>
                  <a:gd name="connsiteX1303" fmla="*/ 26099 w 485775"/>
                  <a:gd name="connsiteY1303" fmla="*/ 251079 h 771525"/>
                  <a:gd name="connsiteX1304" fmla="*/ 26099 w 485775"/>
                  <a:gd name="connsiteY1304" fmla="*/ 251079 h 771525"/>
                  <a:gd name="connsiteX1305" fmla="*/ 26956 w 485775"/>
                  <a:gd name="connsiteY1305" fmla="*/ 250222 h 771525"/>
                  <a:gd name="connsiteX1306" fmla="*/ 27813 w 485775"/>
                  <a:gd name="connsiteY1306" fmla="*/ 250222 h 771525"/>
                  <a:gd name="connsiteX1307" fmla="*/ 28670 w 485775"/>
                  <a:gd name="connsiteY1307" fmla="*/ 249364 h 771525"/>
                  <a:gd name="connsiteX1308" fmla="*/ 29528 w 485775"/>
                  <a:gd name="connsiteY1308" fmla="*/ 249364 h 771525"/>
                  <a:gd name="connsiteX1309" fmla="*/ 29528 w 485775"/>
                  <a:gd name="connsiteY1309" fmla="*/ 249364 h 771525"/>
                  <a:gd name="connsiteX1310" fmla="*/ 39624 w 485775"/>
                  <a:gd name="connsiteY1310" fmla="*/ 254508 h 771525"/>
                  <a:gd name="connsiteX1311" fmla="*/ 39624 w 485775"/>
                  <a:gd name="connsiteY1311" fmla="*/ 254508 h 771525"/>
                  <a:gd name="connsiteX1312" fmla="*/ 40481 w 485775"/>
                  <a:gd name="connsiteY1312" fmla="*/ 255365 h 771525"/>
                  <a:gd name="connsiteX1313" fmla="*/ 41339 w 485775"/>
                  <a:gd name="connsiteY1313" fmla="*/ 256222 h 771525"/>
                  <a:gd name="connsiteX1314" fmla="*/ 41339 w 485775"/>
                  <a:gd name="connsiteY1314" fmla="*/ 257080 h 771525"/>
                  <a:gd name="connsiteX1315" fmla="*/ 42101 w 485775"/>
                  <a:gd name="connsiteY1315" fmla="*/ 257937 h 771525"/>
                  <a:gd name="connsiteX1316" fmla="*/ 42101 w 485775"/>
                  <a:gd name="connsiteY1316" fmla="*/ 259556 h 771525"/>
                  <a:gd name="connsiteX1317" fmla="*/ 41339 w 485775"/>
                  <a:gd name="connsiteY1317" fmla="*/ 264700 h 771525"/>
                  <a:gd name="connsiteX1318" fmla="*/ 41339 w 485775"/>
                  <a:gd name="connsiteY1318" fmla="*/ 268891 h 771525"/>
                  <a:gd name="connsiteX1319" fmla="*/ 41339 w 485775"/>
                  <a:gd name="connsiteY1319" fmla="*/ 270605 h 771525"/>
                  <a:gd name="connsiteX1320" fmla="*/ 40481 w 485775"/>
                  <a:gd name="connsiteY1320" fmla="*/ 271463 h 771525"/>
                  <a:gd name="connsiteX1321" fmla="*/ 39624 w 485775"/>
                  <a:gd name="connsiteY1321" fmla="*/ 272320 h 771525"/>
                  <a:gd name="connsiteX1322" fmla="*/ 35433 w 485775"/>
                  <a:gd name="connsiteY1322" fmla="*/ 272320 h 771525"/>
                  <a:gd name="connsiteX1323" fmla="*/ 34576 w 485775"/>
                  <a:gd name="connsiteY1323" fmla="*/ 272320 h 771525"/>
                  <a:gd name="connsiteX1324" fmla="*/ 32861 w 485775"/>
                  <a:gd name="connsiteY1324" fmla="*/ 273177 h 771525"/>
                  <a:gd name="connsiteX1325" fmla="*/ 32004 w 485775"/>
                  <a:gd name="connsiteY1325" fmla="*/ 274034 h 771525"/>
                  <a:gd name="connsiteX1326" fmla="*/ 32004 w 485775"/>
                  <a:gd name="connsiteY1326" fmla="*/ 274892 h 771525"/>
                  <a:gd name="connsiteX1327" fmla="*/ 32004 w 485775"/>
                  <a:gd name="connsiteY1327" fmla="*/ 275749 h 771525"/>
                  <a:gd name="connsiteX1328" fmla="*/ 32004 w 485775"/>
                  <a:gd name="connsiteY1328" fmla="*/ 276511 h 771525"/>
                  <a:gd name="connsiteX1329" fmla="*/ 32861 w 485775"/>
                  <a:gd name="connsiteY1329" fmla="*/ 276511 h 771525"/>
                  <a:gd name="connsiteX1330" fmla="*/ 35433 w 485775"/>
                  <a:gd name="connsiteY1330" fmla="*/ 277368 h 771525"/>
                  <a:gd name="connsiteX1331" fmla="*/ 36195 w 485775"/>
                  <a:gd name="connsiteY1331" fmla="*/ 277368 h 771525"/>
                  <a:gd name="connsiteX1332" fmla="*/ 36195 w 485775"/>
                  <a:gd name="connsiteY1332" fmla="*/ 278225 h 771525"/>
                  <a:gd name="connsiteX1333" fmla="*/ 37052 w 485775"/>
                  <a:gd name="connsiteY1333" fmla="*/ 278225 h 771525"/>
                  <a:gd name="connsiteX1334" fmla="*/ 37052 w 485775"/>
                  <a:gd name="connsiteY1334" fmla="*/ 279940 h 771525"/>
                  <a:gd name="connsiteX1335" fmla="*/ 37052 w 485775"/>
                  <a:gd name="connsiteY1335" fmla="*/ 280797 h 771525"/>
                  <a:gd name="connsiteX1336" fmla="*/ 36195 w 485775"/>
                  <a:gd name="connsiteY1336" fmla="*/ 284226 h 771525"/>
                  <a:gd name="connsiteX1337" fmla="*/ 36195 w 485775"/>
                  <a:gd name="connsiteY1337" fmla="*/ 285845 h 771525"/>
                  <a:gd name="connsiteX1338" fmla="*/ 34576 w 485775"/>
                  <a:gd name="connsiteY1338" fmla="*/ 287560 h 771525"/>
                  <a:gd name="connsiteX1339" fmla="*/ 33719 w 485775"/>
                  <a:gd name="connsiteY1339" fmla="*/ 289274 h 771525"/>
                  <a:gd name="connsiteX1340" fmla="*/ 31147 w 485775"/>
                  <a:gd name="connsiteY1340" fmla="*/ 293561 h 771525"/>
                  <a:gd name="connsiteX1341" fmla="*/ 28670 w 485775"/>
                  <a:gd name="connsiteY1341" fmla="*/ 297752 h 771525"/>
                  <a:gd name="connsiteX1342" fmla="*/ 28670 w 485775"/>
                  <a:gd name="connsiteY1342" fmla="*/ 298609 h 771525"/>
                  <a:gd name="connsiteX1343" fmla="*/ 28670 w 485775"/>
                  <a:gd name="connsiteY1343" fmla="*/ 298609 h 771525"/>
                  <a:gd name="connsiteX1344" fmla="*/ 29528 w 485775"/>
                  <a:gd name="connsiteY1344" fmla="*/ 300323 h 771525"/>
                  <a:gd name="connsiteX1345" fmla="*/ 30385 w 485775"/>
                  <a:gd name="connsiteY1345" fmla="*/ 301180 h 771525"/>
                  <a:gd name="connsiteX1346" fmla="*/ 30385 w 485775"/>
                  <a:gd name="connsiteY1346" fmla="*/ 302038 h 771525"/>
                  <a:gd name="connsiteX1347" fmla="*/ 30385 w 485775"/>
                  <a:gd name="connsiteY1347" fmla="*/ 302800 h 771525"/>
                  <a:gd name="connsiteX1348" fmla="*/ 27813 w 485775"/>
                  <a:gd name="connsiteY1348" fmla="*/ 307086 h 771525"/>
                  <a:gd name="connsiteX1349" fmla="*/ 26099 w 485775"/>
                  <a:gd name="connsiteY1349" fmla="*/ 310515 h 771525"/>
                  <a:gd name="connsiteX1350" fmla="*/ 24479 w 485775"/>
                  <a:gd name="connsiteY1350" fmla="*/ 311372 h 771525"/>
                  <a:gd name="connsiteX1351" fmla="*/ 22765 w 485775"/>
                  <a:gd name="connsiteY1351" fmla="*/ 312992 h 771525"/>
                  <a:gd name="connsiteX1352" fmla="*/ 21908 w 485775"/>
                  <a:gd name="connsiteY1352" fmla="*/ 312992 h 771525"/>
                  <a:gd name="connsiteX1353" fmla="*/ 20193 w 485775"/>
                  <a:gd name="connsiteY1353" fmla="*/ 313849 h 771525"/>
                  <a:gd name="connsiteX1354" fmla="*/ 17717 w 485775"/>
                  <a:gd name="connsiteY1354" fmla="*/ 314706 h 771525"/>
                  <a:gd name="connsiteX1355" fmla="*/ 14383 w 485775"/>
                  <a:gd name="connsiteY1355" fmla="*/ 314706 h 771525"/>
                  <a:gd name="connsiteX1356" fmla="*/ 13526 w 485775"/>
                  <a:gd name="connsiteY1356" fmla="*/ 313849 h 771525"/>
                  <a:gd name="connsiteX1357" fmla="*/ 13526 w 485775"/>
                  <a:gd name="connsiteY1357" fmla="*/ 313849 h 771525"/>
                  <a:gd name="connsiteX1358" fmla="*/ 12668 w 485775"/>
                  <a:gd name="connsiteY1358" fmla="*/ 313849 h 771525"/>
                  <a:gd name="connsiteX1359" fmla="*/ 13526 w 485775"/>
                  <a:gd name="connsiteY1359" fmla="*/ 312992 h 771525"/>
                  <a:gd name="connsiteX1360" fmla="*/ 13526 w 485775"/>
                  <a:gd name="connsiteY1360" fmla="*/ 312992 h 771525"/>
                  <a:gd name="connsiteX1361" fmla="*/ 13526 w 485775"/>
                  <a:gd name="connsiteY1361" fmla="*/ 311372 h 771525"/>
                  <a:gd name="connsiteX1362" fmla="*/ 13526 w 485775"/>
                  <a:gd name="connsiteY1362" fmla="*/ 310515 h 771525"/>
                  <a:gd name="connsiteX1363" fmla="*/ 12668 w 485775"/>
                  <a:gd name="connsiteY1363" fmla="*/ 309658 h 771525"/>
                  <a:gd name="connsiteX1364" fmla="*/ 12668 w 485775"/>
                  <a:gd name="connsiteY1364" fmla="*/ 309658 h 771525"/>
                  <a:gd name="connsiteX1365" fmla="*/ 11811 w 485775"/>
                  <a:gd name="connsiteY1365" fmla="*/ 309658 h 771525"/>
                  <a:gd name="connsiteX1366" fmla="*/ 10954 w 485775"/>
                  <a:gd name="connsiteY1366" fmla="*/ 309658 h 771525"/>
                  <a:gd name="connsiteX1367" fmla="*/ 10097 w 485775"/>
                  <a:gd name="connsiteY1367" fmla="*/ 309658 h 771525"/>
                  <a:gd name="connsiteX1368" fmla="*/ 5048 w 485775"/>
                  <a:gd name="connsiteY1368" fmla="*/ 313849 h 771525"/>
                  <a:gd name="connsiteX1369" fmla="*/ 3429 w 485775"/>
                  <a:gd name="connsiteY1369" fmla="*/ 315563 h 771525"/>
                  <a:gd name="connsiteX1370" fmla="*/ 2572 w 485775"/>
                  <a:gd name="connsiteY1370" fmla="*/ 318992 h 771525"/>
                  <a:gd name="connsiteX1371" fmla="*/ 1715 w 485775"/>
                  <a:gd name="connsiteY1371" fmla="*/ 319850 h 771525"/>
                  <a:gd name="connsiteX1372" fmla="*/ 1715 w 485775"/>
                  <a:gd name="connsiteY1372" fmla="*/ 319850 h 771525"/>
                  <a:gd name="connsiteX1373" fmla="*/ 0 w 485775"/>
                  <a:gd name="connsiteY1373" fmla="*/ 320612 h 771525"/>
                  <a:gd name="connsiteX1374" fmla="*/ 0 w 485775"/>
                  <a:gd name="connsiteY1374" fmla="*/ 320612 h 771525"/>
                  <a:gd name="connsiteX1375" fmla="*/ 0 w 485775"/>
                  <a:gd name="connsiteY1375" fmla="*/ 321469 h 771525"/>
                  <a:gd name="connsiteX1376" fmla="*/ 857 w 485775"/>
                  <a:gd name="connsiteY1376" fmla="*/ 322326 h 771525"/>
                  <a:gd name="connsiteX1377" fmla="*/ 857 w 485775"/>
                  <a:gd name="connsiteY1377" fmla="*/ 324041 h 771525"/>
                  <a:gd name="connsiteX1378" fmla="*/ 2572 w 485775"/>
                  <a:gd name="connsiteY1378" fmla="*/ 324898 h 771525"/>
                  <a:gd name="connsiteX1379" fmla="*/ 3429 w 485775"/>
                  <a:gd name="connsiteY1379" fmla="*/ 324898 h 771525"/>
                  <a:gd name="connsiteX1380" fmla="*/ 5048 w 485775"/>
                  <a:gd name="connsiteY1380" fmla="*/ 324898 h 771525"/>
                  <a:gd name="connsiteX1381" fmla="*/ 5906 w 485775"/>
                  <a:gd name="connsiteY1381" fmla="*/ 324041 h 771525"/>
                  <a:gd name="connsiteX1382" fmla="*/ 6763 w 485775"/>
                  <a:gd name="connsiteY1382" fmla="*/ 324041 h 771525"/>
                  <a:gd name="connsiteX1383" fmla="*/ 8477 w 485775"/>
                  <a:gd name="connsiteY1383" fmla="*/ 323183 h 771525"/>
                  <a:gd name="connsiteX1384" fmla="*/ 8477 w 485775"/>
                  <a:gd name="connsiteY1384" fmla="*/ 322326 h 771525"/>
                  <a:gd name="connsiteX1385" fmla="*/ 9335 w 485775"/>
                  <a:gd name="connsiteY1385" fmla="*/ 323183 h 771525"/>
                  <a:gd name="connsiteX1386" fmla="*/ 10954 w 485775"/>
                  <a:gd name="connsiteY1386" fmla="*/ 324041 h 771525"/>
                  <a:gd name="connsiteX1387" fmla="*/ 14383 w 485775"/>
                  <a:gd name="connsiteY1387" fmla="*/ 325755 h 771525"/>
                  <a:gd name="connsiteX1388" fmla="*/ 15145 w 485775"/>
                  <a:gd name="connsiteY1388" fmla="*/ 326612 h 771525"/>
                  <a:gd name="connsiteX1389" fmla="*/ 16002 w 485775"/>
                  <a:gd name="connsiteY1389" fmla="*/ 326612 h 771525"/>
                  <a:gd name="connsiteX1390" fmla="*/ 16859 w 485775"/>
                  <a:gd name="connsiteY1390" fmla="*/ 329946 h 771525"/>
                  <a:gd name="connsiteX1391" fmla="*/ 17717 w 485775"/>
                  <a:gd name="connsiteY1391" fmla="*/ 336804 h 771525"/>
                  <a:gd name="connsiteX1392" fmla="*/ 17717 w 485775"/>
                  <a:gd name="connsiteY1392" fmla="*/ 338519 h 771525"/>
                  <a:gd name="connsiteX1393" fmla="*/ 17717 w 485775"/>
                  <a:gd name="connsiteY1393" fmla="*/ 340138 h 771525"/>
                  <a:gd name="connsiteX1394" fmla="*/ 16002 w 485775"/>
                  <a:gd name="connsiteY1394" fmla="*/ 341852 h 771525"/>
                  <a:gd name="connsiteX1395" fmla="*/ 15145 w 485775"/>
                  <a:gd name="connsiteY1395" fmla="*/ 343567 h 771525"/>
                  <a:gd name="connsiteX1396" fmla="*/ 16002 w 485775"/>
                  <a:gd name="connsiteY1396" fmla="*/ 345281 h 771525"/>
                  <a:gd name="connsiteX1397" fmla="*/ 16859 w 485775"/>
                  <a:gd name="connsiteY1397" fmla="*/ 346996 h 771525"/>
                  <a:gd name="connsiteX1398" fmla="*/ 17717 w 485775"/>
                  <a:gd name="connsiteY1398" fmla="*/ 347758 h 771525"/>
                  <a:gd name="connsiteX1399" fmla="*/ 17717 w 485775"/>
                  <a:gd name="connsiteY1399" fmla="*/ 348615 h 771525"/>
                  <a:gd name="connsiteX1400" fmla="*/ 17717 w 485775"/>
                  <a:gd name="connsiteY1400" fmla="*/ 349472 h 771525"/>
                  <a:gd name="connsiteX1401" fmla="*/ 17717 w 485775"/>
                  <a:gd name="connsiteY1401" fmla="*/ 349472 h 771525"/>
                  <a:gd name="connsiteX1402" fmla="*/ 17717 w 485775"/>
                  <a:gd name="connsiteY1402" fmla="*/ 351187 h 771525"/>
                  <a:gd name="connsiteX1403" fmla="*/ 17717 w 485775"/>
                  <a:gd name="connsiteY1403" fmla="*/ 352044 h 771525"/>
                  <a:gd name="connsiteX1404" fmla="*/ 17717 w 485775"/>
                  <a:gd name="connsiteY1404" fmla="*/ 352901 h 771525"/>
                  <a:gd name="connsiteX1405" fmla="*/ 18574 w 485775"/>
                  <a:gd name="connsiteY1405" fmla="*/ 354616 h 771525"/>
                  <a:gd name="connsiteX1406" fmla="*/ 21908 w 485775"/>
                  <a:gd name="connsiteY1406" fmla="*/ 357950 h 771525"/>
                  <a:gd name="connsiteX1407" fmla="*/ 21908 w 485775"/>
                  <a:gd name="connsiteY1407" fmla="*/ 357950 h 771525"/>
                  <a:gd name="connsiteX1408" fmla="*/ 22765 w 485775"/>
                  <a:gd name="connsiteY1408" fmla="*/ 358807 h 771525"/>
                  <a:gd name="connsiteX1409" fmla="*/ 22765 w 485775"/>
                  <a:gd name="connsiteY1409" fmla="*/ 359664 h 771525"/>
                  <a:gd name="connsiteX1410" fmla="*/ 22765 w 485775"/>
                  <a:gd name="connsiteY1410" fmla="*/ 363950 h 771525"/>
                  <a:gd name="connsiteX1411" fmla="*/ 22765 w 485775"/>
                  <a:gd name="connsiteY1411" fmla="*/ 365570 h 771525"/>
                  <a:gd name="connsiteX1412" fmla="*/ 21908 w 485775"/>
                  <a:gd name="connsiteY1412" fmla="*/ 366427 h 771525"/>
                  <a:gd name="connsiteX1413" fmla="*/ 21050 w 485775"/>
                  <a:gd name="connsiteY1413" fmla="*/ 366427 h 771525"/>
                  <a:gd name="connsiteX1414" fmla="*/ 20193 w 485775"/>
                  <a:gd name="connsiteY1414" fmla="*/ 367284 h 771525"/>
                  <a:gd name="connsiteX1415" fmla="*/ 16859 w 485775"/>
                  <a:gd name="connsiteY1415" fmla="*/ 368141 h 771525"/>
                  <a:gd name="connsiteX1416" fmla="*/ 16859 w 485775"/>
                  <a:gd name="connsiteY1416" fmla="*/ 368141 h 771525"/>
                  <a:gd name="connsiteX1417" fmla="*/ 16002 w 485775"/>
                  <a:gd name="connsiteY1417" fmla="*/ 368141 h 771525"/>
                  <a:gd name="connsiteX1418" fmla="*/ 16002 w 485775"/>
                  <a:gd name="connsiteY1418" fmla="*/ 368998 h 771525"/>
                  <a:gd name="connsiteX1419" fmla="*/ 16002 w 485775"/>
                  <a:gd name="connsiteY1419" fmla="*/ 369856 h 771525"/>
                  <a:gd name="connsiteX1420" fmla="*/ 16002 w 485775"/>
                  <a:gd name="connsiteY1420" fmla="*/ 370713 h 771525"/>
                  <a:gd name="connsiteX1421" fmla="*/ 16859 w 485775"/>
                  <a:gd name="connsiteY1421" fmla="*/ 371570 h 771525"/>
                  <a:gd name="connsiteX1422" fmla="*/ 20193 w 485775"/>
                  <a:gd name="connsiteY1422" fmla="*/ 373285 h 771525"/>
                  <a:gd name="connsiteX1423" fmla="*/ 21050 w 485775"/>
                  <a:gd name="connsiteY1423" fmla="*/ 374142 h 771525"/>
                  <a:gd name="connsiteX1424" fmla="*/ 21050 w 485775"/>
                  <a:gd name="connsiteY1424" fmla="*/ 374142 h 771525"/>
                  <a:gd name="connsiteX1425" fmla="*/ 21908 w 485775"/>
                  <a:gd name="connsiteY1425" fmla="*/ 374904 h 771525"/>
                  <a:gd name="connsiteX1426" fmla="*/ 21908 w 485775"/>
                  <a:gd name="connsiteY1426" fmla="*/ 375761 h 771525"/>
                  <a:gd name="connsiteX1427" fmla="*/ 21908 w 485775"/>
                  <a:gd name="connsiteY1427" fmla="*/ 376619 h 771525"/>
                  <a:gd name="connsiteX1428" fmla="*/ 21050 w 485775"/>
                  <a:gd name="connsiteY1428" fmla="*/ 378333 h 771525"/>
                  <a:gd name="connsiteX1429" fmla="*/ 18574 w 485775"/>
                  <a:gd name="connsiteY1429" fmla="*/ 383381 h 771525"/>
                  <a:gd name="connsiteX1430" fmla="*/ 18574 w 485775"/>
                  <a:gd name="connsiteY1430" fmla="*/ 384238 h 771525"/>
                  <a:gd name="connsiteX1431" fmla="*/ 18574 w 485775"/>
                  <a:gd name="connsiteY1431" fmla="*/ 385953 h 771525"/>
                  <a:gd name="connsiteX1432" fmla="*/ 18574 w 485775"/>
                  <a:gd name="connsiteY1432" fmla="*/ 386810 h 771525"/>
                  <a:gd name="connsiteX1433" fmla="*/ 18574 w 485775"/>
                  <a:gd name="connsiteY1433" fmla="*/ 387668 h 771525"/>
                  <a:gd name="connsiteX1434" fmla="*/ 19431 w 485775"/>
                  <a:gd name="connsiteY1434" fmla="*/ 391954 h 771525"/>
                  <a:gd name="connsiteX1435" fmla="*/ 19431 w 485775"/>
                  <a:gd name="connsiteY1435" fmla="*/ 392716 h 771525"/>
                  <a:gd name="connsiteX1436" fmla="*/ 18574 w 485775"/>
                  <a:gd name="connsiteY1436" fmla="*/ 393573 h 771525"/>
                  <a:gd name="connsiteX1437" fmla="*/ 18574 w 485775"/>
                  <a:gd name="connsiteY1437" fmla="*/ 394430 h 771525"/>
                  <a:gd name="connsiteX1438" fmla="*/ 18574 w 485775"/>
                  <a:gd name="connsiteY1438" fmla="*/ 395288 h 771525"/>
                  <a:gd name="connsiteX1439" fmla="*/ 17717 w 485775"/>
                  <a:gd name="connsiteY1439" fmla="*/ 397002 h 771525"/>
                  <a:gd name="connsiteX1440" fmla="*/ 16859 w 485775"/>
                  <a:gd name="connsiteY1440" fmla="*/ 399574 h 771525"/>
                  <a:gd name="connsiteX1441" fmla="*/ 16002 w 485775"/>
                  <a:gd name="connsiteY1441" fmla="*/ 401193 h 771525"/>
                  <a:gd name="connsiteX1442" fmla="*/ 16002 w 485775"/>
                  <a:gd name="connsiteY1442" fmla="*/ 402050 h 771525"/>
                  <a:gd name="connsiteX1443" fmla="*/ 16002 w 485775"/>
                  <a:gd name="connsiteY1443" fmla="*/ 402050 h 771525"/>
                  <a:gd name="connsiteX1444" fmla="*/ 14383 w 485775"/>
                  <a:gd name="connsiteY1444" fmla="*/ 403765 h 771525"/>
                  <a:gd name="connsiteX1445" fmla="*/ 12668 w 485775"/>
                  <a:gd name="connsiteY1445" fmla="*/ 404622 h 771525"/>
                  <a:gd name="connsiteX1446" fmla="*/ 10954 w 485775"/>
                  <a:gd name="connsiteY1446" fmla="*/ 405479 h 771525"/>
                  <a:gd name="connsiteX1447" fmla="*/ 10097 w 485775"/>
                  <a:gd name="connsiteY1447" fmla="*/ 405479 h 771525"/>
                  <a:gd name="connsiteX1448" fmla="*/ 6763 w 485775"/>
                  <a:gd name="connsiteY1448" fmla="*/ 405479 h 771525"/>
                  <a:gd name="connsiteX1449" fmla="*/ 6763 w 485775"/>
                  <a:gd name="connsiteY1449" fmla="*/ 405479 h 771525"/>
                  <a:gd name="connsiteX1450" fmla="*/ 5906 w 485775"/>
                  <a:gd name="connsiteY1450" fmla="*/ 406337 h 771525"/>
                  <a:gd name="connsiteX1451" fmla="*/ 3429 w 485775"/>
                  <a:gd name="connsiteY1451" fmla="*/ 408051 h 771525"/>
                  <a:gd name="connsiteX1452" fmla="*/ 0 w 485775"/>
                  <a:gd name="connsiteY1452" fmla="*/ 409766 h 771525"/>
                  <a:gd name="connsiteX1453" fmla="*/ 857 w 485775"/>
                  <a:gd name="connsiteY1453" fmla="*/ 413956 h 771525"/>
                  <a:gd name="connsiteX1454" fmla="*/ 1715 w 485775"/>
                  <a:gd name="connsiteY1454" fmla="*/ 414814 h 771525"/>
                  <a:gd name="connsiteX1455" fmla="*/ 3429 w 485775"/>
                  <a:gd name="connsiteY1455" fmla="*/ 414814 h 771525"/>
                  <a:gd name="connsiteX1456" fmla="*/ 5048 w 485775"/>
                  <a:gd name="connsiteY1456" fmla="*/ 413956 h 771525"/>
                  <a:gd name="connsiteX1457" fmla="*/ 6763 w 485775"/>
                  <a:gd name="connsiteY1457" fmla="*/ 413099 h 771525"/>
                  <a:gd name="connsiteX1458" fmla="*/ 6763 w 485775"/>
                  <a:gd name="connsiteY1458" fmla="*/ 412242 h 771525"/>
                  <a:gd name="connsiteX1459" fmla="*/ 7620 w 485775"/>
                  <a:gd name="connsiteY1459" fmla="*/ 411385 h 771525"/>
                  <a:gd name="connsiteX1460" fmla="*/ 10954 w 485775"/>
                  <a:gd name="connsiteY1460" fmla="*/ 409766 h 771525"/>
                  <a:gd name="connsiteX1461" fmla="*/ 12668 w 485775"/>
                  <a:gd name="connsiteY1461" fmla="*/ 408051 h 771525"/>
                  <a:gd name="connsiteX1462" fmla="*/ 12668 w 485775"/>
                  <a:gd name="connsiteY1462" fmla="*/ 410528 h 771525"/>
                  <a:gd name="connsiteX1463" fmla="*/ 13526 w 485775"/>
                  <a:gd name="connsiteY1463" fmla="*/ 410528 h 771525"/>
                  <a:gd name="connsiteX1464" fmla="*/ 15145 w 485775"/>
                  <a:gd name="connsiteY1464" fmla="*/ 410528 h 771525"/>
                  <a:gd name="connsiteX1465" fmla="*/ 15145 w 485775"/>
                  <a:gd name="connsiteY1465" fmla="*/ 411385 h 771525"/>
                  <a:gd name="connsiteX1466" fmla="*/ 15145 w 485775"/>
                  <a:gd name="connsiteY1466" fmla="*/ 413099 h 771525"/>
                  <a:gd name="connsiteX1467" fmla="*/ 14383 w 485775"/>
                  <a:gd name="connsiteY1467" fmla="*/ 413099 h 771525"/>
                  <a:gd name="connsiteX1468" fmla="*/ 13526 w 485775"/>
                  <a:gd name="connsiteY1468" fmla="*/ 412242 h 771525"/>
                  <a:gd name="connsiteX1469" fmla="*/ 12668 w 485775"/>
                  <a:gd name="connsiteY1469" fmla="*/ 412242 h 771525"/>
                  <a:gd name="connsiteX1470" fmla="*/ 10954 w 485775"/>
                  <a:gd name="connsiteY1470" fmla="*/ 413099 h 771525"/>
                  <a:gd name="connsiteX1471" fmla="*/ 9335 w 485775"/>
                  <a:gd name="connsiteY1471" fmla="*/ 413956 h 771525"/>
                  <a:gd name="connsiteX1472" fmla="*/ 8477 w 485775"/>
                  <a:gd name="connsiteY1472" fmla="*/ 414814 h 771525"/>
                  <a:gd name="connsiteX1473" fmla="*/ 6763 w 485775"/>
                  <a:gd name="connsiteY1473" fmla="*/ 417386 h 771525"/>
                  <a:gd name="connsiteX1474" fmla="*/ 5906 w 485775"/>
                  <a:gd name="connsiteY1474" fmla="*/ 415671 h 771525"/>
                  <a:gd name="connsiteX1475" fmla="*/ 5048 w 485775"/>
                  <a:gd name="connsiteY1475" fmla="*/ 415671 h 771525"/>
                  <a:gd name="connsiteX1476" fmla="*/ 3429 w 485775"/>
                  <a:gd name="connsiteY1476" fmla="*/ 415671 h 771525"/>
                  <a:gd name="connsiteX1477" fmla="*/ 2572 w 485775"/>
                  <a:gd name="connsiteY1477" fmla="*/ 416528 h 771525"/>
                  <a:gd name="connsiteX1478" fmla="*/ 2572 w 485775"/>
                  <a:gd name="connsiteY1478" fmla="*/ 417386 h 771525"/>
                  <a:gd name="connsiteX1479" fmla="*/ 1715 w 485775"/>
                  <a:gd name="connsiteY1479" fmla="*/ 419005 h 771525"/>
                  <a:gd name="connsiteX1480" fmla="*/ 1715 w 485775"/>
                  <a:gd name="connsiteY1480" fmla="*/ 419862 h 771525"/>
                  <a:gd name="connsiteX1481" fmla="*/ 0 w 485775"/>
                  <a:gd name="connsiteY1481" fmla="*/ 419005 h 771525"/>
                  <a:gd name="connsiteX1482" fmla="*/ 0 w 485775"/>
                  <a:gd name="connsiteY1482" fmla="*/ 420719 h 771525"/>
                  <a:gd name="connsiteX1483" fmla="*/ 1715 w 485775"/>
                  <a:gd name="connsiteY1483" fmla="*/ 422434 h 771525"/>
                  <a:gd name="connsiteX1484" fmla="*/ 5906 w 485775"/>
                  <a:gd name="connsiteY1484" fmla="*/ 424148 h 771525"/>
                  <a:gd name="connsiteX1485" fmla="*/ 5906 w 485775"/>
                  <a:gd name="connsiteY1485" fmla="*/ 424148 h 771525"/>
                  <a:gd name="connsiteX1486" fmla="*/ 5906 w 485775"/>
                  <a:gd name="connsiteY1486" fmla="*/ 425863 h 771525"/>
                  <a:gd name="connsiteX1487" fmla="*/ 6763 w 485775"/>
                  <a:gd name="connsiteY1487" fmla="*/ 425863 h 771525"/>
                  <a:gd name="connsiteX1488" fmla="*/ 8477 w 485775"/>
                  <a:gd name="connsiteY1488" fmla="*/ 425863 h 771525"/>
                  <a:gd name="connsiteX1489" fmla="*/ 8477 w 485775"/>
                  <a:gd name="connsiteY1489" fmla="*/ 425863 h 771525"/>
                  <a:gd name="connsiteX1490" fmla="*/ 9335 w 485775"/>
                  <a:gd name="connsiteY1490" fmla="*/ 426720 h 771525"/>
                  <a:gd name="connsiteX1491" fmla="*/ 10954 w 485775"/>
                  <a:gd name="connsiteY1491" fmla="*/ 429196 h 771525"/>
                  <a:gd name="connsiteX1492" fmla="*/ 12668 w 485775"/>
                  <a:gd name="connsiteY1492" fmla="*/ 427577 h 771525"/>
                  <a:gd name="connsiteX1493" fmla="*/ 13526 w 485775"/>
                  <a:gd name="connsiteY1493" fmla="*/ 426720 h 771525"/>
                  <a:gd name="connsiteX1494" fmla="*/ 15145 w 485775"/>
                  <a:gd name="connsiteY1494" fmla="*/ 427577 h 771525"/>
                  <a:gd name="connsiteX1495" fmla="*/ 16859 w 485775"/>
                  <a:gd name="connsiteY1495" fmla="*/ 429196 h 771525"/>
                  <a:gd name="connsiteX1496" fmla="*/ 18574 w 485775"/>
                  <a:gd name="connsiteY1496" fmla="*/ 430911 h 771525"/>
                  <a:gd name="connsiteX1497" fmla="*/ 19431 w 485775"/>
                  <a:gd name="connsiteY1497" fmla="*/ 436055 h 771525"/>
                  <a:gd name="connsiteX1498" fmla="*/ 20193 w 485775"/>
                  <a:gd name="connsiteY1498" fmla="*/ 438531 h 771525"/>
                  <a:gd name="connsiteX1499" fmla="*/ 18574 w 485775"/>
                  <a:gd name="connsiteY1499" fmla="*/ 439388 h 771525"/>
                  <a:gd name="connsiteX1500" fmla="*/ 19431 w 485775"/>
                  <a:gd name="connsiteY1500" fmla="*/ 440246 h 771525"/>
                  <a:gd name="connsiteX1501" fmla="*/ 20193 w 485775"/>
                  <a:gd name="connsiteY1501" fmla="*/ 441960 h 771525"/>
                  <a:gd name="connsiteX1502" fmla="*/ 21050 w 485775"/>
                  <a:gd name="connsiteY1502" fmla="*/ 441960 h 771525"/>
                  <a:gd name="connsiteX1503" fmla="*/ 22765 w 485775"/>
                  <a:gd name="connsiteY1503" fmla="*/ 441960 h 771525"/>
                  <a:gd name="connsiteX1504" fmla="*/ 23622 w 485775"/>
                  <a:gd name="connsiteY1504" fmla="*/ 441103 h 771525"/>
                  <a:gd name="connsiteX1505" fmla="*/ 25337 w 485775"/>
                  <a:gd name="connsiteY1505" fmla="*/ 440246 h 771525"/>
                  <a:gd name="connsiteX1506" fmla="*/ 26956 w 485775"/>
                  <a:gd name="connsiteY1506" fmla="*/ 441103 h 771525"/>
                  <a:gd name="connsiteX1507" fmla="*/ 26956 w 485775"/>
                  <a:gd name="connsiteY1507" fmla="*/ 441960 h 771525"/>
                  <a:gd name="connsiteX1508" fmla="*/ 23622 w 485775"/>
                  <a:gd name="connsiteY1508" fmla="*/ 442817 h 771525"/>
                  <a:gd name="connsiteX1509" fmla="*/ 21908 w 485775"/>
                  <a:gd name="connsiteY1509" fmla="*/ 444532 h 771525"/>
                  <a:gd name="connsiteX1510" fmla="*/ 21908 w 485775"/>
                  <a:gd name="connsiteY1510" fmla="*/ 447008 h 771525"/>
                  <a:gd name="connsiteX1511" fmla="*/ 22765 w 485775"/>
                  <a:gd name="connsiteY1511" fmla="*/ 449580 h 771525"/>
                  <a:gd name="connsiteX1512" fmla="*/ 22765 w 485775"/>
                  <a:gd name="connsiteY1512" fmla="*/ 451295 h 771525"/>
                  <a:gd name="connsiteX1513" fmla="*/ 23622 w 485775"/>
                  <a:gd name="connsiteY1513" fmla="*/ 452152 h 771525"/>
                  <a:gd name="connsiteX1514" fmla="*/ 25337 w 485775"/>
                  <a:gd name="connsiteY1514" fmla="*/ 452152 h 771525"/>
                  <a:gd name="connsiteX1515" fmla="*/ 26956 w 485775"/>
                  <a:gd name="connsiteY1515" fmla="*/ 451295 h 771525"/>
                  <a:gd name="connsiteX1516" fmla="*/ 26956 w 485775"/>
                  <a:gd name="connsiteY1516" fmla="*/ 450437 h 771525"/>
                  <a:gd name="connsiteX1517" fmla="*/ 26956 w 485775"/>
                  <a:gd name="connsiteY1517" fmla="*/ 447866 h 771525"/>
                  <a:gd name="connsiteX1518" fmla="*/ 26956 w 485775"/>
                  <a:gd name="connsiteY1518" fmla="*/ 447008 h 771525"/>
                  <a:gd name="connsiteX1519" fmla="*/ 28670 w 485775"/>
                  <a:gd name="connsiteY1519" fmla="*/ 446151 h 771525"/>
                  <a:gd name="connsiteX1520" fmla="*/ 28670 w 485775"/>
                  <a:gd name="connsiteY1520" fmla="*/ 447008 h 771525"/>
                  <a:gd name="connsiteX1521" fmla="*/ 28670 w 485775"/>
                  <a:gd name="connsiteY1521" fmla="*/ 447866 h 771525"/>
                  <a:gd name="connsiteX1522" fmla="*/ 28670 w 485775"/>
                  <a:gd name="connsiteY1522" fmla="*/ 448723 h 771525"/>
                  <a:gd name="connsiteX1523" fmla="*/ 29528 w 485775"/>
                  <a:gd name="connsiteY1523" fmla="*/ 448723 h 771525"/>
                  <a:gd name="connsiteX1524" fmla="*/ 30385 w 485775"/>
                  <a:gd name="connsiteY1524" fmla="*/ 448723 h 771525"/>
                  <a:gd name="connsiteX1525" fmla="*/ 31147 w 485775"/>
                  <a:gd name="connsiteY1525" fmla="*/ 448723 h 771525"/>
                  <a:gd name="connsiteX1526" fmla="*/ 31147 w 485775"/>
                  <a:gd name="connsiteY1526" fmla="*/ 449580 h 771525"/>
                  <a:gd name="connsiteX1527" fmla="*/ 30385 w 485775"/>
                  <a:gd name="connsiteY1527" fmla="*/ 450437 h 771525"/>
                  <a:gd name="connsiteX1528" fmla="*/ 30385 w 485775"/>
                  <a:gd name="connsiteY1528" fmla="*/ 450437 h 771525"/>
                  <a:gd name="connsiteX1529" fmla="*/ 32004 w 485775"/>
                  <a:gd name="connsiteY1529" fmla="*/ 451295 h 771525"/>
                  <a:gd name="connsiteX1530" fmla="*/ 36195 w 485775"/>
                  <a:gd name="connsiteY1530" fmla="*/ 456343 h 771525"/>
                  <a:gd name="connsiteX1531" fmla="*/ 33719 w 485775"/>
                  <a:gd name="connsiteY1531" fmla="*/ 456343 h 771525"/>
                  <a:gd name="connsiteX1532" fmla="*/ 32861 w 485775"/>
                  <a:gd name="connsiteY1532" fmla="*/ 457200 h 771525"/>
                  <a:gd name="connsiteX1533" fmla="*/ 34576 w 485775"/>
                  <a:gd name="connsiteY1533" fmla="*/ 458057 h 771525"/>
                  <a:gd name="connsiteX1534" fmla="*/ 32004 w 485775"/>
                  <a:gd name="connsiteY1534" fmla="*/ 458057 h 771525"/>
                  <a:gd name="connsiteX1535" fmla="*/ 31147 w 485775"/>
                  <a:gd name="connsiteY1535" fmla="*/ 455486 h 771525"/>
                  <a:gd name="connsiteX1536" fmla="*/ 30385 w 485775"/>
                  <a:gd name="connsiteY1536" fmla="*/ 453009 h 771525"/>
                  <a:gd name="connsiteX1537" fmla="*/ 28670 w 485775"/>
                  <a:gd name="connsiteY1537" fmla="*/ 450437 h 771525"/>
                  <a:gd name="connsiteX1538" fmla="*/ 28670 w 485775"/>
                  <a:gd name="connsiteY1538" fmla="*/ 453866 h 771525"/>
                  <a:gd name="connsiteX1539" fmla="*/ 30385 w 485775"/>
                  <a:gd name="connsiteY1539" fmla="*/ 458057 h 771525"/>
                  <a:gd name="connsiteX1540" fmla="*/ 31147 w 485775"/>
                  <a:gd name="connsiteY1540" fmla="*/ 461486 h 771525"/>
                  <a:gd name="connsiteX1541" fmla="*/ 32004 w 485775"/>
                  <a:gd name="connsiteY1541" fmla="*/ 463201 h 771525"/>
                  <a:gd name="connsiteX1542" fmla="*/ 32861 w 485775"/>
                  <a:gd name="connsiteY1542" fmla="*/ 463201 h 771525"/>
                  <a:gd name="connsiteX1543" fmla="*/ 32861 w 485775"/>
                  <a:gd name="connsiteY1543" fmla="*/ 463963 h 771525"/>
                  <a:gd name="connsiteX1544" fmla="*/ 32861 w 485775"/>
                  <a:gd name="connsiteY1544" fmla="*/ 467392 h 771525"/>
                  <a:gd name="connsiteX1545" fmla="*/ 32861 w 485775"/>
                  <a:gd name="connsiteY1545" fmla="*/ 468249 h 771525"/>
                  <a:gd name="connsiteX1546" fmla="*/ 33719 w 485775"/>
                  <a:gd name="connsiteY1546" fmla="*/ 469963 h 771525"/>
                  <a:gd name="connsiteX1547" fmla="*/ 34576 w 485775"/>
                  <a:gd name="connsiteY1547" fmla="*/ 471678 h 771525"/>
                  <a:gd name="connsiteX1548" fmla="*/ 35433 w 485775"/>
                  <a:gd name="connsiteY1548" fmla="*/ 476726 h 771525"/>
                  <a:gd name="connsiteX1549" fmla="*/ 36195 w 485775"/>
                  <a:gd name="connsiteY1549" fmla="*/ 478441 h 771525"/>
                  <a:gd name="connsiteX1550" fmla="*/ 37052 w 485775"/>
                  <a:gd name="connsiteY1550" fmla="*/ 479298 h 771525"/>
                  <a:gd name="connsiteX1551" fmla="*/ 44672 w 485775"/>
                  <a:gd name="connsiteY1551" fmla="*/ 481775 h 771525"/>
                  <a:gd name="connsiteX1552" fmla="*/ 45530 w 485775"/>
                  <a:gd name="connsiteY1552" fmla="*/ 482632 h 771525"/>
                  <a:gd name="connsiteX1553" fmla="*/ 43815 w 485775"/>
                  <a:gd name="connsiteY1553" fmla="*/ 482632 h 771525"/>
                  <a:gd name="connsiteX1554" fmla="*/ 41339 w 485775"/>
                  <a:gd name="connsiteY1554" fmla="*/ 482632 h 771525"/>
                  <a:gd name="connsiteX1555" fmla="*/ 38767 w 485775"/>
                  <a:gd name="connsiteY1555" fmla="*/ 481775 h 771525"/>
                  <a:gd name="connsiteX1556" fmla="*/ 37052 w 485775"/>
                  <a:gd name="connsiteY1556" fmla="*/ 481013 h 771525"/>
                  <a:gd name="connsiteX1557" fmla="*/ 36195 w 485775"/>
                  <a:gd name="connsiteY1557" fmla="*/ 483489 h 771525"/>
                  <a:gd name="connsiteX1558" fmla="*/ 37910 w 485775"/>
                  <a:gd name="connsiteY1558" fmla="*/ 486061 h 771525"/>
                  <a:gd name="connsiteX1559" fmla="*/ 41339 w 485775"/>
                  <a:gd name="connsiteY1559" fmla="*/ 490347 h 771525"/>
                  <a:gd name="connsiteX1560" fmla="*/ 41339 w 485775"/>
                  <a:gd name="connsiteY1560" fmla="*/ 492823 h 771525"/>
                  <a:gd name="connsiteX1561" fmla="*/ 42101 w 485775"/>
                  <a:gd name="connsiteY1561" fmla="*/ 498824 h 771525"/>
                  <a:gd name="connsiteX1562" fmla="*/ 42101 w 485775"/>
                  <a:gd name="connsiteY1562" fmla="*/ 499586 h 771525"/>
                  <a:gd name="connsiteX1563" fmla="*/ 43815 w 485775"/>
                  <a:gd name="connsiteY1563" fmla="*/ 501301 h 771525"/>
                  <a:gd name="connsiteX1564" fmla="*/ 43815 w 485775"/>
                  <a:gd name="connsiteY1564" fmla="*/ 503015 h 771525"/>
                  <a:gd name="connsiteX1565" fmla="*/ 43815 w 485775"/>
                  <a:gd name="connsiteY1565" fmla="*/ 503872 h 771525"/>
                  <a:gd name="connsiteX1566" fmla="*/ 43815 w 485775"/>
                  <a:gd name="connsiteY1566" fmla="*/ 506444 h 771525"/>
                  <a:gd name="connsiteX1567" fmla="*/ 43815 w 485775"/>
                  <a:gd name="connsiteY1567" fmla="*/ 507302 h 771525"/>
                  <a:gd name="connsiteX1568" fmla="*/ 44672 w 485775"/>
                  <a:gd name="connsiteY1568" fmla="*/ 509778 h 771525"/>
                  <a:gd name="connsiteX1569" fmla="*/ 48863 w 485775"/>
                  <a:gd name="connsiteY1569" fmla="*/ 514064 h 771525"/>
                  <a:gd name="connsiteX1570" fmla="*/ 49721 w 485775"/>
                  <a:gd name="connsiteY1570" fmla="*/ 517398 h 771525"/>
                  <a:gd name="connsiteX1571" fmla="*/ 53912 w 485775"/>
                  <a:gd name="connsiteY1571" fmla="*/ 521684 h 771525"/>
                  <a:gd name="connsiteX1572" fmla="*/ 54769 w 485775"/>
                  <a:gd name="connsiteY1572" fmla="*/ 525113 h 771525"/>
                  <a:gd name="connsiteX1573" fmla="*/ 57341 w 485775"/>
                  <a:gd name="connsiteY1573" fmla="*/ 529304 h 771525"/>
                  <a:gd name="connsiteX1574" fmla="*/ 58103 w 485775"/>
                  <a:gd name="connsiteY1574" fmla="*/ 536067 h 771525"/>
                  <a:gd name="connsiteX1575" fmla="*/ 60674 w 485775"/>
                  <a:gd name="connsiteY1575" fmla="*/ 545402 h 771525"/>
                  <a:gd name="connsiteX1576" fmla="*/ 62389 w 485775"/>
                  <a:gd name="connsiteY1576" fmla="*/ 549688 h 771525"/>
                  <a:gd name="connsiteX1577" fmla="*/ 64008 w 485775"/>
                  <a:gd name="connsiteY1577" fmla="*/ 544544 h 771525"/>
                  <a:gd name="connsiteX1578" fmla="*/ 64865 w 485775"/>
                  <a:gd name="connsiteY1578" fmla="*/ 543782 h 771525"/>
                  <a:gd name="connsiteX1579" fmla="*/ 66580 w 485775"/>
                  <a:gd name="connsiteY1579" fmla="*/ 545402 h 771525"/>
                  <a:gd name="connsiteX1580" fmla="*/ 64865 w 485775"/>
                  <a:gd name="connsiteY1580" fmla="*/ 546259 h 771525"/>
                  <a:gd name="connsiteX1581" fmla="*/ 64865 w 485775"/>
                  <a:gd name="connsiteY1581" fmla="*/ 546259 h 771525"/>
                  <a:gd name="connsiteX1582" fmla="*/ 66580 w 485775"/>
                  <a:gd name="connsiteY1582" fmla="*/ 547973 h 771525"/>
                  <a:gd name="connsiteX1583" fmla="*/ 67437 w 485775"/>
                  <a:gd name="connsiteY1583" fmla="*/ 549688 h 771525"/>
                  <a:gd name="connsiteX1584" fmla="*/ 69056 w 485775"/>
                  <a:gd name="connsiteY1584" fmla="*/ 550545 h 771525"/>
                  <a:gd name="connsiteX1585" fmla="*/ 70771 w 485775"/>
                  <a:gd name="connsiteY1585" fmla="*/ 549688 h 771525"/>
                  <a:gd name="connsiteX1586" fmla="*/ 69056 w 485775"/>
                  <a:gd name="connsiteY1586" fmla="*/ 551402 h 771525"/>
                  <a:gd name="connsiteX1587" fmla="*/ 67437 w 485775"/>
                  <a:gd name="connsiteY1587" fmla="*/ 551402 h 771525"/>
                  <a:gd name="connsiteX1588" fmla="*/ 65723 w 485775"/>
                  <a:gd name="connsiteY1588" fmla="*/ 551402 h 771525"/>
                  <a:gd name="connsiteX1589" fmla="*/ 64865 w 485775"/>
                  <a:gd name="connsiteY1589" fmla="*/ 550545 h 771525"/>
                  <a:gd name="connsiteX1590" fmla="*/ 64008 w 485775"/>
                  <a:gd name="connsiteY1590" fmla="*/ 550545 h 771525"/>
                  <a:gd name="connsiteX1591" fmla="*/ 64008 w 485775"/>
                  <a:gd name="connsiteY1591" fmla="*/ 552260 h 771525"/>
                  <a:gd name="connsiteX1592" fmla="*/ 64008 w 485775"/>
                  <a:gd name="connsiteY1592" fmla="*/ 553022 h 771525"/>
                  <a:gd name="connsiteX1593" fmla="*/ 63151 w 485775"/>
                  <a:gd name="connsiteY1593" fmla="*/ 553022 h 771525"/>
                  <a:gd name="connsiteX1594" fmla="*/ 62389 w 485775"/>
                  <a:gd name="connsiteY1594" fmla="*/ 552260 h 771525"/>
                  <a:gd name="connsiteX1595" fmla="*/ 63151 w 485775"/>
                  <a:gd name="connsiteY1595" fmla="*/ 553022 h 771525"/>
                  <a:gd name="connsiteX1596" fmla="*/ 63151 w 485775"/>
                  <a:gd name="connsiteY1596" fmla="*/ 553022 h 771525"/>
                  <a:gd name="connsiteX1597" fmla="*/ 63151 w 485775"/>
                  <a:gd name="connsiteY1597" fmla="*/ 553879 h 771525"/>
                  <a:gd name="connsiteX1598" fmla="*/ 63151 w 485775"/>
                  <a:gd name="connsiteY1598" fmla="*/ 553879 h 771525"/>
                  <a:gd name="connsiteX1599" fmla="*/ 63151 w 485775"/>
                  <a:gd name="connsiteY1599" fmla="*/ 555593 h 771525"/>
                  <a:gd name="connsiteX1600" fmla="*/ 64008 w 485775"/>
                  <a:gd name="connsiteY1600" fmla="*/ 561594 h 771525"/>
                  <a:gd name="connsiteX1601" fmla="*/ 64008 w 485775"/>
                  <a:gd name="connsiteY1601" fmla="*/ 564071 h 771525"/>
                  <a:gd name="connsiteX1602" fmla="*/ 66580 w 485775"/>
                  <a:gd name="connsiteY1602" fmla="*/ 571691 h 771525"/>
                  <a:gd name="connsiteX1603" fmla="*/ 66580 w 485775"/>
                  <a:gd name="connsiteY1603" fmla="*/ 574262 h 771525"/>
                  <a:gd name="connsiteX1604" fmla="*/ 66580 w 485775"/>
                  <a:gd name="connsiteY1604" fmla="*/ 576834 h 771525"/>
                  <a:gd name="connsiteX1605" fmla="*/ 67437 w 485775"/>
                  <a:gd name="connsiteY1605" fmla="*/ 577691 h 771525"/>
                  <a:gd name="connsiteX1606" fmla="*/ 65723 w 485775"/>
                  <a:gd name="connsiteY1606" fmla="*/ 576834 h 771525"/>
                  <a:gd name="connsiteX1607" fmla="*/ 65723 w 485775"/>
                  <a:gd name="connsiteY1607" fmla="*/ 574262 h 771525"/>
                  <a:gd name="connsiteX1608" fmla="*/ 64008 w 485775"/>
                  <a:gd name="connsiteY1608" fmla="*/ 570833 h 771525"/>
                  <a:gd name="connsiteX1609" fmla="*/ 64865 w 485775"/>
                  <a:gd name="connsiteY1609" fmla="*/ 574262 h 771525"/>
                  <a:gd name="connsiteX1610" fmla="*/ 64865 w 485775"/>
                  <a:gd name="connsiteY1610" fmla="*/ 577691 h 771525"/>
                  <a:gd name="connsiteX1611" fmla="*/ 65723 w 485775"/>
                  <a:gd name="connsiteY1611" fmla="*/ 579406 h 771525"/>
                  <a:gd name="connsiteX1612" fmla="*/ 64865 w 485775"/>
                  <a:gd name="connsiteY1612" fmla="*/ 581025 h 771525"/>
                  <a:gd name="connsiteX1613" fmla="*/ 65723 w 485775"/>
                  <a:gd name="connsiteY1613" fmla="*/ 582739 h 771525"/>
                  <a:gd name="connsiteX1614" fmla="*/ 67437 w 485775"/>
                  <a:gd name="connsiteY1614" fmla="*/ 584454 h 771525"/>
                  <a:gd name="connsiteX1615" fmla="*/ 68199 w 485775"/>
                  <a:gd name="connsiteY1615" fmla="*/ 587026 h 771525"/>
                  <a:gd name="connsiteX1616" fmla="*/ 69914 w 485775"/>
                  <a:gd name="connsiteY1616" fmla="*/ 593788 h 771525"/>
                  <a:gd name="connsiteX1617" fmla="*/ 70771 w 485775"/>
                  <a:gd name="connsiteY1617" fmla="*/ 598837 h 771525"/>
                  <a:gd name="connsiteX1618" fmla="*/ 71628 w 485775"/>
                  <a:gd name="connsiteY1618" fmla="*/ 604838 h 771525"/>
                  <a:gd name="connsiteX1619" fmla="*/ 72485 w 485775"/>
                  <a:gd name="connsiteY1619" fmla="*/ 605695 h 771525"/>
                  <a:gd name="connsiteX1620" fmla="*/ 73343 w 485775"/>
                  <a:gd name="connsiteY1620" fmla="*/ 606457 h 771525"/>
                  <a:gd name="connsiteX1621" fmla="*/ 73343 w 485775"/>
                  <a:gd name="connsiteY1621" fmla="*/ 607314 h 771525"/>
                  <a:gd name="connsiteX1622" fmla="*/ 73343 w 485775"/>
                  <a:gd name="connsiteY1622" fmla="*/ 610743 h 771525"/>
                  <a:gd name="connsiteX1623" fmla="*/ 74105 w 485775"/>
                  <a:gd name="connsiteY1623" fmla="*/ 612458 h 771525"/>
                  <a:gd name="connsiteX1624" fmla="*/ 74105 w 485775"/>
                  <a:gd name="connsiteY1624" fmla="*/ 613315 h 771525"/>
                  <a:gd name="connsiteX1625" fmla="*/ 75819 w 485775"/>
                  <a:gd name="connsiteY1625" fmla="*/ 614172 h 771525"/>
                  <a:gd name="connsiteX1626" fmla="*/ 74105 w 485775"/>
                  <a:gd name="connsiteY1626" fmla="*/ 618363 h 771525"/>
                  <a:gd name="connsiteX1627" fmla="*/ 79153 w 485775"/>
                  <a:gd name="connsiteY1627" fmla="*/ 639604 h 771525"/>
                  <a:gd name="connsiteX1628" fmla="*/ 82582 w 485775"/>
                  <a:gd name="connsiteY1628" fmla="*/ 640461 h 771525"/>
                  <a:gd name="connsiteX1629" fmla="*/ 87630 w 485775"/>
                  <a:gd name="connsiteY1629" fmla="*/ 638747 h 771525"/>
                  <a:gd name="connsiteX1630" fmla="*/ 92678 w 485775"/>
                  <a:gd name="connsiteY1630" fmla="*/ 637889 h 771525"/>
                  <a:gd name="connsiteX1631" fmla="*/ 91821 w 485775"/>
                  <a:gd name="connsiteY1631" fmla="*/ 638747 h 771525"/>
                  <a:gd name="connsiteX1632" fmla="*/ 90107 w 485775"/>
                  <a:gd name="connsiteY1632" fmla="*/ 639604 h 771525"/>
                  <a:gd name="connsiteX1633" fmla="*/ 88487 w 485775"/>
                  <a:gd name="connsiteY1633" fmla="*/ 640461 h 771525"/>
                  <a:gd name="connsiteX1634" fmla="*/ 86773 w 485775"/>
                  <a:gd name="connsiteY1634" fmla="*/ 640461 h 771525"/>
                  <a:gd name="connsiteX1635" fmla="*/ 85916 w 485775"/>
                  <a:gd name="connsiteY1635" fmla="*/ 641318 h 771525"/>
                  <a:gd name="connsiteX1636" fmla="*/ 85058 w 485775"/>
                  <a:gd name="connsiteY1636" fmla="*/ 642938 h 771525"/>
                  <a:gd name="connsiteX1637" fmla="*/ 84201 w 485775"/>
                  <a:gd name="connsiteY1637" fmla="*/ 643795 h 771525"/>
                  <a:gd name="connsiteX1638" fmla="*/ 83439 w 485775"/>
                  <a:gd name="connsiteY1638" fmla="*/ 643795 h 771525"/>
                  <a:gd name="connsiteX1639" fmla="*/ 80010 w 485775"/>
                  <a:gd name="connsiteY1639" fmla="*/ 642080 h 771525"/>
                  <a:gd name="connsiteX1640" fmla="*/ 80867 w 485775"/>
                  <a:gd name="connsiteY1640" fmla="*/ 643795 h 771525"/>
                  <a:gd name="connsiteX1641" fmla="*/ 80867 w 485775"/>
                  <a:gd name="connsiteY1641" fmla="*/ 644652 h 771525"/>
                  <a:gd name="connsiteX1642" fmla="*/ 82582 w 485775"/>
                  <a:gd name="connsiteY1642" fmla="*/ 645509 h 771525"/>
                  <a:gd name="connsiteX1643" fmla="*/ 83439 w 485775"/>
                  <a:gd name="connsiteY1643" fmla="*/ 646367 h 771525"/>
                  <a:gd name="connsiteX1644" fmla="*/ 83439 w 485775"/>
                  <a:gd name="connsiteY1644" fmla="*/ 648081 h 771525"/>
                  <a:gd name="connsiteX1645" fmla="*/ 83439 w 485775"/>
                  <a:gd name="connsiteY1645" fmla="*/ 650653 h 771525"/>
                  <a:gd name="connsiteX1646" fmla="*/ 87630 w 485775"/>
                  <a:gd name="connsiteY1646" fmla="*/ 648938 h 771525"/>
                  <a:gd name="connsiteX1647" fmla="*/ 90964 w 485775"/>
                  <a:gd name="connsiteY1647" fmla="*/ 648938 h 771525"/>
                  <a:gd name="connsiteX1648" fmla="*/ 91821 w 485775"/>
                  <a:gd name="connsiteY1648" fmla="*/ 648938 h 771525"/>
                  <a:gd name="connsiteX1649" fmla="*/ 92678 w 485775"/>
                  <a:gd name="connsiteY1649" fmla="*/ 648938 h 771525"/>
                  <a:gd name="connsiteX1650" fmla="*/ 93536 w 485775"/>
                  <a:gd name="connsiteY1650" fmla="*/ 649796 h 771525"/>
                  <a:gd name="connsiteX1651" fmla="*/ 93536 w 485775"/>
                  <a:gd name="connsiteY1651" fmla="*/ 649796 h 771525"/>
                  <a:gd name="connsiteX1652" fmla="*/ 93536 w 485775"/>
                  <a:gd name="connsiteY1652" fmla="*/ 650653 h 771525"/>
                  <a:gd name="connsiteX1653" fmla="*/ 93536 w 485775"/>
                  <a:gd name="connsiteY1653" fmla="*/ 650653 h 771525"/>
                  <a:gd name="connsiteX1654" fmla="*/ 94393 w 485775"/>
                  <a:gd name="connsiteY1654" fmla="*/ 653129 h 771525"/>
                  <a:gd name="connsiteX1655" fmla="*/ 94393 w 485775"/>
                  <a:gd name="connsiteY1655" fmla="*/ 653129 h 771525"/>
                  <a:gd name="connsiteX1656" fmla="*/ 94393 w 485775"/>
                  <a:gd name="connsiteY1656" fmla="*/ 653987 h 771525"/>
                  <a:gd name="connsiteX1657" fmla="*/ 95155 w 485775"/>
                  <a:gd name="connsiteY1657" fmla="*/ 654844 h 771525"/>
                  <a:gd name="connsiteX1658" fmla="*/ 96012 w 485775"/>
                  <a:gd name="connsiteY1658" fmla="*/ 654844 h 771525"/>
                  <a:gd name="connsiteX1659" fmla="*/ 96869 w 485775"/>
                  <a:gd name="connsiteY1659" fmla="*/ 655701 h 771525"/>
                  <a:gd name="connsiteX1660" fmla="*/ 98584 w 485775"/>
                  <a:gd name="connsiteY1660" fmla="*/ 655701 h 771525"/>
                  <a:gd name="connsiteX1661" fmla="*/ 99441 w 485775"/>
                  <a:gd name="connsiteY1661" fmla="*/ 655701 h 771525"/>
                  <a:gd name="connsiteX1662" fmla="*/ 99441 w 485775"/>
                  <a:gd name="connsiteY1662" fmla="*/ 655701 h 771525"/>
                  <a:gd name="connsiteX1663" fmla="*/ 100203 w 485775"/>
                  <a:gd name="connsiteY1663" fmla="*/ 656558 h 771525"/>
                  <a:gd name="connsiteX1664" fmla="*/ 100203 w 485775"/>
                  <a:gd name="connsiteY1664" fmla="*/ 656558 h 771525"/>
                  <a:gd name="connsiteX1665" fmla="*/ 99441 w 485775"/>
                  <a:gd name="connsiteY1665" fmla="*/ 657416 h 771525"/>
                  <a:gd name="connsiteX1666" fmla="*/ 99441 w 485775"/>
                  <a:gd name="connsiteY1666" fmla="*/ 657416 h 771525"/>
                  <a:gd name="connsiteX1667" fmla="*/ 99441 w 485775"/>
                  <a:gd name="connsiteY1667" fmla="*/ 658273 h 771525"/>
                  <a:gd name="connsiteX1668" fmla="*/ 100203 w 485775"/>
                  <a:gd name="connsiteY1668" fmla="*/ 659130 h 771525"/>
                  <a:gd name="connsiteX1669" fmla="*/ 101060 w 485775"/>
                  <a:gd name="connsiteY1669" fmla="*/ 659130 h 771525"/>
                  <a:gd name="connsiteX1670" fmla="*/ 101918 w 485775"/>
                  <a:gd name="connsiteY1670" fmla="*/ 659130 h 771525"/>
                  <a:gd name="connsiteX1671" fmla="*/ 101918 w 485775"/>
                  <a:gd name="connsiteY1671" fmla="*/ 659130 h 771525"/>
                  <a:gd name="connsiteX1672" fmla="*/ 102775 w 485775"/>
                  <a:gd name="connsiteY1672" fmla="*/ 659130 h 771525"/>
                  <a:gd name="connsiteX1673" fmla="*/ 103632 w 485775"/>
                  <a:gd name="connsiteY1673" fmla="*/ 658273 h 771525"/>
                  <a:gd name="connsiteX1674" fmla="*/ 104489 w 485775"/>
                  <a:gd name="connsiteY1674" fmla="*/ 657416 h 771525"/>
                  <a:gd name="connsiteX1675" fmla="*/ 106109 w 485775"/>
                  <a:gd name="connsiteY1675" fmla="*/ 657416 h 771525"/>
                  <a:gd name="connsiteX1676" fmla="*/ 106966 w 485775"/>
                  <a:gd name="connsiteY1676" fmla="*/ 658273 h 771525"/>
                  <a:gd name="connsiteX1677" fmla="*/ 109538 w 485775"/>
                  <a:gd name="connsiteY1677" fmla="*/ 659130 h 771525"/>
                  <a:gd name="connsiteX1678" fmla="*/ 110395 w 485775"/>
                  <a:gd name="connsiteY1678" fmla="*/ 659987 h 771525"/>
                  <a:gd name="connsiteX1679" fmla="*/ 110395 w 485775"/>
                  <a:gd name="connsiteY1679" fmla="*/ 659987 h 771525"/>
                  <a:gd name="connsiteX1680" fmla="*/ 110395 w 485775"/>
                  <a:gd name="connsiteY1680" fmla="*/ 660749 h 771525"/>
                  <a:gd name="connsiteX1681" fmla="*/ 110395 w 485775"/>
                  <a:gd name="connsiteY1681" fmla="*/ 661606 h 771525"/>
                  <a:gd name="connsiteX1682" fmla="*/ 110395 w 485775"/>
                  <a:gd name="connsiteY1682" fmla="*/ 662464 h 771525"/>
                  <a:gd name="connsiteX1683" fmla="*/ 110395 w 485775"/>
                  <a:gd name="connsiteY1683" fmla="*/ 663321 h 771525"/>
                  <a:gd name="connsiteX1684" fmla="*/ 110395 w 485775"/>
                  <a:gd name="connsiteY1684" fmla="*/ 664178 h 771525"/>
                  <a:gd name="connsiteX1685" fmla="*/ 110395 w 485775"/>
                  <a:gd name="connsiteY1685" fmla="*/ 665036 h 771525"/>
                  <a:gd name="connsiteX1686" fmla="*/ 111157 w 485775"/>
                  <a:gd name="connsiteY1686" fmla="*/ 665893 h 771525"/>
                  <a:gd name="connsiteX1687" fmla="*/ 112014 w 485775"/>
                  <a:gd name="connsiteY1687" fmla="*/ 665893 h 771525"/>
                  <a:gd name="connsiteX1688" fmla="*/ 112871 w 485775"/>
                  <a:gd name="connsiteY1688" fmla="*/ 665893 h 771525"/>
                  <a:gd name="connsiteX1689" fmla="*/ 113729 w 485775"/>
                  <a:gd name="connsiteY1689" fmla="*/ 665893 h 771525"/>
                  <a:gd name="connsiteX1690" fmla="*/ 114586 w 485775"/>
                  <a:gd name="connsiteY1690" fmla="*/ 665036 h 771525"/>
                  <a:gd name="connsiteX1691" fmla="*/ 115443 w 485775"/>
                  <a:gd name="connsiteY1691" fmla="*/ 665036 h 771525"/>
                  <a:gd name="connsiteX1692" fmla="*/ 116205 w 485775"/>
                  <a:gd name="connsiteY1692" fmla="*/ 665893 h 771525"/>
                  <a:gd name="connsiteX1693" fmla="*/ 117920 w 485775"/>
                  <a:gd name="connsiteY1693" fmla="*/ 668464 h 771525"/>
                  <a:gd name="connsiteX1694" fmla="*/ 118777 w 485775"/>
                  <a:gd name="connsiteY1694" fmla="*/ 669227 h 771525"/>
                  <a:gd name="connsiteX1695" fmla="*/ 119634 w 485775"/>
                  <a:gd name="connsiteY1695" fmla="*/ 669227 h 771525"/>
                  <a:gd name="connsiteX1696" fmla="*/ 120491 w 485775"/>
                  <a:gd name="connsiteY1696" fmla="*/ 669227 h 771525"/>
                  <a:gd name="connsiteX1697" fmla="*/ 121349 w 485775"/>
                  <a:gd name="connsiteY1697" fmla="*/ 669227 h 771525"/>
                  <a:gd name="connsiteX1698" fmla="*/ 121349 w 485775"/>
                  <a:gd name="connsiteY1698" fmla="*/ 669227 h 771525"/>
                  <a:gd name="connsiteX1699" fmla="*/ 122111 w 485775"/>
                  <a:gd name="connsiteY1699" fmla="*/ 668464 h 771525"/>
                  <a:gd name="connsiteX1700" fmla="*/ 122968 w 485775"/>
                  <a:gd name="connsiteY1700" fmla="*/ 667607 h 771525"/>
                  <a:gd name="connsiteX1701" fmla="*/ 123825 w 485775"/>
                  <a:gd name="connsiteY1701" fmla="*/ 667607 h 771525"/>
                  <a:gd name="connsiteX1702" fmla="*/ 128873 w 485775"/>
                  <a:gd name="connsiteY1702" fmla="*/ 669227 h 771525"/>
                  <a:gd name="connsiteX1703" fmla="*/ 128016 w 485775"/>
                  <a:gd name="connsiteY1703" fmla="*/ 671798 h 771525"/>
                  <a:gd name="connsiteX1704" fmla="*/ 127159 w 485775"/>
                  <a:gd name="connsiteY1704" fmla="*/ 673513 h 771525"/>
                  <a:gd name="connsiteX1705" fmla="*/ 126397 w 485775"/>
                  <a:gd name="connsiteY1705" fmla="*/ 674370 h 771525"/>
                  <a:gd name="connsiteX1706" fmla="*/ 126397 w 485775"/>
                  <a:gd name="connsiteY1706" fmla="*/ 675227 h 771525"/>
                  <a:gd name="connsiteX1707" fmla="*/ 127159 w 485775"/>
                  <a:gd name="connsiteY1707" fmla="*/ 676085 h 771525"/>
                  <a:gd name="connsiteX1708" fmla="*/ 128016 w 485775"/>
                  <a:gd name="connsiteY1708" fmla="*/ 677799 h 771525"/>
                  <a:gd name="connsiteX1709" fmla="*/ 128873 w 485775"/>
                  <a:gd name="connsiteY1709" fmla="*/ 678561 h 771525"/>
                  <a:gd name="connsiteX1710" fmla="*/ 129731 w 485775"/>
                  <a:gd name="connsiteY1710" fmla="*/ 679418 h 771525"/>
                  <a:gd name="connsiteX1711" fmla="*/ 129731 w 485775"/>
                  <a:gd name="connsiteY1711" fmla="*/ 680276 h 771525"/>
                  <a:gd name="connsiteX1712" fmla="*/ 130588 w 485775"/>
                  <a:gd name="connsiteY1712" fmla="*/ 680276 h 771525"/>
                  <a:gd name="connsiteX1713" fmla="*/ 130588 w 485775"/>
                  <a:gd name="connsiteY1713" fmla="*/ 680276 h 771525"/>
                  <a:gd name="connsiteX1714" fmla="*/ 130588 w 485775"/>
                  <a:gd name="connsiteY1714" fmla="*/ 680276 h 771525"/>
                  <a:gd name="connsiteX1715" fmla="*/ 131445 w 485775"/>
                  <a:gd name="connsiteY1715" fmla="*/ 681133 h 771525"/>
                  <a:gd name="connsiteX1716" fmla="*/ 133064 w 485775"/>
                  <a:gd name="connsiteY1716" fmla="*/ 682847 h 771525"/>
                  <a:gd name="connsiteX1717" fmla="*/ 133064 w 485775"/>
                  <a:gd name="connsiteY1717" fmla="*/ 683705 h 771525"/>
                  <a:gd name="connsiteX1718" fmla="*/ 133064 w 485775"/>
                  <a:gd name="connsiteY1718" fmla="*/ 683705 h 771525"/>
                  <a:gd name="connsiteX1719" fmla="*/ 133922 w 485775"/>
                  <a:gd name="connsiteY1719" fmla="*/ 683705 h 771525"/>
                  <a:gd name="connsiteX1720" fmla="*/ 133922 w 485775"/>
                  <a:gd name="connsiteY1720" fmla="*/ 683705 h 771525"/>
                  <a:gd name="connsiteX1721" fmla="*/ 134779 w 485775"/>
                  <a:gd name="connsiteY1721" fmla="*/ 683705 h 771525"/>
                  <a:gd name="connsiteX1722" fmla="*/ 137351 w 485775"/>
                  <a:gd name="connsiteY1722" fmla="*/ 682847 h 771525"/>
                  <a:gd name="connsiteX1723" fmla="*/ 138113 w 485775"/>
                  <a:gd name="connsiteY1723" fmla="*/ 682847 h 771525"/>
                  <a:gd name="connsiteX1724" fmla="*/ 139827 w 485775"/>
                  <a:gd name="connsiteY1724" fmla="*/ 682847 h 771525"/>
                  <a:gd name="connsiteX1725" fmla="*/ 139827 w 485775"/>
                  <a:gd name="connsiteY1725" fmla="*/ 682847 h 771525"/>
                  <a:gd name="connsiteX1726" fmla="*/ 139827 w 485775"/>
                  <a:gd name="connsiteY1726" fmla="*/ 683705 h 771525"/>
                  <a:gd name="connsiteX1727" fmla="*/ 139827 w 485775"/>
                  <a:gd name="connsiteY1727" fmla="*/ 683705 h 771525"/>
                  <a:gd name="connsiteX1728" fmla="*/ 139827 w 485775"/>
                  <a:gd name="connsiteY1728" fmla="*/ 684562 h 771525"/>
                  <a:gd name="connsiteX1729" fmla="*/ 139827 w 485775"/>
                  <a:gd name="connsiteY1729" fmla="*/ 685419 h 771525"/>
                  <a:gd name="connsiteX1730" fmla="*/ 138970 w 485775"/>
                  <a:gd name="connsiteY1730" fmla="*/ 686276 h 771525"/>
                  <a:gd name="connsiteX1731" fmla="*/ 138113 w 485775"/>
                  <a:gd name="connsiteY1731" fmla="*/ 686276 h 771525"/>
                  <a:gd name="connsiteX1732" fmla="*/ 137351 w 485775"/>
                  <a:gd name="connsiteY1732" fmla="*/ 687896 h 771525"/>
                  <a:gd name="connsiteX1733" fmla="*/ 136493 w 485775"/>
                  <a:gd name="connsiteY1733" fmla="*/ 688753 h 771525"/>
                  <a:gd name="connsiteX1734" fmla="*/ 136493 w 485775"/>
                  <a:gd name="connsiteY1734" fmla="*/ 689610 h 771525"/>
                  <a:gd name="connsiteX1735" fmla="*/ 136493 w 485775"/>
                  <a:gd name="connsiteY1735" fmla="*/ 691325 h 771525"/>
                  <a:gd name="connsiteX1736" fmla="*/ 136493 w 485775"/>
                  <a:gd name="connsiteY1736" fmla="*/ 692182 h 771525"/>
                  <a:gd name="connsiteX1737" fmla="*/ 137351 w 485775"/>
                  <a:gd name="connsiteY1737" fmla="*/ 693039 h 771525"/>
                  <a:gd name="connsiteX1738" fmla="*/ 138113 w 485775"/>
                  <a:gd name="connsiteY1738" fmla="*/ 693896 h 771525"/>
                  <a:gd name="connsiteX1739" fmla="*/ 139827 w 485775"/>
                  <a:gd name="connsiteY1739" fmla="*/ 695611 h 771525"/>
                  <a:gd name="connsiteX1740" fmla="*/ 140684 w 485775"/>
                  <a:gd name="connsiteY1740" fmla="*/ 698087 h 771525"/>
                  <a:gd name="connsiteX1741" fmla="*/ 141542 w 485775"/>
                  <a:gd name="connsiteY1741" fmla="*/ 701516 h 771525"/>
                  <a:gd name="connsiteX1742" fmla="*/ 141542 w 485775"/>
                  <a:gd name="connsiteY1742" fmla="*/ 702373 h 771525"/>
                  <a:gd name="connsiteX1743" fmla="*/ 142399 w 485775"/>
                  <a:gd name="connsiteY1743" fmla="*/ 703231 h 771525"/>
                  <a:gd name="connsiteX1744" fmla="*/ 142399 w 485775"/>
                  <a:gd name="connsiteY1744" fmla="*/ 704088 h 771525"/>
                  <a:gd name="connsiteX1745" fmla="*/ 143161 w 485775"/>
                  <a:gd name="connsiteY1745" fmla="*/ 704088 h 771525"/>
                  <a:gd name="connsiteX1746" fmla="*/ 144018 w 485775"/>
                  <a:gd name="connsiteY1746" fmla="*/ 704088 h 771525"/>
                  <a:gd name="connsiteX1747" fmla="*/ 144875 w 485775"/>
                  <a:gd name="connsiteY1747" fmla="*/ 704088 h 771525"/>
                  <a:gd name="connsiteX1748" fmla="*/ 145733 w 485775"/>
                  <a:gd name="connsiteY1748" fmla="*/ 704088 h 771525"/>
                  <a:gd name="connsiteX1749" fmla="*/ 145733 w 485775"/>
                  <a:gd name="connsiteY1749" fmla="*/ 704088 h 771525"/>
                  <a:gd name="connsiteX1750" fmla="*/ 147447 w 485775"/>
                  <a:gd name="connsiteY1750" fmla="*/ 705707 h 771525"/>
                  <a:gd name="connsiteX1751" fmla="*/ 158401 w 485775"/>
                  <a:gd name="connsiteY1751" fmla="*/ 717613 h 771525"/>
                  <a:gd name="connsiteX1752" fmla="*/ 160020 w 485775"/>
                  <a:gd name="connsiteY1752" fmla="*/ 719328 h 771525"/>
                  <a:gd name="connsiteX1753" fmla="*/ 163449 w 485775"/>
                  <a:gd name="connsiteY1753" fmla="*/ 720185 h 771525"/>
                  <a:gd name="connsiteX1754" fmla="*/ 164306 w 485775"/>
                  <a:gd name="connsiteY1754" fmla="*/ 720185 h 771525"/>
                  <a:gd name="connsiteX1755" fmla="*/ 165926 w 485775"/>
                  <a:gd name="connsiteY1755" fmla="*/ 721043 h 771525"/>
                  <a:gd name="connsiteX1756" fmla="*/ 166783 w 485775"/>
                  <a:gd name="connsiteY1756" fmla="*/ 721900 h 771525"/>
                  <a:gd name="connsiteX1757" fmla="*/ 166783 w 485775"/>
                  <a:gd name="connsiteY1757" fmla="*/ 723519 h 771525"/>
                  <a:gd name="connsiteX1758" fmla="*/ 167640 w 485775"/>
                  <a:gd name="connsiteY1758" fmla="*/ 724376 h 771525"/>
                  <a:gd name="connsiteX1759" fmla="*/ 168497 w 485775"/>
                  <a:gd name="connsiteY1759" fmla="*/ 725234 h 771525"/>
                  <a:gd name="connsiteX1760" fmla="*/ 168497 w 485775"/>
                  <a:gd name="connsiteY1760" fmla="*/ 725234 h 771525"/>
                  <a:gd name="connsiteX1761" fmla="*/ 169355 w 485775"/>
                  <a:gd name="connsiteY1761" fmla="*/ 725234 h 771525"/>
                  <a:gd name="connsiteX1762" fmla="*/ 170974 w 485775"/>
                  <a:gd name="connsiteY1762" fmla="*/ 725234 h 771525"/>
                  <a:gd name="connsiteX1763" fmla="*/ 171831 w 485775"/>
                  <a:gd name="connsiteY1763" fmla="*/ 725234 h 771525"/>
                  <a:gd name="connsiteX1764" fmla="*/ 172688 w 485775"/>
                  <a:gd name="connsiteY1764" fmla="*/ 725234 h 771525"/>
                  <a:gd name="connsiteX1765" fmla="*/ 175165 w 485775"/>
                  <a:gd name="connsiteY1765" fmla="*/ 726948 h 771525"/>
                  <a:gd name="connsiteX1766" fmla="*/ 176022 w 485775"/>
                  <a:gd name="connsiteY1766" fmla="*/ 727805 h 771525"/>
                  <a:gd name="connsiteX1767" fmla="*/ 176879 w 485775"/>
                  <a:gd name="connsiteY1767" fmla="*/ 728663 h 771525"/>
                  <a:gd name="connsiteX1768" fmla="*/ 177737 w 485775"/>
                  <a:gd name="connsiteY1768" fmla="*/ 728663 h 771525"/>
                  <a:gd name="connsiteX1769" fmla="*/ 178594 w 485775"/>
                  <a:gd name="connsiteY1769" fmla="*/ 728663 h 771525"/>
                  <a:gd name="connsiteX1770" fmla="*/ 179451 w 485775"/>
                  <a:gd name="connsiteY1770" fmla="*/ 727805 h 771525"/>
                  <a:gd name="connsiteX1771" fmla="*/ 180308 w 485775"/>
                  <a:gd name="connsiteY1771" fmla="*/ 727805 h 771525"/>
                  <a:gd name="connsiteX1772" fmla="*/ 181070 w 485775"/>
                  <a:gd name="connsiteY1772" fmla="*/ 728663 h 771525"/>
                  <a:gd name="connsiteX1773" fmla="*/ 181928 w 485775"/>
                  <a:gd name="connsiteY1773" fmla="*/ 728663 h 771525"/>
                  <a:gd name="connsiteX1774" fmla="*/ 182785 w 485775"/>
                  <a:gd name="connsiteY1774" fmla="*/ 728663 h 771525"/>
                  <a:gd name="connsiteX1775" fmla="*/ 183642 w 485775"/>
                  <a:gd name="connsiteY1775" fmla="*/ 730377 h 771525"/>
                  <a:gd name="connsiteX1776" fmla="*/ 183642 w 485775"/>
                  <a:gd name="connsiteY1776" fmla="*/ 733711 h 771525"/>
                  <a:gd name="connsiteX1777" fmla="*/ 184499 w 485775"/>
                  <a:gd name="connsiteY1777" fmla="*/ 735425 h 771525"/>
                  <a:gd name="connsiteX1778" fmla="*/ 185357 w 485775"/>
                  <a:gd name="connsiteY1778" fmla="*/ 736283 h 771525"/>
                  <a:gd name="connsiteX1779" fmla="*/ 186976 w 485775"/>
                  <a:gd name="connsiteY1779" fmla="*/ 738854 h 771525"/>
                  <a:gd name="connsiteX1780" fmla="*/ 188690 w 485775"/>
                  <a:gd name="connsiteY1780" fmla="*/ 740473 h 771525"/>
                  <a:gd name="connsiteX1781" fmla="*/ 190405 w 485775"/>
                  <a:gd name="connsiteY1781" fmla="*/ 741331 h 771525"/>
                  <a:gd name="connsiteX1782" fmla="*/ 192024 w 485775"/>
                  <a:gd name="connsiteY1782" fmla="*/ 742188 h 771525"/>
                  <a:gd name="connsiteX1783" fmla="*/ 193739 w 485775"/>
                  <a:gd name="connsiteY1783" fmla="*/ 743045 h 771525"/>
                  <a:gd name="connsiteX1784" fmla="*/ 196310 w 485775"/>
                  <a:gd name="connsiteY1784" fmla="*/ 743045 h 771525"/>
                  <a:gd name="connsiteX1785" fmla="*/ 198787 w 485775"/>
                  <a:gd name="connsiteY1785" fmla="*/ 743045 h 771525"/>
                  <a:gd name="connsiteX1786" fmla="*/ 204692 w 485775"/>
                  <a:gd name="connsiteY1786" fmla="*/ 744760 h 771525"/>
                  <a:gd name="connsiteX1787" fmla="*/ 207169 w 485775"/>
                  <a:gd name="connsiteY1787" fmla="*/ 744760 h 771525"/>
                  <a:gd name="connsiteX1788" fmla="*/ 211455 w 485775"/>
                  <a:gd name="connsiteY1788" fmla="*/ 742188 h 771525"/>
                  <a:gd name="connsiteX1789" fmla="*/ 214789 w 485775"/>
                  <a:gd name="connsiteY1789" fmla="*/ 740473 h 771525"/>
                  <a:gd name="connsiteX1790" fmla="*/ 217361 w 485775"/>
                  <a:gd name="connsiteY1790" fmla="*/ 740473 h 771525"/>
                  <a:gd name="connsiteX1791" fmla="*/ 218123 w 485775"/>
                  <a:gd name="connsiteY1791" fmla="*/ 741331 h 771525"/>
                  <a:gd name="connsiteX1792" fmla="*/ 218123 w 485775"/>
                  <a:gd name="connsiteY1792" fmla="*/ 742188 h 771525"/>
                  <a:gd name="connsiteX1793" fmla="*/ 218123 w 485775"/>
                  <a:gd name="connsiteY1793" fmla="*/ 744760 h 771525"/>
                  <a:gd name="connsiteX1794" fmla="*/ 218123 w 485775"/>
                  <a:gd name="connsiteY1794" fmla="*/ 749046 h 771525"/>
                  <a:gd name="connsiteX1795" fmla="*/ 218123 w 485775"/>
                  <a:gd name="connsiteY1795" fmla="*/ 749808 h 771525"/>
                  <a:gd name="connsiteX1796" fmla="*/ 218123 w 485775"/>
                  <a:gd name="connsiteY1796" fmla="*/ 750665 h 771525"/>
                  <a:gd name="connsiteX1797" fmla="*/ 219837 w 485775"/>
                  <a:gd name="connsiteY1797" fmla="*/ 752380 h 771525"/>
                  <a:gd name="connsiteX1798" fmla="*/ 220694 w 485775"/>
                  <a:gd name="connsiteY1798" fmla="*/ 752380 h 771525"/>
                  <a:gd name="connsiteX1799" fmla="*/ 221552 w 485775"/>
                  <a:gd name="connsiteY1799" fmla="*/ 752380 h 771525"/>
                  <a:gd name="connsiteX1800" fmla="*/ 222409 w 485775"/>
                  <a:gd name="connsiteY1800" fmla="*/ 752380 h 771525"/>
                  <a:gd name="connsiteX1801" fmla="*/ 223171 w 485775"/>
                  <a:gd name="connsiteY1801" fmla="*/ 751522 h 771525"/>
                  <a:gd name="connsiteX1802" fmla="*/ 224028 w 485775"/>
                  <a:gd name="connsiteY1802" fmla="*/ 751522 h 771525"/>
                  <a:gd name="connsiteX1803" fmla="*/ 225743 w 485775"/>
                  <a:gd name="connsiteY1803" fmla="*/ 751522 h 771525"/>
                  <a:gd name="connsiteX1804" fmla="*/ 227457 w 485775"/>
                  <a:gd name="connsiteY1804" fmla="*/ 752380 h 771525"/>
                  <a:gd name="connsiteX1805" fmla="*/ 228314 w 485775"/>
                  <a:gd name="connsiteY1805" fmla="*/ 752380 h 771525"/>
                  <a:gd name="connsiteX1806" fmla="*/ 229076 w 485775"/>
                  <a:gd name="connsiteY1806" fmla="*/ 753237 h 771525"/>
                  <a:gd name="connsiteX1807" fmla="*/ 229934 w 485775"/>
                  <a:gd name="connsiteY1807" fmla="*/ 754952 h 771525"/>
                  <a:gd name="connsiteX1808" fmla="*/ 230791 w 485775"/>
                  <a:gd name="connsiteY1808" fmla="*/ 756666 h 771525"/>
                  <a:gd name="connsiteX1809" fmla="*/ 231648 w 485775"/>
                  <a:gd name="connsiteY1809" fmla="*/ 757523 h 771525"/>
                  <a:gd name="connsiteX1810" fmla="*/ 232505 w 485775"/>
                  <a:gd name="connsiteY1810" fmla="*/ 758285 h 771525"/>
                  <a:gd name="connsiteX1811" fmla="*/ 233363 w 485775"/>
                  <a:gd name="connsiteY1811" fmla="*/ 758285 h 771525"/>
                  <a:gd name="connsiteX1812" fmla="*/ 233363 w 485775"/>
                  <a:gd name="connsiteY1812" fmla="*/ 758285 h 771525"/>
                  <a:gd name="connsiteX1813" fmla="*/ 234982 w 485775"/>
                  <a:gd name="connsiteY1813" fmla="*/ 758285 h 771525"/>
                  <a:gd name="connsiteX1814" fmla="*/ 235839 w 485775"/>
                  <a:gd name="connsiteY1814" fmla="*/ 758285 h 771525"/>
                  <a:gd name="connsiteX1815" fmla="*/ 236696 w 485775"/>
                  <a:gd name="connsiteY1815" fmla="*/ 758285 h 771525"/>
                  <a:gd name="connsiteX1816" fmla="*/ 237554 w 485775"/>
                  <a:gd name="connsiteY1816" fmla="*/ 758285 h 771525"/>
                  <a:gd name="connsiteX1817" fmla="*/ 238411 w 485775"/>
                  <a:gd name="connsiteY1817" fmla="*/ 759143 h 771525"/>
                  <a:gd name="connsiteX1818" fmla="*/ 240887 w 485775"/>
                  <a:gd name="connsiteY1818" fmla="*/ 762572 h 771525"/>
                  <a:gd name="connsiteX1819" fmla="*/ 242602 w 485775"/>
                  <a:gd name="connsiteY1819" fmla="*/ 764286 h 771525"/>
                  <a:gd name="connsiteX1820" fmla="*/ 243459 w 485775"/>
                  <a:gd name="connsiteY1820" fmla="*/ 764286 h 771525"/>
                  <a:gd name="connsiteX1821" fmla="*/ 244316 w 485775"/>
                  <a:gd name="connsiteY1821" fmla="*/ 765143 h 771525"/>
                  <a:gd name="connsiteX1822" fmla="*/ 245936 w 485775"/>
                  <a:gd name="connsiteY1822" fmla="*/ 765143 h 771525"/>
                  <a:gd name="connsiteX1823" fmla="*/ 246793 w 485775"/>
                  <a:gd name="connsiteY1823" fmla="*/ 765143 h 771525"/>
                  <a:gd name="connsiteX1824" fmla="*/ 247650 w 485775"/>
                  <a:gd name="connsiteY1824" fmla="*/ 765143 h 771525"/>
                  <a:gd name="connsiteX1825" fmla="*/ 249365 w 485775"/>
                  <a:gd name="connsiteY1825" fmla="*/ 765143 h 771525"/>
                  <a:gd name="connsiteX1826" fmla="*/ 249365 w 485775"/>
                  <a:gd name="connsiteY1826" fmla="*/ 764286 h 771525"/>
                  <a:gd name="connsiteX1827" fmla="*/ 250984 w 485775"/>
                  <a:gd name="connsiteY1827" fmla="*/ 765143 h 771525"/>
                  <a:gd name="connsiteX1828" fmla="*/ 251841 w 485775"/>
                  <a:gd name="connsiteY1828" fmla="*/ 765143 h 771525"/>
                  <a:gd name="connsiteX1829" fmla="*/ 252698 w 485775"/>
                  <a:gd name="connsiteY1829" fmla="*/ 766001 h 771525"/>
                  <a:gd name="connsiteX1830" fmla="*/ 252698 w 485775"/>
                  <a:gd name="connsiteY1830" fmla="*/ 767620 h 771525"/>
                  <a:gd name="connsiteX1831" fmla="*/ 252698 w 485775"/>
                  <a:gd name="connsiteY1831" fmla="*/ 770192 h 771525"/>
                  <a:gd name="connsiteX1832" fmla="*/ 253556 w 485775"/>
                  <a:gd name="connsiteY1832" fmla="*/ 771906 h 771525"/>
                  <a:gd name="connsiteX1833" fmla="*/ 254413 w 485775"/>
                  <a:gd name="connsiteY1833" fmla="*/ 774478 h 771525"/>
                  <a:gd name="connsiteX1834" fmla="*/ 255175 w 485775"/>
                  <a:gd name="connsiteY1834" fmla="*/ 772763 h 771525"/>
                  <a:gd name="connsiteX1835" fmla="*/ 256032 w 485775"/>
                  <a:gd name="connsiteY1835" fmla="*/ 771906 h 771525"/>
                  <a:gd name="connsiteX1836" fmla="*/ 256032 w 485775"/>
                  <a:gd name="connsiteY1836" fmla="*/ 771906 h 771525"/>
                  <a:gd name="connsiteX1837" fmla="*/ 256889 w 485775"/>
                  <a:gd name="connsiteY1837" fmla="*/ 771049 h 771525"/>
                  <a:gd name="connsiteX1838" fmla="*/ 258604 w 485775"/>
                  <a:gd name="connsiteY1838" fmla="*/ 769334 h 771525"/>
                  <a:gd name="connsiteX1839" fmla="*/ 260318 w 485775"/>
                  <a:gd name="connsiteY1839" fmla="*/ 768477 h 771525"/>
                  <a:gd name="connsiteX1840" fmla="*/ 261938 w 485775"/>
                  <a:gd name="connsiteY1840" fmla="*/ 768477 h 771525"/>
                  <a:gd name="connsiteX1841" fmla="*/ 264509 w 485775"/>
                  <a:gd name="connsiteY1841" fmla="*/ 768477 h 771525"/>
                  <a:gd name="connsiteX1842" fmla="*/ 267843 w 485775"/>
                  <a:gd name="connsiteY1842" fmla="*/ 769334 h 771525"/>
                  <a:gd name="connsiteX1843" fmla="*/ 268700 w 485775"/>
                  <a:gd name="connsiteY1843" fmla="*/ 771049 h 771525"/>
                  <a:gd name="connsiteX1844" fmla="*/ 269558 w 485775"/>
                  <a:gd name="connsiteY1844" fmla="*/ 771906 h 771525"/>
                  <a:gd name="connsiteX1845" fmla="*/ 268700 w 485775"/>
                  <a:gd name="connsiteY1845" fmla="*/ 774478 h 771525"/>
                  <a:gd name="connsiteX1846" fmla="*/ 268700 w 485775"/>
                  <a:gd name="connsiteY1846" fmla="*/ 775335 h 771525"/>
                  <a:gd name="connsiteX1847" fmla="*/ 269558 w 485775"/>
                  <a:gd name="connsiteY1847" fmla="*/ 776097 h 771525"/>
                  <a:gd name="connsiteX1848" fmla="*/ 270415 w 485775"/>
                  <a:gd name="connsiteY1848" fmla="*/ 776954 h 771525"/>
                  <a:gd name="connsiteX1849" fmla="*/ 271177 w 485775"/>
                  <a:gd name="connsiteY1849" fmla="*/ 777812 h 771525"/>
                  <a:gd name="connsiteX1850" fmla="*/ 272891 w 485775"/>
                  <a:gd name="connsiteY1850" fmla="*/ 777812 h 771525"/>
                  <a:gd name="connsiteX1851" fmla="*/ 275463 w 485775"/>
                  <a:gd name="connsiteY1851" fmla="*/ 777812 h 771525"/>
                  <a:gd name="connsiteX1852" fmla="*/ 291465 w 485775"/>
                  <a:gd name="connsiteY1852" fmla="*/ 776954 h 771525"/>
                  <a:gd name="connsiteX1853" fmla="*/ 293084 w 485775"/>
                  <a:gd name="connsiteY1853" fmla="*/ 776954 h 771525"/>
                  <a:gd name="connsiteX1854" fmla="*/ 298990 w 485775"/>
                  <a:gd name="connsiteY1854" fmla="*/ 778669 h 771525"/>
                  <a:gd name="connsiteX1855" fmla="*/ 299847 w 485775"/>
                  <a:gd name="connsiteY1855" fmla="*/ 777812 h 771525"/>
                  <a:gd name="connsiteX1856" fmla="*/ 300704 w 485775"/>
                  <a:gd name="connsiteY1856" fmla="*/ 776954 h 771525"/>
                  <a:gd name="connsiteX1857" fmla="*/ 301562 w 485775"/>
                  <a:gd name="connsiteY1857" fmla="*/ 770192 h 771525"/>
                  <a:gd name="connsiteX1858" fmla="*/ 304038 w 485775"/>
                  <a:gd name="connsiteY1858" fmla="*/ 765143 h 771525"/>
                  <a:gd name="connsiteX1859" fmla="*/ 308324 w 485775"/>
                  <a:gd name="connsiteY1859" fmla="*/ 759143 h 771525"/>
                  <a:gd name="connsiteX1860" fmla="*/ 309944 w 485775"/>
                  <a:gd name="connsiteY1860" fmla="*/ 758285 h 771525"/>
                  <a:gd name="connsiteX1861" fmla="*/ 310801 w 485775"/>
                  <a:gd name="connsiteY1861" fmla="*/ 757523 h 771525"/>
                  <a:gd name="connsiteX1862" fmla="*/ 313373 w 485775"/>
                  <a:gd name="connsiteY1862" fmla="*/ 757523 h 771525"/>
                  <a:gd name="connsiteX1863" fmla="*/ 314992 w 485775"/>
                  <a:gd name="connsiteY1863" fmla="*/ 757523 h 771525"/>
                  <a:gd name="connsiteX1864" fmla="*/ 317564 w 485775"/>
                  <a:gd name="connsiteY1864" fmla="*/ 756666 h 771525"/>
                  <a:gd name="connsiteX1865" fmla="*/ 318421 w 485775"/>
                  <a:gd name="connsiteY1865" fmla="*/ 756666 h 771525"/>
                  <a:gd name="connsiteX1866" fmla="*/ 320040 w 485775"/>
                  <a:gd name="connsiteY1866" fmla="*/ 756666 h 771525"/>
                  <a:gd name="connsiteX1867" fmla="*/ 321755 w 485775"/>
                  <a:gd name="connsiteY1867" fmla="*/ 757523 h 771525"/>
                  <a:gd name="connsiteX1868" fmla="*/ 327660 w 485775"/>
                  <a:gd name="connsiteY1868" fmla="*/ 764286 h 771525"/>
                  <a:gd name="connsiteX1869" fmla="*/ 329375 w 485775"/>
                  <a:gd name="connsiteY1869" fmla="*/ 764286 h 771525"/>
                  <a:gd name="connsiteX1870" fmla="*/ 330137 w 485775"/>
                  <a:gd name="connsiteY1870" fmla="*/ 764286 h 771525"/>
                  <a:gd name="connsiteX1871" fmla="*/ 330994 w 485775"/>
                  <a:gd name="connsiteY1871" fmla="*/ 762572 h 771525"/>
                  <a:gd name="connsiteX1872" fmla="*/ 331851 w 485775"/>
                  <a:gd name="connsiteY1872" fmla="*/ 760857 h 771525"/>
                  <a:gd name="connsiteX1873" fmla="*/ 332708 w 485775"/>
                  <a:gd name="connsiteY1873" fmla="*/ 760000 h 771525"/>
                  <a:gd name="connsiteX1874" fmla="*/ 333566 w 485775"/>
                  <a:gd name="connsiteY1874" fmla="*/ 759143 h 771525"/>
                  <a:gd name="connsiteX1875" fmla="*/ 334423 w 485775"/>
                  <a:gd name="connsiteY1875" fmla="*/ 759143 h 771525"/>
                  <a:gd name="connsiteX1876" fmla="*/ 337757 w 485775"/>
                  <a:gd name="connsiteY1876" fmla="*/ 758285 h 771525"/>
                  <a:gd name="connsiteX1877" fmla="*/ 342805 w 485775"/>
                  <a:gd name="connsiteY1877" fmla="*/ 759143 h 771525"/>
                  <a:gd name="connsiteX1878" fmla="*/ 344519 w 485775"/>
                  <a:gd name="connsiteY1878" fmla="*/ 758285 h 771525"/>
                  <a:gd name="connsiteX1879" fmla="*/ 346139 w 485775"/>
                  <a:gd name="connsiteY1879" fmla="*/ 757523 h 771525"/>
                  <a:gd name="connsiteX1880" fmla="*/ 346996 w 485775"/>
                  <a:gd name="connsiteY1880" fmla="*/ 757523 h 771525"/>
                  <a:gd name="connsiteX1881" fmla="*/ 348710 w 485775"/>
                  <a:gd name="connsiteY1881" fmla="*/ 757523 h 771525"/>
                  <a:gd name="connsiteX1882" fmla="*/ 349568 w 485775"/>
                  <a:gd name="connsiteY1882" fmla="*/ 757523 h 771525"/>
                  <a:gd name="connsiteX1883" fmla="*/ 351187 w 485775"/>
                  <a:gd name="connsiteY1883" fmla="*/ 758285 h 771525"/>
                  <a:gd name="connsiteX1884" fmla="*/ 352901 w 485775"/>
                  <a:gd name="connsiteY1884" fmla="*/ 759143 h 771525"/>
                  <a:gd name="connsiteX1885" fmla="*/ 354616 w 485775"/>
                  <a:gd name="connsiteY1885" fmla="*/ 760857 h 771525"/>
                  <a:gd name="connsiteX1886" fmla="*/ 356330 w 485775"/>
                  <a:gd name="connsiteY1886" fmla="*/ 760857 h 771525"/>
                  <a:gd name="connsiteX1887" fmla="*/ 357950 w 485775"/>
                  <a:gd name="connsiteY1887" fmla="*/ 760857 h 771525"/>
                  <a:gd name="connsiteX1888" fmla="*/ 360521 w 485775"/>
                  <a:gd name="connsiteY1888" fmla="*/ 760000 h 771525"/>
                  <a:gd name="connsiteX1889" fmla="*/ 363855 w 485775"/>
                  <a:gd name="connsiteY1889" fmla="*/ 760000 h 771525"/>
                  <a:gd name="connsiteX1890" fmla="*/ 364712 w 485775"/>
                  <a:gd name="connsiteY1890" fmla="*/ 759143 h 771525"/>
                  <a:gd name="connsiteX1891" fmla="*/ 366427 w 485775"/>
                  <a:gd name="connsiteY1891" fmla="*/ 757523 h 771525"/>
                  <a:gd name="connsiteX1892" fmla="*/ 367284 w 485775"/>
                  <a:gd name="connsiteY1892" fmla="*/ 755809 h 771525"/>
                  <a:gd name="connsiteX1893" fmla="*/ 369761 w 485775"/>
                  <a:gd name="connsiteY1893" fmla="*/ 749808 h 771525"/>
                  <a:gd name="connsiteX1894" fmla="*/ 370618 w 485775"/>
                  <a:gd name="connsiteY1894" fmla="*/ 748189 h 771525"/>
                  <a:gd name="connsiteX1895" fmla="*/ 372332 w 485775"/>
                  <a:gd name="connsiteY1895" fmla="*/ 746474 h 771525"/>
                  <a:gd name="connsiteX1896" fmla="*/ 372332 w 485775"/>
                  <a:gd name="connsiteY1896" fmla="*/ 744760 h 771525"/>
                  <a:gd name="connsiteX1897" fmla="*/ 374809 w 485775"/>
                  <a:gd name="connsiteY1897" fmla="*/ 743903 h 771525"/>
                  <a:gd name="connsiteX1898" fmla="*/ 375666 w 485775"/>
                  <a:gd name="connsiteY1898" fmla="*/ 743045 h 771525"/>
                  <a:gd name="connsiteX1899" fmla="*/ 387477 w 485775"/>
                  <a:gd name="connsiteY1899" fmla="*/ 742188 h 771525"/>
                  <a:gd name="connsiteX1900" fmla="*/ 389096 w 485775"/>
                  <a:gd name="connsiteY1900" fmla="*/ 742188 h 771525"/>
                  <a:gd name="connsiteX1901" fmla="*/ 389954 w 485775"/>
                  <a:gd name="connsiteY1901" fmla="*/ 741331 h 771525"/>
                  <a:gd name="connsiteX1902" fmla="*/ 390811 w 485775"/>
                  <a:gd name="connsiteY1902" fmla="*/ 740473 h 771525"/>
                  <a:gd name="connsiteX1903" fmla="*/ 392525 w 485775"/>
                  <a:gd name="connsiteY1903" fmla="*/ 739712 h 771525"/>
                  <a:gd name="connsiteX1904" fmla="*/ 394145 w 485775"/>
                  <a:gd name="connsiteY1904" fmla="*/ 737140 h 771525"/>
                  <a:gd name="connsiteX1905" fmla="*/ 397574 w 485775"/>
                  <a:gd name="connsiteY1905" fmla="*/ 731996 h 771525"/>
                  <a:gd name="connsiteX1906" fmla="*/ 398431 w 485775"/>
                  <a:gd name="connsiteY1906" fmla="*/ 730377 h 771525"/>
                  <a:gd name="connsiteX1907" fmla="*/ 399288 w 485775"/>
                  <a:gd name="connsiteY1907" fmla="*/ 729520 h 771525"/>
                  <a:gd name="connsiteX1908" fmla="*/ 400907 w 485775"/>
                  <a:gd name="connsiteY1908" fmla="*/ 728663 h 771525"/>
                  <a:gd name="connsiteX1909" fmla="*/ 400907 w 485775"/>
                  <a:gd name="connsiteY1909" fmla="*/ 726948 h 771525"/>
                  <a:gd name="connsiteX1910" fmla="*/ 401765 w 485775"/>
                  <a:gd name="connsiteY1910" fmla="*/ 726948 h 771525"/>
                  <a:gd name="connsiteX1911" fmla="*/ 401765 w 485775"/>
                  <a:gd name="connsiteY1911" fmla="*/ 726948 h 771525"/>
                  <a:gd name="connsiteX1912" fmla="*/ 402622 w 485775"/>
                  <a:gd name="connsiteY1912" fmla="*/ 726091 h 771525"/>
                  <a:gd name="connsiteX1913" fmla="*/ 402622 w 485775"/>
                  <a:gd name="connsiteY1913" fmla="*/ 726091 h 771525"/>
                  <a:gd name="connsiteX1914" fmla="*/ 402622 w 485775"/>
                  <a:gd name="connsiteY1914" fmla="*/ 725234 h 771525"/>
                  <a:gd name="connsiteX1915" fmla="*/ 402622 w 485775"/>
                  <a:gd name="connsiteY1915" fmla="*/ 724376 h 771525"/>
                  <a:gd name="connsiteX1916" fmla="*/ 403479 w 485775"/>
                  <a:gd name="connsiteY1916" fmla="*/ 723519 h 771525"/>
                  <a:gd name="connsiteX1917" fmla="*/ 403479 w 485775"/>
                  <a:gd name="connsiteY1917" fmla="*/ 722662 h 771525"/>
                  <a:gd name="connsiteX1918" fmla="*/ 402622 w 485775"/>
                  <a:gd name="connsiteY1918" fmla="*/ 721900 h 771525"/>
                  <a:gd name="connsiteX1919" fmla="*/ 399288 w 485775"/>
                  <a:gd name="connsiteY1919" fmla="*/ 716756 h 771525"/>
                  <a:gd name="connsiteX1920" fmla="*/ 398431 w 485775"/>
                  <a:gd name="connsiteY1920" fmla="*/ 716756 h 771525"/>
                  <a:gd name="connsiteX1921" fmla="*/ 398431 w 485775"/>
                  <a:gd name="connsiteY1921" fmla="*/ 715899 h 771525"/>
                  <a:gd name="connsiteX1922" fmla="*/ 395859 w 485775"/>
                  <a:gd name="connsiteY1922" fmla="*/ 714185 h 771525"/>
                  <a:gd name="connsiteX1923" fmla="*/ 391668 w 485775"/>
                  <a:gd name="connsiteY1923" fmla="*/ 713422 h 771525"/>
                  <a:gd name="connsiteX1924" fmla="*/ 373094 w 485775"/>
                  <a:gd name="connsiteY1924" fmla="*/ 713422 h 771525"/>
                  <a:gd name="connsiteX1925" fmla="*/ 371475 w 485775"/>
                  <a:gd name="connsiteY1925" fmla="*/ 713422 h 771525"/>
                  <a:gd name="connsiteX1926" fmla="*/ 371475 w 485775"/>
                  <a:gd name="connsiteY1926" fmla="*/ 712565 h 771525"/>
                  <a:gd name="connsiteX1927" fmla="*/ 371475 w 485775"/>
                  <a:gd name="connsiteY1927" fmla="*/ 710851 h 771525"/>
                  <a:gd name="connsiteX1928" fmla="*/ 371475 w 485775"/>
                  <a:gd name="connsiteY1928" fmla="*/ 709136 h 771525"/>
                  <a:gd name="connsiteX1929" fmla="*/ 369761 w 485775"/>
                  <a:gd name="connsiteY1929" fmla="*/ 708279 h 771525"/>
                  <a:gd name="connsiteX1930" fmla="*/ 369761 w 485775"/>
                  <a:gd name="connsiteY1930" fmla="*/ 707422 h 771525"/>
                  <a:gd name="connsiteX1931" fmla="*/ 369761 w 485775"/>
                  <a:gd name="connsiteY1931" fmla="*/ 706564 h 771525"/>
                  <a:gd name="connsiteX1932" fmla="*/ 370618 w 485775"/>
                  <a:gd name="connsiteY1932" fmla="*/ 705707 h 771525"/>
                  <a:gd name="connsiteX1933" fmla="*/ 371475 w 485775"/>
                  <a:gd name="connsiteY1933" fmla="*/ 704850 h 771525"/>
                  <a:gd name="connsiteX1934" fmla="*/ 372332 w 485775"/>
                  <a:gd name="connsiteY1934" fmla="*/ 704088 h 771525"/>
                  <a:gd name="connsiteX1935" fmla="*/ 376523 w 485775"/>
                  <a:gd name="connsiteY1935" fmla="*/ 702373 h 771525"/>
                  <a:gd name="connsiteX1936" fmla="*/ 380714 w 485775"/>
                  <a:gd name="connsiteY1936" fmla="*/ 698087 h 771525"/>
                  <a:gd name="connsiteX1937" fmla="*/ 381572 w 485775"/>
                  <a:gd name="connsiteY1937" fmla="*/ 696373 h 771525"/>
                  <a:gd name="connsiteX1938" fmla="*/ 384048 w 485775"/>
                  <a:gd name="connsiteY1938" fmla="*/ 693896 h 771525"/>
                  <a:gd name="connsiteX1939" fmla="*/ 384905 w 485775"/>
                  <a:gd name="connsiteY1939" fmla="*/ 693039 h 771525"/>
                  <a:gd name="connsiteX1940" fmla="*/ 384905 w 485775"/>
                  <a:gd name="connsiteY1940" fmla="*/ 691325 h 771525"/>
                  <a:gd name="connsiteX1941" fmla="*/ 386620 w 485775"/>
                  <a:gd name="connsiteY1941" fmla="*/ 683705 h 771525"/>
                  <a:gd name="connsiteX1942" fmla="*/ 386620 w 485775"/>
                  <a:gd name="connsiteY1942" fmla="*/ 682847 h 771525"/>
                  <a:gd name="connsiteX1943" fmla="*/ 386620 w 485775"/>
                  <a:gd name="connsiteY1943" fmla="*/ 681133 h 771525"/>
                  <a:gd name="connsiteX1944" fmla="*/ 385763 w 485775"/>
                  <a:gd name="connsiteY1944" fmla="*/ 681133 h 771525"/>
                  <a:gd name="connsiteX1945" fmla="*/ 384905 w 485775"/>
                  <a:gd name="connsiteY1945" fmla="*/ 681133 h 771525"/>
                  <a:gd name="connsiteX1946" fmla="*/ 384048 w 485775"/>
                  <a:gd name="connsiteY1946" fmla="*/ 681133 h 771525"/>
                  <a:gd name="connsiteX1947" fmla="*/ 383286 w 485775"/>
                  <a:gd name="connsiteY1947" fmla="*/ 681133 h 771525"/>
                  <a:gd name="connsiteX1948" fmla="*/ 382429 w 485775"/>
                  <a:gd name="connsiteY1948" fmla="*/ 681133 h 771525"/>
                  <a:gd name="connsiteX1949" fmla="*/ 382429 w 485775"/>
                  <a:gd name="connsiteY1949" fmla="*/ 681133 h 771525"/>
                  <a:gd name="connsiteX1950" fmla="*/ 381572 w 485775"/>
                  <a:gd name="connsiteY1950" fmla="*/ 680276 h 771525"/>
                  <a:gd name="connsiteX1951" fmla="*/ 381572 w 485775"/>
                  <a:gd name="connsiteY1951" fmla="*/ 680276 h 771525"/>
                  <a:gd name="connsiteX1952" fmla="*/ 382429 w 485775"/>
                  <a:gd name="connsiteY1952" fmla="*/ 678561 h 771525"/>
                  <a:gd name="connsiteX1953" fmla="*/ 382429 w 485775"/>
                  <a:gd name="connsiteY1953" fmla="*/ 677799 h 771525"/>
                  <a:gd name="connsiteX1954" fmla="*/ 381572 w 485775"/>
                  <a:gd name="connsiteY1954" fmla="*/ 676085 h 771525"/>
                  <a:gd name="connsiteX1955" fmla="*/ 381572 w 485775"/>
                  <a:gd name="connsiteY1955" fmla="*/ 675227 h 771525"/>
                  <a:gd name="connsiteX1956" fmla="*/ 381572 w 485775"/>
                  <a:gd name="connsiteY1956" fmla="*/ 673513 h 771525"/>
                  <a:gd name="connsiteX1957" fmla="*/ 381572 w 485775"/>
                  <a:gd name="connsiteY1957" fmla="*/ 670941 h 771525"/>
                  <a:gd name="connsiteX1958" fmla="*/ 383286 w 485775"/>
                  <a:gd name="connsiteY1958" fmla="*/ 666750 h 771525"/>
                  <a:gd name="connsiteX1959" fmla="*/ 385763 w 485775"/>
                  <a:gd name="connsiteY1959" fmla="*/ 660749 h 771525"/>
                  <a:gd name="connsiteX1960" fmla="*/ 388334 w 485775"/>
                  <a:gd name="connsiteY1960" fmla="*/ 659987 h 771525"/>
                  <a:gd name="connsiteX1961" fmla="*/ 389096 w 485775"/>
                  <a:gd name="connsiteY1961" fmla="*/ 659987 h 771525"/>
                  <a:gd name="connsiteX1962" fmla="*/ 389954 w 485775"/>
                  <a:gd name="connsiteY1962" fmla="*/ 659987 h 771525"/>
                  <a:gd name="connsiteX1963" fmla="*/ 392525 w 485775"/>
                  <a:gd name="connsiteY1963" fmla="*/ 659987 h 771525"/>
                  <a:gd name="connsiteX1964" fmla="*/ 393383 w 485775"/>
                  <a:gd name="connsiteY1964" fmla="*/ 660749 h 771525"/>
                  <a:gd name="connsiteX1965" fmla="*/ 394145 w 485775"/>
                  <a:gd name="connsiteY1965" fmla="*/ 659987 h 771525"/>
                  <a:gd name="connsiteX1966" fmla="*/ 395859 w 485775"/>
                  <a:gd name="connsiteY1966" fmla="*/ 659987 h 771525"/>
                  <a:gd name="connsiteX1967" fmla="*/ 400050 w 485775"/>
                  <a:gd name="connsiteY1967" fmla="*/ 657416 h 771525"/>
                  <a:gd name="connsiteX1968" fmla="*/ 401765 w 485775"/>
                  <a:gd name="connsiteY1968" fmla="*/ 656558 h 771525"/>
                  <a:gd name="connsiteX1969" fmla="*/ 401765 w 485775"/>
                  <a:gd name="connsiteY1969" fmla="*/ 656558 h 771525"/>
                  <a:gd name="connsiteX1970" fmla="*/ 402622 w 485775"/>
                  <a:gd name="connsiteY1970" fmla="*/ 655701 h 771525"/>
                  <a:gd name="connsiteX1971" fmla="*/ 402622 w 485775"/>
                  <a:gd name="connsiteY1971" fmla="*/ 654844 h 771525"/>
                  <a:gd name="connsiteX1972" fmla="*/ 402622 w 485775"/>
                  <a:gd name="connsiteY1972" fmla="*/ 653987 h 771525"/>
                  <a:gd name="connsiteX1973" fmla="*/ 401765 w 485775"/>
                  <a:gd name="connsiteY1973" fmla="*/ 653129 h 771525"/>
                  <a:gd name="connsiteX1974" fmla="*/ 401765 w 485775"/>
                  <a:gd name="connsiteY1974" fmla="*/ 653129 h 771525"/>
                  <a:gd name="connsiteX1975" fmla="*/ 401765 w 485775"/>
                  <a:gd name="connsiteY1975" fmla="*/ 651415 h 771525"/>
                  <a:gd name="connsiteX1976" fmla="*/ 401765 w 485775"/>
                  <a:gd name="connsiteY1976" fmla="*/ 650653 h 771525"/>
                  <a:gd name="connsiteX1977" fmla="*/ 404336 w 485775"/>
                  <a:gd name="connsiteY1977" fmla="*/ 648081 h 771525"/>
                  <a:gd name="connsiteX1978" fmla="*/ 405098 w 485775"/>
                  <a:gd name="connsiteY1978" fmla="*/ 645509 h 771525"/>
                  <a:gd name="connsiteX1979" fmla="*/ 406813 w 485775"/>
                  <a:gd name="connsiteY1979" fmla="*/ 640461 h 771525"/>
                  <a:gd name="connsiteX1980" fmla="*/ 411861 w 485775"/>
                  <a:gd name="connsiteY1980" fmla="*/ 638747 h 771525"/>
                  <a:gd name="connsiteX1981" fmla="*/ 416909 w 485775"/>
                  <a:gd name="connsiteY1981" fmla="*/ 638747 h 771525"/>
                  <a:gd name="connsiteX1982" fmla="*/ 417767 w 485775"/>
                  <a:gd name="connsiteY1982" fmla="*/ 638747 h 771525"/>
                  <a:gd name="connsiteX1983" fmla="*/ 419481 w 485775"/>
                  <a:gd name="connsiteY1983" fmla="*/ 638747 h 771525"/>
                  <a:gd name="connsiteX1984" fmla="*/ 420338 w 485775"/>
                  <a:gd name="connsiteY1984" fmla="*/ 639604 h 771525"/>
                  <a:gd name="connsiteX1985" fmla="*/ 421100 w 485775"/>
                  <a:gd name="connsiteY1985" fmla="*/ 640461 h 771525"/>
                  <a:gd name="connsiteX1986" fmla="*/ 421958 w 485775"/>
                  <a:gd name="connsiteY1986" fmla="*/ 641318 h 771525"/>
                  <a:gd name="connsiteX1987" fmla="*/ 422815 w 485775"/>
                  <a:gd name="connsiteY1987" fmla="*/ 642080 h 771525"/>
                  <a:gd name="connsiteX1988" fmla="*/ 424529 w 485775"/>
                  <a:gd name="connsiteY1988" fmla="*/ 644652 h 771525"/>
                  <a:gd name="connsiteX1989" fmla="*/ 426149 w 485775"/>
                  <a:gd name="connsiteY1989" fmla="*/ 645509 h 771525"/>
                  <a:gd name="connsiteX1990" fmla="*/ 427006 w 485775"/>
                  <a:gd name="connsiteY1990" fmla="*/ 646367 h 771525"/>
                  <a:gd name="connsiteX1991" fmla="*/ 428720 w 485775"/>
                  <a:gd name="connsiteY1991" fmla="*/ 645509 h 771525"/>
                  <a:gd name="connsiteX1992" fmla="*/ 429578 w 485775"/>
                  <a:gd name="connsiteY1992" fmla="*/ 645509 h 771525"/>
                  <a:gd name="connsiteX1993" fmla="*/ 429578 w 485775"/>
                  <a:gd name="connsiteY1993" fmla="*/ 644652 h 771525"/>
                  <a:gd name="connsiteX1994" fmla="*/ 429578 w 485775"/>
                  <a:gd name="connsiteY1994" fmla="*/ 643795 h 771525"/>
                  <a:gd name="connsiteX1995" fmla="*/ 430435 w 485775"/>
                  <a:gd name="connsiteY1995" fmla="*/ 642938 h 771525"/>
                  <a:gd name="connsiteX1996" fmla="*/ 432054 w 485775"/>
                  <a:gd name="connsiteY1996" fmla="*/ 641318 h 771525"/>
                  <a:gd name="connsiteX1997" fmla="*/ 432911 w 485775"/>
                  <a:gd name="connsiteY1997" fmla="*/ 641318 h 771525"/>
                  <a:gd name="connsiteX1998" fmla="*/ 434626 w 485775"/>
                  <a:gd name="connsiteY1998" fmla="*/ 641318 h 771525"/>
                  <a:gd name="connsiteX1999" fmla="*/ 437960 w 485775"/>
                  <a:gd name="connsiteY1999" fmla="*/ 643795 h 771525"/>
                  <a:gd name="connsiteX2000" fmla="*/ 443008 w 485775"/>
                  <a:gd name="connsiteY2000" fmla="*/ 647224 h 771525"/>
                  <a:gd name="connsiteX2001" fmla="*/ 446437 w 485775"/>
                  <a:gd name="connsiteY2001" fmla="*/ 649796 h 771525"/>
                  <a:gd name="connsiteX2002" fmla="*/ 453962 w 485775"/>
                  <a:gd name="connsiteY2002" fmla="*/ 651415 h 771525"/>
                  <a:gd name="connsiteX2003" fmla="*/ 454819 w 485775"/>
                  <a:gd name="connsiteY2003" fmla="*/ 649796 h 771525"/>
                  <a:gd name="connsiteX2004" fmla="*/ 455676 w 485775"/>
                  <a:gd name="connsiteY2004" fmla="*/ 648938 h 771525"/>
                  <a:gd name="connsiteX2005" fmla="*/ 455676 w 485775"/>
                  <a:gd name="connsiteY2005" fmla="*/ 647224 h 771525"/>
                  <a:gd name="connsiteX2006" fmla="*/ 455676 w 485775"/>
                  <a:gd name="connsiteY2006" fmla="*/ 646367 h 771525"/>
                  <a:gd name="connsiteX2007" fmla="*/ 454819 w 485775"/>
                  <a:gd name="connsiteY2007" fmla="*/ 642938 h 771525"/>
                  <a:gd name="connsiteX2008" fmla="*/ 454819 w 485775"/>
                  <a:gd name="connsiteY2008" fmla="*/ 641318 h 771525"/>
                  <a:gd name="connsiteX2009" fmla="*/ 454819 w 485775"/>
                  <a:gd name="connsiteY2009" fmla="*/ 641318 h 771525"/>
                  <a:gd name="connsiteX2010" fmla="*/ 455676 w 485775"/>
                  <a:gd name="connsiteY2010" fmla="*/ 640461 h 771525"/>
                  <a:gd name="connsiteX2011" fmla="*/ 455676 w 485775"/>
                  <a:gd name="connsiteY2011" fmla="*/ 640461 h 771525"/>
                  <a:gd name="connsiteX2012" fmla="*/ 456533 w 485775"/>
                  <a:gd name="connsiteY2012" fmla="*/ 640461 h 771525"/>
                  <a:gd name="connsiteX2013" fmla="*/ 457391 w 485775"/>
                  <a:gd name="connsiteY2013" fmla="*/ 640461 h 771525"/>
                  <a:gd name="connsiteX2014" fmla="*/ 458153 w 485775"/>
                  <a:gd name="connsiteY2014" fmla="*/ 640461 h 771525"/>
                  <a:gd name="connsiteX2015" fmla="*/ 459010 w 485775"/>
                  <a:gd name="connsiteY2015" fmla="*/ 640461 h 771525"/>
                  <a:gd name="connsiteX2016" fmla="*/ 459867 w 485775"/>
                  <a:gd name="connsiteY2016" fmla="*/ 641318 h 771525"/>
                  <a:gd name="connsiteX2017" fmla="*/ 459867 w 485775"/>
                  <a:gd name="connsiteY2017" fmla="*/ 641318 h 771525"/>
                  <a:gd name="connsiteX2018" fmla="*/ 459867 w 485775"/>
                  <a:gd name="connsiteY2018" fmla="*/ 641318 h 771525"/>
                  <a:gd name="connsiteX2019" fmla="*/ 460724 w 485775"/>
                  <a:gd name="connsiteY2019" fmla="*/ 641318 h 771525"/>
                  <a:gd name="connsiteX2020" fmla="*/ 461582 w 485775"/>
                  <a:gd name="connsiteY2020" fmla="*/ 640461 h 771525"/>
                  <a:gd name="connsiteX2021" fmla="*/ 461582 w 485775"/>
                  <a:gd name="connsiteY2021" fmla="*/ 640461 h 771525"/>
                  <a:gd name="connsiteX2022" fmla="*/ 462439 w 485775"/>
                  <a:gd name="connsiteY2022" fmla="*/ 640461 h 771525"/>
                  <a:gd name="connsiteX2023" fmla="*/ 463296 w 485775"/>
                  <a:gd name="connsiteY2023" fmla="*/ 639604 h 771525"/>
                  <a:gd name="connsiteX2024" fmla="*/ 464058 w 485775"/>
                  <a:gd name="connsiteY2024" fmla="*/ 639604 h 771525"/>
                  <a:gd name="connsiteX2025" fmla="*/ 465773 w 485775"/>
                  <a:gd name="connsiteY2025" fmla="*/ 638747 h 771525"/>
                  <a:gd name="connsiteX2026" fmla="*/ 465773 w 485775"/>
                  <a:gd name="connsiteY2026" fmla="*/ 638747 h 771525"/>
                  <a:gd name="connsiteX2027" fmla="*/ 465773 w 485775"/>
                  <a:gd name="connsiteY2027" fmla="*/ 637889 h 771525"/>
                  <a:gd name="connsiteX2028" fmla="*/ 465773 w 485775"/>
                  <a:gd name="connsiteY2028" fmla="*/ 635318 h 771525"/>
                  <a:gd name="connsiteX2029" fmla="*/ 465773 w 485775"/>
                  <a:gd name="connsiteY2029" fmla="*/ 634460 h 771525"/>
                  <a:gd name="connsiteX2030" fmla="*/ 466630 w 485775"/>
                  <a:gd name="connsiteY2030" fmla="*/ 633603 h 771525"/>
                  <a:gd name="connsiteX2031" fmla="*/ 467487 w 485775"/>
                  <a:gd name="connsiteY2031" fmla="*/ 633603 h 771525"/>
                  <a:gd name="connsiteX2032" fmla="*/ 468344 w 485775"/>
                  <a:gd name="connsiteY2032" fmla="*/ 632841 h 771525"/>
                  <a:gd name="connsiteX2033" fmla="*/ 468344 w 485775"/>
                  <a:gd name="connsiteY2033" fmla="*/ 633603 h 771525"/>
                  <a:gd name="connsiteX2034" fmla="*/ 469106 w 485775"/>
                  <a:gd name="connsiteY2034" fmla="*/ 633603 h 771525"/>
                  <a:gd name="connsiteX2035" fmla="*/ 469964 w 485775"/>
                  <a:gd name="connsiteY2035" fmla="*/ 633603 h 771525"/>
                  <a:gd name="connsiteX2036" fmla="*/ 476726 w 485775"/>
                  <a:gd name="connsiteY2036" fmla="*/ 638747 h 771525"/>
                  <a:gd name="connsiteX2037" fmla="*/ 478441 w 485775"/>
                  <a:gd name="connsiteY2037" fmla="*/ 639604 h 771525"/>
                  <a:gd name="connsiteX2038" fmla="*/ 479298 w 485775"/>
                  <a:gd name="connsiteY2038" fmla="*/ 639604 h 771525"/>
                  <a:gd name="connsiteX2039" fmla="*/ 480060 w 485775"/>
                  <a:gd name="connsiteY2039" fmla="*/ 638747 h 771525"/>
                  <a:gd name="connsiteX2040" fmla="*/ 480060 w 485775"/>
                  <a:gd name="connsiteY2040" fmla="*/ 637889 h 771525"/>
                  <a:gd name="connsiteX2041" fmla="*/ 479298 w 485775"/>
                  <a:gd name="connsiteY2041" fmla="*/ 636175 h 771525"/>
                  <a:gd name="connsiteX2042" fmla="*/ 477584 w 485775"/>
                  <a:gd name="connsiteY2042" fmla="*/ 633603 h 771525"/>
                  <a:gd name="connsiteX2043" fmla="*/ 476726 w 485775"/>
                  <a:gd name="connsiteY2043" fmla="*/ 632841 h 771525"/>
                  <a:gd name="connsiteX2044" fmla="*/ 475012 w 485775"/>
                  <a:gd name="connsiteY2044" fmla="*/ 632841 h 771525"/>
                  <a:gd name="connsiteX2045" fmla="*/ 474155 w 485775"/>
                  <a:gd name="connsiteY2045" fmla="*/ 631984 h 771525"/>
                  <a:gd name="connsiteX2046" fmla="*/ 473393 w 485775"/>
                  <a:gd name="connsiteY2046" fmla="*/ 631984 h 771525"/>
                  <a:gd name="connsiteX2047" fmla="*/ 473393 w 485775"/>
                  <a:gd name="connsiteY2047" fmla="*/ 631127 h 771525"/>
                  <a:gd name="connsiteX2048" fmla="*/ 474155 w 485775"/>
                  <a:gd name="connsiteY2048" fmla="*/ 629412 h 771525"/>
                  <a:gd name="connsiteX2049" fmla="*/ 476726 w 485775"/>
                  <a:gd name="connsiteY2049" fmla="*/ 625983 h 771525"/>
                  <a:gd name="connsiteX2050" fmla="*/ 478441 w 485775"/>
                  <a:gd name="connsiteY2050" fmla="*/ 624269 h 771525"/>
                  <a:gd name="connsiteX2051" fmla="*/ 478441 w 485775"/>
                  <a:gd name="connsiteY2051" fmla="*/ 624269 h 771525"/>
                  <a:gd name="connsiteX2052" fmla="*/ 478441 w 485775"/>
                  <a:gd name="connsiteY2052" fmla="*/ 623506 h 771525"/>
                  <a:gd name="connsiteX2053" fmla="*/ 479298 w 485775"/>
                  <a:gd name="connsiteY2053" fmla="*/ 620078 h 771525"/>
                  <a:gd name="connsiteX2054" fmla="*/ 480060 w 485775"/>
                  <a:gd name="connsiteY2054" fmla="*/ 619220 h 771525"/>
                  <a:gd name="connsiteX2055" fmla="*/ 480060 w 485775"/>
                  <a:gd name="connsiteY2055" fmla="*/ 618363 h 771525"/>
                  <a:gd name="connsiteX2056" fmla="*/ 480917 w 485775"/>
                  <a:gd name="connsiteY2056" fmla="*/ 618363 h 771525"/>
                  <a:gd name="connsiteX2057" fmla="*/ 482632 w 485775"/>
                  <a:gd name="connsiteY2057" fmla="*/ 616648 h 771525"/>
                  <a:gd name="connsiteX2058" fmla="*/ 483489 w 485775"/>
                  <a:gd name="connsiteY2058" fmla="*/ 616648 h 771525"/>
                  <a:gd name="connsiteX2059" fmla="*/ 485108 w 485775"/>
                  <a:gd name="connsiteY2059" fmla="*/ 615029 h 771525"/>
                  <a:gd name="connsiteX2060" fmla="*/ 485108 w 485775"/>
                  <a:gd name="connsiteY2060" fmla="*/ 614172 h 771525"/>
                  <a:gd name="connsiteX2061" fmla="*/ 485966 w 485775"/>
                  <a:gd name="connsiteY2061" fmla="*/ 612458 h 771525"/>
                  <a:gd name="connsiteX2062" fmla="*/ 485966 w 485775"/>
                  <a:gd name="connsiteY2062" fmla="*/ 609886 h 771525"/>
                  <a:gd name="connsiteX2063" fmla="*/ 485966 w 485775"/>
                  <a:gd name="connsiteY2063" fmla="*/ 608171 h 771525"/>
                  <a:gd name="connsiteX2064" fmla="*/ 486823 w 485775"/>
                  <a:gd name="connsiteY2064" fmla="*/ 607314 h 771525"/>
                  <a:gd name="connsiteX2065" fmla="*/ 488537 w 485775"/>
                  <a:gd name="connsiteY2065" fmla="*/ 605695 h 771525"/>
                  <a:gd name="connsiteX2066" fmla="*/ 489395 w 485775"/>
                  <a:gd name="connsiteY2066" fmla="*/ 603980 h 771525"/>
                  <a:gd name="connsiteX2067" fmla="*/ 489395 w 485775"/>
                  <a:gd name="connsiteY2067" fmla="*/ 603123 h 771525"/>
                  <a:gd name="connsiteX2068" fmla="*/ 490157 w 485775"/>
                  <a:gd name="connsiteY2068" fmla="*/ 600551 h 771525"/>
                  <a:gd name="connsiteX2069" fmla="*/ 490157 w 485775"/>
                  <a:gd name="connsiteY2069" fmla="*/ 599694 h 771525"/>
                  <a:gd name="connsiteX2070" fmla="*/ 490157 w 485775"/>
                  <a:gd name="connsiteY2070" fmla="*/ 599694 h 771525"/>
                  <a:gd name="connsiteX2071" fmla="*/ 490157 w 485775"/>
                  <a:gd name="connsiteY2071" fmla="*/ 598837 h 771525"/>
                  <a:gd name="connsiteX2072" fmla="*/ 490157 w 485775"/>
                  <a:gd name="connsiteY2072" fmla="*/ 597980 h 771525"/>
                  <a:gd name="connsiteX2073" fmla="*/ 490157 w 485775"/>
                  <a:gd name="connsiteY2073" fmla="*/ 597218 h 771525"/>
                  <a:gd name="connsiteX2074" fmla="*/ 491014 w 485775"/>
                  <a:gd name="connsiteY2074" fmla="*/ 595503 h 771525"/>
                  <a:gd name="connsiteX2075" fmla="*/ 491014 w 485775"/>
                  <a:gd name="connsiteY2075" fmla="*/ 593788 h 771525"/>
                  <a:gd name="connsiteX2076" fmla="*/ 491014 w 485775"/>
                  <a:gd name="connsiteY2076" fmla="*/ 592931 h 771525"/>
                  <a:gd name="connsiteX2077" fmla="*/ 491014 w 485775"/>
                  <a:gd name="connsiteY2077" fmla="*/ 592931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</a:cxnLst>
                <a:rect l="l" t="t" r="r" b="b"/>
                <a:pathLst>
                  <a:path w="485775" h="771525">
                    <a:moveTo>
                      <a:pt x="491014" y="592931"/>
                    </a:moveTo>
                    <a:lnTo>
                      <a:pt x="490157" y="591217"/>
                    </a:lnTo>
                    <a:lnTo>
                      <a:pt x="490157" y="590360"/>
                    </a:lnTo>
                    <a:lnTo>
                      <a:pt x="490157" y="590360"/>
                    </a:lnTo>
                    <a:lnTo>
                      <a:pt x="489395" y="589502"/>
                    </a:lnTo>
                    <a:lnTo>
                      <a:pt x="487680" y="591217"/>
                    </a:lnTo>
                    <a:lnTo>
                      <a:pt x="487680" y="592074"/>
                    </a:lnTo>
                    <a:lnTo>
                      <a:pt x="486823" y="592074"/>
                    </a:lnTo>
                    <a:lnTo>
                      <a:pt x="485966" y="592074"/>
                    </a:lnTo>
                    <a:lnTo>
                      <a:pt x="485108" y="592074"/>
                    </a:lnTo>
                    <a:lnTo>
                      <a:pt x="484346" y="592074"/>
                    </a:lnTo>
                    <a:lnTo>
                      <a:pt x="484346" y="592074"/>
                    </a:lnTo>
                    <a:lnTo>
                      <a:pt x="479298" y="588645"/>
                    </a:lnTo>
                    <a:lnTo>
                      <a:pt x="479298" y="588645"/>
                    </a:lnTo>
                    <a:lnTo>
                      <a:pt x="478441" y="588645"/>
                    </a:lnTo>
                    <a:lnTo>
                      <a:pt x="477584" y="588645"/>
                    </a:lnTo>
                    <a:lnTo>
                      <a:pt x="476726" y="588645"/>
                    </a:lnTo>
                    <a:lnTo>
                      <a:pt x="476726" y="587883"/>
                    </a:lnTo>
                    <a:lnTo>
                      <a:pt x="475869" y="587883"/>
                    </a:lnTo>
                    <a:lnTo>
                      <a:pt x="475012" y="587026"/>
                    </a:lnTo>
                    <a:lnTo>
                      <a:pt x="474155" y="587026"/>
                    </a:lnTo>
                    <a:lnTo>
                      <a:pt x="473393" y="587026"/>
                    </a:lnTo>
                    <a:lnTo>
                      <a:pt x="471678" y="587883"/>
                    </a:lnTo>
                    <a:lnTo>
                      <a:pt x="470821" y="587883"/>
                    </a:lnTo>
                    <a:lnTo>
                      <a:pt x="469964" y="587883"/>
                    </a:lnTo>
                    <a:lnTo>
                      <a:pt x="469964" y="586169"/>
                    </a:lnTo>
                    <a:lnTo>
                      <a:pt x="469106" y="584454"/>
                    </a:lnTo>
                    <a:lnTo>
                      <a:pt x="468344" y="583597"/>
                    </a:lnTo>
                    <a:lnTo>
                      <a:pt x="468344" y="582739"/>
                    </a:lnTo>
                    <a:lnTo>
                      <a:pt x="467487" y="582739"/>
                    </a:lnTo>
                    <a:lnTo>
                      <a:pt x="466630" y="581025"/>
                    </a:lnTo>
                    <a:lnTo>
                      <a:pt x="466630" y="580168"/>
                    </a:lnTo>
                    <a:lnTo>
                      <a:pt x="467487" y="579406"/>
                    </a:lnTo>
                    <a:lnTo>
                      <a:pt x="467487" y="578548"/>
                    </a:lnTo>
                    <a:lnTo>
                      <a:pt x="468344" y="578548"/>
                    </a:lnTo>
                    <a:lnTo>
                      <a:pt x="468344" y="577691"/>
                    </a:lnTo>
                    <a:lnTo>
                      <a:pt x="468344" y="576834"/>
                    </a:lnTo>
                    <a:lnTo>
                      <a:pt x="468344" y="572548"/>
                    </a:lnTo>
                    <a:lnTo>
                      <a:pt x="468344" y="570833"/>
                    </a:lnTo>
                    <a:lnTo>
                      <a:pt x="468344" y="570071"/>
                    </a:lnTo>
                    <a:lnTo>
                      <a:pt x="468344" y="569214"/>
                    </a:lnTo>
                    <a:lnTo>
                      <a:pt x="469106" y="567500"/>
                    </a:lnTo>
                    <a:lnTo>
                      <a:pt x="469106" y="567500"/>
                    </a:lnTo>
                    <a:lnTo>
                      <a:pt x="468344" y="564071"/>
                    </a:lnTo>
                    <a:lnTo>
                      <a:pt x="468344" y="563213"/>
                    </a:lnTo>
                    <a:lnTo>
                      <a:pt x="468344" y="561594"/>
                    </a:lnTo>
                    <a:lnTo>
                      <a:pt x="469106" y="559880"/>
                    </a:lnTo>
                    <a:lnTo>
                      <a:pt x="469964" y="558165"/>
                    </a:lnTo>
                    <a:lnTo>
                      <a:pt x="469106" y="558165"/>
                    </a:lnTo>
                    <a:lnTo>
                      <a:pt x="469106" y="557308"/>
                    </a:lnTo>
                    <a:lnTo>
                      <a:pt x="468344" y="557308"/>
                    </a:lnTo>
                    <a:lnTo>
                      <a:pt x="467487" y="557308"/>
                    </a:lnTo>
                    <a:lnTo>
                      <a:pt x="465773" y="557308"/>
                    </a:lnTo>
                    <a:lnTo>
                      <a:pt x="464915" y="557308"/>
                    </a:lnTo>
                    <a:lnTo>
                      <a:pt x="464915" y="557308"/>
                    </a:lnTo>
                    <a:lnTo>
                      <a:pt x="464058" y="557308"/>
                    </a:lnTo>
                    <a:lnTo>
                      <a:pt x="462439" y="556451"/>
                    </a:lnTo>
                    <a:lnTo>
                      <a:pt x="461582" y="556451"/>
                    </a:lnTo>
                    <a:lnTo>
                      <a:pt x="461582" y="556451"/>
                    </a:lnTo>
                    <a:lnTo>
                      <a:pt x="460724" y="556451"/>
                    </a:lnTo>
                    <a:lnTo>
                      <a:pt x="459010" y="557308"/>
                    </a:lnTo>
                    <a:lnTo>
                      <a:pt x="458153" y="558165"/>
                    </a:lnTo>
                    <a:lnTo>
                      <a:pt x="457391" y="558165"/>
                    </a:lnTo>
                    <a:lnTo>
                      <a:pt x="456533" y="558165"/>
                    </a:lnTo>
                    <a:lnTo>
                      <a:pt x="453962" y="557308"/>
                    </a:lnTo>
                    <a:lnTo>
                      <a:pt x="451485" y="556451"/>
                    </a:lnTo>
                    <a:lnTo>
                      <a:pt x="450628" y="556451"/>
                    </a:lnTo>
                    <a:lnTo>
                      <a:pt x="448913" y="556451"/>
                    </a:lnTo>
                    <a:lnTo>
                      <a:pt x="448913" y="556451"/>
                    </a:lnTo>
                    <a:lnTo>
                      <a:pt x="448056" y="555593"/>
                    </a:lnTo>
                    <a:lnTo>
                      <a:pt x="447294" y="554736"/>
                    </a:lnTo>
                    <a:lnTo>
                      <a:pt x="443008" y="549688"/>
                    </a:lnTo>
                    <a:lnTo>
                      <a:pt x="442151" y="549688"/>
                    </a:lnTo>
                    <a:lnTo>
                      <a:pt x="441389" y="548830"/>
                    </a:lnTo>
                    <a:lnTo>
                      <a:pt x="440531" y="548830"/>
                    </a:lnTo>
                    <a:lnTo>
                      <a:pt x="439674" y="549688"/>
                    </a:lnTo>
                    <a:lnTo>
                      <a:pt x="437960" y="549688"/>
                    </a:lnTo>
                    <a:lnTo>
                      <a:pt x="437102" y="549688"/>
                    </a:lnTo>
                    <a:lnTo>
                      <a:pt x="436340" y="549688"/>
                    </a:lnTo>
                    <a:lnTo>
                      <a:pt x="435483" y="547973"/>
                    </a:lnTo>
                    <a:lnTo>
                      <a:pt x="434626" y="547116"/>
                    </a:lnTo>
                    <a:lnTo>
                      <a:pt x="434626" y="545402"/>
                    </a:lnTo>
                    <a:lnTo>
                      <a:pt x="435483" y="545402"/>
                    </a:lnTo>
                    <a:lnTo>
                      <a:pt x="436340" y="545402"/>
                    </a:lnTo>
                    <a:lnTo>
                      <a:pt x="437960" y="545402"/>
                    </a:lnTo>
                    <a:lnTo>
                      <a:pt x="438817" y="545402"/>
                    </a:lnTo>
                    <a:lnTo>
                      <a:pt x="439674" y="545402"/>
                    </a:lnTo>
                    <a:lnTo>
                      <a:pt x="439674" y="544544"/>
                    </a:lnTo>
                    <a:lnTo>
                      <a:pt x="440531" y="543782"/>
                    </a:lnTo>
                    <a:lnTo>
                      <a:pt x="439674" y="542925"/>
                    </a:lnTo>
                    <a:lnTo>
                      <a:pt x="438817" y="541211"/>
                    </a:lnTo>
                    <a:lnTo>
                      <a:pt x="437960" y="539496"/>
                    </a:lnTo>
                    <a:lnTo>
                      <a:pt x="437960" y="538639"/>
                    </a:lnTo>
                    <a:lnTo>
                      <a:pt x="437960" y="537781"/>
                    </a:lnTo>
                    <a:lnTo>
                      <a:pt x="438817" y="535210"/>
                    </a:lnTo>
                    <a:lnTo>
                      <a:pt x="439674" y="533591"/>
                    </a:lnTo>
                    <a:lnTo>
                      <a:pt x="438817" y="532733"/>
                    </a:lnTo>
                    <a:lnTo>
                      <a:pt x="438817" y="530162"/>
                    </a:lnTo>
                    <a:lnTo>
                      <a:pt x="437102" y="526733"/>
                    </a:lnTo>
                    <a:lnTo>
                      <a:pt x="432054" y="524256"/>
                    </a:lnTo>
                    <a:lnTo>
                      <a:pt x="428720" y="525971"/>
                    </a:lnTo>
                    <a:lnTo>
                      <a:pt x="428720" y="525971"/>
                    </a:lnTo>
                    <a:lnTo>
                      <a:pt x="427863" y="525971"/>
                    </a:lnTo>
                    <a:lnTo>
                      <a:pt x="427006" y="525113"/>
                    </a:lnTo>
                    <a:lnTo>
                      <a:pt x="425387" y="525113"/>
                    </a:lnTo>
                    <a:lnTo>
                      <a:pt x="424529" y="525971"/>
                    </a:lnTo>
                    <a:lnTo>
                      <a:pt x="422815" y="526733"/>
                    </a:lnTo>
                    <a:lnTo>
                      <a:pt x="421100" y="529304"/>
                    </a:lnTo>
                    <a:lnTo>
                      <a:pt x="420338" y="530162"/>
                    </a:lnTo>
                    <a:lnTo>
                      <a:pt x="419481" y="530162"/>
                    </a:lnTo>
                    <a:lnTo>
                      <a:pt x="419481" y="529304"/>
                    </a:lnTo>
                    <a:lnTo>
                      <a:pt x="419481" y="529304"/>
                    </a:lnTo>
                    <a:lnTo>
                      <a:pt x="418624" y="527590"/>
                    </a:lnTo>
                    <a:lnTo>
                      <a:pt x="418624" y="525113"/>
                    </a:lnTo>
                    <a:lnTo>
                      <a:pt x="418624" y="524256"/>
                    </a:lnTo>
                    <a:lnTo>
                      <a:pt x="418624" y="523399"/>
                    </a:lnTo>
                    <a:lnTo>
                      <a:pt x="419481" y="523399"/>
                    </a:lnTo>
                    <a:lnTo>
                      <a:pt x="421100" y="520827"/>
                    </a:lnTo>
                    <a:lnTo>
                      <a:pt x="421958" y="520827"/>
                    </a:lnTo>
                    <a:lnTo>
                      <a:pt x="421958" y="519970"/>
                    </a:lnTo>
                    <a:lnTo>
                      <a:pt x="421958" y="519970"/>
                    </a:lnTo>
                    <a:lnTo>
                      <a:pt x="421958" y="516636"/>
                    </a:lnTo>
                    <a:lnTo>
                      <a:pt x="421958" y="515779"/>
                    </a:lnTo>
                    <a:lnTo>
                      <a:pt x="421958" y="515779"/>
                    </a:lnTo>
                    <a:lnTo>
                      <a:pt x="421958" y="514921"/>
                    </a:lnTo>
                    <a:lnTo>
                      <a:pt x="421100" y="514921"/>
                    </a:lnTo>
                    <a:lnTo>
                      <a:pt x="420338" y="514921"/>
                    </a:lnTo>
                    <a:lnTo>
                      <a:pt x="419481" y="515779"/>
                    </a:lnTo>
                    <a:lnTo>
                      <a:pt x="418624" y="516636"/>
                    </a:lnTo>
                    <a:lnTo>
                      <a:pt x="417767" y="517398"/>
                    </a:lnTo>
                    <a:lnTo>
                      <a:pt x="417767" y="518255"/>
                    </a:lnTo>
                    <a:lnTo>
                      <a:pt x="416909" y="519113"/>
                    </a:lnTo>
                    <a:lnTo>
                      <a:pt x="416052" y="519970"/>
                    </a:lnTo>
                    <a:lnTo>
                      <a:pt x="415290" y="519970"/>
                    </a:lnTo>
                    <a:lnTo>
                      <a:pt x="413576" y="519970"/>
                    </a:lnTo>
                    <a:lnTo>
                      <a:pt x="412718" y="519113"/>
                    </a:lnTo>
                    <a:lnTo>
                      <a:pt x="411861" y="519113"/>
                    </a:lnTo>
                    <a:lnTo>
                      <a:pt x="411861" y="518255"/>
                    </a:lnTo>
                    <a:lnTo>
                      <a:pt x="411004" y="518255"/>
                    </a:lnTo>
                    <a:lnTo>
                      <a:pt x="408527" y="518255"/>
                    </a:lnTo>
                    <a:lnTo>
                      <a:pt x="406813" y="517398"/>
                    </a:lnTo>
                    <a:lnTo>
                      <a:pt x="405956" y="517398"/>
                    </a:lnTo>
                    <a:lnTo>
                      <a:pt x="405098" y="518255"/>
                    </a:lnTo>
                    <a:lnTo>
                      <a:pt x="404336" y="518255"/>
                    </a:lnTo>
                    <a:lnTo>
                      <a:pt x="403479" y="519113"/>
                    </a:lnTo>
                    <a:lnTo>
                      <a:pt x="403479" y="519970"/>
                    </a:lnTo>
                    <a:lnTo>
                      <a:pt x="403479" y="520827"/>
                    </a:lnTo>
                    <a:lnTo>
                      <a:pt x="404336" y="521684"/>
                    </a:lnTo>
                    <a:lnTo>
                      <a:pt x="404336" y="522542"/>
                    </a:lnTo>
                    <a:lnTo>
                      <a:pt x="405098" y="523399"/>
                    </a:lnTo>
                    <a:lnTo>
                      <a:pt x="405956" y="524256"/>
                    </a:lnTo>
                    <a:lnTo>
                      <a:pt x="405956" y="525113"/>
                    </a:lnTo>
                    <a:lnTo>
                      <a:pt x="405098" y="525113"/>
                    </a:lnTo>
                    <a:lnTo>
                      <a:pt x="405098" y="525971"/>
                    </a:lnTo>
                    <a:lnTo>
                      <a:pt x="404336" y="526733"/>
                    </a:lnTo>
                    <a:lnTo>
                      <a:pt x="401765" y="528447"/>
                    </a:lnTo>
                    <a:lnTo>
                      <a:pt x="400907" y="529304"/>
                    </a:lnTo>
                    <a:lnTo>
                      <a:pt x="399288" y="531019"/>
                    </a:lnTo>
                    <a:lnTo>
                      <a:pt x="398431" y="531019"/>
                    </a:lnTo>
                    <a:lnTo>
                      <a:pt x="397574" y="531876"/>
                    </a:lnTo>
                    <a:lnTo>
                      <a:pt x="395859" y="531876"/>
                    </a:lnTo>
                    <a:lnTo>
                      <a:pt x="395002" y="532733"/>
                    </a:lnTo>
                    <a:lnTo>
                      <a:pt x="394145" y="533591"/>
                    </a:lnTo>
                    <a:lnTo>
                      <a:pt x="394145" y="534448"/>
                    </a:lnTo>
                    <a:lnTo>
                      <a:pt x="393383" y="536067"/>
                    </a:lnTo>
                    <a:lnTo>
                      <a:pt x="392525" y="536924"/>
                    </a:lnTo>
                    <a:lnTo>
                      <a:pt x="392525" y="537781"/>
                    </a:lnTo>
                    <a:lnTo>
                      <a:pt x="391668" y="537781"/>
                    </a:lnTo>
                    <a:lnTo>
                      <a:pt x="390811" y="536924"/>
                    </a:lnTo>
                    <a:lnTo>
                      <a:pt x="390811" y="536924"/>
                    </a:lnTo>
                    <a:lnTo>
                      <a:pt x="389954" y="536067"/>
                    </a:lnTo>
                    <a:lnTo>
                      <a:pt x="389096" y="535210"/>
                    </a:lnTo>
                    <a:lnTo>
                      <a:pt x="387477" y="535210"/>
                    </a:lnTo>
                    <a:lnTo>
                      <a:pt x="386620" y="536067"/>
                    </a:lnTo>
                    <a:lnTo>
                      <a:pt x="384905" y="536067"/>
                    </a:lnTo>
                    <a:lnTo>
                      <a:pt x="384905" y="536924"/>
                    </a:lnTo>
                    <a:lnTo>
                      <a:pt x="384048" y="536924"/>
                    </a:lnTo>
                    <a:lnTo>
                      <a:pt x="384048" y="537781"/>
                    </a:lnTo>
                    <a:lnTo>
                      <a:pt x="384048" y="538639"/>
                    </a:lnTo>
                    <a:lnTo>
                      <a:pt x="384048" y="540353"/>
                    </a:lnTo>
                    <a:lnTo>
                      <a:pt x="384048" y="540353"/>
                    </a:lnTo>
                    <a:lnTo>
                      <a:pt x="382429" y="540353"/>
                    </a:lnTo>
                    <a:lnTo>
                      <a:pt x="380714" y="540353"/>
                    </a:lnTo>
                    <a:lnTo>
                      <a:pt x="379000" y="540353"/>
                    </a:lnTo>
                    <a:lnTo>
                      <a:pt x="376523" y="542068"/>
                    </a:lnTo>
                    <a:lnTo>
                      <a:pt x="373952" y="544544"/>
                    </a:lnTo>
                    <a:lnTo>
                      <a:pt x="373094" y="544544"/>
                    </a:lnTo>
                    <a:lnTo>
                      <a:pt x="372332" y="544544"/>
                    </a:lnTo>
                    <a:lnTo>
                      <a:pt x="369761" y="544544"/>
                    </a:lnTo>
                    <a:lnTo>
                      <a:pt x="369761" y="544544"/>
                    </a:lnTo>
                    <a:lnTo>
                      <a:pt x="368903" y="544544"/>
                    </a:lnTo>
                    <a:lnTo>
                      <a:pt x="368046" y="544544"/>
                    </a:lnTo>
                    <a:lnTo>
                      <a:pt x="367284" y="544544"/>
                    </a:lnTo>
                    <a:lnTo>
                      <a:pt x="367284" y="542925"/>
                    </a:lnTo>
                    <a:lnTo>
                      <a:pt x="367284" y="539496"/>
                    </a:lnTo>
                    <a:lnTo>
                      <a:pt x="367284" y="538639"/>
                    </a:lnTo>
                    <a:lnTo>
                      <a:pt x="366427" y="536067"/>
                    </a:lnTo>
                    <a:lnTo>
                      <a:pt x="365570" y="535210"/>
                    </a:lnTo>
                    <a:lnTo>
                      <a:pt x="365570" y="533591"/>
                    </a:lnTo>
                    <a:lnTo>
                      <a:pt x="364712" y="532733"/>
                    </a:lnTo>
                    <a:lnTo>
                      <a:pt x="362998" y="531876"/>
                    </a:lnTo>
                    <a:lnTo>
                      <a:pt x="362998" y="531019"/>
                    </a:lnTo>
                    <a:lnTo>
                      <a:pt x="362141" y="530162"/>
                    </a:lnTo>
                    <a:lnTo>
                      <a:pt x="362141" y="529304"/>
                    </a:lnTo>
                    <a:lnTo>
                      <a:pt x="361379" y="528447"/>
                    </a:lnTo>
                    <a:lnTo>
                      <a:pt x="360521" y="528447"/>
                    </a:lnTo>
                    <a:lnTo>
                      <a:pt x="357950" y="528447"/>
                    </a:lnTo>
                    <a:lnTo>
                      <a:pt x="355473" y="528447"/>
                    </a:lnTo>
                    <a:lnTo>
                      <a:pt x="353759" y="527590"/>
                    </a:lnTo>
                    <a:lnTo>
                      <a:pt x="352901" y="527590"/>
                    </a:lnTo>
                    <a:lnTo>
                      <a:pt x="352044" y="527590"/>
                    </a:lnTo>
                    <a:lnTo>
                      <a:pt x="350425" y="527590"/>
                    </a:lnTo>
                    <a:lnTo>
                      <a:pt x="349568" y="527590"/>
                    </a:lnTo>
                    <a:lnTo>
                      <a:pt x="347853" y="526733"/>
                    </a:lnTo>
                    <a:lnTo>
                      <a:pt x="346996" y="525971"/>
                    </a:lnTo>
                    <a:lnTo>
                      <a:pt x="346139" y="525971"/>
                    </a:lnTo>
                    <a:lnTo>
                      <a:pt x="344519" y="525971"/>
                    </a:lnTo>
                    <a:lnTo>
                      <a:pt x="342805" y="525971"/>
                    </a:lnTo>
                    <a:lnTo>
                      <a:pt x="341090" y="523399"/>
                    </a:lnTo>
                    <a:lnTo>
                      <a:pt x="340328" y="523399"/>
                    </a:lnTo>
                    <a:lnTo>
                      <a:pt x="339471" y="523399"/>
                    </a:lnTo>
                    <a:lnTo>
                      <a:pt x="338614" y="523399"/>
                    </a:lnTo>
                    <a:lnTo>
                      <a:pt x="336899" y="525113"/>
                    </a:lnTo>
                    <a:lnTo>
                      <a:pt x="336042" y="525113"/>
                    </a:lnTo>
                    <a:lnTo>
                      <a:pt x="336042" y="524256"/>
                    </a:lnTo>
                    <a:lnTo>
                      <a:pt x="335185" y="523399"/>
                    </a:lnTo>
                    <a:lnTo>
                      <a:pt x="335185" y="522542"/>
                    </a:lnTo>
                    <a:lnTo>
                      <a:pt x="335185" y="521684"/>
                    </a:lnTo>
                    <a:lnTo>
                      <a:pt x="335185" y="521684"/>
                    </a:lnTo>
                    <a:lnTo>
                      <a:pt x="334423" y="520827"/>
                    </a:lnTo>
                    <a:lnTo>
                      <a:pt x="334423" y="520827"/>
                    </a:lnTo>
                    <a:lnTo>
                      <a:pt x="333566" y="521684"/>
                    </a:lnTo>
                    <a:lnTo>
                      <a:pt x="333566" y="522542"/>
                    </a:lnTo>
                    <a:lnTo>
                      <a:pt x="332708" y="522542"/>
                    </a:lnTo>
                    <a:lnTo>
                      <a:pt x="332708" y="523399"/>
                    </a:lnTo>
                    <a:lnTo>
                      <a:pt x="332708" y="523399"/>
                    </a:lnTo>
                    <a:lnTo>
                      <a:pt x="332708" y="524256"/>
                    </a:lnTo>
                    <a:lnTo>
                      <a:pt x="332708" y="525113"/>
                    </a:lnTo>
                    <a:lnTo>
                      <a:pt x="332708" y="525113"/>
                    </a:lnTo>
                    <a:lnTo>
                      <a:pt x="332708" y="525113"/>
                    </a:lnTo>
                    <a:lnTo>
                      <a:pt x="331851" y="525971"/>
                    </a:lnTo>
                    <a:lnTo>
                      <a:pt x="330137" y="526733"/>
                    </a:lnTo>
                    <a:lnTo>
                      <a:pt x="329375" y="526733"/>
                    </a:lnTo>
                    <a:lnTo>
                      <a:pt x="329375" y="527590"/>
                    </a:lnTo>
                    <a:lnTo>
                      <a:pt x="330137" y="527590"/>
                    </a:lnTo>
                    <a:lnTo>
                      <a:pt x="330994" y="528447"/>
                    </a:lnTo>
                    <a:lnTo>
                      <a:pt x="331851" y="529304"/>
                    </a:lnTo>
                    <a:lnTo>
                      <a:pt x="332708" y="529304"/>
                    </a:lnTo>
                    <a:lnTo>
                      <a:pt x="332708" y="530162"/>
                    </a:lnTo>
                    <a:lnTo>
                      <a:pt x="332708" y="531876"/>
                    </a:lnTo>
                    <a:lnTo>
                      <a:pt x="332708" y="532733"/>
                    </a:lnTo>
                    <a:lnTo>
                      <a:pt x="332708" y="533591"/>
                    </a:lnTo>
                    <a:lnTo>
                      <a:pt x="333566" y="535210"/>
                    </a:lnTo>
                    <a:lnTo>
                      <a:pt x="333566" y="536067"/>
                    </a:lnTo>
                    <a:lnTo>
                      <a:pt x="332708" y="536924"/>
                    </a:lnTo>
                    <a:lnTo>
                      <a:pt x="331851" y="537781"/>
                    </a:lnTo>
                    <a:lnTo>
                      <a:pt x="330994" y="537781"/>
                    </a:lnTo>
                    <a:lnTo>
                      <a:pt x="329375" y="537781"/>
                    </a:lnTo>
                    <a:lnTo>
                      <a:pt x="328517" y="537781"/>
                    </a:lnTo>
                    <a:lnTo>
                      <a:pt x="326803" y="536924"/>
                    </a:lnTo>
                    <a:lnTo>
                      <a:pt x="325946" y="536924"/>
                    </a:lnTo>
                    <a:lnTo>
                      <a:pt x="325088" y="536924"/>
                    </a:lnTo>
                    <a:lnTo>
                      <a:pt x="325088" y="537781"/>
                    </a:lnTo>
                    <a:lnTo>
                      <a:pt x="324326" y="538639"/>
                    </a:lnTo>
                    <a:lnTo>
                      <a:pt x="324326" y="539496"/>
                    </a:lnTo>
                    <a:lnTo>
                      <a:pt x="323469" y="539496"/>
                    </a:lnTo>
                    <a:lnTo>
                      <a:pt x="322612" y="539496"/>
                    </a:lnTo>
                    <a:lnTo>
                      <a:pt x="320897" y="538639"/>
                    </a:lnTo>
                    <a:lnTo>
                      <a:pt x="320040" y="536924"/>
                    </a:lnTo>
                    <a:lnTo>
                      <a:pt x="319183" y="536067"/>
                    </a:lnTo>
                    <a:lnTo>
                      <a:pt x="319183" y="536067"/>
                    </a:lnTo>
                    <a:lnTo>
                      <a:pt x="318421" y="536067"/>
                    </a:lnTo>
                    <a:lnTo>
                      <a:pt x="318421" y="536067"/>
                    </a:lnTo>
                    <a:lnTo>
                      <a:pt x="317564" y="536067"/>
                    </a:lnTo>
                    <a:lnTo>
                      <a:pt x="317564" y="536067"/>
                    </a:lnTo>
                    <a:lnTo>
                      <a:pt x="317564" y="536924"/>
                    </a:lnTo>
                    <a:lnTo>
                      <a:pt x="317564" y="537781"/>
                    </a:lnTo>
                    <a:lnTo>
                      <a:pt x="316706" y="538639"/>
                    </a:lnTo>
                    <a:lnTo>
                      <a:pt x="315849" y="538639"/>
                    </a:lnTo>
                    <a:lnTo>
                      <a:pt x="315849" y="538639"/>
                    </a:lnTo>
                    <a:lnTo>
                      <a:pt x="314992" y="536924"/>
                    </a:lnTo>
                    <a:lnTo>
                      <a:pt x="314135" y="535210"/>
                    </a:lnTo>
                    <a:lnTo>
                      <a:pt x="314135" y="532733"/>
                    </a:lnTo>
                    <a:lnTo>
                      <a:pt x="314135" y="531019"/>
                    </a:lnTo>
                    <a:lnTo>
                      <a:pt x="314135" y="530162"/>
                    </a:lnTo>
                    <a:lnTo>
                      <a:pt x="314992" y="529304"/>
                    </a:lnTo>
                    <a:lnTo>
                      <a:pt x="316706" y="526733"/>
                    </a:lnTo>
                    <a:lnTo>
                      <a:pt x="316706" y="526733"/>
                    </a:lnTo>
                    <a:lnTo>
                      <a:pt x="317564" y="525971"/>
                    </a:lnTo>
                    <a:lnTo>
                      <a:pt x="317564" y="525113"/>
                    </a:lnTo>
                    <a:lnTo>
                      <a:pt x="317564" y="524256"/>
                    </a:lnTo>
                    <a:lnTo>
                      <a:pt x="318421" y="523399"/>
                    </a:lnTo>
                    <a:lnTo>
                      <a:pt x="318421" y="523399"/>
                    </a:lnTo>
                    <a:lnTo>
                      <a:pt x="319183" y="522542"/>
                    </a:lnTo>
                    <a:lnTo>
                      <a:pt x="319183" y="522542"/>
                    </a:lnTo>
                    <a:lnTo>
                      <a:pt x="320040" y="521684"/>
                    </a:lnTo>
                    <a:lnTo>
                      <a:pt x="320040" y="520827"/>
                    </a:lnTo>
                    <a:lnTo>
                      <a:pt x="319183" y="519113"/>
                    </a:lnTo>
                    <a:lnTo>
                      <a:pt x="319183" y="519113"/>
                    </a:lnTo>
                    <a:lnTo>
                      <a:pt x="316706" y="516636"/>
                    </a:lnTo>
                    <a:lnTo>
                      <a:pt x="315849" y="515779"/>
                    </a:lnTo>
                    <a:lnTo>
                      <a:pt x="314992" y="513207"/>
                    </a:lnTo>
                    <a:lnTo>
                      <a:pt x="313373" y="511493"/>
                    </a:lnTo>
                    <a:lnTo>
                      <a:pt x="313373" y="510635"/>
                    </a:lnTo>
                    <a:lnTo>
                      <a:pt x="312515" y="510635"/>
                    </a:lnTo>
                    <a:lnTo>
                      <a:pt x="311658" y="509778"/>
                    </a:lnTo>
                    <a:lnTo>
                      <a:pt x="311658" y="508159"/>
                    </a:lnTo>
                    <a:lnTo>
                      <a:pt x="311658" y="506444"/>
                    </a:lnTo>
                    <a:lnTo>
                      <a:pt x="311658" y="505587"/>
                    </a:lnTo>
                    <a:lnTo>
                      <a:pt x="312515" y="504730"/>
                    </a:lnTo>
                    <a:lnTo>
                      <a:pt x="312515" y="503872"/>
                    </a:lnTo>
                    <a:lnTo>
                      <a:pt x="312515" y="503015"/>
                    </a:lnTo>
                    <a:lnTo>
                      <a:pt x="311658" y="501301"/>
                    </a:lnTo>
                    <a:lnTo>
                      <a:pt x="304895" y="495395"/>
                    </a:lnTo>
                    <a:lnTo>
                      <a:pt x="304038" y="494538"/>
                    </a:lnTo>
                    <a:lnTo>
                      <a:pt x="304038" y="493681"/>
                    </a:lnTo>
                    <a:lnTo>
                      <a:pt x="304895" y="492823"/>
                    </a:lnTo>
                    <a:lnTo>
                      <a:pt x="305753" y="491966"/>
                    </a:lnTo>
                    <a:lnTo>
                      <a:pt x="307467" y="491966"/>
                    </a:lnTo>
                    <a:lnTo>
                      <a:pt x="307467" y="491966"/>
                    </a:lnTo>
                    <a:lnTo>
                      <a:pt x="308324" y="490347"/>
                    </a:lnTo>
                    <a:lnTo>
                      <a:pt x="309086" y="490347"/>
                    </a:lnTo>
                    <a:lnTo>
                      <a:pt x="309944" y="489490"/>
                    </a:lnTo>
                    <a:lnTo>
                      <a:pt x="309944" y="489490"/>
                    </a:lnTo>
                    <a:lnTo>
                      <a:pt x="310801" y="489490"/>
                    </a:lnTo>
                    <a:lnTo>
                      <a:pt x="311658" y="490347"/>
                    </a:lnTo>
                    <a:lnTo>
                      <a:pt x="312515" y="491109"/>
                    </a:lnTo>
                    <a:lnTo>
                      <a:pt x="313373" y="491966"/>
                    </a:lnTo>
                    <a:lnTo>
                      <a:pt x="314135" y="491966"/>
                    </a:lnTo>
                    <a:lnTo>
                      <a:pt x="314135" y="491966"/>
                    </a:lnTo>
                    <a:lnTo>
                      <a:pt x="314992" y="491109"/>
                    </a:lnTo>
                    <a:lnTo>
                      <a:pt x="314992" y="491109"/>
                    </a:lnTo>
                    <a:lnTo>
                      <a:pt x="315849" y="491966"/>
                    </a:lnTo>
                    <a:lnTo>
                      <a:pt x="315849" y="492823"/>
                    </a:lnTo>
                    <a:lnTo>
                      <a:pt x="316706" y="498824"/>
                    </a:lnTo>
                    <a:lnTo>
                      <a:pt x="317564" y="501301"/>
                    </a:lnTo>
                    <a:lnTo>
                      <a:pt x="317564" y="502158"/>
                    </a:lnTo>
                    <a:lnTo>
                      <a:pt x="318421" y="503015"/>
                    </a:lnTo>
                    <a:lnTo>
                      <a:pt x="318421" y="503872"/>
                    </a:lnTo>
                    <a:lnTo>
                      <a:pt x="319183" y="504730"/>
                    </a:lnTo>
                    <a:lnTo>
                      <a:pt x="320897" y="504730"/>
                    </a:lnTo>
                    <a:lnTo>
                      <a:pt x="322612" y="505587"/>
                    </a:lnTo>
                    <a:lnTo>
                      <a:pt x="325946" y="506444"/>
                    </a:lnTo>
                    <a:lnTo>
                      <a:pt x="326803" y="506444"/>
                    </a:lnTo>
                    <a:lnTo>
                      <a:pt x="327660" y="507302"/>
                    </a:lnTo>
                    <a:lnTo>
                      <a:pt x="328517" y="507302"/>
                    </a:lnTo>
                    <a:lnTo>
                      <a:pt x="329375" y="508921"/>
                    </a:lnTo>
                    <a:lnTo>
                      <a:pt x="330137" y="509778"/>
                    </a:lnTo>
                    <a:lnTo>
                      <a:pt x="330994" y="510635"/>
                    </a:lnTo>
                    <a:lnTo>
                      <a:pt x="332708" y="510635"/>
                    </a:lnTo>
                    <a:lnTo>
                      <a:pt x="334423" y="509778"/>
                    </a:lnTo>
                    <a:lnTo>
                      <a:pt x="336899" y="509778"/>
                    </a:lnTo>
                    <a:lnTo>
                      <a:pt x="338614" y="509778"/>
                    </a:lnTo>
                    <a:lnTo>
                      <a:pt x="345377" y="508159"/>
                    </a:lnTo>
                    <a:lnTo>
                      <a:pt x="346139" y="508159"/>
                    </a:lnTo>
                    <a:lnTo>
                      <a:pt x="346996" y="508921"/>
                    </a:lnTo>
                    <a:lnTo>
                      <a:pt x="347853" y="508921"/>
                    </a:lnTo>
                    <a:lnTo>
                      <a:pt x="348710" y="508921"/>
                    </a:lnTo>
                    <a:lnTo>
                      <a:pt x="350425" y="508921"/>
                    </a:lnTo>
                    <a:lnTo>
                      <a:pt x="350425" y="509778"/>
                    </a:lnTo>
                    <a:lnTo>
                      <a:pt x="351187" y="509778"/>
                    </a:lnTo>
                    <a:lnTo>
                      <a:pt x="351187" y="510635"/>
                    </a:lnTo>
                    <a:lnTo>
                      <a:pt x="352901" y="514064"/>
                    </a:lnTo>
                    <a:lnTo>
                      <a:pt x="354616" y="516636"/>
                    </a:lnTo>
                    <a:lnTo>
                      <a:pt x="355473" y="517398"/>
                    </a:lnTo>
                    <a:lnTo>
                      <a:pt x="355473" y="519113"/>
                    </a:lnTo>
                    <a:lnTo>
                      <a:pt x="354616" y="519970"/>
                    </a:lnTo>
                    <a:lnTo>
                      <a:pt x="354616" y="520827"/>
                    </a:lnTo>
                    <a:lnTo>
                      <a:pt x="355473" y="521684"/>
                    </a:lnTo>
                    <a:lnTo>
                      <a:pt x="356330" y="521684"/>
                    </a:lnTo>
                    <a:lnTo>
                      <a:pt x="357950" y="521684"/>
                    </a:lnTo>
                    <a:lnTo>
                      <a:pt x="360521" y="523399"/>
                    </a:lnTo>
                    <a:lnTo>
                      <a:pt x="361379" y="523399"/>
                    </a:lnTo>
                    <a:lnTo>
                      <a:pt x="362141" y="523399"/>
                    </a:lnTo>
                    <a:lnTo>
                      <a:pt x="362998" y="522542"/>
                    </a:lnTo>
                    <a:lnTo>
                      <a:pt x="362998" y="521684"/>
                    </a:lnTo>
                    <a:lnTo>
                      <a:pt x="362998" y="520827"/>
                    </a:lnTo>
                    <a:lnTo>
                      <a:pt x="361379" y="518255"/>
                    </a:lnTo>
                    <a:lnTo>
                      <a:pt x="360521" y="517398"/>
                    </a:lnTo>
                    <a:lnTo>
                      <a:pt x="361379" y="517398"/>
                    </a:lnTo>
                    <a:lnTo>
                      <a:pt x="361379" y="514921"/>
                    </a:lnTo>
                    <a:lnTo>
                      <a:pt x="361379" y="514064"/>
                    </a:lnTo>
                    <a:lnTo>
                      <a:pt x="360521" y="513207"/>
                    </a:lnTo>
                    <a:lnTo>
                      <a:pt x="359664" y="513207"/>
                    </a:lnTo>
                    <a:lnTo>
                      <a:pt x="358807" y="512350"/>
                    </a:lnTo>
                    <a:lnTo>
                      <a:pt x="357950" y="511493"/>
                    </a:lnTo>
                    <a:lnTo>
                      <a:pt x="357950" y="511493"/>
                    </a:lnTo>
                    <a:lnTo>
                      <a:pt x="357092" y="510635"/>
                    </a:lnTo>
                    <a:lnTo>
                      <a:pt x="357092" y="508159"/>
                    </a:lnTo>
                    <a:lnTo>
                      <a:pt x="357092" y="508159"/>
                    </a:lnTo>
                    <a:lnTo>
                      <a:pt x="355473" y="506444"/>
                    </a:lnTo>
                    <a:lnTo>
                      <a:pt x="354616" y="505587"/>
                    </a:lnTo>
                    <a:lnTo>
                      <a:pt x="354616" y="504730"/>
                    </a:lnTo>
                    <a:lnTo>
                      <a:pt x="354616" y="504730"/>
                    </a:lnTo>
                    <a:lnTo>
                      <a:pt x="355473" y="503872"/>
                    </a:lnTo>
                    <a:lnTo>
                      <a:pt x="357950" y="500444"/>
                    </a:lnTo>
                    <a:lnTo>
                      <a:pt x="357950" y="499586"/>
                    </a:lnTo>
                    <a:lnTo>
                      <a:pt x="358807" y="498824"/>
                    </a:lnTo>
                    <a:lnTo>
                      <a:pt x="357950" y="497967"/>
                    </a:lnTo>
                    <a:lnTo>
                      <a:pt x="357092" y="497967"/>
                    </a:lnTo>
                    <a:lnTo>
                      <a:pt x="356330" y="497110"/>
                    </a:lnTo>
                    <a:lnTo>
                      <a:pt x="355473" y="497110"/>
                    </a:lnTo>
                    <a:lnTo>
                      <a:pt x="354616" y="497110"/>
                    </a:lnTo>
                    <a:lnTo>
                      <a:pt x="354616" y="496253"/>
                    </a:lnTo>
                    <a:lnTo>
                      <a:pt x="355473" y="496253"/>
                    </a:lnTo>
                    <a:lnTo>
                      <a:pt x="357092" y="494538"/>
                    </a:lnTo>
                    <a:lnTo>
                      <a:pt x="358807" y="491966"/>
                    </a:lnTo>
                    <a:lnTo>
                      <a:pt x="359664" y="491966"/>
                    </a:lnTo>
                    <a:lnTo>
                      <a:pt x="360521" y="491966"/>
                    </a:lnTo>
                    <a:lnTo>
                      <a:pt x="362141" y="491109"/>
                    </a:lnTo>
                    <a:lnTo>
                      <a:pt x="367284" y="491109"/>
                    </a:lnTo>
                    <a:lnTo>
                      <a:pt x="368046" y="491109"/>
                    </a:lnTo>
                    <a:lnTo>
                      <a:pt x="368903" y="490347"/>
                    </a:lnTo>
                    <a:lnTo>
                      <a:pt x="369761" y="489490"/>
                    </a:lnTo>
                    <a:lnTo>
                      <a:pt x="369761" y="489490"/>
                    </a:lnTo>
                    <a:lnTo>
                      <a:pt x="369761" y="488633"/>
                    </a:lnTo>
                    <a:lnTo>
                      <a:pt x="369761" y="487775"/>
                    </a:lnTo>
                    <a:lnTo>
                      <a:pt x="368903" y="484346"/>
                    </a:lnTo>
                    <a:lnTo>
                      <a:pt x="368903" y="483489"/>
                    </a:lnTo>
                    <a:lnTo>
                      <a:pt x="368903" y="482632"/>
                    </a:lnTo>
                    <a:lnTo>
                      <a:pt x="368903" y="481775"/>
                    </a:lnTo>
                    <a:lnTo>
                      <a:pt x="369761" y="479298"/>
                    </a:lnTo>
                    <a:lnTo>
                      <a:pt x="369761" y="478441"/>
                    </a:lnTo>
                    <a:lnTo>
                      <a:pt x="369761" y="478441"/>
                    </a:lnTo>
                    <a:lnTo>
                      <a:pt x="368046" y="477584"/>
                    </a:lnTo>
                    <a:lnTo>
                      <a:pt x="365570" y="477584"/>
                    </a:lnTo>
                    <a:lnTo>
                      <a:pt x="364712" y="476726"/>
                    </a:lnTo>
                    <a:lnTo>
                      <a:pt x="364712" y="476726"/>
                    </a:lnTo>
                    <a:lnTo>
                      <a:pt x="364712" y="475869"/>
                    </a:lnTo>
                    <a:lnTo>
                      <a:pt x="364712" y="475012"/>
                    </a:lnTo>
                    <a:lnTo>
                      <a:pt x="363855" y="474155"/>
                    </a:lnTo>
                    <a:lnTo>
                      <a:pt x="363855" y="474155"/>
                    </a:lnTo>
                    <a:lnTo>
                      <a:pt x="362998" y="473297"/>
                    </a:lnTo>
                    <a:lnTo>
                      <a:pt x="361379" y="472440"/>
                    </a:lnTo>
                    <a:lnTo>
                      <a:pt x="360521" y="472440"/>
                    </a:lnTo>
                    <a:lnTo>
                      <a:pt x="359664" y="472440"/>
                    </a:lnTo>
                    <a:lnTo>
                      <a:pt x="358807" y="473297"/>
                    </a:lnTo>
                    <a:lnTo>
                      <a:pt x="357950" y="474155"/>
                    </a:lnTo>
                    <a:lnTo>
                      <a:pt x="357950" y="475012"/>
                    </a:lnTo>
                    <a:lnTo>
                      <a:pt x="357950" y="476726"/>
                    </a:lnTo>
                    <a:lnTo>
                      <a:pt x="358807" y="477584"/>
                    </a:lnTo>
                    <a:lnTo>
                      <a:pt x="358807" y="478441"/>
                    </a:lnTo>
                    <a:lnTo>
                      <a:pt x="360521" y="481013"/>
                    </a:lnTo>
                    <a:lnTo>
                      <a:pt x="361379" y="481775"/>
                    </a:lnTo>
                    <a:lnTo>
                      <a:pt x="361379" y="483489"/>
                    </a:lnTo>
                    <a:lnTo>
                      <a:pt x="360521" y="483489"/>
                    </a:lnTo>
                    <a:lnTo>
                      <a:pt x="358807" y="483489"/>
                    </a:lnTo>
                    <a:lnTo>
                      <a:pt x="357950" y="482632"/>
                    </a:lnTo>
                    <a:lnTo>
                      <a:pt x="356330" y="481775"/>
                    </a:lnTo>
                    <a:lnTo>
                      <a:pt x="354616" y="479298"/>
                    </a:lnTo>
                    <a:lnTo>
                      <a:pt x="353759" y="478441"/>
                    </a:lnTo>
                    <a:lnTo>
                      <a:pt x="352044" y="478441"/>
                    </a:lnTo>
                    <a:lnTo>
                      <a:pt x="349568" y="477584"/>
                    </a:lnTo>
                    <a:lnTo>
                      <a:pt x="347853" y="476726"/>
                    </a:lnTo>
                    <a:lnTo>
                      <a:pt x="347853" y="475869"/>
                    </a:lnTo>
                    <a:lnTo>
                      <a:pt x="347853" y="475012"/>
                    </a:lnTo>
                    <a:lnTo>
                      <a:pt x="347853" y="474155"/>
                    </a:lnTo>
                    <a:lnTo>
                      <a:pt x="347853" y="473297"/>
                    </a:lnTo>
                    <a:lnTo>
                      <a:pt x="346996" y="472440"/>
                    </a:lnTo>
                    <a:lnTo>
                      <a:pt x="346139" y="472440"/>
                    </a:lnTo>
                    <a:lnTo>
                      <a:pt x="344519" y="473297"/>
                    </a:lnTo>
                    <a:lnTo>
                      <a:pt x="341090" y="473297"/>
                    </a:lnTo>
                    <a:lnTo>
                      <a:pt x="339471" y="473297"/>
                    </a:lnTo>
                    <a:lnTo>
                      <a:pt x="337757" y="473297"/>
                    </a:lnTo>
                    <a:lnTo>
                      <a:pt x="336042" y="473297"/>
                    </a:lnTo>
                    <a:lnTo>
                      <a:pt x="334423" y="471678"/>
                    </a:lnTo>
                    <a:lnTo>
                      <a:pt x="333566" y="471678"/>
                    </a:lnTo>
                    <a:lnTo>
                      <a:pt x="332708" y="472440"/>
                    </a:lnTo>
                    <a:lnTo>
                      <a:pt x="330994" y="473297"/>
                    </a:lnTo>
                    <a:lnTo>
                      <a:pt x="329375" y="475869"/>
                    </a:lnTo>
                    <a:lnTo>
                      <a:pt x="328517" y="477584"/>
                    </a:lnTo>
                    <a:lnTo>
                      <a:pt x="327660" y="478441"/>
                    </a:lnTo>
                    <a:lnTo>
                      <a:pt x="327660" y="479298"/>
                    </a:lnTo>
                    <a:lnTo>
                      <a:pt x="327660" y="482632"/>
                    </a:lnTo>
                    <a:lnTo>
                      <a:pt x="327660" y="483489"/>
                    </a:lnTo>
                    <a:lnTo>
                      <a:pt x="327660" y="483489"/>
                    </a:lnTo>
                    <a:lnTo>
                      <a:pt x="326803" y="484346"/>
                    </a:lnTo>
                    <a:lnTo>
                      <a:pt x="325946" y="484346"/>
                    </a:lnTo>
                    <a:lnTo>
                      <a:pt x="324326" y="484346"/>
                    </a:lnTo>
                    <a:lnTo>
                      <a:pt x="321755" y="483489"/>
                    </a:lnTo>
                    <a:lnTo>
                      <a:pt x="318421" y="483489"/>
                    </a:lnTo>
                    <a:lnTo>
                      <a:pt x="314992" y="482632"/>
                    </a:lnTo>
                    <a:lnTo>
                      <a:pt x="308324" y="481775"/>
                    </a:lnTo>
                    <a:lnTo>
                      <a:pt x="308324" y="480155"/>
                    </a:lnTo>
                    <a:lnTo>
                      <a:pt x="309086" y="479298"/>
                    </a:lnTo>
                    <a:lnTo>
                      <a:pt x="309086" y="478441"/>
                    </a:lnTo>
                    <a:lnTo>
                      <a:pt x="309944" y="477584"/>
                    </a:lnTo>
                    <a:lnTo>
                      <a:pt x="309944" y="476726"/>
                    </a:lnTo>
                    <a:lnTo>
                      <a:pt x="309944" y="476726"/>
                    </a:lnTo>
                    <a:lnTo>
                      <a:pt x="309086" y="475869"/>
                    </a:lnTo>
                    <a:lnTo>
                      <a:pt x="305753" y="474155"/>
                    </a:lnTo>
                    <a:lnTo>
                      <a:pt x="304895" y="473297"/>
                    </a:lnTo>
                    <a:lnTo>
                      <a:pt x="304038" y="472440"/>
                    </a:lnTo>
                    <a:lnTo>
                      <a:pt x="304038" y="471678"/>
                    </a:lnTo>
                    <a:lnTo>
                      <a:pt x="303181" y="469963"/>
                    </a:lnTo>
                    <a:lnTo>
                      <a:pt x="303181" y="469106"/>
                    </a:lnTo>
                    <a:lnTo>
                      <a:pt x="303181" y="467392"/>
                    </a:lnTo>
                    <a:lnTo>
                      <a:pt x="303181" y="466535"/>
                    </a:lnTo>
                    <a:lnTo>
                      <a:pt x="304038" y="465677"/>
                    </a:lnTo>
                    <a:lnTo>
                      <a:pt x="304038" y="464820"/>
                    </a:lnTo>
                    <a:lnTo>
                      <a:pt x="304895" y="464820"/>
                    </a:lnTo>
                    <a:lnTo>
                      <a:pt x="305753" y="464820"/>
                    </a:lnTo>
                    <a:lnTo>
                      <a:pt x="305753" y="464820"/>
                    </a:lnTo>
                    <a:lnTo>
                      <a:pt x="306610" y="464820"/>
                    </a:lnTo>
                    <a:lnTo>
                      <a:pt x="307467" y="464820"/>
                    </a:lnTo>
                    <a:lnTo>
                      <a:pt x="308324" y="464820"/>
                    </a:lnTo>
                    <a:lnTo>
                      <a:pt x="308324" y="463963"/>
                    </a:lnTo>
                    <a:lnTo>
                      <a:pt x="309086" y="463963"/>
                    </a:lnTo>
                    <a:lnTo>
                      <a:pt x="309086" y="462344"/>
                    </a:lnTo>
                    <a:lnTo>
                      <a:pt x="309944" y="461486"/>
                    </a:lnTo>
                    <a:lnTo>
                      <a:pt x="310801" y="460629"/>
                    </a:lnTo>
                    <a:lnTo>
                      <a:pt x="310801" y="459772"/>
                    </a:lnTo>
                    <a:lnTo>
                      <a:pt x="310801" y="458914"/>
                    </a:lnTo>
                    <a:lnTo>
                      <a:pt x="310801" y="458057"/>
                    </a:lnTo>
                    <a:lnTo>
                      <a:pt x="309944" y="456343"/>
                    </a:lnTo>
                    <a:lnTo>
                      <a:pt x="309944" y="455486"/>
                    </a:lnTo>
                    <a:lnTo>
                      <a:pt x="309086" y="455486"/>
                    </a:lnTo>
                    <a:lnTo>
                      <a:pt x="306610" y="455486"/>
                    </a:lnTo>
                    <a:lnTo>
                      <a:pt x="304038" y="455486"/>
                    </a:lnTo>
                    <a:lnTo>
                      <a:pt x="304038" y="455486"/>
                    </a:lnTo>
                    <a:lnTo>
                      <a:pt x="303181" y="455486"/>
                    </a:lnTo>
                    <a:lnTo>
                      <a:pt x="301562" y="456343"/>
                    </a:lnTo>
                    <a:lnTo>
                      <a:pt x="300704" y="456343"/>
                    </a:lnTo>
                    <a:lnTo>
                      <a:pt x="299847" y="456343"/>
                    </a:lnTo>
                    <a:lnTo>
                      <a:pt x="299847" y="456343"/>
                    </a:lnTo>
                    <a:lnTo>
                      <a:pt x="298990" y="455486"/>
                    </a:lnTo>
                    <a:lnTo>
                      <a:pt x="298133" y="453866"/>
                    </a:lnTo>
                    <a:lnTo>
                      <a:pt x="297371" y="451295"/>
                    </a:lnTo>
                    <a:lnTo>
                      <a:pt x="296513" y="450437"/>
                    </a:lnTo>
                    <a:lnTo>
                      <a:pt x="295656" y="449580"/>
                    </a:lnTo>
                    <a:lnTo>
                      <a:pt x="294799" y="448723"/>
                    </a:lnTo>
                    <a:lnTo>
                      <a:pt x="294799" y="448723"/>
                    </a:lnTo>
                    <a:lnTo>
                      <a:pt x="293084" y="447866"/>
                    </a:lnTo>
                    <a:lnTo>
                      <a:pt x="292322" y="447008"/>
                    </a:lnTo>
                    <a:lnTo>
                      <a:pt x="291465" y="446151"/>
                    </a:lnTo>
                    <a:lnTo>
                      <a:pt x="290608" y="441103"/>
                    </a:lnTo>
                    <a:lnTo>
                      <a:pt x="289751" y="439388"/>
                    </a:lnTo>
                    <a:lnTo>
                      <a:pt x="289751" y="437674"/>
                    </a:lnTo>
                    <a:lnTo>
                      <a:pt x="290608" y="435197"/>
                    </a:lnTo>
                    <a:lnTo>
                      <a:pt x="292322" y="432626"/>
                    </a:lnTo>
                    <a:lnTo>
                      <a:pt x="293084" y="430911"/>
                    </a:lnTo>
                    <a:lnTo>
                      <a:pt x="293084" y="429196"/>
                    </a:lnTo>
                    <a:lnTo>
                      <a:pt x="293084" y="427577"/>
                    </a:lnTo>
                    <a:lnTo>
                      <a:pt x="293084" y="424148"/>
                    </a:lnTo>
                    <a:lnTo>
                      <a:pt x="293084" y="423291"/>
                    </a:lnTo>
                    <a:lnTo>
                      <a:pt x="293084" y="422434"/>
                    </a:lnTo>
                    <a:lnTo>
                      <a:pt x="295656" y="421577"/>
                    </a:lnTo>
                    <a:lnTo>
                      <a:pt x="296513" y="421577"/>
                    </a:lnTo>
                    <a:lnTo>
                      <a:pt x="296513" y="420719"/>
                    </a:lnTo>
                    <a:lnTo>
                      <a:pt x="296513" y="420719"/>
                    </a:lnTo>
                    <a:lnTo>
                      <a:pt x="298133" y="413099"/>
                    </a:lnTo>
                    <a:lnTo>
                      <a:pt x="298990" y="410528"/>
                    </a:lnTo>
                    <a:lnTo>
                      <a:pt x="298990" y="408908"/>
                    </a:lnTo>
                    <a:lnTo>
                      <a:pt x="298990" y="406337"/>
                    </a:lnTo>
                    <a:lnTo>
                      <a:pt x="298990" y="405479"/>
                    </a:lnTo>
                    <a:lnTo>
                      <a:pt x="298990" y="404622"/>
                    </a:lnTo>
                    <a:lnTo>
                      <a:pt x="298133" y="402908"/>
                    </a:lnTo>
                    <a:lnTo>
                      <a:pt x="297371" y="402908"/>
                    </a:lnTo>
                    <a:lnTo>
                      <a:pt x="296513" y="402050"/>
                    </a:lnTo>
                    <a:lnTo>
                      <a:pt x="295656" y="402050"/>
                    </a:lnTo>
                    <a:lnTo>
                      <a:pt x="294799" y="402050"/>
                    </a:lnTo>
                    <a:lnTo>
                      <a:pt x="293084" y="400431"/>
                    </a:lnTo>
                    <a:lnTo>
                      <a:pt x="292322" y="400431"/>
                    </a:lnTo>
                    <a:lnTo>
                      <a:pt x="288893" y="399574"/>
                    </a:lnTo>
                    <a:lnTo>
                      <a:pt x="288036" y="399574"/>
                    </a:lnTo>
                    <a:lnTo>
                      <a:pt x="288036" y="398717"/>
                    </a:lnTo>
                    <a:lnTo>
                      <a:pt x="288036" y="398717"/>
                    </a:lnTo>
                    <a:lnTo>
                      <a:pt x="288893" y="397002"/>
                    </a:lnTo>
                    <a:lnTo>
                      <a:pt x="289751" y="396145"/>
                    </a:lnTo>
                    <a:lnTo>
                      <a:pt x="290608" y="395288"/>
                    </a:lnTo>
                    <a:lnTo>
                      <a:pt x="290608" y="395288"/>
                    </a:lnTo>
                    <a:lnTo>
                      <a:pt x="290608" y="394430"/>
                    </a:lnTo>
                    <a:lnTo>
                      <a:pt x="290608" y="392716"/>
                    </a:lnTo>
                    <a:lnTo>
                      <a:pt x="290608" y="390239"/>
                    </a:lnTo>
                    <a:lnTo>
                      <a:pt x="293084" y="386810"/>
                    </a:lnTo>
                    <a:lnTo>
                      <a:pt x="293942" y="386810"/>
                    </a:lnTo>
                    <a:lnTo>
                      <a:pt x="304038" y="392716"/>
                    </a:lnTo>
                    <a:lnTo>
                      <a:pt x="305753" y="392716"/>
                    </a:lnTo>
                    <a:lnTo>
                      <a:pt x="308324" y="392716"/>
                    </a:lnTo>
                    <a:lnTo>
                      <a:pt x="309944" y="393573"/>
                    </a:lnTo>
                    <a:lnTo>
                      <a:pt x="311658" y="394430"/>
                    </a:lnTo>
                    <a:lnTo>
                      <a:pt x="313373" y="394430"/>
                    </a:lnTo>
                    <a:lnTo>
                      <a:pt x="314135" y="394430"/>
                    </a:lnTo>
                    <a:lnTo>
                      <a:pt x="315849" y="393573"/>
                    </a:lnTo>
                    <a:lnTo>
                      <a:pt x="316706" y="393573"/>
                    </a:lnTo>
                    <a:lnTo>
                      <a:pt x="318421" y="393573"/>
                    </a:lnTo>
                    <a:lnTo>
                      <a:pt x="318421" y="393573"/>
                    </a:lnTo>
                    <a:lnTo>
                      <a:pt x="319183" y="393573"/>
                    </a:lnTo>
                    <a:lnTo>
                      <a:pt x="320040" y="394430"/>
                    </a:lnTo>
                    <a:lnTo>
                      <a:pt x="320897" y="395288"/>
                    </a:lnTo>
                    <a:lnTo>
                      <a:pt x="320897" y="396145"/>
                    </a:lnTo>
                    <a:lnTo>
                      <a:pt x="321755" y="396145"/>
                    </a:lnTo>
                    <a:lnTo>
                      <a:pt x="322612" y="397002"/>
                    </a:lnTo>
                    <a:lnTo>
                      <a:pt x="323469" y="397002"/>
                    </a:lnTo>
                    <a:lnTo>
                      <a:pt x="324326" y="396145"/>
                    </a:lnTo>
                    <a:lnTo>
                      <a:pt x="325088" y="395288"/>
                    </a:lnTo>
                    <a:lnTo>
                      <a:pt x="327660" y="392716"/>
                    </a:lnTo>
                    <a:lnTo>
                      <a:pt x="328517" y="391954"/>
                    </a:lnTo>
                    <a:lnTo>
                      <a:pt x="329375" y="390239"/>
                    </a:lnTo>
                    <a:lnTo>
                      <a:pt x="330137" y="387668"/>
                    </a:lnTo>
                    <a:lnTo>
                      <a:pt x="330137" y="385953"/>
                    </a:lnTo>
                    <a:lnTo>
                      <a:pt x="330994" y="385096"/>
                    </a:lnTo>
                    <a:lnTo>
                      <a:pt x="331851" y="384238"/>
                    </a:lnTo>
                    <a:lnTo>
                      <a:pt x="332708" y="383381"/>
                    </a:lnTo>
                    <a:lnTo>
                      <a:pt x="332708" y="381762"/>
                    </a:lnTo>
                    <a:lnTo>
                      <a:pt x="333566" y="380905"/>
                    </a:lnTo>
                    <a:lnTo>
                      <a:pt x="333566" y="380047"/>
                    </a:lnTo>
                    <a:lnTo>
                      <a:pt x="333566" y="377476"/>
                    </a:lnTo>
                    <a:lnTo>
                      <a:pt x="332708" y="374904"/>
                    </a:lnTo>
                    <a:lnTo>
                      <a:pt x="330994" y="369856"/>
                    </a:lnTo>
                    <a:lnTo>
                      <a:pt x="330137" y="362236"/>
                    </a:lnTo>
                    <a:lnTo>
                      <a:pt x="329375" y="360521"/>
                    </a:lnTo>
                    <a:lnTo>
                      <a:pt x="328517" y="359664"/>
                    </a:lnTo>
                    <a:lnTo>
                      <a:pt x="326803" y="359664"/>
                    </a:lnTo>
                    <a:lnTo>
                      <a:pt x="323469" y="357950"/>
                    </a:lnTo>
                    <a:lnTo>
                      <a:pt x="322612" y="357950"/>
                    </a:lnTo>
                    <a:lnTo>
                      <a:pt x="321755" y="357092"/>
                    </a:lnTo>
                    <a:lnTo>
                      <a:pt x="320897" y="355473"/>
                    </a:lnTo>
                    <a:lnTo>
                      <a:pt x="320040" y="349472"/>
                    </a:lnTo>
                    <a:lnTo>
                      <a:pt x="319183" y="347758"/>
                    </a:lnTo>
                    <a:lnTo>
                      <a:pt x="319183" y="346996"/>
                    </a:lnTo>
                    <a:lnTo>
                      <a:pt x="318421" y="346138"/>
                    </a:lnTo>
                    <a:lnTo>
                      <a:pt x="317564" y="345281"/>
                    </a:lnTo>
                    <a:lnTo>
                      <a:pt x="317564" y="344424"/>
                    </a:lnTo>
                    <a:lnTo>
                      <a:pt x="316706" y="342710"/>
                    </a:lnTo>
                    <a:lnTo>
                      <a:pt x="315849" y="340138"/>
                    </a:lnTo>
                    <a:lnTo>
                      <a:pt x="314992" y="340138"/>
                    </a:lnTo>
                    <a:lnTo>
                      <a:pt x="314992" y="339280"/>
                    </a:lnTo>
                    <a:lnTo>
                      <a:pt x="314992" y="338519"/>
                    </a:lnTo>
                    <a:lnTo>
                      <a:pt x="315849" y="337661"/>
                    </a:lnTo>
                    <a:lnTo>
                      <a:pt x="316706" y="337661"/>
                    </a:lnTo>
                    <a:lnTo>
                      <a:pt x="318421" y="339280"/>
                    </a:lnTo>
                    <a:lnTo>
                      <a:pt x="319183" y="340138"/>
                    </a:lnTo>
                    <a:lnTo>
                      <a:pt x="319183" y="339280"/>
                    </a:lnTo>
                    <a:lnTo>
                      <a:pt x="319183" y="338519"/>
                    </a:lnTo>
                    <a:lnTo>
                      <a:pt x="320040" y="337661"/>
                    </a:lnTo>
                    <a:lnTo>
                      <a:pt x="320040" y="332518"/>
                    </a:lnTo>
                    <a:lnTo>
                      <a:pt x="318421" y="327470"/>
                    </a:lnTo>
                    <a:lnTo>
                      <a:pt x="318421" y="326612"/>
                    </a:lnTo>
                    <a:lnTo>
                      <a:pt x="319183" y="325755"/>
                    </a:lnTo>
                    <a:lnTo>
                      <a:pt x="319183" y="324898"/>
                    </a:lnTo>
                    <a:lnTo>
                      <a:pt x="320040" y="324041"/>
                    </a:lnTo>
                    <a:lnTo>
                      <a:pt x="320897" y="322326"/>
                    </a:lnTo>
                    <a:lnTo>
                      <a:pt x="321755" y="322326"/>
                    </a:lnTo>
                    <a:lnTo>
                      <a:pt x="323469" y="321469"/>
                    </a:lnTo>
                    <a:lnTo>
                      <a:pt x="324326" y="321469"/>
                    </a:lnTo>
                    <a:lnTo>
                      <a:pt x="325088" y="322326"/>
                    </a:lnTo>
                    <a:lnTo>
                      <a:pt x="325946" y="322326"/>
                    </a:lnTo>
                    <a:lnTo>
                      <a:pt x="327660" y="322326"/>
                    </a:lnTo>
                    <a:lnTo>
                      <a:pt x="327660" y="322326"/>
                    </a:lnTo>
                    <a:lnTo>
                      <a:pt x="328517" y="321469"/>
                    </a:lnTo>
                    <a:lnTo>
                      <a:pt x="327660" y="318992"/>
                    </a:lnTo>
                    <a:lnTo>
                      <a:pt x="325946" y="315563"/>
                    </a:lnTo>
                    <a:lnTo>
                      <a:pt x="324326" y="312992"/>
                    </a:lnTo>
                    <a:lnTo>
                      <a:pt x="324326" y="312992"/>
                    </a:lnTo>
                    <a:lnTo>
                      <a:pt x="323469" y="312134"/>
                    </a:lnTo>
                    <a:lnTo>
                      <a:pt x="322612" y="312134"/>
                    </a:lnTo>
                    <a:lnTo>
                      <a:pt x="322612" y="312134"/>
                    </a:lnTo>
                    <a:lnTo>
                      <a:pt x="321755" y="310515"/>
                    </a:lnTo>
                    <a:lnTo>
                      <a:pt x="321755" y="307943"/>
                    </a:lnTo>
                    <a:lnTo>
                      <a:pt x="322612" y="302800"/>
                    </a:lnTo>
                    <a:lnTo>
                      <a:pt x="322612" y="300323"/>
                    </a:lnTo>
                    <a:lnTo>
                      <a:pt x="322612" y="299466"/>
                    </a:lnTo>
                    <a:lnTo>
                      <a:pt x="322612" y="297752"/>
                    </a:lnTo>
                    <a:lnTo>
                      <a:pt x="326803" y="291846"/>
                    </a:lnTo>
                    <a:lnTo>
                      <a:pt x="334423" y="287560"/>
                    </a:lnTo>
                    <a:lnTo>
                      <a:pt x="336899" y="286703"/>
                    </a:lnTo>
                    <a:lnTo>
                      <a:pt x="343662" y="285845"/>
                    </a:lnTo>
                    <a:lnTo>
                      <a:pt x="344519" y="285845"/>
                    </a:lnTo>
                    <a:lnTo>
                      <a:pt x="346139" y="286703"/>
                    </a:lnTo>
                    <a:lnTo>
                      <a:pt x="347853" y="287560"/>
                    </a:lnTo>
                    <a:lnTo>
                      <a:pt x="352901" y="287560"/>
                    </a:lnTo>
                    <a:lnTo>
                      <a:pt x="365570" y="288417"/>
                    </a:lnTo>
                    <a:lnTo>
                      <a:pt x="366427" y="288417"/>
                    </a:lnTo>
                    <a:lnTo>
                      <a:pt x="368046" y="288417"/>
                    </a:lnTo>
                    <a:lnTo>
                      <a:pt x="368903" y="286703"/>
                    </a:lnTo>
                    <a:lnTo>
                      <a:pt x="370618" y="284988"/>
                    </a:lnTo>
                    <a:lnTo>
                      <a:pt x="371475" y="284226"/>
                    </a:lnTo>
                    <a:lnTo>
                      <a:pt x="371475" y="282512"/>
                    </a:lnTo>
                    <a:lnTo>
                      <a:pt x="371475" y="278225"/>
                    </a:lnTo>
                    <a:lnTo>
                      <a:pt x="371475" y="274892"/>
                    </a:lnTo>
                    <a:lnTo>
                      <a:pt x="372332" y="272320"/>
                    </a:lnTo>
                    <a:lnTo>
                      <a:pt x="372332" y="270605"/>
                    </a:lnTo>
                    <a:lnTo>
                      <a:pt x="371475" y="264700"/>
                    </a:lnTo>
                    <a:lnTo>
                      <a:pt x="371475" y="262128"/>
                    </a:lnTo>
                    <a:lnTo>
                      <a:pt x="371475" y="260413"/>
                    </a:lnTo>
                    <a:lnTo>
                      <a:pt x="372332" y="258699"/>
                    </a:lnTo>
                    <a:lnTo>
                      <a:pt x="372332" y="257937"/>
                    </a:lnTo>
                    <a:lnTo>
                      <a:pt x="372332" y="254508"/>
                    </a:lnTo>
                    <a:lnTo>
                      <a:pt x="372332" y="252794"/>
                    </a:lnTo>
                    <a:lnTo>
                      <a:pt x="373094" y="251936"/>
                    </a:lnTo>
                    <a:lnTo>
                      <a:pt x="373952" y="251936"/>
                    </a:lnTo>
                    <a:lnTo>
                      <a:pt x="377381" y="249364"/>
                    </a:lnTo>
                    <a:lnTo>
                      <a:pt x="378143" y="248603"/>
                    </a:lnTo>
                    <a:lnTo>
                      <a:pt x="379000" y="247745"/>
                    </a:lnTo>
                    <a:lnTo>
                      <a:pt x="379000" y="246888"/>
                    </a:lnTo>
                    <a:lnTo>
                      <a:pt x="379000" y="245173"/>
                    </a:lnTo>
                    <a:lnTo>
                      <a:pt x="379000" y="243459"/>
                    </a:lnTo>
                    <a:lnTo>
                      <a:pt x="378143" y="242602"/>
                    </a:lnTo>
                    <a:lnTo>
                      <a:pt x="377381" y="241745"/>
                    </a:lnTo>
                    <a:lnTo>
                      <a:pt x="373094" y="240125"/>
                    </a:lnTo>
                    <a:lnTo>
                      <a:pt x="370618" y="239268"/>
                    </a:lnTo>
                    <a:lnTo>
                      <a:pt x="363855" y="240125"/>
                    </a:lnTo>
                    <a:lnTo>
                      <a:pt x="362141" y="239268"/>
                    </a:lnTo>
                    <a:lnTo>
                      <a:pt x="351187" y="236696"/>
                    </a:lnTo>
                    <a:lnTo>
                      <a:pt x="350425" y="235839"/>
                    </a:lnTo>
                    <a:lnTo>
                      <a:pt x="346996" y="231553"/>
                    </a:lnTo>
                    <a:lnTo>
                      <a:pt x="346996" y="230791"/>
                    </a:lnTo>
                    <a:lnTo>
                      <a:pt x="348710" y="229934"/>
                    </a:lnTo>
                    <a:lnTo>
                      <a:pt x="352901" y="227362"/>
                    </a:lnTo>
                    <a:lnTo>
                      <a:pt x="356330" y="224790"/>
                    </a:lnTo>
                    <a:lnTo>
                      <a:pt x="359664" y="223076"/>
                    </a:lnTo>
                    <a:lnTo>
                      <a:pt x="360521" y="222313"/>
                    </a:lnTo>
                    <a:lnTo>
                      <a:pt x="360521" y="220599"/>
                    </a:lnTo>
                    <a:lnTo>
                      <a:pt x="360521" y="219742"/>
                    </a:lnTo>
                    <a:lnTo>
                      <a:pt x="361379" y="218027"/>
                    </a:lnTo>
                    <a:lnTo>
                      <a:pt x="362141" y="217170"/>
                    </a:lnTo>
                    <a:lnTo>
                      <a:pt x="364712" y="216313"/>
                    </a:lnTo>
                    <a:lnTo>
                      <a:pt x="365570" y="216313"/>
                    </a:lnTo>
                    <a:lnTo>
                      <a:pt x="366427" y="215455"/>
                    </a:lnTo>
                    <a:lnTo>
                      <a:pt x="366427" y="213741"/>
                    </a:lnTo>
                    <a:lnTo>
                      <a:pt x="367284" y="212122"/>
                    </a:lnTo>
                    <a:lnTo>
                      <a:pt x="367284" y="210407"/>
                    </a:lnTo>
                    <a:lnTo>
                      <a:pt x="368046" y="209550"/>
                    </a:lnTo>
                    <a:lnTo>
                      <a:pt x="368046" y="208693"/>
                    </a:lnTo>
                    <a:lnTo>
                      <a:pt x="367284" y="208693"/>
                    </a:lnTo>
                    <a:lnTo>
                      <a:pt x="366427" y="208693"/>
                    </a:lnTo>
                    <a:lnTo>
                      <a:pt x="365570" y="208693"/>
                    </a:lnTo>
                    <a:lnTo>
                      <a:pt x="363855" y="208693"/>
                    </a:lnTo>
                    <a:lnTo>
                      <a:pt x="363855" y="208693"/>
                    </a:lnTo>
                    <a:lnTo>
                      <a:pt x="363855" y="207836"/>
                    </a:lnTo>
                    <a:lnTo>
                      <a:pt x="364712" y="206978"/>
                    </a:lnTo>
                    <a:lnTo>
                      <a:pt x="365570" y="206121"/>
                    </a:lnTo>
                    <a:lnTo>
                      <a:pt x="367284" y="204502"/>
                    </a:lnTo>
                    <a:lnTo>
                      <a:pt x="368046" y="203645"/>
                    </a:lnTo>
                    <a:lnTo>
                      <a:pt x="367284" y="203645"/>
                    </a:lnTo>
                    <a:lnTo>
                      <a:pt x="366427" y="201930"/>
                    </a:lnTo>
                    <a:lnTo>
                      <a:pt x="364712" y="201073"/>
                    </a:lnTo>
                    <a:lnTo>
                      <a:pt x="363855" y="200216"/>
                    </a:lnTo>
                    <a:lnTo>
                      <a:pt x="363855" y="200216"/>
                    </a:lnTo>
                    <a:lnTo>
                      <a:pt x="363855" y="198501"/>
                    </a:lnTo>
                    <a:lnTo>
                      <a:pt x="364712" y="193453"/>
                    </a:lnTo>
                    <a:lnTo>
                      <a:pt x="364712" y="192596"/>
                    </a:lnTo>
                    <a:lnTo>
                      <a:pt x="365570" y="191738"/>
                    </a:lnTo>
                    <a:lnTo>
                      <a:pt x="366427" y="191738"/>
                    </a:lnTo>
                    <a:lnTo>
                      <a:pt x="366427" y="190024"/>
                    </a:lnTo>
                    <a:lnTo>
                      <a:pt x="366427" y="175641"/>
                    </a:lnTo>
                    <a:lnTo>
                      <a:pt x="366427" y="173927"/>
                    </a:lnTo>
                    <a:lnTo>
                      <a:pt x="367284" y="171355"/>
                    </a:lnTo>
                    <a:lnTo>
                      <a:pt x="368046" y="168878"/>
                    </a:lnTo>
                    <a:lnTo>
                      <a:pt x="369761" y="167164"/>
                    </a:lnTo>
                    <a:lnTo>
                      <a:pt x="369761" y="165449"/>
                    </a:lnTo>
                    <a:lnTo>
                      <a:pt x="369761" y="163735"/>
                    </a:lnTo>
                    <a:lnTo>
                      <a:pt x="367284" y="159544"/>
                    </a:lnTo>
                    <a:lnTo>
                      <a:pt x="366427" y="156972"/>
                    </a:lnTo>
                    <a:lnTo>
                      <a:pt x="365570" y="152686"/>
                    </a:lnTo>
                    <a:lnTo>
                      <a:pt x="365570" y="151829"/>
                    </a:lnTo>
                    <a:lnTo>
                      <a:pt x="364712" y="150971"/>
                    </a:lnTo>
                    <a:lnTo>
                      <a:pt x="363855" y="150971"/>
                    </a:lnTo>
                    <a:lnTo>
                      <a:pt x="361379" y="150209"/>
                    </a:lnTo>
                    <a:lnTo>
                      <a:pt x="360521" y="150209"/>
                    </a:lnTo>
                    <a:lnTo>
                      <a:pt x="359664" y="149352"/>
                    </a:lnTo>
                    <a:lnTo>
                      <a:pt x="358807" y="147638"/>
                    </a:lnTo>
                    <a:lnTo>
                      <a:pt x="358807" y="145923"/>
                    </a:lnTo>
                    <a:lnTo>
                      <a:pt x="359664" y="142494"/>
                    </a:lnTo>
                    <a:lnTo>
                      <a:pt x="373094" y="125539"/>
                    </a:lnTo>
                    <a:lnTo>
                      <a:pt x="374809" y="123063"/>
                    </a:lnTo>
                    <a:lnTo>
                      <a:pt x="375666" y="120491"/>
                    </a:lnTo>
                    <a:lnTo>
                      <a:pt x="376523" y="118777"/>
                    </a:lnTo>
                    <a:lnTo>
                      <a:pt x="377381" y="118777"/>
                    </a:lnTo>
                    <a:lnTo>
                      <a:pt x="379000" y="117920"/>
                    </a:lnTo>
                    <a:lnTo>
                      <a:pt x="380714" y="117920"/>
                    </a:lnTo>
                    <a:lnTo>
                      <a:pt x="381572" y="117062"/>
                    </a:lnTo>
                    <a:lnTo>
                      <a:pt x="382429" y="116205"/>
                    </a:lnTo>
                    <a:lnTo>
                      <a:pt x="382429" y="113729"/>
                    </a:lnTo>
                    <a:lnTo>
                      <a:pt x="383286" y="112871"/>
                    </a:lnTo>
                    <a:lnTo>
                      <a:pt x="384905" y="112014"/>
                    </a:lnTo>
                    <a:lnTo>
                      <a:pt x="389954" y="111157"/>
                    </a:lnTo>
                    <a:lnTo>
                      <a:pt x="389954" y="111157"/>
                    </a:lnTo>
                    <a:lnTo>
                      <a:pt x="390811" y="111157"/>
                    </a:lnTo>
                    <a:lnTo>
                      <a:pt x="393383" y="104394"/>
                    </a:lnTo>
                    <a:lnTo>
                      <a:pt x="394145" y="102679"/>
                    </a:lnTo>
                    <a:lnTo>
                      <a:pt x="394145" y="101822"/>
                    </a:lnTo>
                    <a:lnTo>
                      <a:pt x="392525" y="101822"/>
                    </a:lnTo>
                    <a:lnTo>
                      <a:pt x="390811" y="102679"/>
                    </a:lnTo>
                    <a:lnTo>
                      <a:pt x="389096" y="103537"/>
                    </a:lnTo>
                    <a:lnTo>
                      <a:pt x="386620" y="105251"/>
                    </a:lnTo>
                    <a:lnTo>
                      <a:pt x="385763" y="105251"/>
                    </a:lnTo>
                    <a:lnTo>
                      <a:pt x="384905" y="105251"/>
                    </a:lnTo>
                    <a:lnTo>
                      <a:pt x="384048" y="105251"/>
                    </a:lnTo>
                    <a:lnTo>
                      <a:pt x="383286" y="104394"/>
                    </a:lnTo>
                    <a:lnTo>
                      <a:pt x="382429" y="101822"/>
                    </a:lnTo>
                    <a:lnTo>
                      <a:pt x="379000" y="101822"/>
                    </a:lnTo>
                    <a:lnTo>
                      <a:pt x="377381" y="101822"/>
                    </a:lnTo>
                    <a:lnTo>
                      <a:pt x="375666" y="101822"/>
                    </a:lnTo>
                    <a:lnTo>
                      <a:pt x="373952" y="101822"/>
                    </a:lnTo>
                    <a:lnTo>
                      <a:pt x="373094" y="101822"/>
                    </a:lnTo>
                    <a:lnTo>
                      <a:pt x="372332" y="101822"/>
                    </a:lnTo>
                    <a:lnTo>
                      <a:pt x="370618" y="100108"/>
                    </a:lnTo>
                    <a:lnTo>
                      <a:pt x="368903" y="99250"/>
                    </a:lnTo>
                    <a:lnTo>
                      <a:pt x="365570" y="97536"/>
                    </a:lnTo>
                    <a:lnTo>
                      <a:pt x="363855" y="95917"/>
                    </a:lnTo>
                    <a:lnTo>
                      <a:pt x="365570" y="93345"/>
                    </a:lnTo>
                    <a:lnTo>
                      <a:pt x="368046" y="89059"/>
                    </a:lnTo>
                    <a:lnTo>
                      <a:pt x="369761" y="86582"/>
                    </a:lnTo>
                    <a:lnTo>
                      <a:pt x="370618" y="85725"/>
                    </a:lnTo>
                    <a:lnTo>
                      <a:pt x="371475" y="84868"/>
                    </a:lnTo>
                    <a:lnTo>
                      <a:pt x="375666" y="83153"/>
                    </a:lnTo>
                    <a:lnTo>
                      <a:pt x="376523" y="82296"/>
                    </a:lnTo>
                    <a:lnTo>
                      <a:pt x="377381" y="81439"/>
                    </a:lnTo>
                    <a:lnTo>
                      <a:pt x="377381" y="80582"/>
                    </a:lnTo>
                    <a:lnTo>
                      <a:pt x="377381" y="78962"/>
                    </a:lnTo>
                    <a:lnTo>
                      <a:pt x="376523" y="78105"/>
                    </a:lnTo>
                    <a:lnTo>
                      <a:pt x="375666" y="77248"/>
                    </a:lnTo>
                    <a:lnTo>
                      <a:pt x="374809" y="75533"/>
                    </a:lnTo>
                    <a:lnTo>
                      <a:pt x="373952" y="74676"/>
                    </a:lnTo>
                    <a:lnTo>
                      <a:pt x="373952" y="74676"/>
                    </a:lnTo>
                    <a:lnTo>
                      <a:pt x="373952" y="74676"/>
                    </a:lnTo>
                    <a:lnTo>
                      <a:pt x="373952" y="73819"/>
                    </a:lnTo>
                    <a:lnTo>
                      <a:pt x="374809" y="72104"/>
                    </a:lnTo>
                    <a:lnTo>
                      <a:pt x="375666" y="71247"/>
                    </a:lnTo>
                    <a:lnTo>
                      <a:pt x="376523" y="70485"/>
                    </a:lnTo>
                    <a:lnTo>
                      <a:pt x="377381" y="69628"/>
                    </a:lnTo>
                    <a:lnTo>
                      <a:pt x="378143" y="69628"/>
                    </a:lnTo>
                    <a:lnTo>
                      <a:pt x="379000" y="68771"/>
                    </a:lnTo>
                    <a:lnTo>
                      <a:pt x="379857" y="67913"/>
                    </a:lnTo>
                    <a:lnTo>
                      <a:pt x="386620" y="61913"/>
                    </a:lnTo>
                    <a:lnTo>
                      <a:pt x="387477" y="61150"/>
                    </a:lnTo>
                    <a:lnTo>
                      <a:pt x="387477" y="59436"/>
                    </a:lnTo>
                    <a:lnTo>
                      <a:pt x="387477" y="57721"/>
                    </a:lnTo>
                    <a:lnTo>
                      <a:pt x="386620" y="54293"/>
                    </a:lnTo>
                    <a:lnTo>
                      <a:pt x="385763" y="50959"/>
                    </a:lnTo>
                    <a:lnTo>
                      <a:pt x="384905" y="49244"/>
                    </a:lnTo>
                    <a:lnTo>
                      <a:pt x="384048" y="47530"/>
                    </a:lnTo>
                    <a:lnTo>
                      <a:pt x="380714" y="44958"/>
                    </a:lnTo>
                    <a:lnTo>
                      <a:pt x="379857" y="44101"/>
                    </a:lnTo>
                    <a:lnTo>
                      <a:pt x="379857" y="43339"/>
                    </a:lnTo>
                    <a:lnTo>
                      <a:pt x="380714" y="42482"/>
                    </a:lnTo>
                    <a:lnTo>
                      <a:pt x="380714" y="41624"/>
                    </a:lnTo>
                    <a:lnTo>
                      <a:pt x="381572" y="40767"/>
                    </a:lnTo>
                    <a:lnTo>
                      <a:pt x="383286" y="40767"/>
                    </a:lnTo>
                    <a:lnTo>
                      <a:pt x="384048" y="40767"/>
                    </a:lnTo>
                    <a:lnTo>
                      <a:pt x="384048" y="39910"/>
                    </a:lnTo>
                    <a:lnTo>
                      <a:pt x="384905" y="39910"/>
                    </a:lnTo>
                    <a:lnTo>
                      <a:pt x="384905" y="39053"/>
                    </a:lnTo>
                    <a:lnTo>
                      <a:pt x="384048" y="33147"/>
                    </a:lnTo>
                    <a:lnTo>
                      <a:pt x="381572" y="27146"/>
                    </a:lnTo>
                    <a:lnTo>
                      <a:pt x="380714" y="26289"/>
                    </a:lnTo>
                    <a:lnTo>
                      <a:pt x="381572" y="24670"/>
                    </a:lnTo>
                    <a:lnTo>
                      <a:pt x="381572" y="22955"/>
                    </a:lnTo>
                    <a:lnTo>
                      <a:pt x="382429" y="21241"/>
                    </a:lnTo>
                    <a:lnTo>
                      <a:pt x="382429" y="20383"/>
                    </a:lnTo>
                    <a:lnTo>
                      <a:pt x="382429" y="19526"/>
                    </a:lnTo>
                    <a:lnTo>
                      <a:pt x="379000" y="17812"/>
                    </a:lnTo>
                    <a:lnTo>
                      <a:pt x="374809" y="17050"/>
                    </a:lnTo>
                    <a:lnTo>
                      <a:pt x="373952" y="17050"/>
                    </a:lnTo>
                    <a:lnTo>
                      <a:pt x="373094" y="17050"/>
                    </a:lnTo>
                    <a:lnTo>
                      <a:pt x="371475" y="19526"/>
                    </a:lnTo>
                    <a:lnTo>
                      <a:pt x="369761" y="20383"/>
                    </a:lnTo>
                    <a:lnTo>
                      <a:pt x="368046" y="20383"/>
                    </a:lnTo>
                    <a:lnTo>
                      <a:pt x="367284" y="20383"/>
                    </a:lnTo>
                    <a:lnTo>
                      <a:pt x="366427" y="19526"/>
                    </a:lnTo>
                    <a:lnTo>
                      <a:pt x="365570" y="18669"/>
                    </a:lnTo>
                    <a:lnTo>
                      <a:pt x="365570" y="16193"/>
                    </a:lnTo>
                    <a:lnTo>
                      <a:pt x="364712" y="16193"/>
                    </a:lnTo>
                    <a:lnTo>
                      <a:pt x="363855" y="15335"/>
                    </a:lnTo>
                    <a:lnTo>
                      <a:pt x="359664" y="13621"/>
                    </a:lnTo>
                    <a:lnTo>
                      <a:pt x="357950" y="12764"/>
                    </a:lnTo>
                    <a:lnTo>
                      <a:pt x="357092" y="12764"/>
                    </a:lnTo>
                    <a:lnTo>
                      <a:pt x="356330" y="11049"/>
                    </a:lnTo>
                    <a:lnTo>
                      <a:pt x="356330" y="10192"/>
                    </a:lnTo>
                    <a:lnTo>
                      <a:pt x="356330" y="5144"/>
                    </a:lnTo>
                    <a:lnTo>
                      <a:pt x="356330" y="3429"/>
                    </a:lnTo>
                    <a:lnTo>
                      <a:pt x="355473" y="2572"/>
                    </a:lnTo>
                    <a:lnTo>
                      <a:pt x="354616" y="857"/>
                    </a:lnTo>
                    <a:lnTo>
                      <a:pt x="352901" y="0"/>
                    </a:lnTo>
                    <a:lnTo>
                      <a:pt x="352044" y="0"/>
                    </a:lnTo>
                    <a:lnTo>
                      <a:pt x="350425" y="0"/>
                    </a:lnTo>
                    <a:lnTo>
                      <a:pt x="349568" y="0"/>
                    </a:lnTo>
                    <a:lnTo>
                      <a:pt x="347853" y="857"/>
                    </a:lnTo>
                    <a:lnTo>
                      <a:pt x="344519" y="5144"/>
                    </a:lnTo>
                    <a:lnTo>
                      <a:pt x="343662" y="6858"/>
                    </a:lnTo>
                    <a:lnTo>
                      <a:pt x="343662" y="8477"/>
                    </a:lnTo>
                    <a:lnTo>
                      <a:pt x="344519" y="11906"/>
                    </a:lnTo>
                    <a:lnTo>
                      <a:pt x="344519" y="14478"/>
                    </a:lnTo>
                    <a:lnTo>
                      <a:pt x="343662" y="16193"/>
                    </a:lnTo>
                    <a:lnTo>
                      <a:pt x="342805" y="17050"/>
                    </a:lnTo>
                    <a:lnTo>
                      <a:pt x="341948" y="17050"/>
                    </a:lnTo>
                    <a:lnTo>
                      <a:pt x="341090" y="17812"/>
                    </a:lnTo>
                    <a:lnTo>
                      <a:pt x="338614" y="18669"/>
                    </a:lnTo>
                    <a:lnTo>
                      <a:pt x="331851" y="23813"/>
                    </a:lnTo>
                    <a:lnTo>
                      <a:pt x="330137" y="25527"/>
                    </a:lnTo>
                    <a:lnTo>
                      <a:pt x="329375" y="26289"/>
                    </a:lnTo>
                    <a:lnTo>
                      <a:pt x="329375" y="28004"/>
                    </a:lnTo>
                    <a:lnTo>
                      <a:pt x="328517" y="28861"/>
                    </a:lnTo>
                    <a:lnTo>
                      <a:pt x="328517" y="30575"/>
                    </a:lnTo>
                    <a:lnTo>
                      <a:pt x="327660" y="30575"/>
                    </a:lnTo>
                    <a:lnTo>
                      <a:pt x="326803" y="31433"/>
                    </a:lnTo>
                    <a:lnTo>
                      <a:pt x="324326" y="30575"/>
                    </a:lnTo>
                    <a:lnTo>
                      <a:pt x="323469" y="30575"/>
                    </a:lnTo>
                    <a:lnTo>
                      <a:pt x="321755" y="31433"/>
                    </a:lnTo>
                    <a:lnTo>
                      <a:pt x="320040" y="32290"/>
                    </a:lnTo>
                    <a:lnTo>
                      <a:pt x="319183" y="32290"/>
                    </a:lnTo>
                    <a:lnTo>
                      <a:pt x="318421" y="32290"/>
                    </a:lnTo>
                    <a:lnTo>
                      <a:pt x="315849" y="32290"/>
                    </a:lnTo>
                    <a:lnTo>
                      <a:pt x="313373" y="32290"/>
                    </a:lnTo>
                    <a:lnTo>
                      <a:pt x="309086" y="34004"/>
                    </a:lnTo>
                    <a:lnTo>
                      <a:pt x="307467" y="34862"/>
                    </a:lnTo>
                    <a:lnTo>
                      <a:pt x="307467" y="36481"/>
                    </a:lnTo>
                    <a:lnTo>
                      <a:pt x="307467" y="40767"/>
                    </a:lnTo>
                    <a:lnTo>
                      <a:pt x="307467" y="42482"/>
                    </a:lnTo>
                    <a:lnTo>
                      <a:pt x="307467" y="44101"/>
                    </a:lnTo>
                    <a:lnTo>
                      <a:pt x="305753" y="49244"/>
                    </a:lnTo>
                    <a:lnTo>
                      <a:pt x="305753" y="50959"/>
                    </a:lnTo>
                    <a:lnTo>
                      <a:pt x="305753" y="52673"/>
                    </a:lnTo>
                    <a:lnTo>
                      <a:pt x="306610" y="56007"/>
                    </a:lnTo>
                    <a:lnTo>
                      <a:pt x="305753" y="58579"/>
                    </a:lnTo>
                    <a:lnTo>
                      <a:pt x="305753" y="61150"/>
                    </a:lnTo>
                    <a:lnTo>
                      <a:pt x="304038" y="64484"/>
                    </a:lnTo>
                    <a:lnTo>
                      <a:pt x="302419" y="66199"/>
                    </a:lnTo>
                    <a:lnTo>
                      <a:pt x="300704" y="66199"/>
                    </a:lnTo>
                    <a:lnTo>
                      <a:pt x="299847" y="66199"/>
                    </a:lnTo>
                    <a:lnTo>
                      <a:pt x="293942" y="64484"/>
                    </a:lnTo>
                    <a:lnTo>
                      <a:pt x="293084" y="64484"/>
                    </a:lnTo>
                    <a:lnTo>
                      <a:pt x="292322" y="64484"/>
                    </a:lnTo>
                    <a:lnTo>
                      <a:pt x="290608" y="65342"/>
                    </a:lnTo>
                    <a:lnTo>
                      <a:pt x="290608" y="67056"/>
                    </a:lnTo>
                    <a:lnTo>
                      <a:pt x="292322" y="70485"/>
                    </a:lnTo>
                    <a:lnTo>
                      <a:pt x="292322" y="72104"/>
                    </a:lnTo>
                    <a:lnTo>
                      <a:pt x="292322" y="72962"/>
                    </a:lnTo>
                    <a:lnTo>
                      <a:pt x="291465" y="73819"/>
                    </a:lnTo>
                    <a:lnTo>
                      <a:pt x="290608" y="74676"/>
                    </a:lnTo>
                    <a:lnTo>
                      <a:pt x="289751" y="75533"/>
                    </a:lnTo>
                    <a:lnTo>
                      <a:pt x="287179" y="76391"/>
                    </a:lnTo>
                    <a:lnTo>
                      <a:pt x="286417" y="77248"/>
                    </a:lnTo>
                    <a:lnTo>
                      <a:pt x="285560" y="78962"/>
                    </a:lnTo>
                    <a:lnTo>
                      <a:pt x="284702" y="81439"/>
                    </a:lnTo>
                    <a:lnTo>
                      <a:pt x="282988" y="86582"/>
                    </a:lnTo>
                    <a:lnTo>
                      <a:pt x="281369" y="86582"/>
                    </a:lnTo>
                    <a:lnTo>
                      <a:pt x="278797" y="84011"/>
                    </a:lnTo>
                    <a:lnTo>
                      <a:pt x="277940" y="83153"/>
                    </a:lnTo>
                    <a:lnTo>
                      <a:pt x="277082" y="82296"/>
                    </a:lnTo>
                    <a:lnTo>
                      <a:pt x="275463" y="80582"/>
                    </a:lnTo>
                    <a:lnTo>
                      <a:pt x="273749" y="79724"/>
                    </a:lnTo>
                    <a:lnTo>
                      <a:pt x="272891" y="79724"/>
                    </a:lnTo>
                    <a:lnTo>
                      <a:pt x="272034" y="79724"/>
                    </a:lnTo>
                    <a:lnTo>
                      <a:pt x="269558" y="79724"/>
                    </a:lnTo>
                    <a:lnTo>
                      <a:pt x="267843" y="78962"/>
                    </a:lnTo>
                    <a:lnTo>
                      <a:pt x="266129" y="78962"/>
                    </a:lnTo>
                    <a:lnTo>
                      <a:pt x="265367" y="79724"/>
                    </a:lnTo>
                    <a:lnTo>
                      <a:pt x="265367" y="79724"/>
                    </a:lnTo>
                    <a:lnTo>
                      <a:pt x="264509" y="82296"/>
                    </a:lnTo>
                    <a:lnTo>
                      <a:pt x="263652" y="82296"/>
                    </a:lnTo>
                    <a:lnTo>
                      <a:pt x="262795" y="83153"/>
                    </a:lnTo>
                    <a:lnTo>
                      <a:pt x="261080" y="83153"/>
                    </a:lnTo>
                    <a:lnTo>
                      <a:pt x="260318" y="84011"/>
                    </a:lnTo>
                    <a:lnTo>
                      <a:pt x="260318" y="84868"/>
                    </a:lnTo>
                    <a:lnTo>
                      <a:pt x="260318" y="85725"/>
                    </a:lnTo>
                    <a:lnTo>
                      <a:pt x="260318" y="86582"/>
                    </a:lnTo>
                    <a:lnTo>
                      <a:pt x="260318" y="87440"/>
                    </a:lnTo>
                    <a:lnTo>
                      <a:pt x="259461" y="88297"/>
                    </a:lnTo>
                    <a:lnTo>
                      <a:pt x="258604" y="88297"/>
                    </a:lnTo>
                    <a:lnTo>
                      <a:pt x="256032" y="89916"/>
                    </a:lnTo>
                    <a:lnTo>
                      <a:pt x="255175" y="89916"/>
                    </a:lnTo>
                    <a:lnTo>
                      <a:pt x="255175" y="90773"/>
                    </a:lnTo>
                    <a:lnTo>
                      <a:pt x="254413" y="91631"/>
                    </a:lnTo>
                    <a:lnTo>
                      <a:pt x="254413" y="93345"/>
                    </a:lnTo>
                    <a:lnTo>
                      <a:pt x="251841" y="95060"/>
                    </a:lnTo>
                    <a:lnTo>
                      <a:pt x="244316" y="97536"/>
                    </a:lnTo>
                    <a:lnTo>
                      <a:pt x="243459" y="98393"/>
                    </a:lnTo>
                    <a:lnTo>
                      <a:pt x="243459" y="99250"/>
                    </a:lnTo>
                    <a:lnTo>
                      <a:pt x="244316" y="100108"/>
                    </a:lnTo>
                    <a:lnTo>
                      <a:pt x="245078" y="101822"/>
                    </a:lnTo>
                    <a:lnTo>
                      <a:pt x="245936" y="102679"/>
                    </a:lnTo>
                    <a:lnTo>
                      <a:pt x="245936" y="104394"/>
                    </a:lnTo>
                    <a:lnTo>
                      <a:pt x="245936" y="105251"/>
                    </a:lnTo>
                    <a:lnTo>
                      <a:pt x="245078" y="106871"/>
                    </a:lnTo>
                    <a:lnTo>
                      <a:pt x="245936" y="106871"/>
                    </a:lnTo>
                    <a:lnTo>
                      <a:pt x="245936" y="108585"/>
                    </a:lnTo>
                    <a:lnTo>
                      <a:pt x="246793" y="109442"/>
                    </a:lnTo>
                    <a:lnTo>
                      <a:pt x="245936" y="109442"/>
                    </a:lnTo>
                    <a:lnTo>
                      <a:pt x="245078" y="111157"/>
                    </a:lnTo>
                    <a:lnTo>
                      <a:pt x="244316" y="112014"/>
                    </a:lnTo>
                    <a:lnTo>
                      <a:pt x="243459" y="113729"/>
                    </a:lnTo>
                    <a:lnTo>
                      <a:pt x="244316" y="114586"/>
                    </a:lnTo>
                    <a:lnTo>
                      <a:pt x="245936" y="116205"/>
                    </a:lnTo>
                    <a:lnTo>
                      <a:pt x="245936" y="117062"/>
                    </a:lnTo>
                    <a:lnTo>
                      <a:pt x="246793" y="119634"/>
                    </a:lnTo>
                    <a:lnTo>
                      <a:pt x="246793" y="120491"/>
                    </a:lnTo>
                    <a:lnTo>
                      <a:pt x="249365" y="122206"/>
                    </a:lnTo>
                    <a:lnTo>
                      <a:pt x="250127" y="123920"/>
                    </a:lnTo>
                    <a:lnTo>
                      <a:pt x="250984" y="124682"/>
                    </a:lnTo>
                    <a:lnTo>
                      <a:pt x="250127" y="125539"/>
                    </a:lnTo>
                    <a:lnTo>
                      <a:pt x="247650" y="127254"/>
                    </a:lnTo>
                    <a:lnTo>
                      <a:pt x="246793" y="128111"/>
                    </a:lnTo>
                    <a:lnTo>
                      <a:pt x="245078" y="128111"/>
                    </a:lnTo>
                    <a:lnTo>
                      <a:pt x="242602" y="127254"/>
                    </a:lnTo>
                    <a:lnTo>
                      <a:pt x="240887" y="127254"/>
                    </a:lnTo>
                    <a:lnTo>
                      <a:pt x="238411" y="127254"/>
                    </a:lnTo>
                    <a:lnTo>
                      <a:pt x="236696" y="127254"/>
                    </a:lnTo>
                    <a:lnTo>
                      <a:pt x="235839" y="126397"/>
                    </a:lnTo>
                    <a:lnTo>
                      <a:pt x="234125" y="124682"/>
                    </a:lnTo>
                    <a:lnTo>
                      <a:pt x="233363" y="123920"/>
                    </a:lnTo>
                    <a:lnTo>
                      <a:pt x="232505" y="123920"/>
                    </a:lnTo>
                    <a:lnTo>
                      <a:pt x="230791" y="123920"/>
                    </a:lnTo>
                    <a:lnTo>
                      <a:pt x="229076" y="123920"/>
                    </a:lnTo>
                    <a:lnTo>
                      <a:pt x="227457" y="125539"/>
                    </a:lnTo>
                    <a:lnTo>
                      <a:pt x="226600" y="125539"/>
                    </a:lnTo>
                    <a:lnTo>
                      <a:pt x="224885" y="125539"/>
                    </a:lnTo>
                    <a:lnTo>
                      <a:pt x="223171" y="124682"/>
                    </a:lnTo>
                    <a:lnTo>
                      <a:pt x="221552" y="124682"/>
                    </a:lnTo>
                    <a:lnTo>
                      <a:pt x="218980" y="124682"/>
                    </a:lnTo>
                    <a:lnTo>
                      <a:pt x="215646" y="127254"/>
                    </a:lnTo>
                    <a:lnTo>
                      <a:pt x="213932" y="128111"/>
                    </a:lnTo>
                    <a:lnTo>
                      <a:pt x="212312" y="128111"/>
                    </a:lnTo>
                    <a:lnTo>
                      <a:pt x="211455" y="128111"/>
                    </a:lnTo>
                    <a:lnTo>
                      <a:pt x="209741" y="127254"/>
                    </a:lnTo>
                    <a:lnTo>
                      <a:pt x="208883" y="128111"/>
                    </a:lnTo>
                    <a:lnTo>
                      <a:pt x="204692" y="128969"/>
                    </a:lnTo>
                    <a:lnTo>
                      <a:pt x="203835" y="129826"/>
                    </a:lnTo>
                    <a:lnTo>
                      <a:pt x="202121" y="130683"/>
                    </a:lnTo>
                    <a:lnTo>
                      <a:pt x="201359" y="129826"/>
                    </a:lnTo>
                    <a:lnTo>
                      <a:pt x="200501" y="128969"/>
                    </a:lnTo>
                    <a:lnTo>
                      <a:pt x="198787" y="128111"/>
                    </a:lnTo>
                    <a:lnTo>
                      <a:pt x="197930" y="128111"/>
                    </a:lnTo>
                    <a:lnTo>
                      <a:pt x="197072" y="126397"/>
                    </a:lnTo>
                    <a:lnTo>
                      <a:pt x="197072" y="124682"/>
                    </a:lnTo>
                    <a:lnTo>
                      <a:pt x="196310" y="123063"/>
                    </a:lnTo>
                    <a:lnTo>
                      <a:pt x="195453" y="121348"/>
                    </a:lnTo>
                    <a:lnTo>
                      <a:pt x="194596" y="120491"/>
                    </a:lnTo>
                    <a:lnTo>
                      <a:pt x="192024" y="122206"/>
                    </a:lnTo>
                    <a:lnTo>
                      <a:pt x="190405" y="120491"/>
                    </a:lnTo>
                    <a:lnTo>
                      <a:pt x="188690" y="121348"/>
                    </a:lnTo>
                    <a:lnTo>
                      <a:pt x="186976" y="123920"/>
                    </a:lnTo>
                    <a:lnTo>
                      <a:pt x="185357" y="125539"/>
                    </a:lnTo>
                    <a:lnTo>
                      <a:pt x="183642" y="124682"/>
                    </a:lnTo>
                    <a:lnTo>
                      <a:pt x="182785" y="123920"/>
                    </a:lnTo>
                    <a:lnTo>
                      <a:pt x="182785" y="123063"/>
                    </a:lnTo>
                    <a:lnTo>
                      <a:pt x="181928" y="122206"/>
                    </a:lnTo>
                    <a:lnTo>
                      <a:pt x="181070" y="120491"/>
                    </a:lnTo>
                    <a:lnTo>
                      <a:pt x="179451" y="120491"/>
                    </a:lnTo>
                    <a:lnTo>
                      <a:pt x="176879" y="120491"/>
                    </a:lnTo>
                    <a:lnTo>
                      <a:pt x="173546" y="119634"/>
                    </a:lnTo>
                    <a:lnTo>
                      <a:pt x="172688" y="117062"/>
                    </a:lnTo>
                    <a:lnTo>
                      <a:pt x="171831" y="114586"/>
                    </a:lnTo>
                    <a:lnTo>
                      <a:pt x="170117" y="113729"/>
                    </a:lnTo>
                    <a:lnTo>
                      <a:pt x="168497" y="112871"/>
                    </a:lnTo>
                    <a:lnTo>
                      <a:pt x="167640" y="113729"/>
                    </a:lnTo>
                    <a:lnTo>
                      <a:pt x="166783" y="113729"/>
                    </a:lnTo>
                    <a:lnTo>
                      <a:pt x="165926" y="114586"/>
                    </a:lnTo>
                    <a:lnTo>
                      <a:pt x="165068" y="116205"/>
                    </a:lnTo>
                    <a:lnTo>
                      <a:pt x="164306" y="119634"/>
                    </a:lnTo>
                    <a:lnTo>
                      <a:pt x="163449" y="120491"/>
                    </a:lnTo>
                    <a:lnTo>
                      <a:pt x="162592" y="121348"/>
                    </a:lnTo>
                    <a:lnTo>
                      <a:pt x="160877" y="122206"/>
                    </a:lnTo>
                    <a:lnTo>
                      <a:pt x="160020" y="123920"/>
                    </a:lnTo>
                    <a:lnTo>
                      <a:pt x="160020" y="126397"/>
                    </a:lnTo>
                    <a:lnTo>
                      <a:pt x="161735" y="129826"/>
                    </a:lnTo>
                    <a:lnTo>
                      <a:pt x="162592" y="131540"/>
                    </a:lnTo>
                    <a:lnTo>
                      <a:pt x="162592" y="134017"/>
                    </a:lnTo>
                    <a:lnTo>
                      <a:pt x="163449" y="134874"/>
                    </a:lnTo>
                    <a:lnTo>
                      <a:pt x="163449" y="135731"/>
                    </a:lnTo>
                    <a:lnTo>
                      <a:pt x="165068" y="136588"/>
                    </a:lnTo>
                    <a:lnTo>
                      <a:pt x="166783" y="137446"/>
                    </a:lnTo>
                    <a:lnTo>
                      <a:pt x="166783" y="138303"/>
                    </a:lnTo>
                    <a:lnTo>
                      <a:pt x="167640" y="140875"/>
                    </a:lnTo>
                    <a:lnTo>
                      <a:pt x="167640" y="141732"/>
                    </a:lnTo>
                    <a:lnTo>
                      <a:pt x="167640" y="142494"/>
                    </a:lnTo>
                    <a:lnTo>
                      <a:pt x="166783" y="144209"/>
                    </a:lnTo>
                    <a:lnTo>
                      <a:pt x="166783" y="145066"/>
                    </a:lnTo>
                    <a:lnTo>
                      <a:pt x="165926" y="145923"/>
                    </a:lnTo>
                    <a:lnTo>
                      <a:pt x="165926" y="147638"/>
                    </a:lnTo>
                    <a:lnTo>
                      <a:pt x="165926" y="150209"/>
                    </a:lnTo>
                    <a:lnTo>
                      <a:pt x="165926" y="151829"/>
                    </a:lnTo>
                    <a:lnTo>
                      <a:pt x="166783" y="152686"/>
                    </a:lnTo>
                    <a:lnTo>
                      <a:pt x="167640" y="153543"/>
                    </a:lnTo>
                    <a:lnTo>
                      <a:pt x="168497" y="154400"/>
                    </a:lnTo>
                    <a:lnTo>
                      <a:pt x="170117" y="156115"/>
                    </a:lnTo>
                    <a:lnTo>
                      <a:pt x="170117" y="157829"/>
                    </a:lnTo>
                    <a:lnTo>
                      <a:pt x="170117" y="159544"/>
                    </a:lnTo>
                    <a:lnTo>
                      <a:pt x="169355" y="159544"/>
                    </a:lnTo>
                    <a:lnTo>
                      <a:pt x="168497" y="161163"/>
                    </a:lnTo>
                    <a:lnTo>
                      <a:pt x="167640" y="161163"/>
                    </a:lnTo>
                    <a:lnTo>
                      <a:pt x="167640" y="162020"/>
                    </a:lnTo>
                    <a:lnTo>
                      <a:pt x="167640" y="162878"/>
                    </a:lnTo>
                    <a:lnTo>
                      <a:pt x="169355" y="165449"/>
                    </a:lnTo>
                    <a:lnTo>
                      <a:pt x="169355" y="166306"/>
                    </a:lnTo>
                    <a:lnTo>
                      <a:pt x="169355" y="167164"/>
                    </a:lnTo>
                    <a:lnTo>
                      <a:pt x="169355" y="168878"/>
                    </a:lnTo>
                    <a:lnTo>
                      <a:pt x="169355" y="169640"/>
                    </a:lnTo>
                    <a:lnTo>
                      <a:pt x="168497" y="170497"/>
                    </a:lnTo>
                    <a:lnTo>
                      <a:pt x="168497" y="171355"/>
                    </a:lnTo>
                    <a:lnTo>
                      <a:pt x="166783" y="171355"/>
                    </a:lnTo>
                    <a:lnTo>
                      <a:pt x="165068" y="171355"/>
                    </a:lnTo>
                    <a:lnTo>
                      <a:pt x="164306" y="169640"/>
                    </a:lnTo>
                    <a:lnTo>
                      <a:pt x="160877" y="167164"/>
                    </a:lnTo>
                    <a:lnTo>
                      <a:pt x="160020" y="166306"/>
                    </a:lnTo>
                    <a:lnTo>
                      <a:pt x="160020" y="166306"/>
                    </a:lnTo>
                    <a:lnTo>
                      <a:pt x="159163" y="167164"/>
                    </a:lnTo>
                    <a:lnTo>
                      <a:pt x="157544" y="168878"/>
                    </a:lnTo>
                    <a:lnTo>
                      <a:pt x="156686" y="169640"/>
                    </a:lnTo>
                    <a:lnTo>
                      <a:pt x="155829" y="170497"/>
                    </a:lnTo>
                    <a:lnTo>
                      <a:pt x="154972" y="171355"/>
                    </a:lnTo>
                    <a:lnTo>
                      <a:pt x="150781" y="173069"/>
                    </a:lnTo>
                    <a:lnTo>
                      <a:pt x="149924" y="173069"/>
                    </a:lnTo>
                    <a:lnTo>
                      <a:pt x="149066" y="172212"/>
                    </a:lnTo>
                    <a:lnTo>
                      <a:pt x="148209" y="172212"/>
                    </a:lnTo>
                    <a:lnTo>
                      <a:pt x="147447" y="171355"/>
                    </a:lnTo>
                    <a:lnTo>
                      <a:pt x="147447" y="170497"/>
                    </a:lnTo>
                    <a:lnTo>
                      <a:pt x="145733" y="170497"/>
                    </a:lnTo>
                    <a:lnTo>
                      <a:pt x="139827" y="170497"/>
                    </a:lnTo>
                    <a:lnTo>
                      <a:pt x="138970" y="170497"/>
                    </a:lnTo>
                    <a:lnTo>
                      <a:pt x="136493" y="172212"/>
                    </a:lnTo>
                    <a:lnTo>
                      <a:pt x="134779" y="173069"/>
                    </a:lnTo>
                    <a:lnTo>
                      <a:pt x="133064" y="173069"/>
                    </a:lnTo>
                    <a:lnTo>
                      <a:pt x="127159" y="173069"/>
                    </a:lnTo>
                    <a:lnTo>
                      <a:pt x="126397" y="173927"/>
                    </a:lnTo>
                    <a:lnTo>
                      <a:pt x="125540" y="174784"/>
                    </a:lnTo>
                    <a:lnTo>
                      <a:pt x="125540" y="175641"/>
                    </a:lnTo>
                    <a:lnTo>
                      <a:pt x="126397" y="178118"/>
                    </a:lnTo>
                    <a:lnTo>
                      <a:pt x="125540" y="179832"/>
                    </a:lnTo>
                    <a:lnTo>
                      <a:pt x="121349" y="182404"/>
                    </a:lnTo>
                    <a:lnTo>
                      <a:pt x="117920" y="184118"/>
                    </a:lnTo>
                    <a:lnTo>
                      <a:pt x="116205" y="183261"/>
                    </a:lnTo>
                    <a:lnTo>
                      <a:pt x="115443" y="183261"/>
                    </a:lnTo>
                    <a:lnTo>
                      <a:pt x="113729" y="182404"/>
                    </a:lnTo>
                    <a:lnTo>
                      <a:pt x="112014" y="181546"/>
                    </a:lnTo>
                    <a:lnTo>
                      <a:pt x="111157" y="180689"/>
                    </a:lnTo>
                    <a:lnTo>
                      <a:pt x="110395" y="179832"/>
                    </a:lnTo>
                    <a:lnTo>
                      <a:pt x="110395" y="178975"/>
                    </a:lnTo>
                    <a:lnTo>
                      <a:pt x="109538" y="178975"/>
                    </a:lnTo>
                    <a:lnTo>
                      <a:pt x="107823" y="178118"/>
                    </a:lnTo>
                    <a:lnTo>
                      <a:pt x="106966" y="177355"/>
                    </a:lnTo>
                    <a:lnTo>
                      <a:pt x="106109" y="176498"/>
                    </a:lnTo>
                    <a:lnTo>
                      <a:pt x="105347" y="174784"/>
                    </a:lnTo>
                    <a:lnTo>
                      <a:pt x="105347" y="173927"/>
                    </a:lnTo>
                    <a:lnTo>
                      <a:pt x="104489" y="173927"/>
                    </a:lnTo>
                    <a:lnTo>
                      <a:pt x="104489" y="173927"/>
                    </a:lnTo>
                    <a:lnTo>
                      <a:pt x="99441" y="174784"/>
                    </a:lnTo>
                    <a:lnTo>
                      <a:pt x="96012" y="173927"/>
                    </a:lnTo>
                    <a:lnTo>
                      <a:pt x="95155" y="173927"/>
                    </a:lnTo>
                    <a:lnTo>
                      <a:pt x="95155" y="173927"/>
                    </a:lnTo>
                    <a:lnTo>
                      <a:pt x="94393" y="177355"/>
                    </a:lnTo>
                    <a:lnTo>
                      <a:pt x="93536" y="178118"/>
                    </a:lnTo>
                    <a:lnTo>
                      <a:pt x="91821" y="179832"/>
                    </a:lnTo>
                    <a:lnTo>
                      <a:pt x="91821" y="179832"/>
                    </a:lnTo>
                    <a:lnTo>
                      <a:pt x="90964" y="180689"/>
                    </a:lnTo>
                    <a:lnTo>
                      <a:pt x="90107" y="181546"/>
                    </a:lnTo>
                    <a:lnTo>
                      <a:pt x="88487" y="182404"/>
                    </a:lnTo>
                    <a:lnTo>
                      <a:pt x="83439" y="184118"/>
                    </a:lnTo>
                    <a:lnTo>
                      <a:pt x="82582" y="184118"/>
                    </a:lnTo>
                    <a:lnTo>
                      <a:pt x="82582" y="184976"/>
                    </a:lnTo>
                    <a:lnTo>
                      <a:pt x="82582" y="184976"/>
                    </a:lnTo>
                    <a:lnTo>
                      <a:pt x="82582" y="185833"/>
                    </a:lnTo>
                    <a:lnTo>
                      <a:pt x="83439" y="186690"/>
                    </a:lnTo>
                    <a:lnTo>
                      <a:pt x="83439" y="188309"/>
                    </a:lnTo>
                    <a:lnTo>
                      <a:pt x="84201" y="189167"/>
                    </a:lnTo>
                    <a:lnTo>
                      <a:pt x="85058" y="194310"/>
                    </a:lnTo>
                    <a:lnTo>
                      <a:pt x="85058" y="194310"/>
                    </a:lnTo>
                    <a:lnTo>
                      <a:pt x="84201" y="195167"/>
                    </a:lnTo>
                    <a:lnTo>
                      <a:pt x="84201" y="195929"/>
                    </a:lnTo>
                    <a:lnTo>
                      <a:pt x="83439" y="195929"/>
                    </a:lnTo>
                    <a:lnTo>
                      <a:pt x="82582" y="195929"/>
                    </a:lnTo>
                    <a:lnTo>
                      <a:pt x="81725" y="195929"/>
                    </a:lnTo>
                    <a:lnTo>
                      <a:pt x="80010" y="195167"/>
                    </a:lnTo>
                    <a:lnTo>
                      <a:pt x="78391" y="195167"/>
                    </a:lnTo>
                    <a:lnTo>
                      <a:pt x="76676" y="195167"/>
                    </a:lnTo>
                    <a:lnTo>
                      <a:pt x="75819" y="195929"/>
                    </a:lnTo>
                    <a:lnTo>
                      <a:pt x="74962" y="195929"/>
                    </a:lnTo>
                    <a:lnTo>
                      <a:pt x="72485" y="197644"/>
                    </a:lnTo>
                    <a:lnTo>
                      <a:pt x="71628" y="197644"/>
                    </a:lnTo>
                    <a:lnTo>
                      <a:pt x="70771" y="198501"/>
                    </a:lnTo>
                    <a:lnTo>
                      <a:pt x="70771" y="198501"/>
                    </a:lnTo>
                    <a:lnTo>
                      <a:pt x="69914" y="200216"/>
                    </a:lnTo>
                    <a:lnTo>
                      <a:pt x="69056" y="201073"/>
                    </a:lnTo>
                    <a:lnTo>
                      <a:pt x="67437" y="201073"/>
                    </a:lnTo>
                    <a:lnTo>
                      <a:pt x="66580" y="201073"/>
                    </a:lnTo>
                    <a:lnTo>
                      <a:pt x="65723" y="201073"/>
                    </a:lnTo>
                    <a:lnTo>
                      <a:pt x="64865" y="201073"/>
                    </a:lnTo>
                    <a:lnTo>
                      <a:pt x="64865" y="201930"/>
                    </a:lnTo>
                    <a:lnTo>
                      <a:pt x="64008" y="205264"/>
                    </a:lnTo>
                    <a:lnTo>
                      <a:pt x="63151" y="206121"/>
                    </a:lnTo>
                    <a:lnTo>
                      <a:pt x="63151" y="206121"/>
                    </a:lnTo>
                    <a:lnTo>
                      <a:pt x="62389" y="206978"/>
                    </a:lnTo>
                    <a:lnTo>
                      <a:pt x="60674" y="208693"/>
                    </a:lnTo>
                    <a:lnTo>
                      <a:pt x="63151" y="211264"/>
                    </a:lnTo>
                    <a:lnTo>
                      <a:pt x="63151" y="212979"/>
                    </a:lnTo>
                    <a:lnTo>
                      <a:pt x="62389" y="213741"/>
                    </a:lnTo>
                    <a:lnTo>
                      <a:pt x="61532" y="213741"/>
                    </a:lnTo>
                    <a:lnTo>
                      <a:pt x="59817" y="214598"/>
                    </a:lnTo>
                    <a:lnTo>
                      <a:pt x="58960" y="214598"/>
                    </a:lnTo>
                    <a:lnTo>
                      <a:pt x="58103" y="214598"/>
                    </a:lnTo>
                    <a:lnTo>
                      <a:pt x="57341" y="215455"/>
                    </a:lnTo>
                    <a:lnTo>
                      <a:pt x="53054" y="218885"/>
                    </a:lnTo>
                    <a:lnTo>
                      <a:pt x="52197" y="218885"/>
                    </a:lnTo>
                    <a:lnTo>
                      <a:pt x="51435" y="219742"/>
                    </a:lnTo>
                    <a:lnTo>
                      <a:pt x="50578" y="219742"/>
                    </a:lnTo>
                    <a:lnTo>
                      <a:pt x="50578" y="219742"/>
                    </a:lnTo>
                    <a:lnTo>
                      <a:pt x="49721" y="219742"/>
                    </a:lnTo>
                    <a:lnTo>
                      <a:pt x="49721" y="219742"/>
                    </a:lnTo>
                    <a:lnTo>
                      <a:pt x="49721" y="218885"/>
                    </a:lnTo>
                    <a:lnTo>
                      <a:pt x="49721" y="218885"/>
                    </a:lnTo>
                    <a:lnTo>
                      <a:pt x="49721" y="218027"/>
                    </a:lnTo>
                    <a:lnTo>
                      <a:pt x="49721" y="218027"/>
                    </a:lnTo>
                    <a:lnTo>
                      <a:pt x="49721" y="217170"/>
                    </a:lnTo>
                    <a:lnTo>
                      <a:pt x="48863" y="216313"/>
                    </a:lnTo>
                    <a:lnTo>
                      <a:pt x="48006" y="215455"/>
                    </a:lnTo>
                    <a:lnTo>
                      <a:pt x="47149" y="214598"/>
                    </a:lnTo>
                    <a:lnTo>
                      <a:pt x="47149" y="212979"/>
                    </a:lnTo>
                    <a:lnTo>
                      <a:pt x="47149" y="212122"/>
                    </a:lnTo>
                    <a:lnTo>
                      <a:pt x="46387" y="211264"/>
                    </a:lnTo>
                    <a:lnTo>
                      <a:pt x="45530" y="211264"/>
                    </a:lnTo>
                    <a:lnTo>
                      <a:pt x="42101" y="211264"/>
                    </a:lnTo>
                    <a:lnTo>
                      <a:pt x="41339" y="210407"/>
                    </a:lnTo>
                    <a:lnTo>
                      <a:pt x="39624" y="209550"/>
                    </a:lnTo>
                    <a:lnTo>
                      <a:pt x="37910" y="208693"/>
                    </a:lnTo>
                    <a:lnTo>
                      <a:pt x="37052" y="208693"/>
                    </a:lnTo>
                    <a:lnTo>
                      <a:pt x="37052" y="209550"/>
                    </a:lnTo>
                    <a:lnTo>
                      <a:pt x="36195" y="210407"/>
                    </a:lnTo>
                    <a:lnTo>
                      <a:pt x="35433" y="213741"/>
                    </a:lnTo>
                    <a:lnTo>
                      <a:pt x="35433" y="214598"/>
                    </a:lnTo>
                    <a:lnTo>
                      <a:pt x="34576" y="215455"/>
                    </a:lnTo>
                    <a:lnTo>
                      <a:pt x="34576" y="215455"/>
                    </a:lnTo>
                    <a:lnTo>
                      <a:pt x="33719" y="216313"/>
                    </a:lnTo>
                    <a:lnTo>
                      <a:pt x="32004" y="217170"/>
                    </a:lnTo>
                    <a:lnTo>
                      <a:pt x="31147" y="217170"/>
                    </a:lnTo>
                    <a:lnTo>
                      <a:pt x="31147" y="218027"/>
                    </a:lnTo>
                    <a:lnTo>
                      <a:pt x="29528" y="219742"/>
                    </a:lnTo>
                    <a:lnTo>
                      <a:pt x="28670" y="220599"/>
                    </a:lnTo>
                    <a:lnTo>
                      <a:pt x="27813" y="220599"/>
                    </a:lnTo>
                    <a:lnTo>
                      <a:pt x="26956" y="220599"/>
                    </a:lnTo>
                    <a:lnTo>
                      <a:pt x="26099" y="219742"/>
                    </a:lnTo>
                    <a:lnTo>
                      <a:pt x="26099" y="219742"/>
                    </a:lnTo>
                    <a:lnTo>
                      <a:pt x="25337" y="218885"/>
                    </a:lnTo>
                    <a:lnTo>
                      <a:pt x="24479" y="218885"/>
                    </a:lnTo>
                    <a:lnTo>
                      <a:pt x="24479" y="218027"/>
                    </a:lnTo>
                    <a:lnTo>
                      <a:pt x="23622" y="218885"/>
                    </a:lnTo>
                    <a:lnTo>
                      <a:pt x="23622" y="218885"/>
                    </a:lnTo>
                    <a:lnTo>
                      <a:pt x="22765" y="221456"/>
                    </a:lnTo>
                    <a:lnTo>
                      <a:pt x="21908" y="222313"/>
                    </a:lnTo>
                    <a:lnTo>
                      <a:pt x="21908" y="222313"/>
                    </a:lnTo>
                    <a:lnTo>
                      <a:pt x="21050" y="223076"/>
                    </a:lnTo>
                    <a:lnTo>
                      <a:pt x="20193" y="222313"/>
                    </a:lnTo>
                    <a:lnTo>
                      <a:pt x="19431" y="222313"/>
                    </a:lnTo>
                    <a:lnTo>
                      <a:pt x="18574" y="221456"/>
                    </a:lnTo>
                    <a:lnTo>
                      <a:pt x="17717" y="220599"/>
                    </a:lnTo>
                    <a:lnTo>
                      <a:pt x="16859" y="220599"/>
                    </a:lnTo>
                    <a:lnTo>
                      <a:pt x="16002" y="221456"/>
                    </a:lnTo>
                    <a:lnTo>
                      <a:pt x="16002" y="223933"/>
                    </a:lnTo>
                    <a:lnTo>
                      <a:pt x="14383" y="226504"/>
                    </a:lnTo>
                    <a:lnTo>
                      <a:pt x="14383" y="227362"/>
                    </a:lnTo>
                    <a:lnTo>
                      <a:pt x="14383" y="227362"/>
                    </a:lnTo>
                    <a:lnTo>
                      <a:pt x="14383" y="227362"/>
                    </a:lnTo>
                    <a:lnTo>
                      <a:pt x="15145" y="228219"/>
                    </a:lnTo>
                    <a:lnTo>
                      <a:pt x="15145" y="228219"/>
                    </a:lnTo>
                    <a:lnTo>
                      <a:pt x="16002" y="228219"/>
                    </a:lnTo>
                    <a:lnTo>
                      <a:pt x="16002" y="227362"/>
                    </a:lnTo>
                    <a:lnTo>
                      <a:pt x="16859" y="226504"/>
                    </a:lnTo>
                    <a:lnTo>
                      <a:pt x="18574" y="226504"/>
                    </a:lnTo>
                    <a:lnTo>
                      <a:pt x="18574" y="226504"/>
                    </a:lnTo>
                    <a:lnTo>
                      <a:pt x="18574" y="226504"/>
                    </a:lnTo>
                    <a:lnTo>
                      <a:pt x="19431" y="226504"/>
                    </a:lnTo>
                    <a:lnTo>
                      <a:pt x="19431" y="227362"/>
                    </a:lnTo>
                    <a:lnTo>
                      <a:pt x="19431" y="228219"/>
                    </a:lnTo>
                    <a:lnTo>
                      <a:pt x="19431" y="229076"/>
                    </a:lnTo>
                    <a:lnTo>
                      <a:pt x="20193" y="229076"/>
                    </a:lnTo>
                    <a:lnTo>
                      <a:pt x="20193" y="229934"/>
                    </a:lnTo>
                    <a:lnTo>
                      <a:pt x="20193" y="229934"/>
                    </a:lnTo>
                    <a:lnTo>
                      <a:pt x="21050" y="230791"/>
                    </a:lnTo>
                    <a:lnTo>
                      <a:pt x="21050" y="230791"/>
                    </a:lnTo>
                    <a:lnTo>
                      <a:pt x="21908" y="230791"/>
                    </a:lnTo>
                    <a:lnTo>
                      <a:pt x="23622" y="230791"/>
                    </a:lnTo>
                    <a:lnTo>
                      <a:pt x="23622" y="230791"/>
                    </a:lnTo>
                    <a:lnTo>
                      <a:pt x="24479" y="230791"/>
                    </a:lnTo>
                    <a:lnTo>
                      <a:pt x="24479" y="231553"/>
                    </a:lnTo>
                    <a:lnTo>
                      <a:pt x="24479" y="232410"/>
                    </a:lnTo>
                    <a:lnTo>
                      <a:pt x="24479" y="233267"/>
                    </a:lnTo>
                    <a:lnTo>
                      <a:pt x="24479" y="234125"/>
                    </a:lnTo>
                    <a:lnTo>
                      <a:pt x="25337" y="234125"/>
                    </a:lnTo>
                    <a:lnTo>
                      <a:pt x="25337" y="234982"/>
                    </a:lnTo>
                    <a:lnTo>
                      <a:pt x="26099" y="234982"/>
                    </a:lnTo>
                    <a:lnTo>
                      <a:pt x="26956" y="235839"/>
                    </a:lnTo>
                    <a:lnTo>
                      <a:pt x="28670" y="236696"/>
                    </a:lnTo>
                    <a:lnTo>
                      <a:pt x="28670" y="236696"/>
                    </a:lnTo>
                    <a:lnTo>
                      <a:pt x="28670" y="237554"/>
                    </a:lnTo>
                    <a:lnTo>
                      <a:pt x="28670" y="237554"/>
                    </a:lnTo>
                    <a:lnTo>
                      <a:pt x="28670" y="238411"/>
                    </a:lnTo>
                    <a:lnTo>
                      <a:pt x="27813" y="238411"/>
                    </a:lnTo>
                    <a:lnTo>
                      <a:pt x="26956" y="239268"/>
                    </a:lnTo>
                    <a:lnTo>
                      <a:pt x="25337" y="239268"/>
                    </a:lnTo>
                    <a:lnTo>
                      <a:pt x="23622" y="239268"/>
                    </a:lnTo>
                    <a:lnTo>
                      <a:pt x="22765" y="240125"/>
                    </a:lnTo>
                    <a:lnTo>
                      <a:pt x="22765" y="240887"/>
                    </a:lnTo>
                    <a:lnTo>
                      <a:pt x="22765" y="242602"/>
                    </a:lnTo>
                    <a:lnTo>
                      <a:pt x="23622" y="243459"/>
                    </a:lnTo>
                    <a:lnTo>
                      <a:pt x="23622" y="244316"/>
                    </a:lnTo>
                    <a:lnTo>
                      <a:pt x="24479" y="246031"/>
                    </a:lnTo>
                    <a:lnTo>
                      <a:pt x="24479" y="246031"/>
                    </a:lnTo>
                    <a:lnTo>
                      <a:pt x="24479" y="246888"/>
                    </a:lnTo>
                    <a:lnTo>
                      <a:pt x="24479" y="248603"/>
                    </a:lnTo>
                    <a:lnTo>
                      <a:pt x="24479" y="250222"/>
                    </a:lnTo>
                    <a:lnTo>
                      <a:pt x="25337" y="251079"/>
                    </a:lnTo>
                    <a:lnTo>
                      <a:pt x="25337" y="251079"/>
                    </a:lnTo>
                    <a:lnTo>
                      <a:pt x="26099" y="251079"/>
                    </a:lnTo>
                    <a:lnTo>
                      <a:pt x="26099" y="251079"/>
                    </a:lnTo>
                    <a:lnTo>
                      <a:pt x="26956" y="250222"/>
                    </a:lnTo>
                    <a:lnTo>
                      <a:pt x="27813" y="250222"/>
                    </a:lnTo>
                    <a:lnTo>
                      <a:pt x="28670" y="249364"/>
                    </a:lnTo>
                    <a:lnTo>
                      <a:pt x="29528" y="249364"/>
                    </a:lnTo>
                    <a:lnTo>
                      <a:pt x="29528" y="249364"/>
                    </a:lnTo>
                    <a:lnTo>
                      <a:pt x="39624" y="254508"/>
                    </a:lnTo>
                    <a:lnTo>
                      <a:pt x="39624" y="254508"/>
                    </a:lnTo>
                    <a:lnTo>
                      <a:pt x="40481" y="255365"/>
                    </a:lnTo>
                    <a:lnTo>
                      <a:pt x="41339" y="256222"/>
                    </a:lnTo>
                    <a:lnTo>
                      <a:pt x="41339" y="257080"/>
                    </a:lnTo>
                    <a:lnTo>
                      <a:pt x="42101" y="257937"/>
                    </a:lnTo>
                    <a:lnTo>
                      <a:pt x="42101" y="259556"/>
                    </a:lnTo>
                    <a:lnTo>
                      <a:pt x="41339" y="264700"/>
                    </a:lnTo>
                    <a:lnTo>
                      <a:pt x="41339" y="268891"/>
                    </a:lnTo>
                    <a:lnTo>
                      <a:pt x="41339" y="270605"/>
                    </a:lnTo>
                    <a:lnTo>
                      <a:pt x="40481" y="271463"/>
                    </a:lnTo>
                    <a:lnTo>
                      <a:pt x="39624" y="272320"/>
                    </a:lnTo>
                    <a:lnTo>
                      <a:pt x="35433" y="272320"/>
                    </a:lnTo>
                    <a:lnTo>
                      <a:pt x="34576" y="272320"/>
                    </a:lnTo>
                    <a:lnTo>
                      <a:pt x="32861" y="273177"/>
                    </a:lnTo>
                    <a:lnTo>
                      <a:pt x="32004" y="274034"/>
                    </a:lnTo>
                    <a:lnTo>
                      <a:pt x="32004" y="274892"/>
                    </a:lnTo>
                    <a:lnTo>
                      <a:pt x="32004" y="275749"/>
                    </a:lnTo>
                    <a:lnTo>
                      <a:pt x="32004" y="276511"/>
                    </a:lnTo>
                    <a:lnTo>
                      <a:pt x="32861" y="276511"/>
                    </a:lnTo>
                    <a:lnTo>
                      <a:pt x="35433" y="277368"/>
                    </a:lnTo>
                    <a:lnTo>
                      <a:pt x="36195" y="277368"/>
                    </a:lnTo>
                    <a:lnTo>
                      <a:pt x="36195" y="278225"/>
                    </a:lnTo>
                    <a:lnTo>
                      <a:pt x="37052" y="278225"/>
                    </a:lnTo>
                    <a:lnTo>
                      <a:pt x="37052" y="279940"/>
                    </a:lnTo>
                    <a:lnTo>
                      <a:pt x="37052" y="280797"/>
                    </a:lnTo>
                    <a:lnTo>
                      <a:pt x="36195" y="284226"/>
                    </a:lnTo>
                    <a:lnTo>
                      <a:pt x="36195" y="285845"/>
                    </a:lnTo>
                    <a:lnTo>
                      <a:pt x="34576" y="287560"/>
                    </a:lnTo>
                    <a:lnTo>
                      <a:pt x="33719" y="289274"/>
                    </a:lnTo>
                    <a:lnTo>
                      <a:pt x="31147" y="293561"/>
                    </a:lnTo>
                    <a:lnTo>
                      <a:pt x="28670" y="297752"/>
                    </a:lnTo>
                    <a:lnTo>
                      <a:pt x="28670" y="298609"/>
                    </a:lnTo>
                    <a:lnTo>
                      <a:pt x="28670" y="298609"/>
                    </a:lnTo>
                    <a:lnTo>
                      <a:pt x="29528" y="300323"/>
                    </a:lnTo>
                    <a:lnTo>
                      <a:pt x="30385" y="301180"/>
                    </a:lnTo>
                    <a:lnTo>
                      <a:pt x="30385" y="302038"/>
                    </a:lnTo>
                    <a:lnTo>
                      <a:pt x="30385" y="302800"/>
                    </a:lnTo>
                    <a:lnTo>
                      <a:pt x="27813" y="307086"/>
                    </a:lnTo>
                    <a:lnTo>
                      <a:pt x="26099" y="310515"/>
                    </a:lnTo>
                    <a:lnTo>
                      <a:pt x="24479" y="311372"/>
                    </a:lnTo>
                    <a:lnTo>
                      <a:pt x="22765" y="312992"/>
                    </a:lnTo>
                    <a:lnTo>
                      <a:pt x="21908" y="312992"/>
                    </a:lnTo>
                    <a:lnTo>
                      <a:pt x="20193" y="313849"/>
                    </a:lnTo>
                    <a:lnTo>
                      <a:pt x="17717" y="314706"/>
                    </a:lnTo>
                    <a:lnTo>
                      <a:pt x="14383" y="314706"/>
                    </a:lnTo>
                    <a:lnTo>
                      <a:pt x="13526" y="313849"/>
                    </a:lnTo>
                    <a:lnTo>
                      <a:pt x="13526" y="313849"/>
                    </a:lnTo>
                    <a:lnTo>
                      <a:pt x="12668" y="313849"/>
                    </a:lnTo>
                    <a:lnTo>
                      <a:pt x="13526" y="312992"/>
                    </a:lnTo>
                    <a:lnTo>
                      <a:pt x="13526" y="312992"/>
                    </a:lnTo>
                    <a:lnTo>
                      <a:pt x="13526" y="311372"/>
                    </a:lnTo>
                    <a:lnTo>
                      <a:pt x="13526" y="310515"/>
                    </a:lnTo>
                    <a:lnTo>
                      <a:pt x="12668" y="309658"/>
                    </a:lnTo>
                    <a:lnTo>
                      <a:pt x="12668" y="309658"/>
                    </a:lnTo>
                    <a:lnTo>
                      <a:pt x="11811" y="309658"/>
                    </a:lnTo>
                    <a:lnTo>
                      <a:pt x="10954" y="309658"/>
                    </a:lnTo>
                    <a:lnTo>
                      <a:pt x="10097" y="309658"/>
                    </a:lnTo>
                    <a:lnTo>
                      <a:pt x="5048" y="313849"/>
                    </a:lnTo>
                    <a:lnTo>
                      <a:pt x="3429" y="315563"/>
                    </a:lnTo>
                    <a:lnTo>
                      <a:pt x="2572" y="318992"/>
                    </a:lnTo>
                    <a:lnTo>
                      <a:pt x="1715" y="319850"/>
                    </a:lnTo>
                    <a:lnTo>
                      <a:pt x="1715" y="319850"/>
                    </a:lnTo>
                    <a:lnTo>
                      <a:pt x="0" y="320612"/>
                    </a:lnTo>
                    <a:lnTo>
                      <a:pt x="0" y="320612"/>
                    </a:lnTo>
                    <a:lnTo>
                      <a:pt x="0" y="321469"/>
                    </a:lnTo>
                    <a:lnTo>
                      <a:pt x="857" y="322326"/>
                    </a:lnTo>
                    <a:lnTo>
                      <a:pt x="857" y="324041"/>
                    </a:lnTo>
                    <a:lnTo>
                      <a:pt x="2572" y="324898"/>
                    </a:lnTo>
                    <a:lnTo>
                      <a:pt x="3429" y="324898"/>
                    </a:lnTo>
                    <a:lnTo>
                      <a:pt x="5048" y="324898"/>
                    </a:lnTo>
                    <a:lnTo>
                      <a:pt x="5906" y="324041"/>
                    </a:lnTo>
                    <a:lnTo>
                      <a:pt x="6763" y="324041"/>
                    </a:lnTo>
                    <a:lnTo>
                      <a:pt x="8477" y="323183"/>
                    </a:lnTo>
                    <a:lnTo>
                      <a:pt x="8477" y="322326"/>
                    </a:lnTo>
                    <a:lnTo>
                      <a:pt x="9335" y="323183"/>
                    </a:lnTo>
                    <a:lnTo>
                      <a:pt x="10954" y="324041"/>
                    </a:lnTo>
                    <a:lnTo>
                      <a:pt x="14383" y="325755"/>
                    </a:lnTo>
                    <a:lnTo>
                      <a:pt x="15145" y="326612"/>
                    </a:lnTo>
                    <a:lnTo>
                      <a:pt x="16002" y="326612"/>
                    </a:lnTo>
                    <a:lnTo>
                      <a:pt x="16859" y="329946"/>
                    </a:lnTo>
                    <a:lnTo>
                      <a:pt x="17717" y="336804"/>
                    </a:lnTo>
                    <a:lnTo>
                      <a:pt x="17717" y="338519"/>
                    </a:lnTo>
                    <a:lnTo>
                      <a:pt x="17717" y="340138"/>
                    </a:lnTo>
                    <a:lnTo>
                      <a:pt x="16002" y="341852"/>
                    </a:lnTo>
                    <a:lnTo>
                      <a:pt x="15145" y="343567"/>
                    </a:lnTo>
                    <a:lnTo>
                      <a:pt x="16002" y="345281"/>
                    </a:lnTo>
                    <a:lnTo>
                      <a:pt x="16859" y="346996"/>
                    </a:lnTo>
                    <a:lnTo>
                      <a:pt x="17717" y="347758"/>
                    </a:lnTo>
                    <a:lnTo>
                      <a:pt x="17717" y="348615"/>
                    </a:lnTo>
                    <a:lnTo>
                      <a:pt x="17717" y="349472"/>
                    </a:lnTo>
                    <a:lnTo>
                      <a:pt x="17717" y="349472"/>
                    </a:lnTo>
                    <a:lnTo>
                      <a:pt x="17717" y="351187"/>
                    </a:lnTo>
                    <a:lnTo>
                      <a:pt x="17717" y="352044"/>
                    </a:lnTo>
                    <a:lnTo>
                      <a:pt x="17717" y="352901"/>
                    </a:lnTo>
                    <a:lnTo>
                      <a:pt x="18574" y="354616"/>
                    </a:lnTo>
                    <a:lnTo>
                      <a:pt x="21908" y="357950"/>
                    </a:lnTo>
                    <a:lnTo>
                      <a:pt x="21908" y="357950"/>
                    </a:lnTo>
                    <a:lnTo>
                      <a:pt x="22765" y="358807"/>
                    </a:lnTo>
                    <a:lnTo>
                      <a:pt x="22765" y="359664"/>
                    </a:lnTo>
                    <a:lnTo>
                      <a:pt x="22765" y="363950"/>
                    </a:lnTo>
                    <a:lnTo>
                      <a:pt x="22765" y="365570"/>
                    </a:lnTo>
                    <a:lnTo>
                      <a:pt x="21908" y="366427"/>
                    </a:lnTo>
                    <a:lnTo>
                      <a:pt x="21050" y="366427"/>
                    </a:lnTo>
                    <a:lnTo>
                      <a:pt x="20193" y="367284"/>
                    </a:lnTo>
                    <a:lnTo>
                      <a:pt x="16859" y="368141"/>
                    </a:lnTo>
                    <a:lnTo>
                      <a:pt x="16859" y="368141"/>
                    </a:lnTo>
                    <a:lnTo>
                      <a:pt x="16002" y="368141"/>
                    </a:lnTo>
                    <a:lnTo>
                      <a:pt x="16002" y="368998"/>
                    </a:lnTo>
                    <a:lnTo>
                      <a:pt x="16002" y="369856"/>
                    </a:lnTo>
                    <a:lnTo>
                      <a:pt x="16002" y="370713"/>
                    </a:lnTo>
                    <a:lnTo>
                      <a:pt x="16859" y="371570"/>
                    </a:lnTo>
                    <a:lnTo>
                      <a:pt x="20193" y="373285"/>
                    </a:lnTo>
                    <a:lnTo>
                      <a:pt x="21050" y="374142"/>
                    </a:lnTo>
                    <a:lnTo>
                      <a:pt x="21050" y="374142"/>
                    </a:lnTo>
                    <a:lnTo>
                      <a:pt x="21908" y="374904"/>
                    </a:lnTo>
                    <a:lnTo>
                      <a:pt x="21908" y="375761"/>
                    </a:lnTo>
                    <a:lnTo>
                      <a:pt x="21908" y="376619"/>
                    </a:lnTo>
                    <a:lnTo>
                      <a:pt x="21050" y="378333"/>
                    </a:lnTo>
                    <a:lnTo>
                      <a:pt x="18574" y="383381"/>
                    </a:lnTo>
                    <a:lnTo>
                      <a:pt x="18574" y="384238"/>
                    </a:lnTo>
                    <a:lnTo>
                      <a:pt x="18574" y="385953"/>
                    </a:lnTo>
                    <a:lnTo>
                      <a:pt x="18574" y="386810"/>
                    </a:lnTo>
                    <a:lnTo>
                      <a:pt x="18574" y="387668"/>
                    </a:lnTo>
                    <a:lnTo>
                      <a:pt x="19431" y="391954"/>
                    </a:lnTo>
                    <a:lnTo>
                      <a:pt x="19431" y="392716"/>
                    </a:lnTo>
                    <a:lnTo>
                      <a:pt x="18574" y="393573"/>
                    </a:lnTo>
                    <a:lnTo>
                      <a:pt x="18574" y="394430"/>
                    </a:lnTo>
                    <a:lnTo>
                      <a:pt x="18574" y="395288"/>
                    </a:lnTo>
                    <a:lnTo>
                      <a:pt x="17717" y="397002"/>
                    </a:lnTo>
                    <a:lnTo>
                      <a:pt x="16859" y="399574"/>
                    </a:lnTo>
                    <a:lnTo>
                      <a:pt x="16002" y="401193"/>
                    </a:lnTo>
                    <a:lnTo>
                      <a:pt x="16002" y="402050"/>
                    </a:lnTo>
                    <a:lnTo>
                      <a:pt x="16002" y="402050"/>
                    </a:lnTo>
                    <a:lnTo>
                      <a:pt x="14383" y="403765"/>
                    </a:lnTo>
                    <a:lnTo>
                      <a:pt x="12668" y="404622"/>
                    </a:lnTo>
                    <a:lnTo>
                      <a:pt x="10954" y="405479"/>
                    </a:lnTo>
                    <a:lnTo>
                      <a:pt x="10097" y="405479"/>
                    </a:lnTo>
                    <a:lnTo>
                      <a:pt x="6763" y="405479"/>
                    </a:lnTo>
                    <a:lnTo>
                      <a:pt x="6763" y="405479"/>
                    </a:lnTo>
                    <a:lnTo>
                      <a:pt x="5906" y="406337"/>
                    </a:lnTo>
                    <a:lnTo>
                      <a:pt x="3429" y="408051"/>
                    </a:lnTo>
                    <a:lnTo>
                      <a:pt x="0" y="409766"/>
                    </a:lnTo>
                    <a:lnTo>
                      <a:pt x="857" y="413956"/>
                    </a:lnTo>
                    <a:lnTo>
                      <a:pt x="1715" y="414814"/>
                    </a:lnTo>
                    <a:lnTo>
                      <a:pt x="3429" y="414814"/>
                    </a:lnTo>
                    <a:lnTo>
                      <a:pt x="5048" y="413956"/>
                    </a:lnTo>
                    <a:lnTo>
                      <a:pt x="6763" y="413099"/>
                    </a:lnTo>
                    <a:lnTo>
                      <a:pt x="6763" y="412242"/>
                    </a:lnTo>
                    <a:lnTo>
                      <a:pt x="7620" y="411385"/>
                    </a:lnTo>
                    <a:lnTo>
                      <a:pt x="10954" y="409766"/>
                    </a:lnTo>
                    <a:lnTo>
                      <a:pt x="12668" y="408051"/>
                    </a:lnTo>
                    <a:lnTo>
                      <a:pt x="12668" y="410528"/>
                    </a:lnTo>
                    <a:lnTo>
                      <a:pt x="13526" y="410528"/>
                    </a:lnTo>
                    <a:lnTo>
                      <a:pt x="15145" y="410528"/>
                    </a:lnTo>
                    <a:lnTo>
                      <a:pt x="15145" y="411385"/>
                    </a:lnTo>
                    <a:lnTo>
                      <a:pt x="15145" y="413099"/>
                    </a:lnTo>
                    <a:lnTo>
                      <a:pt x="14383" y="413099"/>
                    </a:lnTo>
                    <a:lnTo>
                      <a:pt x="13526" y="412242"/>
                    </a:lnTo>
                    <a:lnTo>
                      <a:pt x="12668" y="412242"/>
                    </a:lnTo>
                    <a:lnTo>
                      <a:pt x="10954" y="413099"/>
                    </a:lnTo>
                    <a:lnTo>
                      <a:pt x="9335" y="413956"/>
                    </a:lnTo>
                    <a:lnTo>
                      <a:pt x="8477" y="414814"/>
                    </a:lnTo>
                    <a:lnTo>
                      <a:pt x="6763" y="417386"/>
                    </a:lnTo>
                    <a:lnTo>
                      <a:pt x="5906" y="415671"/>
                    </a:lnTo>
                    <a:lnTo>
                      <a:pt x="5048" y="415671"/>
                    </a:lnTo>
                    <a:lnTo>
                      <a:pt x="3429" y="415671"/>
                    </a:lnTo>
                    <a:lnTo>
                      <a:pt x="2572" y="416528"/>
                    </a:lnTo>
                    <a:lnTo>
                      <a:pt x="2572" y="417386"/>
                    </a:lnTo>
                    <a:lnTo>
                      <a:pt x="1715" y="419005"/>
                    </a:lnTo>
                    <a:lnTo>
                      <a:pt x="1715" y="419862"/>
                    </a:lnTo>
                    <a:lnTo>
                      <a:pt x="0" y="419005"/>
                    </a:lnTo>
                    <a:lnTo>
                      <a:pt x="0" y="420719"/>
                    </a:lnTo>
                    <a:lnTo>
                      <a:pt x="1715" y="422434"/>
                    </a:lnTo>
                    <a:lnTo>
                      <a:pt x="5906" y="424148"/>
                    </a:lnTo>
                    <a:lnTo>
                      <a:pt x="5906" y="424148"/>
                    </a:lnTo>
                    <a:lnTo>
                      <a:pt x="5906" y="425863"/>
                    </a:lnTo>
                    <a:lnTo>
                      <a:pt x="6763" y="425863"/>
                    </a:lnTo>
                    <a:lnTo>
                      <a:pt x="8477" y="425863"/>
                    </a:lnTo>
                    <a:lnTo>
                      <a:pt x="8477" y="425863"/>
                    </a:lnTo>
                    <a:lnTo>
                      <a:pt x="9335" y="426720"/>
                    </a:lnTo>
                    <a:lnTo>
                      <a:pt x="10954" y="429196"/>
                    </a:lnTo>
                    <a:lnTo>
                      <a:pt x="12668" y="427577"/>
                    </a:lnTo>
                    <a:lnTo>
                      <a:pt x="13526" y="426720"/>
                    </a:lnTo>
                    <a:lnTo>
                      <a:pt x="15145" y="427577"/>
                    </a:lnTo>
                    <a:lnTo>
                      <a:pt x="16859" y="429196"/>
                    </a:lnTo>
                    <a:lnTo>
                      <a:pt x="18574" y="430911"/>
                    </a:lnTo>
                    <a:lnTo>
                      <a:pt x="19431" y="436055"/>
                    </a:lnTo>
                    <a:lnTo>
                      <a:pt x="20193" y="438531"/>
                    </a:lnTo>
                    <a:lnTo>
                      <a:pt x="18574" y="439388"/>
                    </a:lnTo>
                    <a:lnTo>
                      <a:pt x="19431" y="440246"/>
                    </a:lnTo>
                    <a:lnTo>
                      <a:pt x="20193" y="441960"/>
                    </a:lnTo>
                    <a:lnTo>
                      <a:pt x="21050" y="441960"/>
                    </a:lnTo>
                    <a:lnTo>
                      <a:pt x="22765" y="441960"/>
                    </a:lnTo>
                    <a:lnTo>
                      <a:pt x="23622" y="441103"/>
                    </a:lnTo>
                    <a:lnTo>
                      <a:pt x="25337" y="440246"/>
                    </a:lnTo>
                    <a:lnTo>
                      <a:pt x="26956" y="441103"/>
                    </a:lnTo>
                    <a:lnTo>
                      <a:pt x="26956" y="441960"/>
                    </a:lnTo>
                    <a:lnTo>
                      <a:pt x="23622" y="442817"/>
                    </a:lnTo>
                    <a:lnTo>
                      <a:pt x="21908" y="444532"/>
                    </a:lnTo>
                    <a:lnTo>
                      <a:pt x="21908" y="447008"/>
                    </a:lnTo>
                    <a:lnTo>
                      <a:pt x="22765" y="449580"/>
                    </a:lnTo>
                    <a:lnTo>
                      <a:pt x="22765" y="451295"/>
                    </a:lnTo>
                    <a:lnTo>
                      <a:pt x="23622" y="452152"/>
                    </a:lnTo>
                    <a:lnTo>
                      <a:pt x="25337" y="452152"/>
                    </a:lnTo>
                    <a:lnTo>
                      <a:pt x="26956" y="451295"/>
                    </a:lnTo>
                    <a:lnTo>
                      <a:pt x="26956" y="450437"/>
                    </a:lnTo>
                    <a:lnTo>
                      <a:pt x="26956" y="447866"/>
                    </a:lnTo>
                    <a:lnTo>
                      <a:pt x="26956" y="447008"/>
                    </a:lnTo>
                    <a:lnTo>
                      <a:pt x="28670" y="446151"/>
                    </a:lnTo>
                    <a:lnTo>
                      <a:pt x="28670" y="447008"/>
                    </a:lnTo>
                    <a:lnTo>
                      <a:pt x="28670" y="447866"/>
                    </a:lnTo>
                    <a:lnTo>
                      <a:pt x="28670" y="448723"/>
                    </a:lnTo>
                    <a:lnTo>
                      <a:pt x="29528" y="448723"/>
                    </a:lnTo>
                    <a:lnTo>
                      <a:pt x="30385" y="448723"/>
                    </a:lnTo>
                    <a:lnTo>
                      <a:pt x="31147" y="448723"/>
                    </a:lnTo>
                    <a:lnTo>
                      <a:pt x="31147" y="449580"/>
                    </a:lnTo>
                    <a:lnTo>
                      <a:pt x="30385" y="450437"/>
                    </a:lnTo>
                    <a:lnTo>
                      <a:pt x="30385" y="450437"/>
                    </a:lnTo>
                    <a:lnTo>
                      <a:pt x="32004" y="451295"/>
                    </a:lnTo>
                    <a:lnTo>
                      <a:pt x="36195" y="456343"/>
                    </a:lnTo>
                    <a:lnTo>
                      <a:pt x="33719" y="456343"/>
                    </a:lnTo>
                    <a:lnTo>
                      <a:pt x="32861" y="457200"/>
                    </a:lnTo>
                    <a:lnTo>
                      <a:pt x="34576" y="458057"/>
                    </a:lnTo>
                    <a:lnTo>
                      <a:pt x="32004" y="458057"/>
                    </a:lnTo>
                    <a:lnTo>
                      <a:pt x="31147" y="455486"/>
                    </a:lnTo>
                    <a:lnTo>
                      <a:pt x="30385" y="453009"/>
                    </a:lnTo>
                    <a:lnTo>
                      <a:pt x="28670" y="450437"/>
                    </a:lnTo>
                    <a:lnTo>
                      <a:pt x="28670" y="453866"/>
                    </a:lnTo>
                    <a:lnTo>
                      <a:pt x="30385" y="458057"/>
                    </a:lnTo>
                    <a:lnTo>
                      <a:pt x="31147" y="461486"/>
                    </a:lnTo>
                    <a:lnTo>
                      <a:pt x="32004" y="463201"/>
                    </a:lnTo>
                    <a:lnTo>
                      <a:pt x="32861" y="463201"/>
                    </a:lnTo>
                    <a:lnTo>
                      <a:pt x="32861" y="463963"/>
                    </a:lnTo>
                    <a:lnTo>
                      <a:pt x="32861" y="467392"/>
                    </a:lnTo>
                    <a:lnTo>
                      <a:pt x="32861" y="468249"/>
                    </a:lnTo>
                    <a:lnTo>
                      <a:pt x="33719" y="469963"/>
                    </a:lnTo>
                    <a:lnTo>
                      <a:pt x="34576" y="471678"/>
                    </a:lnTo>
                    <a:lnTo>
                      <a:pt x="35433" y="476726"/>
                    </a:lnTo>
                    <a:lnTo>
                      <a:pt x="36195" y="478441"/>
                    </a:lnTo>
                    <a:lnTo>
                      <a:pt x="37052" y="479298"/>
                    </a:lnTo>
                    <a:lnTo>
                      <a:pt x="44672" y="481775"/>
                    </a:lnTo>
                    <a:lnTo>
                      <a:pt x="45530" y="482632"/>
                    </a:lnTo>
                    <a:lnTo>
                      <a:pt x="43815" y="482632"/>
                    </a:lnTo>
                    <a:lnTo>
                      <a:pt x="41339" y="482632"/>
                    </a:lnTo>
                    <a:lnTo>
                      <a:pt x="38767" y="481775"/>
                    </a:lnTo>
                    <a:lnTo>
                      <a:pt x="37052" y="481013"/>
                    </a:lnTo>
                    <a:lnTo>
                      <a:pt x="36195" y="483489"/>
                    </a:lnTo>
                    <a:lnTo>
                      <a:pt x="37910" y="486061"/>
                    </a:lnTo>
                    <a:lnTo>
                      <a:pt x="41339" y="490347"/>
                    </a:lnTo>
                    <a:lnTo>
                      <a:pt x="41339" y="492823"/>
                    </a:lnTo>
                    <a:lnTo>
                      <a:pt x="42101" y="498824"/>
                    </a:lnTo>
                    <a:lnTo>
                      <a:pt x="42101" y="499586"/>
                    </a:lnTo>
                    <a:lnTo>
                      <a:pt x="43815" y="501301"/>
                    </a:lnTo>
                    <a:lnTo>
                      <a:pt x="43815" y="503015"/>
                    </a:lnTo>
                    <a:lnTo>
                      <a:pt x="43815" y="503872"/>
                    </a:lnTo>
                    <a:lnTo>
                      <a:pt x="43815" y="506444"/>
                    </a:lnTo>
                    <a:lnTo>
                      <a:pt x="43815" y="507302"/>
                    </a:lnTo>
                    <a:lnTo>
                      <a:pt x="44672" y="509778"/>
                    </a:lnTo>
                    <a:lnTo>
                      <a:pt x="48863" y="514064"/>
                    </a:lnTo>
                    <a:lnTo>
                      <a:pt x="49721" y="517398"/>
                    </a:lnTo>
                    <a:lnTo>
                      <a:pt x="53912" y="521684"/>
                    </a:lnTo>
                    <a:lnTo>
                      <a:pt x="54769" y="525113"/>
                    </a:lnTo>
                    <a:lnTo>
                      <a:pt x="57341" y="529304"/>
                    </a:lnTo>
                    <a:lnTo>
                      <a:pt x="58103" y="536067"/>
                    </a:lnTo>
                    <a:lnTo>
                      <a:pt x="60674" y="545402"/>
                    </a:lnTo>
                    <a:lnTo>
                      <a:pt x="62389" y="549688"/>
                    </a:lnTo>
                    <a:lnTo>
                      <a:pt x="64008" y="544544"/>
                    </a:lnTo>
                    <a:lnTo>
                      <a:pt x="64865" y="543782"/>
                    </a:lnTo>
                    <a:lnTo>
                      <a:pt x="66580" y="545402"/>
                    </a:lnTo>
                    <a:lnTo>
                      <a:pt x="64865" y="546259"/>
                    </a:lnTo>
                    <a:lnTo>
                      <a:pt x="64865" y="546259"/>
                    </a:lnTo>
                    <a:lnTo>
                      <a:pt x="66580" y="547973"/>
                    </a:lnTo>
                    <a:lnTo>
                      <a:pt x="67437" y="549688"/>
                    </a:lnTo>
                    <a:lnTo>
                      <a:pt x="69056" y="550545"/>
                    </a:lnTo>
                    <a:lnTo>
                      <a:pt x="70771" y="549688"/>
                    </a:lnTo>
                    <a:lnTo>
                      <a:pt x="69056" y="551402"/>
                    </a:lnTo>
                    <a:lnTo>
                      <a:pt x="67437" y="551402"/>
                    </a:lnTo>
                    <a:lnTo>
                      <a:pt x="65723" y="551402"/>
                    </a:lnTo>
                    <a:lnTo>
                      <a:pt x="64865" y="550545"/>
                    </a:lnTo>
                    <a:lnTo>
                      <a:pt x="64008" y="550545"/>
                    </a:lnTo>
                    <a:lnTo>
                      <a:pt x="64008" y="552260"/>
                    </a:lnTo>
                    <a:lnTo>
                      <a:pt x="64008" y="553022"/>
                    </a:lnTo>
                    <a:lnTo>
                      <a:pt x="63151" y="553022"/>
                    </a:lnTo>
                    <a:lnTo>
                      <a:pt x="62389" y="552260"/>
                    </a:lnTo>
                    <a:lnTo>
                      <a:pt x="63151" y="553022"/>
                    </a:lnTo>
                    <a:lnTo>
                      <a:pt x="63151" y="553022"/>
                    </a:lnTo>
                    <a:lnTo>
                      <a:pt x="63151" y="553879"/>
                    </a:lnTo>
                    <a:lnTo>
                      <a:pt x="63151" y="553879"/>
                    </a:lnTo>
                    <a:lnTo>
                      <a:pt x="63151" y="555593"/>
                    </a:lnTo>
                    <a:lnTo>
                      <a:pt x="64008" y="561594"/>
                    </a:lnTo>
                    <a:lnTo>
                      <a:pt x="64008" y="564071"/>
                    </a:lnTo>
                    <a:lnTo>
                      <a:pt x="66580" y="571691"/>
                    </a:lnTo>
                    <a:lnTo>
                      <a:pt x="66580" y="574262"/>
                    </a:lnTo>
                    <a:lnTo>
                      <a:pt x="66580" y="576834"/>
                    </a:lnTo>
                    <a:lnTo>
                      <a:pt x="67437" y="577691"/>
                    </a:lnTo>
                    <a:lnTo>
                      <a:pt x="65723" y="576834"/>
                    </a:lnTo>
                    <a:lnTo>
                      <a:pt x="65723" y="574262"/>
                    </a:lnTo>
                    <a:lnTo>
                      <a:pt x="64008" y="570833"/>
                    </a:lnTo>
                    <a:lnTo>
                      <a:pt x="64865" y="574262"/>
                    </a:lnTo>
                    <a:lnTo>
                      <a:pt x="64865" y="577691"/>
                    </a:lnTo>
                    <a:lnTo>
                      <a:pt x="65723" y="579406"/>
                    </a:lnTo>
                    <a:lnTo>
                      <a:pt x="64865" y="581025"/>
                    </a:lnTo>
                    <a:lnTo>
                      <a:pt x="65723" y="582739"/>
                    </a:lnTo>
                    <a:lnTo>
                      <a:pt x="67437" y="584454"/>
                    </a:lnTo>
                    <a:lnTo>
                      <a:pt x="68199" y="587026"/>
                    </a:lnTo>
                    <a:lnTo>
                      <a:pt x="69914" y="593788"/>
                    </a:lnTo>
                    <a:lnTo>
                      <a:pt x="70771" y="598837"/>
                    </a:lnTo>
                    <a:lnTo>
                      <a:pt x="71628" y="604838"/>
                    </a:lnTo>
                    <a:lnTo>
                      <a:pt x="72485" y="605695"/>
                    </a:lnTo>
                    <a:lnTo>
                      <a:pt x="73343" y="606457"/>
                    </a:lnTo>
                    <a:lnTo>
                      <a:pt x="73343" y="607314"/>
                    </a:lnTo>
                    <a:lnTo>
                      <a:pt x="73343" y="610743"/>
                    </a:lnTo>
                    <a:lnTo>
                      <a:pt x="74105" y="612458"/>
                    </a:lnTo>
                    <a:lnTo>
                      <a:pt x="74105" y="613315"/>
                    </a:lnTo>
                    <a:lnTo>
                      <a:pt x="75819" y="614172"/>
                    </a:lnTo>
                    <a:lnTo>
                      <a:pt x="74105" y="618363"/>
                    </a:lnTo>
                    <a:lnTo>
                      <a:pt x="79153" y="639604"/>
                    </a:lnTo>
                    <a:lnTo>
                      <a:pt x="82582" y="640461"/>
                    </a:lnTo>
                    <a:lnTo>
                      <a:pt x="87630" y="638747"/>
                    </a:lnTo>
                    <a:lnTo>
                      <a:pt x="92678" y="637889"/>
                    </a:lnTo>
                    <a:lnTo>
                      <a:pt x="91821" y="638747"/>
                    </a:lnTo>
                    <a:lnTo>
                      <a:pt x="90107" y="639604"/>
                    </a:lnTo>
                    <a:lnTo>
                      <a:pt x="88487" y="640461"/>
                    </a:lnTo>
                    <a:lnTo>
                      <a:pt x="86773" y="640461"/>
                    </a:lnTo>
                    <a:lnTo>
                      <a:pt x="85916" y="641318"/>
                    </a:lnTo>
                    <a:lnTo>
                      <a:pt x="85058" y="642938"/>
                    </a:lnTo>
                    <a:lnTo>
                      <a:pt x="84201" y="643795"/>
                    </a:lnTo>
                    <a:lnTo>
                      <a:pt x="83439" y="643795"/>
                    </a:lnTo>
                    <a:lnTo>
                      <a:pt x="80010" y="642080"/>
                    </a:lnTo>
                    <a:lnTo>
                      <a:pt x="80867" y="643795"/>
                    </a:lnTo>
                    <a:lnTo>
                      <a:pt x="80867" y="644652"/>
                    </a:lnTo>
                    <a:lnTo>
                      <a:pt x="82582" y="645509"/>
                    </a:lnTo>
                    <a:lnTo>
                      <a:pt x="83439" y="646367"/>
                    </a:lnTo>
                    <a:lnTo>
                      <a:pt x="83439" y="648081"/>
                    </a:lnTo>
                    <a:lnTo>
                      <a:pt x="83439" y="650653"/>
                    </a:lnTo>
                    <a:lnTo>
                      <a:pt x="87630" y="648938"/>
                    </a:lnTo>
                    <a:lnTo>
                      <a:pt x="90964" y="648938"/>
                    </a:lnTo>
                    <a:lnTo>
                      <a:pt x="91821" y="648938"/>
                    </a:lnTo>
                    <a:lnTo>
                      <a:pt x="92678" y="648938"/>
                    </a:lnTo>
                    <a:lnTo>
                      <a:pt x="93536" y="649796"/>
                    </a:lnTo>
                    <a:lnTo>
                      <a:pt x="93536" y="649796"/>
                    </a:lnTo>
                    <a:lnTo>
                      <a:pt x="93536" y="650653"/>
                    </a:lnTo>
                    <a:lnTo>
                      <a:pt x="93536" y="650653"/>
                    </a:lnTo>
                    <a:lnTo>
                      <a:pt x="94393" y="653129"/>
                    </a:lnTo>
                    <a:lnTo>
                      <a:pt x="94393" y="653129"/>
                    </a:lnTo>
                    <a:lnTo>
                      <a:pt x="94393" y="653987"/>
                    </a:lnTo>
                    <a:lnTo>
                      <a:pt x="95155" y="654844"/>
                    </a:lnTo>
                    <a:lnTo>
                      <a:pt x="96012" y="654844"/>
                    </a:lnTo>
                    <a:lnTo>
                      <a:pt x="96869" y="655701"/>
                    </a:lnTo>
                    <a:lnTo>
                      <a:pt x="98584" y="655701"/>
                    </a:lnTo>
                    <a:lnTo>
                      <a:pt x="99441" y="655701"/>
                    </a:lnTo>
                    <a:lnTo>
                      <a:pt x="99441" y="655701"/>
                    </a:lnTo>
                    <a:lnTo>
                      <a:pt x="100203" y="656558"/>
                    </a:lnTo>
                    <a:lnTo>
                      <a:pt x="100203" y="656558"/>
                    </a:lnTo>
                    <a:lnTo>
                      <a:pt x="99441" y="657416"/>
                    </a:lnTo>
                    <a:lnTo>
                      <a:pt x="99441" y="657416"/>
                    </a:lnTo>
                    <a:lnTo>
                      <a:pt x="99441" y="658273"/>
                    </a:lnTo>
                    <a:lnTo>
                      <a:pt x="100203" y="659130"/>
                    </a:lnTo>
                    <a:lnTo>
                      <a:pt x="101060" y="659130"/>
                    </a:lnTo>
                    <a:lnTo>
                      <a:pt x="101918" y="659130"/>
                    </a:lnTo>
                    <a:lnTo>
                      <a:pt x="101918" y="659130"/>
                    </a:lnTo>
                    <a:lnTo>
                      <a:pt x="102775" y="659130"/>
                    </a:lnTo>
                    <a:lnTo>
                      <a:pt x="103632" y="658273"/>
                    </a:lnTo>
                    <a:lnTo>
                      <a:pt x="104489" y="657416"/>
                    </a:lnTo>
                    <a:lnTo>
                      <a:pt x="106109" y="657416"/>
                    </a:lnTo>
                    <a:lnTo>
                      <a:pt x="106966" y="658273"/>
                    </a:lnTo>
                    <a:lnTo>
                      <a:pt x="109538" y="659130"/>
                    </a:lnTo>
                    <a:lnTo>
                      <a:pt x="110395" y="659987"/>
                    </a:lnTo>
                    <a:lnTo>
                      <a:pt x="110395" y="659987"/>
                    </a:lnTo>
                    <a:lnTo>
                      <a:pt x="110395" y="660749"/>
                    </a:lnTo>
                    <a:lnTo>
                      <a:pt x="110395" y="661606"/>
                    </a:lnTo>
                    <a:lnTo>
                      <a:pt x="110395" y="662464"/>
                    </a:lnTo>
                    <a:lnTo>
                      <a:pt x="110395" y="663321"/>
                    </a:lnTo>
                    <a:lnTo>
                      <a:pt x="110395" y="664178"/>
                    </a:lnTo>
                    <a:lnTo>
                      <a:pt x="110395" y="665036"/>
                    </a:lnTo>
                    <a:lnTo>
                      <a:pt x="111157" y="665893"/>
                    </a:lnTo>
                    <a:lnTo>
                      <a:pt x="112014" y="665893"/>
                    </a:lnTo>
                    <a:lnTo>
                      <a:pt x="112871" y="665893"/>
                    </a:lnTo>
                    <a:lnTo>
                      <a:pt x="113729" y="665893"/>
                    </a:lnTo>
                    <a:lnTo>
                      <a:pt x="114586" y="665036"/>
                    </a:lnTo>
                    <a:lnTo>
                      <a:pt x="115443" y="665036"/>
                    </a:lnTo>
                    <a:lnTo>
                      <a:pt x="116205" y="665893"/>
                    </a:lnTo>
                    <a:lnTo>
                      <a:pt x="117920" y="668464"/>
                    </a:lnTo>
                    <a:lnTo>
                      <a:pt x="118777" y="669227"/>
                    </a:lnTo>
                    <a:lnTo>
                      <a:pt x="119634" y="669227"/>
                    </a:lnTo>
                    <a:lnTo>
                      <a:pt x="120491" y="669227"/>
                    </a:lnTo>
                    <a:lnTo>
                      <a:pt x="121349" y="669227"/>
                    </a:lnTo>
                    <a:lnTo>
                      <a:pt x="121349" y="669227"/>
                    </a:lnTo>
                    <a:lnTo>
                      <a:pt x="122111" y="668464"/>
                    </a:lnTo>
                    <a:lnTo>
                      <a:pt x="122968" y="667607"/>
                    </a:lnTo>
                    <a:lnTo>
                      <a:pt x="123825" y="667607"/>
                    </a:lnTo>
                    <a:lnTo>
                      <a:pt x="128873" y="669227"/>
                    </a:lnTo>
                    <a:lnTo>
                      <a:pt x="128016" y="671798"/>
                    </a:lnTo>
                    <a:lnTo>
                      <a:pt x="127159" y="673513"/>
                    </a:lnTo>
                    <a:lnTo>
                      <a:pt x="126397" y="674370"/>
                    </a:lnTo>
                    <a:lnTo>
                      <a:pt x="126397" y="675227"/>
                    </a:lnTo>
                    <a:lnTo>
                      <a:pt x="127159" y="676085"/>
                    </a:lnTo>
                    <a:lnTo>
                      <a:pt x="128016" y="677799"/>
                    </a:lnTo>
                    <a:lnTo>
                      <a:pt x="128873" y="678561"/>
                    </a:lnTo>
                    <a:lnTo>
                      <a:pt x="129731" y="679418"/>
                    </a:lnTo>
                    <a:lnTo>
                      <a:pt x="129731" y="680276"/>
                    </a:lnTo>
                    <a:lnTo>
                      <a:pt x="130588" y="680276"/>
                    </a:lnTo>
                    <a:lnTo>
                      <a:pt x="130588" y="680276"/>
                    </a:lnTo>
                    <a:lnTo>
                      <a:pt x="130588" y="680276"/>
                    </a:lnTo>
                    <a:lnTo>
                      <a:pt x="131445" y="681133"/>
                    </a:lnTo>
                    <a:lnTo>
                      <a:pt x="133064" y="682847"/>
                    </a:lnTo>
                    <a:lnTo>
                      <a:pt x="133064" y="683705"/>
                    </a:lnTo>
                    <a:lnTo>
                      <a:pt x="133064" y="683705"/>
                    </a:lnTo>
                    <a:lnTo>
                      <a:pt x="133922" y="683705"/>
                    </a:lnTo>
                    <a:lnTo>
                      <a:pt x="133922" y="683705"/>
                    </a:lnTo>
                    <a:lnTo>
                      <a:pt x="134779" y="683705"/>
                    </a:lnTo>
                    <a:lnTo>
                      <a:pt x="137351" y="682847"/>
                    </a:lnTo>
                    <a:lnTo>
                      <a:pt x="138113" y="682847"/>
                    </a:lnTo>
                    <a:lnTo>
                      <a:pt x="139827" y="682847"/>
                    </a:lnTo>
                    <a:lnTo>
                      <a:pt x="139827" y="682847"/>
                    </a:lnTo>
                    <a:lnTo>
                      <a:pt x="139827" y="683705"/>
                    </a:lnTo>
                    <a:lnTo>
                      <a:pt x="139827" y="683705"/>
                    </a:lnTo>
                    <a:lnTo>
                      <a:pt x="139827" y="684562"/>
                    </a:lnTo>
                    <a:lnTo>
                      <a:pt x="139827" y="685419"/>
                    </a:lnTo>
                    <a:lnTo>
                      <a:pt x="138970" y="686276"/>
                    </a:lnTo>
                    <a:lnTo>
                      <a:pt x="138113" y="686276"/>
                    </a:lnTo>
                    <a:lnTo>
                      <a:pt x="137351" y="687896"/>
                    </a:lnTo>
                    <a:lnTo>
                      <a:pt x="136493" y="688753"/>
                    </a:lnTo>
                    <a:lnTo>
                      <a:pt x="136493" y="689610"/>
                    </a:lnTo>
                    <a:lnTo>
                      <a:pt x="136493" y="691325"/>
                    </a:lnTo>
                    <a:lnTo>
                      <a:pt x="136493" y="692182"/>
                    </a:lnTo>
                    <a:lnTo>
                      <a:pt x="137351" y="693039"/>
                    </a:lnTo>
                    <a:lnTo>
                      <a:pt x="138113" y="693896"/>
                    </a:lnTo>
                    <a:lnTo>
                      <a:pt x="139827" y="695611"/>
                    </a:lnTo>
                    <a:lnTo>
                      <a:pt x="140684" y="698087"/>
                    </a:lnTo>
                    <a:lnTo>
                      <a:pt x="141542" y="701516"/>
                    </a:lnTo>
                    <a:lnTo>
                      <a:pt x="141542" y="702373"/>
                    </a:lnTo>
                    <a:lnTo>
                      <a:pt x="142399" y="703231"/>
                    </a:lnTo>
                    <a:lnTo>
                      <a:pt x="142399" y="704088"/>
                    </a:lnTo>
                    <a:lnTo>
                      <a:pt x="143161" y="704088"/>
                    </a:lnTo>
                    <a:lnTo>
                      <a:pt x="144018" y="704088"/>
                    </a:lnTo>
                    <a:lnTo>
                      <a:pt x="144875" y="704088"/>
                    </a:lnTo>
                    <a:lnTo>
                      <a:pt x="145733" y="704088"/>
                    </a:lnTo>
                    <a:lnTo>
                      <a:pt x="145733" y="704088"/>
                    </a:lnTo>
                    <a:lnTo>
                      <a:pt x="147447" y="705707"/>
                    </a:lnTo>
                    <a:lnTo>
                      <a:pt x="158401" y="717613"/>
                    </a:lnTo>
                    <a:lnTo>
                      <a:pt x="160020" y="719328"/>
                    </a:lnTo>
                    <a:lnTo>
                      <a:pt x="163449" y="720185"/>
                    </a:lnTo>
                    <a:lnTo>
                      <a:pt x="164306" y="720185"/>
                    </a:lnTo>
                    <a:lnTo>
                      <a:pt x="165926" y="721043"/>
                    </a:lnTo>
                    <a:lnTo>
                      <a:pt x="166783" y="721900"/>
                    </a:lnTo>
                    <a:lnTo>
                      <a:pt x="166783" y="723519"/>
                    </a:lnTo>
                    <a:lnTo>
                      <a:pt x="167640" y="724376"/>
                    </a:lnTo>
                    <a:lnTo>
                      <a:pt x="168497" y="725234"/>
                    </a:lnTo>
                    <a:lnTo>
                      <a:pt x="168497" y="725234"/>
                    </a:lnTo>
                    <a:lnTo>
                      <a:pt x="169355" y="725234"/>
                    </a:lnTo>
                    <a:lnTo>
                      <a:pt x="170974" y="725234"/>
                    </a:lnTo>
                    <a:lnTo>
                      <a:pt x="171831" y="725234"/>
                    </a:lnTo>
                    <a:lnTo>
                      <a:pt x="172688" y="725234"/>
                    </a:lnTo>
                    <a:lnTo>
                      <a:pt x="175165" y="726948"/>
                    </a:lnTo>
                    <a:lnTo>
                      <a:pt x="176022" y="727805"/>
                    </a:lnTo>
                    <a:lnTo>
                      <a:pt x="176879" y="728663"/>
                    </a:lnTo>
                    <a:lnTo>
                      <a:pt x="177737" y="728663"/>
                    </a:lnTo>
                    <a:lnTo>
                      <a:pt x="178594" y="728663"/>
                    </a:lnTo>
                    <a:lnTo>
                      <a:pt x="179451" y="727805"/>
                    </a:lnTo>
                    <a:lnTo>
                      <a:pt x="180308" y="727805"/>
                    </a:lnTo>
                    <a:lnTo>
                      <a:pt x="181070" y="728663"/>
                    </a:lnTo>
                    <a:lnTo>
                      <a:pt x="181928" y="728663"/>
                    </a:lnTo>
                    <a:lnTo>
                      <a:pt x="182785" y="728663"/>
                    </a:lnTo>
                    <a:lnTo>
                      <a:pt x="183642" y="730377"/>
                    </a:lnTo>
                    <a:lnTo>
                      <a:pt x="183642" y="733711"/>
                    </a:lnTo>
                    <a:lnTo>
                      <a:pt x="184499" y="735425"/>
                    </a:lnTo>
                    <a:lnTo>
                      <a:pt x="185357" y="736283"/>
                    </a:lnTo>
                    <a:lnTo>
                      <a:pt x="186976" y="738854"/>
                    </a:lnTo>
                    <a:lnTo>
                      <a:pt x="188690" y="740473"/>
                    </a:lnTo>
                    <a:lnTo>
                      <a:pt x="190405" y="741331"/>
                    </a:lnTo>
                    <a:lnTo>
                      <a:pt x="192024" y="742188"/>
                    </a:lnTo>
                    <a:lnTo>
                      <a:pt x="193739" y="743045"/>
                    </a:lnTo>
                    <a:lnTo>
                      <a:pt x="196310" y="743045"/>
                    </a:lnTo>
                    <a:lnTo>
                      <a:pt x="198787" y="743045"/>
                    </a:lnTo>
                    <a:lnTo>
                      <a:pt x="204692" y="744760"/>
                    </a:lnTo>
                    <a:lnTo>
                      <a:pt x="207169" y="744760"/>
                    </a:lnTo>
                    <a:lnTo>
                      <a:pt x="211455" y="742188"/>
                    </a:lnTo>
                    <a:lnTo>
                      <a:pt x="214789" y="740473"/>
                    </a:lnTo>
                    <a:lnTo>
                      <a:pt x="217361" y="740473"/>
                    </a:lnTo>
                    <a:lnTo>
                      <a:pt x="218123" y="741331"/>
                    </a:lnTo>
                    <a:lnTo>
                      <a:pt x="218123" y="742188"/>
                    </a:lnTo>
                    <a:lnTo>
                      <a:pt x="218123" y="744760"/>
                    </a:lnTo>
                    <a:lnTo>
                      <a:pt x="218123" y="749046"/>
                    </a:lnTo>
                    <a:lnTo>
                      <a:pt x="218123" y="749808"/>
                    </a:lnTo>
                    <a:lnTo>
                      <a:pt x="218123" y="750665"/>
                    </a:lnTo>
                    <a:lnTo>
                      <a:pt x="219837" y="752380"/>
                    </a:lnTo>
                    <a:lnTo>
                      <a:pt x="220694" y="752380"/>
                    </a:lnTo>
                    <a:lnTo>
                      <a:pt x="221552" y="752380"/>
                    </a:lnTo>
                    <a:lnTo>
                      <a:pt x="222409" y="752380"/>
                    </a:lnTo>
                    <a:lnTo>
                      <a:pt x="223171" y="751522"/>
                    </a:lnTo>
                    <a:lnTo>
                      <a:pt x="224028" y="751522"/>
                    </a:lnTo>
                    <a:lnTo>
                      <a:pt x="225743" y="751522"/>
                    </a:lnTo>
                    <a:lnTo>
                      <a:pt x="227457" y="752380"/>
                    </a:lnTo>
                    <a:lnTo>
                      <a:pt x="228314" y="752380"/>
                    </a:lnTo>
                    <a:lnTo>
                      <a:pt x="229076" y="753237"/>
                    </a:lnTo>
                    <a:lnTo>
                      <a:pt x="229934" y="754952"/>
                    </a:lnTo>
                    <a:lnTo>
                      <a:pt x="230791" y="756666"/>
                    </a:lnTo>
                    <a:lnTo>
                      <a:pt x="231648" y="757523"/>
                    </a:lnTo>
                    <a:lnTo>
                      <a:pt x="232505" y="758285"/>
                    </a:lnTo>
                    <a:lnTo>
                      <a:pt x="233363" y="758285"/>
                    </a:lnTo>
                    <a:lnTo>
                      <a:pt x="233363" y="758285"/>
                    </a:lnTo>
                    <a:lnTo>
                      <a:pt x="234982" y="758285"/>
                    </a:lnTo>
                    <a:lnTo>
                      <a:pt x="235839" y="758285"/>
                    </a:lnTo>
                    <a:lnTo>
                      <a:pt x="236696" y="758285"/>
                    </a:lnTo>
                    <a:lnTo>
                      <a:pt x="237554" y="758285"/>
                    </a:lnTo>
                    <a:lnTo>
                      <a:pt x="238411" y="759143"/>
                    </a:lnTo>
                    <a:lnTo>
                      <a:pt x="240887" y="762572"/>
                    </a:lnTo>
                    <a:lnTo>
                      <a:pt x="242602" y="764286"/>
                    </a:lnTo>
                    <a:lnTo>
                      <a:pt x="243459" y="764286"/>
                    </a:lnTo>
                    <a:lnTo>
                      <a:pt x="244316" y="765143"/>
                    </a:lnTo>
                    <a:lnTo>
                      <a:pt x="245936" y="765143"/>
                    </a:lnTo>
                    <a:lnTo>
                      <a:pt x="246793" y="765143"/>
                    </a:lnTo>
                    <a:lnTo>
                      <a:pt x="247650" y="765143"/>
                    </a:lnTo>
                    <a:lnTo>
                      <a:pt x="249365" y="765143"/>
                    </a:lnTo>
                    <a:lnTo>
                      <a:pt x="249365" y="764286"/>
                    </a:lnTo>
                    <a:lnTo>
                      <a:pt x="250984" y="765143"/>
                    </a:lnTo>
                    <a:lnTo>
                      <a:pt x="251841" y="765143"/>
                    </a:lnTo>
                    <a:lnTo>
                      <a:pt x="252698" y="766001"/>
                    </a:lnTo>
                    <a:lnTo>
                      <a:pt x="252698" y="767620"/>
                    </a:lnTo>
                    <a:lnTo>
                      <a:pt x="252698" y="770192"/>
                    </a:lnTo>
                    <a:lnTo>
                      <a:pt x="253556" y="771906"/>
                    </a:lnTo>
                    <a:lnTo>
                      <a:pt x="254413" y="774478"/>
                    </a:lnTo>
                    <a:lnTo>
                      <a:pt x="255175" y="772763"/>
                    </a:lnTo>
                    <a:lnTo>
                      <a:pt x="256032" y="771906"/>
                    </a:lnTo>
                    <a:lnTo>
                      <a:pt x="256032" y="771906"/>
                    </a:lnTo>
                    <a:lnTo>
                      <a:pt x="256889" y="771049"/>
                    </a:lnTo>
                    <a:lnTo>
                      <a:pt x="258604" y="769334"/>
                    </a:lnTo>
                    <a:lnTo>
                      <a:pt x="260318" y="768477"/>
                    </a:lnTo>
                    <a:lnTo>
                      <a:pt x="261938" y="768477"/>
                    </a:lnTo>
                    <a:lnTo>
                      <a:pt x="264509" y="768477"/>
                    </a:lnTo>
                    <a:lnTo>
                      <a:pt x="267843" y="769334"/>
                    </a:lnTo>
                    <a:lnTo>
                      <a:pt x="268700" y="771049"/>
                    </a:lnTo>
                    <a:lnTo>
                      <a:pt x="269558" y="771906"/>
                    </a:lnTo>
                    <a:lnTo>
                      <a:pt x="268700" y="774478"/>
                    </a:lnTo>
                    <a:lnTo>
                      <a:pt x="268700" y="775335"/>
                    </a:lnTo>
                    <a:lnTo>
                      <a:pt x="269558" y="776097"/>
                    </a:lnTo>
                    <a:lnTo>
                      <a:pt x="270415" y="776954"/>
                    </a:lnTo>
                    <a:lnTo>
                      <a:pt x="271177" y="777812"/>
                    </a:lnTo>
                    <a:lnTo>
                      <a:pt x="272891" y="777812"/>
                    </a:lnTo>
                    <a:lnTo>
                      <a:pt x="275463" y="777812"/>
                    </a:lnTo>
                    <a:lnTo>
                      <a:pt x="291465" y="776954"/>
                    </a:lnTo>
                    <a:lnTo>
                      <a:pt x="293084" y="776954"/>
                    </a:lnTo>
                    <a:lnTo>
                      <a:pt x="298990" y="778669"/>
                    </a:lnTo>
                    <a:lnTo>
                      <a:pt x="299847" y="777812"/>
                    </a:lnTo>
                    <a:lnTo>
                      <a:pt x="300704" y="776954"/>
                    </a:lnTo>
                    <a:lnTo>
                      <a:pt x="301562" y="770192"/>
                    </a:lnTo>
                    <a:lnTo>
                      <a:pt x="304038" y="765143"/>
                    </a:lnTo>
                    <a:lnTo>
                      <a:pt x="308324" y="759143"/>
                    </a:lnTo>
                    <a:lnTo>
                      <a:pt x="309944" y="758285"/>
                    </a:lnTo>
                    <a:lnTo>
                      <a:pt x="310801" y="757523"/>
                    </a:lnTo>
                    <a:lnTo>
                      <a:pt x="313373" y="757523"/>
                    </a:lnTo>
                    <a:lnTo>
                      <a:pt x="314992" y="757523"/>
                    </a:lnTo>
                    <a:lnTo>
                      <a:pt x="317564" y="756666"/>
                    </a:lnTo>
                    <a:lnTo>
                      <a:pt x="318421" y="756666"/>
                    </a:lnTo>
                    <a:lnTo>
                      <a:pt x="320040" y="756666"/>
                    </a:lnTo>
                    <a:lnTo>
                      <a:pt x="321755" y="757523"/>
                    </a:lnTo>
                    <a:lnTo>
                      <a:pt x="327660" y="764286"/>
                    </a:lnTo>
                    <a:lnTo>
                      <a:pt x="329375" y="764286"/>
                    </a:lnTo>
                    <a:lnTo>
                      <a:pt x="330137" y="764286"/>
                    </a:lnTo>
                    <a:lnTo>
                      <a:pt x="330994" y="762572"/>
                    </a:lnTo>
                    <a:lnTo>
                      <a:pt x="331851" y="760857"/>
                    </a:lnTo>
                    <a:lnTo>
                      <a:pt x="332708" y="760000"/>
                    </a:lnTo>
                    <a:lnTo>
                      <a:pt x="333566" y="759143"/>
                    </a:lnTo>
                    <a:lnTo>
                      <a:pt x="334423" y="759143"/>
                    </a:lnTo>
                    <a:lnTo>
                      <a:pt x="337757" y="758285"/>
                    </a:lnTo>
                    <a:lnTo>
                      <a:pt x="342805" y="759143"/>
                    </a:lnTo>
                    <a:lnTo>
                      <a:pt x="344519" y="758285"/>
                    </a:lnTo>
                    <a:lnTo>
                      <a:pt x="346139" y="757523"/>
                    </a:lnTo>
                    <a:lnTo>
                      <a:pt x="346996" y="757523"/>
                    </a:lnTo>
                    <a:lnTo>
                      <a:pt x="348710" y="757523"/>
                    </a:lnTo>
                    <a:lnTo>
                      <a:pt x="349568" y="757523"/>
                    </a:lnTo>
                    <a:lnTo>
                      <a:pt x="351187" y="758285"/>
                    </a:lnTo>
                    <a:lnTo>
                      <a:pt x="352901" y="759143"/>
                    </a:lnTo>
                    <a:lnTo>
                      <a:pt x="354616" y="760857"/>
                    </a:lnTo>
                    <a:lnTo>
                      <a:pt x="356330" y="760857"/>
                    </a:lnTo>
                    <a:lnTo>
                      <a:pt x="357950" y="760857"/>
                    </a:lnTo>
                    <a:lnTo>
                      <a:pt x="360521" y="760000"/>
                    </a:lnTo>
                    <a:lnTo>
                      <a:pt x="363855" y="760000"/>
                    </a:lnTo>
                    <a:lnTo>
                      <a:pt x="364712" y="759143"/>
                    </a:lnTo>
                    <a:lnTo>
                      <a:pt x="366427" y="757523"/>
                    </a:lnTo>
                    <a:lnTo>
                      <a:pt x="367284" y="755809"/>
                    </a:lnTo>
                    <a:lnTo>
                      <a:pt x="369761" y="749808"/>
                    </a:lnTo>
                    <a:lnTo>
                      <a:pt x="370618" y="748189"/>
                    </a:lnTo>
                    <a:lnTo>
                      <a:pt x="372332" y="746474"/>
                    </a:lnTo>
                    <a:lnTo>
                      <a:pt x="372332" y="744760"/>
                    </a:lnTo>
                    <a:lnTo>
                      <a:pt x="374809" y="743903"/>
                    </a:lnTo>
                    <a:lnTo>
                      <a:pt x="375666" y="743045"/>
                    </a:lnTo>
                    <a:lnTo>
                      <a:pt x="387477" y="742188"/>
                    </a:lnTo>
                    <a:lnTo>
                      <a:pt x="389096" y="742188"/>
                    </a:lnTo>
                    <a:lnTo>
                      <a:pt x="389954" y="741331"/>
                    </a:lnTo>
                    <a:lnTo>
                      <a:pt x="390811" y="740473"/>
                    </a:lnTo>
                    <a:lnTo>
                      <a:pt x="392525" y="739712"/>
                    </a:lnTo>
                    <a:lnTo>
                      <a:pt x="394145" y="737140"/>
                    </a:lnTo>
                    <a:lnTo>
                      <a:pt x="397574" y="731996"/>
                    </a:lnTo>
                    <a:lnTo>
                      <a:pt x="398431" y="730377"/>
                    </a:lnTo>
                    <a:lnTo>
                      <a:pt x="399288" y="729520"/>
                    </a:lnTo>
                    <a:lnTo>
                      <a:pt x="400907" y="728663"/>
                    </a:lnTo>
                    <a:lnTo>
                      <a:pt x="400907" y="726948"/>
                    </a:lnTo>
                    <a:lnTo>
                      <a:pt x="401765" y="726948"/>
                    </a:lnTo>
                    <a:lnTo>
                      <a:pt x="401765" y="726948"/>
                    </a:lnTo>
                    <a:lnTo>
                      <a:pt x="402622" y="726091"/>
                    </a:lnTo>
                    <a:lnTo>
                      <a:pt x="402622" y="726091"/>
                    </a:lnTo>
                    <a:lnTo>
                      <a:pt x="402622" y="725234"/>
                    </a:lnTo>
                    <a:lnTo>
                      <a:pt x="402622" y="724376"/>
                    </a:lnTo>
                    <a:lnTo>
                      <a:pt x="403479" y="723519"/>
                    </a:lnTo>
                    <a:lnTo>
                      <a:pt x="403479" y="722662"/>
                    </a:lnTo>
                    <a:lnTo>
                      <a:pt x="402622" y="721900"/>
                    </a:lnTo>
                    <a:lnTo>
                      <a:pt x="399288" y="716756"/>
                    </a:lnTo>
                    <a:lnTo>
                      <a:pt x="398431" y="716756"/>
                    </a:lnTo>
                    <a:lnTo>
                      <a:pt x="398431" y="715899"/>
                    </a:lnTo>
                    <a:lnTo>
                      <a:pt x="395859" y="714185"/>
                    </a:lnTo>
                    <a:lnTo>
                      <a:pt x="391668" y="713422"/>
                    </a:lnTo>
                    <a:lnTo>
                      <a:pt x="373094" y="713422"/>
                    </a:lnTo>
                    <a:lnTo>
                      <a:pt x="371475" y="713422"/>
                    </a:lnTo>
                    <a:lnTo>
                      <a:pt x="371475" y="712565"/>
                    </a:lnTo>
                    <a:lnTo>
                      <a:pt x="371475" y="710851"/>
                    </a:lnTo>
                    <a:lnTo>
                      <a:pt x="371475" y="709136"/>
                    </a:lnTo>
                    <a:lnTo>
                      <a:pt x="369761" y="708279"/>
                    </a:lnTo>
                    <a:lnTo>
                      <a:pt x="369761" y="707422"/>
                    </a:lnTo>
                    <a:lnTo>
                      <a:pt x="369761" y="706564"/>
                    </a:lnTo>
                    <a:lnTo>
                      <a:pt x="370618" y="705707"/>
                    </a:lnTo>
                    <a:lnTo>
                      <a:pt x="371475" y="704850"/>
                    </a:lnTo>
                    <a:lnTo>
                      <a:pt x="372332" y="704088"/>
                    </a:lnTo>
                    <a:lnTo>
                      <a:pt x="376523" y="702373"/>
                    </a:lnTo>
                    <a:lnTo>
                      <a:pt x="380714" y="698087"/>
                    </a:lnTo>
                    <a:lnTo>
                      <a:pt x="381572" y="696373"/>
                    </a:lnTo>
                    <a:lnTo>
                      <a:pt x="384048" y="693896"/>
                    </a:lnTo>
                    <a:lnTo>
                      <a:pt x="384905" y="693039"/>
                    </a:lnTo>
                    <a:lnTo>
                      <a:pt x="384905" y="691325"/>
                    </a:lnTo>
                    <a:lnTo>
                      <a:pt x="386620" y="683705"/>
                    </a:lnTo>
                    <a:lnTo>
                      <a:pt x="386620" y="682847"/>
                    </a:lnTo>
                    <a:lnTo>
                      <a:pt x="386620" y="681133"/>
                    </a:lnTo>
                    <a:lnTo>
                      <a:pt x="385763" y="681133"/>
                    </a:lnTo>
                    <a:lnTo>
                      <a:pt x="384905" y="681133"/>
                    </a:lnTo>
                    <a:lnTo>
                      <a:pt x="384048" y="681133"/>
                    </a:lnTo>
                    <a:lnTo>
                      <a:pt x="383286" y="681133"/>
                    </a:lnTo>
                    <a:lnTo>
                      <a:pt x="382429" y="681133"/>
                    </a:lnTo>
                    <a:lnTo>
                      <a:pt x="382429" y="681133"/>
                    </a:lnTo>
                    <a:lnTo>
                      <a:pt x="381572" y="680276"/>
                    </a:lnTo>
                    <a:lnTo>
                      <a:pt x="381572" y="680276"/>
                    </a:lnTo>
                    <a:lnTo>
                      <a:pt x="382429" y="678561"/>
                    </a:lnTo>
                    <a:lnTo>
                      <a:pt x="382429" y="677799"/>
                    </a:lnTo>
                    <a:lnTo>
                      <a:pt x="381572" y="676085"/>
                    </a:lnTo>
                    <a:lnTo>
                      <a:pt x="381572" y="675227"/>
                    </a:lnTo>
                    <a:lnTo>
                      <a:pt x="381572" y="673513"/>
                    </a:lnTo>
                    <a:lnTo>
                      <a:pt x="381572" y="670941"/>
                    </a:lnTo>
                    <a:lnTo>
                      <a:pt x="383286" y="666750"/>
                    </a:lnTo>
                    <a:lnTo>
                      <a:pt x="385763" y="660749"/>
                    </a:lnTo>
                    <a:lnTo>
                      <a:pt x="388334" y="659987"/>
                    </a:lnTo>
                    <a:lnTo>
                      <a:pt x="389096" y="659987"/>
                    </a:lnTo>
                    <a:lnTo>
                      <a:pt x="389954" y="659987"/>
                    </a:lnTo>
                    <a:lnTo>
                      <a:pt x="392525" y="659987"/>
                    </a:lnTo>
                    <a:lnTo>
                      <a:pt x="393383" y="660749"/>
                    </a:lnTo>
                    <a:lnTo>
                      <a:pt x="394145" y="659987"/>
                    </a:lnTo>
                    <a:lnTo>
                      <a:pt x="395859" y="659987"/>
                    </a:lnTo>
                    <a:lnTo>
                      <a:pt x="400050" y="657416"/>
                    </a:lnTo>
                    <a:lnTo>
                      <a:pt x="401765" y="656558"/>
                    </a:lnTo>
                    <a:lnTo>
                      <a:pt x="401765" y="656558"/>
                    </a:lnTo>
                    <a:lnTo>
                      <a:pt x="402622" y="655701"/>
                    </a:lnTo>
                    <a:lnTo>
                      <a:pt x="402622" y="654844"/>
                    </a:lnTo>
                    <a:lnTo>
                      <a:pt x="402622" y="653987"/>
                    </a:lnTo>
                    <a:lnTo>
                      <a:pt x="401765" y="653129"/>
                    </a:lnTo>
                    <a:lnTo>
                      <a:pt x="401765" y="653129"/>
                    </a:lnTo>
                    <a:lnTo>
                      <a:pt x="401765" y="651415"/>
                    </a:lnTo>
                    <a:lnTo>
                      <a:pt x="401765" y="650653"/>
                    </a:lnTo>
                    <a:lnTo>
                      <a:pt x="404336" y="648081"/>
                    </a:lnTo>
                    <a:lnTo>
                      <a:pt x="405098" y="645509"/>
                    </a:lnTo>
                    <a:lnTo>
                      <a:pt x="406813" y="640461"/>
                    </a:lnTo>
                    <a:lnTo>
                      <a:pt x="411861" y="638747"/>
                    </a:lnTo>
                    <a:lnTo>
                      <a:pt x="416909" y="638747"/>
                    </a:lnTo>
                    <a:lnTo>
                      <a:pt x="417767" y="638747"/>
                    </a:lnTo>
                    <a:lnTo>
                      <a:pt x="419481" y="638747"/>
                    </a:lnTo>
                    <a:lnTo>
                      <a:pt x="420338" y="639604"/>
                    </a:lnTo>
                    <a:lnTo>
                      <a:pt x="421100" y="640461"/>
                    </a:lnTo>
                    <a:lnTo>
                      <a:pt x="421958" y="641318"/>
                    </a:lnTo>
                    <a:lnTo>
                      <a:pt x="422815" y="642080"/>
                    </a:lnTo>
                    <a:lnTo>
                      <a:pt x="424529" y="644652"/>
                    </a:lnTo>
                    <a:lnTo>
                      <a:pt x="426149" y="645509"/>
                    </a:lnTo>
                    <a:lnTo>
                      <a:pt x="427006" y="646367"/>
                    </a:lnTo>
                    <a:lnTo>
                      <a:pt x="428720" y="645509"/>
                    </a:lnTo>
                    <a:lnTo>
                      <a:pt x="429578" y="645509"/>
                    </a:lnTo>
                    <a:lnTo>
                      <a:pt x="429578" y="644652"/>
                    </a:lnTo>
                    <a:lnTo>
                      <a:pt x="429578" y="643795"/>
                    </a:lnTo>
                    <a:lnTo>
                      <a:pt x="430435" y="642938"/>
                    </a:lnTo>
                    <a:lnTo>
                      <a:pt x="432054" y="641318"/>
                    </a:lnTo>
                    <a:lnTo>
                      <a:pt x="432911" y="641318"/>
                    </a:lnTo>
                    <a:lnTo>
                      <a:pt x="434626" y="641318"/>
                    </a:lnTo>
                    <a:lnTo>
                      <a:pt x="437960" y="643795"/>
                    </a:lnTo>
                    <a:lnTo>
                      <a:pt x="443008" y="647224"/>
                    </a:lnTo>
                    <a:lnTo>
                      <a:pt x="446437" y="649796"/>
                    </a:lnTo>
                    <a:lnTo>
                      <a:pt x="453962" y="651415"/>
                    </a:lnTo>
                    <a:lnTo>
                      <a:pt x="454819" y="649796"/>
                    </a:lnTo>
                    <a:lnTo>
                      <a:pt x="455676" y="648938"/>
                    </a:lnTo>
                    <a:lnTo>
                      <a:pt x="455676" y="647224"/>
                    </a:lnTo>
                    <a:lnTo>
                      <a:pt x="455676" y="646367"/>
                    </a:lnTo>
                    <a:lnTo>
                      <a:pt x="454819" y="642938"/>
                    </a:lnTo>
                    <a:lnTo>
                      <a:pt x="454819" y="641318"/>
                    </a:lnTo>
                    <a:lnTo>
                      <a:pt x="454819" y="641318"/>
                    </a:lnTo>
                    <a:lnTo>
                      <a:pt x="455676" y="640461"/>
                    </a:lnTo>
                    <a:lnTo>
                      <a:pt x="455676" y="640461"/>
                    </a:lnTo>
                    <a:lnTo>
                      <a:pt x="456533" y="640461"/>
                    </a:lnTo>
                    <a:lnTo>
                      <a:pt x="457391" y="640461"/>
                    </a:lnTo>
                    <a:lnTo>
                      <a:pt x="458153" y="640461"/>
                    </a:lnTo>
                    <a:lnTo>
                      <a:pt x="459010" y="640461"/>
                    </a:lnTo>
                    <a:lnTo>
                      <a:pt x="459867" y="641318"/>
                    </a:lnTo>
                    <a:lnTo>
                      <a:pt x="459867" y="641318"/>
                    </a:lnTo>
                    <a:lnTo>
                      <a:pt x="459867" y="641318"/>
                    </a:lnTo>
                    <a:lnTo>
                      <a:pt x="460724" y="641318"/>
                    </a:lnTo>
                    <a:lnTo>
                      <a:pt x="461582" y="640461"/>
                    </a:lnTo>
                    <a:lnTo>
                      <a:pt x="461582" y="640461"/>
                    </a:lnTo>
                    <a:lnTo>
                      <a:pt x="462439" y="640461"/>
                    </a:lnTo>
                    <a:lnTo>
                      <a:pt x="463296" y="639604"/>
                    </a:lnTo>
                    <a:lnTo>
                      <a:pt x="464058" y="639604"/>
                    </a:lnTo>
                    <a:lnTo>
                      <a:pt x="465773" y="638747"/>
                    </a:lnTo>
                    <a:lnTo>
                      <a:pt x="465773" y="638747"/>
                    </a:lnTo>
                    <a:lnTo>
                      <a:pt x="465773" y="637889"/>
                    </a:lnTo>
                    <a:lnTo>
                      <a:pt x="465773" y="635318"/>
                    </a:lnTo>
                    <a:lnTo>
                      <a:pt x="465773" y="634460"/>
                    </a:lnTo>
                    <a:lnTo>
                      <a:pt x="466630" y="633603"/>
                    </a:lnTo>
                    <a:lnTo>
                      <a:pt x="467487" y="633603"/>
                    </a:lnTo>
                    <a:lnTo>
                      <a:pt x="468344" y="632841"/>
                    </a:lnTo>
                    <a:lnTo>
                      <a:pt x="468344" y="633603"/>
                    </a:lnTo>
                    <a:lnTo>
                      <a:pt x="469106" y="633603"/>
                    </a:lnTo>
                    <a:lnTo>
                      <a:pt x="469964" y="633603"/>
                    </a:lnTo>
                    <a:lnTo>
                      <a:pt x="476726" y="638747"/>
                    </a:lnTo>
                    <a:lnTo>
                      <a:pt x="478441" y="639604"/>
                    </a:lnTo>
                    <a:lnTo>
                      <a:pt x="479298" y="639604"/>
                    </a:lnTo>
                    <a:lnTo>
                      <a:pt x="480060" y="638747"/>
                    </a:lnTo>
                    <a:lnTo>
                      <a:pt x="480060" y="637889"/>
                    </a:lnTo>
                    <a:lnTo>
                      <a:pt x="479298" y="636175"/>
                    </a:lnTo>
                    <a:lnTo>
                      <a:pt x="477584" y="633603"/>
                    </a:lnTo>
                    <a:lnTo>
                      <a:pt x="476726" y="632841"/>
                    </a:lnTo>
                    <a:lnTo>
                      <a:pt x="475012" y="632841"/>
                    </a:lnTo>
                    <a:lnTo>
                      <a:pt x="474155" y="631984"/>
                    </a:lnTo>
                    <a:lnTo>
                      <a:pt x="473393" y="631984"/>
                    </a:lnTo>
                    <a:lnTo>
                      <a:pt x="473393" y="631127"/>
                    </a:lnTo>
                    <a:lnTo>
                      <a:pt x="474155" y="629412"/>
                    </a:lnTo>
                    <a:lnTo>
                      <a:pt x="476726" y="625983"/>
                    </a:lnTo>
                    <a:lnTo>
                      <a:pt x="478441" y="624269"/>
                    </a:lnTo>
                    <a:lnTo>
                      <a:pt x="478441" y="624269"/>
                    </a:lnTo>
                    <a:lnTo>
                      <a:pt x="478441" y="623506"/>
                    </a:lnTo>
                    <a:lnTo>
                      <a:pt x="479298" y="620078"/>
                    </a:lnTo>
                    <a:lnTo>
                      <a:pt x="480060" y="619220"/>
                    </a:lnTo>
                    <a:lnTo>
                      <a:pt x="480060" y="618363"/>
                    </a:lnTo>
                    <a:lnTo>
                      <a:pt x="480917" y="618363"/>
                    </a:lnTo>
                    <a:lnTo>
                      <a:pt x="482632" y="616648"/>
                    </a:lnTo>
                    <a:lnTo>
                      <a:pt x="483489" y="616648"/>
                    </a:lnTo>
                    <a:lnTo>
                      <a:pt x="485108" y="615029"/>
                    </a:lnTo>
                    <a:lnTo>
                      <a:pt x="485108" y="614172"/>
                    </a:lnTo>
                    <a:lnTo>
                      <a:pt x="485966" y="612458"/>
                    </a:lnTo>
                    <a:lnTo>
                      <a:pt x="485966" y="609886"/>
                    </a:lnTo>
                    <a:lnTo>
                      <a:pt x="485966" y="608171"/>
                    </a:lnTo>
                    <a:lnTo>
                      <a:pt x="486823" y="607314"/>
                    </a:lnTo>
                    <a:lnTo>
                      <a:pt x="488537" y="605695"/>
                    </a:lnTo>
                    <a:lnTo>
                      <a:pt x="489395" y="603980"/>
                    </a:lnTo>
                    <a:lnTo>
                      <a:pt x="489395" y="603123"/>
                    </a:lnTo>
                    <a:lnTo>
                      <a:pt x="490157" y="600551"/>
                    </a:lnTo>
                    <a:lnTo>
                      <a:pt x="490157" y="599694"/>
                    </a:lnTo>
                    <a:lnTo>
                      <a:pt x="490157" y="599694"/>
                    </a:lnTo>
                    <a:lnTo>
                      <a:pt x="490157" y="598837"/>
                    </a:lnTo>
                    <a:lnTo>
                      <a:pt x="490157" y="597980"/>
                    </a:lnTo>
                    <a:lnTo>
                      <a:pt x="490157" y="597218"/>
                    </a:lnTo>
                    <a:lnTo>
                      <a:pt x="491014" y="595503"/>
                    </a:lnTo>
                    <a:lnTo>
                      <a:pt x="491014" y="593788"/>
                    </a:lnTo>
                    <a:lnTo>
                      <a:pt x="491014" y="592931"/>
                    </a:lnTo>
                    <a:lnTo>
                      <a:pt x="491014" y="592931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44" name="Freeform: Shape 148">
                <a:extLst>
                  <a:ext uri="{FF2B5EF4-FFF2-40B4-BE49-F238E27FC236}">
                    <a16:creationId xmlns:a16="http://schemas.microsoft.com/office/drawing/2014/main" id="{8090606E-FA01-4895-BA72-93D6E355173B}"/>
                  </a:ext>
                </a:extLst>
              </p:cNvPr>
              <p:cNvSpPr/>
              <p:nvPr/>
            </p:nvSpPr>
            <p:spPr>
              <a:xfrm>
                <a:off x="6158769" y="3109627"/>
                <a:ext cx="495300" cy="400050"/>
              </a:xfrm>
              <a:custGeom>
                <a:avLst/>
                <a:gdLst>
                  <a:gd name="connsiteX0" fmla="*/ 502349 w 495300"/>
                  <a:gd name="connsiteY0" fmla="*/ 84677 h 400050"/>
                  <a:gd name="connsiteX1" fmla="*/ 501587 w 495300"/>
                  <a:gd name="connsiteY1" fmla="*/ 84677 h 400050"/>
                  <a:gd name="connsiteX2" fmla="*/ 500729 w 495300"/>
                  <a:gd name="connsiteY2" fmla="*/ 83820 h 400050"/>
                  <a:gd name="connsiteX3" fmla="*/ 500729 w 495300"/>
                  <a:gd name="connsiteY3" fmla="*/ 83820 h 400050"/>
                  <a:gd name="connsiteX4" fmla="*/ 500729 w 495300"/>
                  <a:gd name="connsiteY4" fmla="*/ 82105 h 400050"/>
                  <a:gd name="connsiteX5" fmla="*/ 501587 w 495300"/>
                  <a:gd name="connsiteY5" fmla="*/ 81248 h 400050"/>
                  <a:gd name="connsiteX6" fmla="*/ 503206 w 495300"/>
                  <a:gd name="connsiteY6" fmla="*/ 80391 h 400050"/>
                  <a:gd name="connsiteX7" fmla="*/ 503206 w 495300"/>
                  <a:gd name="connsiteY7" fmla="*/ 79534 h 400050"/>
                  <a:gd name="connsiteX8" fmla="*/ 503206 w 495300"/>
                  <a:gd name="connsiteY8" fmla="*/ 78676 h 400050"/>
                  <a:gd name="connsiteX9" fmla="*/ 502349 w 495300"/>
                  <a:gd name="connsiteY9" fmla="*/ 77819 h 400050"/>
                  <a:gd name="connsiteX10" fmla="*/ 502349 w 495300"/>
                  <a:gd name="connsiteY10" fmla="*/ 77057 h 400050"/>
                  <a:gd name="connsiteX11" fmla="*/ 501587 w 495300"/>
                  <a:gd name="connsiteY11" fmla="*/ 76200 h 400050"/>
                  <a:gd name="connsiteX12" fmla="*/ 501587 w 495300"/>
                  <a:gd name="connsiteY12" fmla="*/ 75343 h 400050"/>
                  <a:gd name="connsiteX13" fmla="*/ 501587 w 495300"/>
                  <a:gd name="connsiteY13" fmla="*/ 73628 h 400050"/>
                  <a:gd name="connsiteX14" fmla="*/ 500729 w 495300"/>
                  <a:gd name="connsiteY14" fmla="*/ 71914 h 400050"/>
                  <a:gd name="connsiteX15" fmla="*/ 500729 w 495300"/>
                  <a:gd name="connsiteY15" fmla="*/ 71056 h 400050"/>
                  <a:gd name="connsiteX16" fmla="*/ 499872 w 495300"/>
                  <a:gd name="connsiteY16" fmla="*/ 69437 h 400050"/>
                  <a:gd name="connsiteX17" fmla="*/ 499015 w 495300"/>
                  <a:gd name="connsiteY17" fmla="*/ 68580 h 400050"/>
                  <a:gd name="connsiteX18" fmla="*/ 499015 w 495300"/>
                  <a:gd name="connsiteY18" fmla="*/ 68580 h 400050"/>
                  <a:gd name="connsiteX19" fmla="*/ 496443 w 495300"/>
                  <a:gd name="connsiteY19" fmla="*/ 67723 h 400050"/>
                  <a:gd name="connsiteX20" fmla="*/ 495586 w 495300"/>
                  <a:gd name="connsiteY20" fmla="*/ 67723 h 400050"/>
                  <a:gd name="connsiteX21" fmla="*/ 494729 w 495300"/>
                  <a:gd name="connsiteY21" fmla="*/ 66866 h 400050"/>
                  <a:gd name="connsiteX22" fmla="*/ 493967 w 495300"/>
                  <a:gd name="connsiteY22" fmla="*/ 66008 h 400050"/>
                  <a:gd name="connsiteX23" fmla="*/ 493967 w 495300"/>
                  <a:gd name="connsiteY23" fmla="*/ 65151 h 400050"/>
                  <a:gd name="connsiteX24" fmla="*/ 494729 w 495300"/>
                  <a:gd name="connsiteY24" fmla="*/ 64294 h 400050"/>
                  <a:gd name="connsiteX25" fmla="*/ 495586 w 495300"/>
                  <a:gd name="connsiteY25" fmla="*/ 63437 h 400050"/>
                  <a:gd name="connsiteX26" fmla="*/ 496443 w 495300"/>
                  <a:gd name="connsiteY26" fmla="*/ 64294 h 400050"/>
                  <a:gd name="connsiteX27" fmla="*/ 497300 w 495300"/>
                  <a:gd name="connsiteY27" fmla="*/ 64294 h 400050"/>
                  <a:gd name="connsiteX28" fmla="*/ 498158 w 495300"/>
                  <a:gd name="connsiteY28" fmla="*/ 65151 h 400050"/>
                  <a:gd name="connsiteX29" fmla="*/ 499015 w 495300"/>
                  <a:gd name="connsiteY29" fmla="*/ 64294 h 400050"/>
                  <a:gd name="connsiteX30" fmla="*/ 499015 w 495300"/>
                  <a:gd name="connsiteY30" fmla="*/ 63437 h 400050"/>
                  <a:gd name="connsiteX31" fmla="*/ 499015 w 495300"/>
                  <a:gd name="connsiteY31" fmla="*/ 63437 h 400050"/>
                  <a:gd name="connsiteX32" fmla="*/ 499872 w 495300"/>
                  <a:gd name="connsiteY32" fmla="*/ 57531 h 400050"/>
                  <a:gd name="connsiteX33" fmla="*/ 499872 w 495300"/>
                  <a:gd name="connsiteY33" fmla="*/ 55912 h 400050"/>
                  <a:gd name="connsiteX34" fmla="*/ 501587 w 495300"/>
                  <a:gd name="connsiteY34" fmla="*/ 53340 h 400050"/>
                  <a:gd name="connsiteX35" fmla="*/ 501587 w 495300"/>
                  <a:gd name="connsiteY35" fmla="*/ 52483 h 400050"/>
                  <a:gd name="connsiteX36" fmla="*/ 501587 w 495300"/>
                  <a:gd name="connsiteY36" fmla="*/ 49054 h 400050"/>
                  <a:gd name="connsiteX37" fmla="*/ 501587 w 495300"/>
                  <a:gd name="connsiteY37" fmla="*/ 46577 h 400050"/>
                  <a:gd name="connsiteX38" fmla="*/ 499015 w 495300"/>
                  <a:gd name="connsiteY38" fmla="*/ 38100 h 400050"/>
                  <a:gd name="connsiteX39" fmla="*/ 498158 w 495300"/>
                  <a:gd name="connsiteY39" fmla="*/ 35528 h 400050"/>
                  <a:gd name="connsiteX40" fmla="*/ 497300 w 495300"/>
                  <a:gd name="connsiteY40" fmla="*/ 33909 h 400050"/>
                  <a:gd name="connsiteX41" fmla="*/ 496443 w 495300"/>
                  <a:gd name="connsiteY41" fmla="*/ 33909 h 400050"/>
                  <a:gd name="connsiteX42" fmla="*/ 492252 w 495300"/>
                  <a:gd name="connsiteY42" fmla="*/ 28766 h 400050"/>
                  <a:gd name="connsiteX43" fmla="*/ 492252 w 495300"/>
                  <a:gd name="connsiteY43" fmla="*/ 28766 h 400050"/>
                  <a:gd name="connsiteX44" fmla="*/ 491395 w 495300"/>
                  <a:gd name="connsiteY44" fmla="*/ 28766 h 400050"/>
                  <a:gd name="connsiteX45" fmla="*/ 490538 w 495300"/>
                  <a:gd name="connsiteY45" fmla="*/ 27908 h 400050"/>
                  <a:gd name="connsiteX46" fmla="*/ 490538 w 495300"/>
                  <a:gd name="connsiteY46" fmla="*/ 27146 h 400050"/>
                  <a:gd name="connsiteX47" fmla="*/ 490538 w 495300"/>
                  <a:gd name="connsiteY47" fmla="*/ 26289 h 400050"/>
                  <a:gd name="connsiteX48" fmla="*/ 490538 w 495300"/>
                  <a:gd name="connsiteY48" fmla="*/ 24575 h 400050"/>
                  <a:gd name="connsiteX49" fmla="*/ 490538 w 495300"/>
                  <a:gd name="connsiteY49" fmla="*/ 23717 h 400050"/>
                  <a:gd name="connsiteX50" fmla="*/ 489680 w 495300"/>
                  <a:gd name="connsiteY50" fmla="*/ 21146 h 400050"/>
                  <a:gd name="connsiteX51" fmla="*/ 489680 w 495300"/>
                  <a:gd name="connsiteY51" fmla="*/ 19526 h 400050"/>
                  <a:gd name="connsiteX52" fmla="*/ 489680 w 495300"/>
                  <a:gd name="connsiteY52" fmla="*/ 18669 h 400050"/>
                  <a:gd name="connsiteX53" fmla="*/ 489680 w 495300"/>
                  <a:gd name="connsiteY53" fmla="*/ 16954 h 400050"/>
                  <a:gd name="connsiteX54" fmla="*/ 490538 w 495300"/>
                  <a:gd name="connsiteY54" fmla="*/ 16097 h 400050"/>
                  <a:gd name="connsiteX55" fmla="*/ 491395 w 495300"/>
                  <a:gd name="connsiteY55" fmla="*/ 14383 h 400050"/>
                  <a:gd name="connsiteX56" fmla="*/ 491395 w 495300"/>
                  <a:gd name="connsiteY56" fmla="*/ 12668 h 400050"/>
                  <a:gd name="connsiteX57" fmla="*/ 490538 w 495300"/>
                  <a:gd name="connsiteY57" fmla="*/ 11906 h 400050"/>
                  <a:gd name="connsiteX58" fmla="*/ 489680 w 495300"/>
                  <a:gd name="connsiteY58" fmla="*/ 10192 h 400050"/>
                  <a:gd name="connsiteX59" fmla="*/ 488823 w 495300"/>
                  <a:gd name="connsiteY59" fmla="*/ 9334 h 400050"/>
                  <a:gd name="connsiteX60" fmla="*/ 487109 w 495300"/>
                  <a:gd name="connsiteY60" fmla="*/ 9334 h 400050"/>
                  <a:gd name="connsiteX61" fmla="*/ 484632 w 495300"/>
                  <a:gd name="connsiteY61" fmla="*/ 8477 h 400050"/>
                  <a:gd name="connsiteX62" fmla="*/ 479488 w 495300"/>
                  <a:gd name="connsiteY62" fmla="*/ 9334 h 400050"/>
                  <a:gd name="connsiteX63" fmla="*/ 477012 w 495300"/>
                  <a:gd name="connsiteY63" fmla="*/ 8477 h 400050"/>
                  <a:gd name="connsiteX64" fmla="*/ 471011 w 495300"/>
                  <a:gd name="connsiteY64" fmla="*/ 6763 h 400050"/>
                  <a:gd name="connsiteX65" fmla="*/ 469392 w 495300"/>
                  <a:gd name="connsiteY65" fmla="*/ 5905 h 400050"/>
                  <a:gd name="connsiteX66" fmla="*/ 468535 w 495300"/>
                  <a:gd name="connsiteY66" fmla="*/ 4286 h 400050"/>
                  <a:gd name="connsiteX67" fmla="*/ 467678 w 495300"/>
                  <a:gd name="connsiteY67" fmla="*/ 2572 h 400050"/>
                  <a:gd name="connsiteX68" fmla="*/ 465963 w 495300"/>
                  <a:gd name="connsiteY68" fmla="*/ 857 h 400050"/>
                  <a:gd name="connsiteX69" fmla="*/ 465106 w 495300"/>
                  <a:gd name="connsiteY69" fmla="*/ 857 h 400050"/>
                  <a:gd name="connsiteX70" fmla="*/ 464249 w 495300"/>
                  <a:gd name="connsiteY70" fmla="*/ 857 h 400050"/>
                  <a:gd name="connsiteX71" fmla="*/ 463391 w 495300"/>
                  <a:gd name="connsiteY71" fmla="*/ 0 h 400050"/>
                  <a:gd name="connsiteX72" fmla="*/ 462534 w 495300"/>
                  <a:gd name="connsiteY72" fmla="*/ 0 h 400050"/>
                  <a:gd name="connsiteX73" fmla="*/ 460915 w 495300"/>
                  <a:gd name="connsiteY73" fmla="*/ 857 h 400050"/>
                  <a:gd name="connsiteX74" fmla="*/ 456629 w 495300"/>
                  <a:gd name="connsiteY74" fmla="*/ 5143 h 400050"/>
                  <a:gd name="connsiteX75" fmla="*/ 454914 w 495300"/>
                  <a:gd name="connsiteY75" fmla="*/ 6763 h 400050"/>
                  <a:gd name="connsiteX76" fmla="*/ 454914 w 495300"/>
                  <a:gd name="connsiteY76" fmla="*/ 8477 h 400050"/>
                  <a:gd name="connsiteX77" fmla="*/ 454914 w 495300"/>
                  <a:gd name="connsiteY77" fmla="*/ 9334 h 400050"/>
                  <a:gd name="connsiteX78" fmla="*/ 453295 w 495300"/>
                  <a:gd name="connsiteY78" fmla="*/ 10192 h 400050"/>
                  <a:gd name="connsiteX79" fmla="*/ 452438 w 495300"/>
                  <a:gd name="connsiteY79" fmla="*/ 11049 h 400050"/>
                  <a:gd name="connsiteX80" fmla="*/ 451580 w 495300"/>
                  <a:gd name="connsiteY80" fmla="*/ 14383 h 400050"/>
                  <a:gd name="connsiteX81" fmla="*/ 451580 w 495300"/>
                  <a:gd name="connsiteY81" fmla="*/ 16097 h 400050"/>
                  <a:gd name="connsiteX82" fmla="*/ 449866 w 495300"/>
                  <a:gd name="connsiteY82" fmla="*/ 16954 h 400050"/>
                  <a:gd name="connsiteX83" fmla="*/ 448151 w 495300"/>
                  <a:gd name="connsiteY83" fmla="*/ 16954 h 400050"/>
                  <a:gd name="connsiteX84" fmla="*/ 445675 w 495300"/>
                  <a:gd name="connsiteY84" fmla="*/ 16097 h 400050"/>
                  <a:gd name="connsiteX85" fmla="*/ 444817 w 495300"/>
                  <a:gd name="connsiteY85" fmla="*/ 15240 h 400050"/>
                  <a:gd name="connsiteX86" fmla="*/ 443960 w 495300"/>
                  <a:gd name="connsiteY86" fmla="*/ 15240 h 400050"/>
                  <a:gd name="connsiteX87" fmla="*/ 443103 w 495300"/>
                  <a:gd name="connsiteY87" fmla="*/ 16097 h 400050"/>
                  <a:gd name="connsiteX88" fmla="*/ 442246 w 495300"/>
                  <a:gd name="connsiteY88" fmla="*/ 16097 h 400050"/>
                  <a:gd name="connsiteX89" fmla="*/ 441388 w 495300"/>
                  <a:gd name="connsiteY89" fmla="*/ 16097 h 400050"/>
                  <a:gd name="connsiteX90" fmla="*/ 439674 w 495300"/>
                  <a:gd name="connsiteY90" fmla="*/ 16954 h 400050"/>
                  <a:gd name="connsiteX91" fmla="*/ 438055 w 495300"/>
                  <a:gd name="connsiteY91" fmla="*/ 16954 h 400050"/>
                  <a:gd name="connsiteX92" fmla="*/ 436340 w 495300"/>
                  <a:gd name="connsiteY92" fmla="*/ 17812 h 400050"/>
                  <a:gd name="connsiteX93" fmla="*/ 435483 w 495300"/>
                  <a:gd name="connsiteY93" fmla="*/ 21146 h 400050"/>
                  <a:gd name="connsiteX94" fmla="*/ 435483 w 495300"/>
                  <a:gd name="connsiteY94" fmla="*/ 22860 h 400050"/>
                  <a:gd name="connsiteX95" fmla="*/ 433769 w 495300"/>
                  <a:gd name="connsiteY95" fmla="*/ 30480 h 400050"/>
                  <a:gd name="connsiteX96" fmla="*/ 432911 w 495300"/>
                  <a:gd name="connsiteY96" fmla="*/ 31337 h 400050"/>
                  <a:gd name="connsiteX97" fmla="*/ 432911 w 495300"/>
                  <a:gd name="connsiteY97" fmla="*/ 31337 h 400050"/>
                  <a:gd name="connsiteX98" fmla="*/ 430435 w 495300"/>
                  <a:gd name="connsiteY98" fmla="*/ 30480 h 400050"/>
                  <a:gd name="connsiteX99" fmla="*/ 428720 w 495300"/>
                  <a:gd name="connsiteY99" fmla="*/ 30480 h 400050"/>
                  <a:gd name="connsiteX100" fmla="*/ 425291 w 495300"/>
                  <a:gd name="connsiteY100" fmla="*/ 31337 h 400050"/>
                  <a:gd name="connsiteX101" fmla="*/ 423577 w 495300"/>
                  <a:gd name="connsiteY101" fmla="*/ 33052 h 400050"/>
                  <a:gd name="connsiteX102" fmla="*/ 421100 w 495300"/>
                  <a:gd name="connsiteY102" fmla="*/ 35528 h 400050"/>
                  <a:gd name="connsiteX103" fmla="*/ 418529 w 495300"/>
                  <a:gd name="connsiteY103" fmla="*/ 38957 h 400050"/>
                  <a:gd name="connsiteX104" fmla="*/ 417671 w 495300"/>
                  <a:gd name="connsiteY104" fmla="*/ 40672 h 400050"/>
                  <a:gd name="connsiteX105" fmla="*/ 417671 w 495300"/>
                  <a:gd name="connsiteY105" fmla="*/ 43148 h 400050"/>
                  <a:gd name="connsiteX106" fmla="*/ 417671 w 495300"/>
                  <a:gd name="connsiteY106" fmla="*/ 55912 h 400050"/>
                  <a:gd name="connsiteX107" fmla="*/ 417671 w 495300"/>
                  <a:gd name="connsiteY107" fmla="*/ 57531 h 400050"/>
                  <a:gd name="connsiteX108" fmla="*/ 416814 w 495300"/>
                  <a:gd name="connsiteY108" fmla="*/ 58388 h 400050"/>
                  <a:gd name="connsiteX109" fmla="*/ 415957 w 495300"/>
                  <a:gd name="connsiteY109" fmla="*/ 60103 h 400050"/>
                  <a:gd name="connsiteX110" fmla="*/ 414338 w 495300"/>
                  <a:gd name="connsiteY110" fmla="*/ 63437 h 400050"/>
                  <a:gd name="connsiteX111" fmla="*/ 413480 w 495300"/>
                  <a:gd name="connsiteY111" fmla="*/ 64294 h 400050"/>
                  <a:gd name="connsiteX112" fmla="*/ 412623 w 495300"/>
                  <a:gd name="connsiteY112" fmla="*/ 65151 h 400050"/>
                  <a:gd name="connsiteX113" fmla="*/ 411766 w 495300"/>
                  <a:gd name="connsiteY113" fmla="*/ 66008 h 400050"/>
                  <a:gd name="connsiteX114" fmla="*/ 412623 w 495300"/>
                  <a:gd name="connsiteY114" fmla="*/ 66866 h 400050"/>
                  <a:gd name="connsiteX115" fmla="*/ 412623 w 495300"/>
                  <a:gd name="connsiteY115" fmla="*/ 68580 h 400050"/>
                  <a:gd name="connsiteX116" fmla="*/ 413480 w 495300"/>
                  <a:gd name="connsiteY116" fmla="*/ 70295 h 400050"/>
                  <a:gd name="connsiteX117" fmla="*/ 411766 w 495300"/>
                  <a:gd name="connsiteY117" fmla="*/ 75343 h 400050"/>
                  <a:gd name="connsiteX118" fmla="*/ 411766 w 495300"/>
                  <a:gd name="connsiteY118" fmla="*/ 79534 h 400050"/>
                  <a:gd name="connsiteX119" fmla="*/ 410909 w 495300"/>
                  <a:gd name="connsiteY119" fmla="*/ 83820 h 400050"/>
                  <a:gd name="connsiteX120" fmla="*/ 410051 w 495300"/>
                  <a:gd name="connsiteY120" fmla="*/ 85439 h 400050"/>
                  <a:gd name="connsiteX121" fmla="*/ 410051 w 495300"/>
                  <a:gd name="connsiteY121" fmla="*/ 88011 h 400050"/>
                  <a:gd name="connsiteX122" fmla="*/ 409194 w 495300"/>
                  <a:gd name="connsiteY122" fmla="*/ 88868 h 400050"/>
                  <a:gd name="connsiteX123" fmla="*/ 407480 w 495300"/>
                  <a:gd name="connsiteY123" fmla="*/ 89725 h 400050"/>
                  <a:gd name="connsiteX124" fmla="*/ 405860 w 495300"/>
                  <a:gd name="connsiteY124" fmla="*/ 88868 h 400050"/>
                  <a:gd name="connsiteX125" fmla="*/ 399860 w 495300"/>
                  <a:gd name="connsiteY125" fmla="*/ 87154 h 400050"/>
                  <a:gd name="connsiteX126" fmla="*/ 396526 w 495300"/>
                  <a:gd name="connsiteY126" fmla="*/ 85439 h 400050"/>
                  <a:gd name="connsiteX127" fmla="*/ 395669 w 495300"/>
                  <a:gd name="connsiteY127" fmla="*/ 86296 h 400050"/>
                  <a:gd name="connsiteX128" fmla="*/ 394811 w 495300"/>
                  <a:gd name="connsiteY128" fmla="*/ 88011 h 400050"/>
                  <a:gd name="connsiteX129" fmla="*/ 393097 w 495300"/>
                  <a:gd name="connsiteY129" fmla="*/ 90583 h 400050"/>
                  <a:gd name="connsiteX130" fmla="*/ 392240 w 495300"/>
                  <a:gd name="connsiteY130" fmla="*/ 91440 h 400050"/>
                  <a:gd name="connsiteX131" fmla="*/ 392240 w 495300"/>
                  <a:gd name="connsiteY131" fmla="*/ 92202 h 400050"/>
                  <a:gd name="connsiteX132" fmla="*/ 392240 w 495300"/>
                  <a:gd name="connsiteY132" fmla="*/ 94774 h 400050"/>
                  <a:gd name="connsiteX133" fmla="*/ 392240 w 495300"/>
                  <a:gd name="connsiteY133" fmla="*/ 95631 h 400050"/>
                  <a:gd name="connsiteX134" fmla="*/ 383762 w 495300"/>
                  <a:gd name="connsiteY134" fmla="*/ 93059 h 400050"/>
                  <a:gd name="connsiteX135" fmla="*/ 380429 w 495300"/>
                  <a:gd name="connsiteY135" fmla="*/ 90583 h 400050"/>
                  <a:gd name="connsiteX136" fmla="*/ 378714 w 495300"/>
                  <a:gd name="connsiteY136" fmla="*/ 89725 h 400050"/>
                  <a:gd name="connsiteX137" fmla="*/ 377857 w 495300"/>
                  <a:gd name="connsiteY137" fmla="*/ 88868 h 400050"/>
                  <a:gd name="connsiteX138" fmla="*/ 376142 w 495300"/>
                  <a:gd name="connsiteY138" fmla="*/ 88868 h 400050"/>
                  <a:gd name="connsiteX139" fmla="*/ 375285 w 495300"/>
                  <a:gd name="connsiteY139" fmla="*/ 89725 h 400050"/>
                  <a:gd name="connsiteX140" fmla="*/ 374428 w 495300"/>
                  <a:gd name="connsiteY140" fmla="*/ 92202 h 400050"/>
                  <a:gd name="connsiteX141" fmla="*/ 371951 w 495300"/>
                  <a:gd name="connsiteY141" fmla="*/ 93917 h 400050"/>
                  <a:gd name="connsiteX142" fmla="*/ 370237 w 495300"/>
                  <a:gd name="connsiteY142" fmla="*/ 93917 h 400050"/>
                  <a:gd name="connsiteX143" fmla="*/ 367665 w 495300"/>
                  <a:gd name="connsiteY143" fmla="*/ 93917 h 400050"/>
                  <a:gd name="connsiteX144" fmla="*/ 366046 w 495300"/>
                  <a:gd name="connsiteY144" fmla="*/ 93917 h 400050"/>
                  <a:gd name="connsiteX145" fmla="*/ 363474 w 495300"/>
                  <a:gd name="connsiteY145" fmla="*/ 93059 h 400050"/>
                  <a:gd name="connsiteX146" fmla="*/ 360902 w 495300"/>
                  <a:gd name="connsiteY146" fmla="*/ 92202 h 400050"/>
                  <a:gd name="connsiteX147" fmla="*/ 359188 w 495300"/>
                  <a:gd name="connsiteY147" fmla="*/ 92202 h 400050"/>
                  <a:gd name="connsiteX148" fmla="*/ 353282 w 495300"/>
                  <a:gd name="connsiteY148" fmla="*/ 97346 h 400050"/>
                  <a:gd name="connsiteX149" fmla="*/ 349949 w 495300"/>
                  <a:gd name="connsiteY149" fmla="*/ 100679 h 400050"/>
                  <a:gd name="connsiteX150" fmla="*/ 349091 w 495300"/>
                  <a:gd name="connsiteY150" fmla="*/ 101537 h 400050"/>
                  <a:gd name="connsiteX151" fmla="*/ 347377 w 495300"/>
                  <a:gd name="connsiteY151" fmla="*/ 105823 h 400050"/>
                  <a:gd name="connsiteX152" fmla="*/ 348234 w 495300"/>
                  <a:gd name="connsiteY152" fmla="*/ 110014 h 400050"/>
                  <a:gd name="connsiteX153" fmla="*/ 346520 w 495300"/>
                  <a:gd name="connsiteY153" fmla="*/ 110871 h 400050"/>
                  <a:gd name="connsiteX154" fmla="*/ 345662 w 495300"/>
                  <a:gd name="connsiteY154" fmla="*/ 111728 h 400050"/>
                  <a:gd name="connsiteX155" fmla="*/ 345662 w 495300"/>
                  <a:gd name="connsiteY155" fmla="*/ 112585 h 400050"/>
                  <a:gd name="connsiteX156" fmla="*/ 344805 w 495300"/>
                  <a:gd name="connsiteY156" fmla="*/ 113443 h 400050"/>
                  <a:gd name="connsiteX157" fmla="*/ 345662 w 495300"/>
                  <a:gd name="connsiteY157" fmla="*/ 115062 h 400050"/>
                  <a:gd name="connsiteX158" fmla="*/ 344805 w 495300"/>
                  <a:gd name="connsiteY158" fmla="*/ 115919 h 400050"/>
                  <a:gd name="connsiteX159" fmla="*/ 344805 w 495300"/>
                  <a:gd name="connsiteY159" fmla="*/ 117634 h 400050"/>
                  <a:gd name="connsiteX160" fmla="*/ 343948 w 495300"/>
                  <a:gd name="connsiteY160" fmla="*/ 118491 h 400050"/>
                  <a:gd name="connsiteX161" fmla="*/ 342329 w 495300"/>
                  <a:gd name="connsiteY161" fmla="*/ 118491 h 400050"/>
                  <a:gd name="connsiteX162" fmla="*/ 339757 w 495300"/>
                  <a:gd name="connsiteY162" fmla="*/ 117634 h 400050"/>
                  <a:gd name="connsiteX163" fmla="*/ 332994 w 495300"/>
                  <a:gd name="connsiteY163" fmla="*/ 112585 h 400050"/>
                  <a:gd name="connsiteX164" fmla="*/ 324517 w 495300"/>
                  <a:gd name="connsiteY164" fmla="*/ 107442 h 400050"/>
                  <a:gd name="connsiteX165" fmla="*/ 323660 w 495300"/>
                  <a:gd name="connsiteY165" fmla="*/ 105823 h 400050"/>
                  <a:gd name="connsiteX166" fmla="*/ 324517 w 495300"/>
                  <a:gd name="connsiteY166" fmla="*/ 104966 h 400050"/>
                  <a:gd name="connsiteX167" fmla="*/ 326993 w 495300"/>
                  <a:gd name="connsiteY167" fmla="*/ 101537 h 400050"/>
                  <a:gd name="connsiteX168" fmla="*/ 327850 w 495300"/>
                  <a:gd name="connsiteY168" fmla="*/ 100679 h 400050"/>
                  <a:gd name="connsiteX169" fmla="*/ 327850 w 495300"/>
                  <a:gd name="connsiteY169" fmla="*/ 99822 h 400050"/>
                  <a:gd name="connsiteX170" fmla="*/ 326993 w 495300"/>
                  <a:gd name="connsiteY170" fmla="*/ 95631 h 400050"/>
                  <a:gd name="connsiteX171" fmla="*/ 326993 w 495300"/>
                  <a:gd name="connsiteY171" fmla="*/ 93917 h 400050"/>
                  <a:gd name="connsiteX172" fmla="*/ 326231 w 495300"/>
                  <a:gd name="connsiteY172" fmla="*/ 93059 h 400050"/>
                  <a:gd name="connsiteX173" fmla="*/ 322802 w 495300"/>
                  <a:gd name="connsiteY173" fmla="*/ 93059 h 400050"/>
                  <a:gd name="connsiteX174" fmla="*/ 318516 w 495300"/>
                  <a:gd name="connsiteY174" fmla="*/ 91440 h 400050"/>
                  <a:gd name="connsiteX175" fmla="*/ 317754 w 495300"/>
                  <a:gd name="connsiteY175" fmla="*/ 91440 h 400050"/>
                  <a:gd name="connsiteX176" fmla="*/ 315182 w 495300"/>
                  <a:gd name="connsiteY176" fmla="*/ 93059 h 400050"/>
                  <a:gd name="connsiteX177" fmla="*/ 313468 w 495300"/>
                  <a:gd name="connsiteY177" fmla="*/ 93059 h 400050"/>
                  <a:gd name="connsiteX178" fmla="*/ 310896 w 495300"/>
                  <a:gd name="connsiteY178" fmla="*/ 93059 h 400050"/>
                  <a:gd name="connsiteX179" fmla="*/ 309277 w 495300"/>
                  <a:gd name="connsiteY179" fmla="*/ 91440 h 400050"/>
                  <a:gd name="connsiteX180" fmla="*/ 308420 w 495300"/>
                  <a:gd name="connsiteY180" fmla="*/ 89725 h 400050"/>
                  <a:gd name="connsiteX181" fmla="*/ 307562 w 495300"/>
                  <a:gd name="connsiteY181" fmla="*/ 88011 h 400050"/>
                  <a:gd name="connsiteX182" fmla="*/ 305848 w 495300"/>
                  <a:gd name="connsiteY182" fmla="*/ 78676 h 400050"/>
                  <a:gd name="connsiteX183" fmla="*/ 304991 w 495300"/>
                  <a:gd name="connsiteY183" fmla="*/ 76200 h 400050"/>
                  <a:gd name="connsiteX184" fmla="*/ 303276 w 495300"/>
                  <a:gd name="connsiteY184" fmla="*/ 75343 h 400050"/>
                  <a:gd name="connsiteX185" fmla="*/ 301657 w 495300"/>
                  <a:gd name="connsiteY185" fmla="*/ 74485 h 400050"/>
                  <a:gd name="connsiteX186" fmla="*/ 299942 w 495300"/>
                  <a:gd name="connsiteY186" fmla="*/ 74485 h 400050"/>
                  <a:gd name="connsiteX187" fmla="*/ 298228 w 495300"/>
                  <a:gd name="connsiteY187" fmla="*/ 74485 h 400050"/>
                  <a:gd name="connsiteX188" fmla="*/ 297371 w 495300"/>
                  <a:gd name="connsiteY188" fmla="*/ 73628 h 400050"/>
                  <a:gd name="connsiteX189" fmla="*/ 298228 w 495300"/>
                  <a:gd name="connsiteY189" fmla="*/ 72771 h 400050"/>
                  <a:gd name="connsiteX190" fmla="*/ 299085 w 495300"/>
                  <a:gd name="connsiteY190" fmla="*/ 71914 h 400050"/>
                  <a:gd name="connsiteX191" fmla="*/ 299085 w 495300"/>
                  <a:gd name="connsiteY191" fmla="*/ 71056 h 400050"/>
                  <a:gd name="connsiteX192" fmla="*/ 298228 w 495300"/>
                  <a:gd name="connsiteY192" fmla="*/ 69437 h 400050"/>
                  <a:gd name="connsiteX193" fmla="*/ 296513 w 495300"/>
                  <a:gd name="connsiteY193" fmla="*/ 70295 h 400050"/>
                  <a:gd name="connsiteX194" fmla="*/ 294037 w 495300"/>
                  <a:gd name="connsiteY194" fmla="*/ 71914 h 400050"/>
                  <a:gd name="connsiteX195" fmla="*/ 289750 w 495300"/>
                  <a:gd name="connsiteY195" fmla="*/ 75343 h 400050"/>
                  <a:gd name="connsiteX196" fmla="*/ 284702 w 495300"/>
                  <a:gd name="connsiteY196" fmla="*/ 75343 h 400050"/>
                  <a:gd name="connsiteX197" fmla="*/ 279559 w 495300"/>
                  <a:gd name="connsiteY197" fmla="*/ 69437 h 400050"/>
                  <a:gd name="connsiteX198" fmla="*/ 277940 w 495300"/>
                  <a:gd name="connsiteY198" fmla="*/ 67723 h 400050"/>
                  <a:gd name="connsiteX199" fmla="*/ 275368 w 495300"/>
                  <a:gd name="connsiteY199" fmla="*/ 66866 h 400050"/>
                  <a:gd name="connsiteX200" fmla="*/ 266033 w 495300"/>
                  <a:gd name="connsiteY200" fmla="*/ 66866 h 400050"/>
                  <a:gd name="connsiteX201" fmla="*/ 264319 w 495300"/>
                  <a:gd name="connsiteY201" fmla="*/ 66866 h 400050"/>
                  <a:gd name="connsiteX202" fmla="*/ 262604 w 495300"/>
                  <a:gd name="connsiteY202" fmla="*/ 69437 h 400050"/>
                  <a:gd name="connsiteX203" fmla="*/ 261842 w 495300"/>
                  <a:gd name="connsiteY203" fmla="*/ 71056 h 400050"/>
                  <a:gd name="connsiteX204" fmla="*/ 260985 w 495300"/>
                  <a:gd name="connsiteY204" fmla="*/ 72771 h 400050"/>
                  <a:gd name="connsiteX205" fmla="*/ 260985 w 495300"/>
                  <a:gd name="connsiteY205" fmla="*/ 73628 h 400050"/>
                  <a:gd name="connsiteX206" fmla="*/ 260128 w 495300"/>
                  <a:gd name="connsiteY206" fmla="*/ 77819 h 400050"/>
                  <a:gd name="connsiteX207" fmla="*/ 260128 w 495300"/>
                  <a:gd name="connsiteY207" fmla="*/ 78676 h 400050"/>
                  <a:gd name="connsiteX208" fmla="*/ 259271 w 495300"/>
                  <a:gd name="connsiteY208" fmla="*/ 80391 h 400050"/>
                  <a:gd name="connsiteX209" fmla="*/ 255842 w 495300"/>
                  <a:gd name="connsiteY209" fmla="*/ 81248 h 400050"/>
                  <a:gd name="connsiteX210" fmla="*/ 254984 w 495300"/>
                  <a:gd name="connsiteY210" fmla="*/ 82105 h 400050"/>
                  <a:gd name="connsiteX211" fmla="*/ 254984 w 495300"/>
                  <a:gd name="connsiteY211" fmla="*/ 82105 h 400050"/>
                  <a:gd name="connsiteX212" fmla="*/ 255842 w 495300"/>
                  <a:gd name="connsiteY212" fmla="*/ 82963 h 400050"/>
                  <a:gd name="connsiteX213" fmla="*/ 256699 w 495300"/>
                  <a:gd name="connsiteY213" fmla="*/ 84677 h 400050"/>
                  <a:gd name="connsiteX214" fmla="*/ 256699 w 495300"/>
                  <a:gd name="connsiteY214" fmla="*/ 85439 h 400050"/>
                  <a:gd name="connsiteX215" fmla="*/ 256699 w 495300"/>
                  <a:gd name="connsiteY215" fmla="*/ 87154 h 400050"/>
                  <a:gd name="connsiteX216" fmla="*/ 256699 w 495300"/>
                  <a:gd name="connsiteY216" fmla="*/ 91440 h 400050"/>
                  <a:gd name="connsiteX217" fmla="*/ 256699 w 495300"/>
                  <a:gd name="connsiteY217" fmla="*/ 92202 h 400050"/>
                  <a:gd name="connsiteX218" fmla="*/ 254984 w 495300"/>
                  <a:gd name="connsiteY218" fmla="*/ 93059 h 400050"/>
                  <a:gd name="connsiteX219" fmla="*/ 252508 w 495300"/>
                  <a:gd name="connsiteY219" fmla="*/ 93059 h 400050"/>
                  <a:gd name="connsiteX220" fmla="*/ 249936 w 495300"/>
                  <a:gd name="connsiteY220" fmla="*/ 93059 h 400050"/>
                  <a:gd name="connsiteX221" fmla="*/ 248221 w 495300"/>
                  <a:gd name="connsiteY221" fmla="*/ 92202 h 400050"/>
                  <a:gd name="connsiteX222" fmla="*/ 247364 w 495300"/>
                  <a:gd name="connsiteY222" fmla="*/ 92202 h 400050"/>
                  <a:gd name="connsiteX223" fmla="*/ 247364 w 495300"/>
                  <a:gd name="connsiteY223" fmla="*/ 93917 h 400050"/>
                  <a:gd name="connsiteX224" fmla="*/ 246602 w 495300"/>
                  <a:gd name="connsiteY224" fmla="*/ 94774 h 400050"/>
                  <a:gd name="connsiteX225" fmla="*/ 245745 w 495300"/>
                  <a:gd name="connsiteY225" fmla="*/ 95631 h 400050"/>
                  <a:gd name="connsiteX226" fmla="*/ 244888 w 495300"/>
                  <a:gd name="connsiteY226" fmla="*/ 96488 h 400050"/>
                  <a:gd name="connsiteX227" fmla="*/ 241459 w 495300"/>
                  <a:gd name="connsiteY227" fmla="*/ 99060 h 400050"/>
                  <a:gd name="connsiteX228" fmla="*/ 240602 w 495300"/>
                  <a:gd name="connsiteY228" fmla="*/ 99822 h 400050"/>
                  <a:gd name="connsiteX229" fmla="*/ 239744 w 495300"/>
                  <a:gd name="connsiteY229" fmla="*/ 99060 h 400050"/>
                  <a:gd name="connsiteX230" fmla="*/ 238125 w 495300"/>
                  <a:gd name="connsiteY230" fmla="*/ 99060 h 400050"/>
                  <a:gd name="connsiteX231" fmla="*/ 237268 w 495300"/>
                  <a:gd name="connsiteY231" fmla="*/ 98203 h 400050"/>
                  <a:gd name="connsiteX232" fmla="*/ 234696 w 495300"/>
                  <a:gd name="connsiteY232" fmla="*/ 99060 h 400050"/>
                  <a:gd name="connsiteX233" fmla="*/ 232124 w 495300"/>
                  <a:gd name="connsiteY233" fmla="*/ 99060 h 400050"/>
                  <a:gd name="connsiteX234" fmla="*/ 227076 w 495300"/>
                  <a:gd name="connsiteY234" fmla="*/ 98203 h 400050"/>
                  <a:gd name="connsiteX235" fmla="*/ 225362 w 495300"/>
                  <a:gd name="connsiteY235" fmla="*/ 99822 h 400050"/>
                  <a:gd name="connsiteX236" fmla="*/ 216027 w 495300"/>
                  <a:gd name="connsiteY236" fmla="*/ 100679 h 400050"/>
                  <a:gd name="connsiteX237" fmla="*/ 214408 w 495300"/>
                  <a:gd name="connsiteY237" fmla="*/ 100679 h 400050"/>
                  <a:gd name="connsiteX238" fmla="*/ 214408 w 495300"/>
                  <a:gd name="connsiteY238" fmla="*/ 101537 h 400050"/>
                  <a:gd name="connsiteX239" fmla="*/ 214408 w 495300"/>
                  <a:gd name="connsiteY239" fmla="*/ 102394 h 400050"/>
                  <a:gd name="connsiteX240" fmla="*/ 213550 w 495300"/>
                  <a:gd name="connsiteY240" fmla="*/ 103251 h 400050"/>
                  <a:gd name="connsiteX241" fmla="*/ 212693 w 495300"/>
                  <a:gd name="connsiteY241" fmla="*/ 104108 h 400050"/>
                  <a:gd name="connsiteX242" fmla="*/ 202502 w 495300"/>
                  <a:gd name="connsiteY242" fmla="*/ 108299 h 400050"/>
                  <a:gd name="connsiteX243" fmla="*/ 201644 w 495300"/>
                  <a:gd name="connsiteY243" fmla="*/ 109156 h 400050"/>
                  <a:gd name="connsiteX244" fmla="*/ 200787 w 495300"/>
                  <a:gd name="connsiteY244" fmla="*/ 110014 h 400050"/>
                  <a:gd name="connsiteX245" fmla="*/ 201644 w 495300"/>
                  <a:gd name="connsiteY245" fmla="*/ 110871 h 400050"/>
                  <a:gd name="connsiteX246" fmla="*/ 200787 w 495300"/>
                  <a:gd name="connsiteY246" fmla="*/ 112585 h 400050"/>
                  <a:gd name="connsiteX247" fmla="*/ 199930 w 495300"/>
                  <a:gd name="connsiteY247" fmla="*/ 113443 h 400050"/>
                  <a:gd name="connsiteX248" fmla="*/ 198311 w 495300"/>
                  <a:gd name="connsiteY248" fmla="*/ 114205 h 400050"/>
                  <a:gd name="connsiteX249" fmla="*/ 194882 w 495300"/>
                  <a:gd name="connsiteY249" fmla="*/ 118491 h 400050"/>
                  <a:gd name="connsiteX250" fmla="*/ 194024 w 495300"/>
                  <a:gd name="connsiteY250" fmla="*/ 118491 h 400050"/>
                  <a:gd name="connsiteX251" fmla="*/ 193167 w 495300"/>
                  <a:gd name="connsiteY251" fmla="*/ 117634 h 400050"/>
                  <a:gd name="connsiteX252" fmla="*/ 193167 w 495300"/>
                  <a:gd name="connsiteY252" fmla="*/ 116776 h 400050"/>
                  <a:gd name="connsiteX253" fmla="*/ 193167 w 495300"/>
                  <a:gd name="connsiteY253" fmla="*/ 113443 h 400050"/>
                  <a:gd name="connsiteX254" fmla="*/ 193167 w 495300"/>
                  <a:gd name="connsiteY254" fmla="*/ 112585 h 400050"/>
                  <a:gd name="connsiteX255" fmla="*/ 192310 w 495300"/>
                  <a:gd name="connsiteY255" fmla="*/ 112585 h 400050"/>
                  <a:gd name="connsiteX256" fmla="*/ 185547 w 495300"/>
                  <a:gd name="connsiteY256" fmla="*/ 115062 h 400050"/>
                  <a:gd name="connsiteX257" fmla="*/ 183833 w 495300"/>
                  <a:gd name="connsiteY257" fmla="*/ 115919 h 400050"/>
                  <a:gd name="connsiteX258" fmla="*/ 181356 w 495300"/>
                  <a:gd name="connsiteY258" fmla="*/ 117634 h 400050"/>
                  <a:gd name="connsiteX259" fmla="*/ 179642 w 495300"/>
                  <a:gd name="connsiteY259" fmla="*/ 117634 h 400050"/>
                  <a:gd name="connsiteX260" fmla="*/ 173736 w 495300"/>
                  <a:gd name="connsiteY260" fmla="*/ 116776 h 400050"/>
                  <a:gd name="connsiteX261" fmla="*/ 172021 w 495300"/>
                  <a:gd name="connsiteY261" fmla="*/ 115919 h 400050"/>
                  <a:gd name="connsiteX262" fmla="*/ 171164 w 495300"/>
                  <a:gd name="connsiteY262" fmla="*/ 115062 h 400050"/>
                  <a:gd name="connsiteX263" fmla="*/ 170307 w 495300"/>
                  <a:gd name="connsiteY263" fmla="*/ 108299 h 400050"/>
                  <a:gd name="connsiteX264" fmla="*/ 170307 w 495300"/>
                  <a:gd name="connsiteY264" fmla="*/ 107442 h 400050"/>
                  <a:gd name="connsiteX265" fmla="*/ 169450 w 495300"/>
                  <a:gd name="connsiteY265" fmla="*/ 106585 h 400050"/>
                  <a:gd name="connsiteX266" fmla="*/ 168592 w 495300"/>
                  <a:gd name="connsiteY266" fmla="*/ 107442 h 400050"/>
                  <a:gd name="connsiteX267" fmla="*/ 166878 w 495300"/>
                  <a:gd name="connsiteY267" fmla="*/ 107442 h 400050"/>
                  <a:gd name="connsiteX268" fmla="*/ 165259 w 495300"/>
                  <a:gd name="connsiteY268" fmla="*/ 106585 h 400050"/>
                  <a:gd name="connsiteX269" fmla="*/ 164402 w 495300"/>
                  <a:gd name="connsiteY269" fmla="*/ 101537 h 400050"/>
                  <a:gd name="connsiteX270" fmla="*/ 163544 w 495300"/>
                  <a:gd name="connsiteY270" fmla="*/ 99822 h 400050"/>
                  <a:gd name="connsiteX271" fmla="*/ 160973 w 495300"/>
                  <a:gd name="connsiteY271" fmla="*/ 99822 h 400050"/>
                  <a:gd name="connsiteX272" fmla="*/ 160115 w 495300"/>
                  <a:gd name="connsiteY272" fmla="*/ 100679 h 400050"/>
                  <a:gd name="connsiteX273" fmla="*/ 159258 w 495300"/>
                  <a:gd name="connsiteY273" fmla="*/ 101537 h 400050"/>
                  <a:gd name="connsiteX274" fmla="*/ 157639 w 495300"/>
                  <a:gd name="connsiteY274" fmla="*/ 102394 h 400050"/>
                  <a:gd name="connsiteX275" fmla="*/ 155924 w 495300"/>
                  <a:gd name="connsiteY275" fmla="*/ 104108 h 400050"/>
                  <a:gd name="connsiteX276" fmla="*/ 150781 w 495300"/>
                  <a:gd name="connsiteY276" fmla="*/ 106585 h 400050"/>
                  <a:gd name="connsiteX277" fmla="*/ 149162 w 495300"/>
                  <a:gd name="connsiteY277" fmla="*/ 108299 h 400050"/>
                  <a:gd name="connsiteX278" fmla="*/ 148304 w 495300"/>
                  <a:gd name="connsiteY278" fmla="*/ 110014 h 400050"/>
                  <a:gd name="connsiteX279" fmla="*/ 146590 w 495300"/>
                  <a:gd name="connsiteY279" fmla="*/ 113443 h 400050"/>
                  <a:gd name="connsiteX280" fmla="*/ 145733 w 495300"/>
                  <a:gd name="connsiteY280" fmla="*/ 114205 h 400050"/>
                  <a:gd name="connsiteX281" fmla="*/ 144875 w 495300"/>
                  <a:gd name="connsiteY281" fmla="*/ 114205 h 400050"/>
                  <a:gd name="connsiteX282" fmla="*/ 142399 w 495300"/>
                  <a:gd name="connsiteY282" fmla="*/ 114205 h 400050"/>
                  <a:gd name="connsiteX283" fmla="*/ 140684 w 495300"/>
                  <a:gd name="connsiteY283" fmla="*/ 114205 h 400050"/>
                  <a:gd name="connsiteX284" fmla="*/ 139827 w 495300"/>
                  <a:gd name="connsiteY284" fmla="*/ 113443 h 400050"/>
                  <a:gd name="connsiteX285" fmla="*/ 138970 w 495300"/>
                  <a:gd name="connsiteY285" fmla="*/ 112585 h 400050"/>
                  <a:gd name="connsiteX286" fmla="*/ 138113 w 495300"/>
                  <a:gd name="connsiteY286" fmla="*/ 112585 h 400050"/>
                  <a:gd name="connsiteX287" fmla="*/ 138113 w 495300"/>
                  <a:gd name="connsiteY287" fmla="*/ 112585 h 400050"/>
                  <a:gd name="connsiteX288" fmla="*/ 137255 w 495300"/>
                  <a:gd name="connsiteY288" fmla="*/ 113443 h 400050"/>
                  <a:gd name="connsiteX289" fmla="*/ 136398 w 495300"/>
                  <a:gd name="connsiteY289" fmla="*/ 115062 h 400050"/>
                  <a:gd name="connsiteX290" fmla="*/ 133921 w 495300"/>
                  <a:gd name="connsiteY290" fmla="*/ 117634 h 400050"/>
                  <a:gd name="connsiteX291" fmla="*/ 133921 w 495300"/>
                  <a:gd name="connsiteY291" fmla="*/ 118491 h 400050"/>
                  <a:gd name="connsiteX292" fmla="*/ 133064 w 495300"/>
                  <a:gd name="connsiteY292" fmla="*/ 119348 h 400050"/>
                  <a:gd name="connsiteX293" fmla="*/ 133064 w 495300"/>
                  <a:gd name="connsiteY293" fmla="*/ 120205 h 400050"/>
                  <a:gd name="connsiteX294" fmla="*/ 130492 w 495300"/>
                  <a:gd name="connsiteY294" fmla="*/ 122682 h 400050"/>
                  <a:gd name="connsiteX295" fmla="*/ 129635 w 495300"/>
                  <a:gd name="connsiteY295" fmla="*/ 123539 h 400050"/>
                  <a:gd name="connsiteX296" fmla="*/ 127921 w 495300"/>
                  <a:gd name="connsiteY296" fmla="*/ 123539 h 400050"/>
                  <a:gd name="connsiteX297" fmla="*/ 127063 w 495300"/>
                  <a:gd name="connsiteY297" fmla="*/ 123539 h 400050"/>
                  <a:gd name="connsiteX298" fmla="*/ 125444 w 495300"/>
                  <a:gd name="connsiteY298" fmla="*/ 122682 h 400050"/>
                  <a:gd name="connsiteX299" fmla="*/ 123730 w 495300"/>
                  <a:gd name="connsiteY299" fmla="*/ 120967 h 400050"/>
                  <a:gd name="connsiteX300" fmla="*/ 122873 w 495300"/>
                  <a:gd name="connsiteY300" fmla="*/ 120205 h 400050"/>
                  <a:gd name="connsiteX301" fmla="*/ 122015 w 495300"/>
                  <a:gd name="connsiteY301" fmla="*/ 119348 h 400050"/>
                  <a:gd name="connsiteX302" fmla="*/ 121158 w 495300"/>
                  <a:gd name="connsiteY302" fmla="*/ 117634 h 400050"/>
                  <a:gd name="connsiteX303" fmla="*/ 118682 w 495300"/>
                  <a:gd name="connsiteY303" fmla="*/ 115919 h 400050"/>
                  <a:gd name="connsiteX304" fmla="*/ 115253 w 495300"/>
                  <a:gd name="connsiteY304" fmla="*/ 114205 h 400050"/>
                  <a:gd name="connsiteX305" fmla="*/ 113538 w 495300"/>
                  <a:gd name="connsiteY305" fmla="*/ 113443 h 400050"/>
                  <a:gd name="connsiteX306" fmla="*/ 112681 w 495300"/>
                  <a:gd name="connsiteY306" fmla="*/ 111728 h 400050"/>
                  <a:gd name="connsiteX307" fmla="*/ 110966 w 495300"/>
                  <a:gd name="connsiteY307" fmla="*/ 109156 h 400050"/>
                  <a:gd name="connsiteX308" fmla="*/ 107633 w 495300"/>
                  <a:gd name="connsiteY308" fmla="*/ 106585 h 400050"/>
                  <a:gd name="connsiteX309" fmla="*/ 107633 w 495300"/>
                  <a:gd name="connsiteY309" fmla="*/ 105823 h 400050"/>
                  <a:gd name="connsiteX310" fmla="*/ 108490 w 495300"/>
                  <a:gd name="connsiteY310" fmla="*/ 104108 h 400050"/>
                  <a:gd name="connsiteX311" fmla="*/ 109347 w 495300"/>
                  <a:gd name="connsiteY311" fmla="*/ 103251 h 400050"/>
                  <a:gd name="connsiteX312" fmla="*/ 109347 w 495300"/>
                  <a:gd name="connsiteY312" fmla="*/ 99060 h 400050"/>
                  <a:gd name="connsiteX313" fmla="*/ 107633 w 495300"/>
                  <a:gd name="connsiteY313" fmla="*/ 96488 h 400050"/>
                  <a:gd name="connsiteX314" fmla="*/ 106775 w 495300"/>
                  <a:gd name="connsiteY314" fmla="*/ 95631 h 400050"/>
                  <a:gd name="connsiteX315" fmla="*/ 105918 w 495300"/>
                  <a:gd name="connsiteY315" fmla="*/ 95631 h 400050"/>
                  <a:gd name="connsiteX316" fmla="*/ 105061 w 495300"/>
                  <a:gd name="connsiteY316" fmla="*/ 95631 h 400050"/>
                  <a:gd name="connsiteX317" fmla="*/ 104204 w 495300"/>
                  <a:gd name="connsiteY317" fmla="*/ 97346 h 400050"/>
                  <a:gd name="connsiteX318" fmla="*/ 103346 w 495300"/>
                  <a:gd name="connsiteY318" fmla="*/ 97346 h 400050"/>
                  <a:gd name="connsiteX319" fmla="*/ 102584 w 495300"/>
                  <a:gd name="connsiteY319" fmla="*/ 97346 h 400050"/>
                  <a:gd name="connsiteX320" fmla="*/ 101727 w 495300"/>
                  <a:gd name="connsiteY320" fmla="*/ 96488 h 400050"/>
                  <a:gd name="connsiteX321" fmla="*/ 100870 w 495300"/>
                  <a:gd name="connsiteY321" fmla="*/ 96488 h 400050"/>
                  <a:gd name="connsiteX322" fmla="*/ 100013 w 495300"/>
                  <a:gd name="connsiteY322" fmla="*/ 96488 h 400050"/>
                  <a:gd name="connsiteX323" fmla="*/ 99155 w 495300"/>
                  <a:gd name="connsiteY323" fmla="*/ 97346 h 400050"/>
                  <a:gd name="connsiteX324" fmla="*/ 98298 w 495300"/>
                  <a:gd name="connsiteY324" fmla="*/ 97346 h 400050"/>
                  <a:gd name="connsiteX325" fmla="*/ 96583 w 495300"/>
                  <a:gd name="connsiteY325" fmla="*/ 96488 h 400050"/>
                  <a:gd name="connsiteX326" fmla="*/ 95726 w 495300"/>
                  <a:gd name="connsiteY326" fmla="*/ 97346 h 400050"/>
                  <a:gd name="connsiteX327" fmla="*/ 94869 w 495300"/>
                  <a:gd name="connsiteY327" fmla="*/ 97346 h 400050"/>
                  <a:gd name="connsiteX328" fmla="*/ 94869 w 495300"/>
                  <a:gd name="connsiteY328" fmla="*/ 98203 h 400050"/>
                  <a:gd name="connsiteX329" fmla="*/ 94869 w 495300"/>
                  <a:gd name="connsiteY329" fmla="*/ 100679 h 400050"/>
                  <a:gd name="connsiteX330" fmla="*/ 94869 w 495300"/>
                  <a:gd name="connsiteY330" fmla="*/ 101537 h 400050"/>
                  <a:gd name="connsiteX331" fmla="*/ 94107 w 495300"/>
                  <a:gd name="connsiteY331" fmla="*/ 102394 h 400050"/>
                  <a:gd name="connsiteX332" fmla="*/ 93250 w 495300"/>
                  <a:gd name="connsiteY332" fmla="*/ 102394 h 400050"/>
                  <a:gd name="connsiteX333" fmla="*/ 92392 w 495300"/>
                  <a:gd name="connsiteY333" fmla="*/ 102394 h 400050"/>
                  <a:gd name="connsiteX334" fmla="*/ 92392 w 495300"/>
                  <a:gd name="connsiteY334" fmla="*/ 100679 h 400050"/>
                  <a:gd name="connsiteX335" fmla="*/ 92392 w 495300"/>
                  <a:gd name="connsiteY335" fmla="*/ 99822 h 400050"/>
                  <a:gd name="connsiteX336" fmla="*/ 92392 w 495300"/>
                  <a:gd name="connsiteY336" fmla="*/ 99060 h 400050"/>
                  <a:gd name="connsiteX337" fmla="*/ 91535 w 495300"/>
                  <a:gd name="connsiteY337" fmla="*/ 98203 h 400050"/>
                  <a:gd name="connsiteX338" fmla="*/ 90678 w 495300"/>
                  <a:gd name="connsiteY338" fmla="*/ 98203 h 400050"/>
                  <a:gd name="connsiteX339" fmla="*/ 90678 w 495300"/>
                  <a:gd name="connsiteY339" fmla="*/ 99060 h 400050"/>
                  <a:gd name="connsiteX340" fmla="*/ 89821 w 495300"/>
                  <a:gd name="connsiteY340" fmla="*/ 99060 h 400050"/>
                  <a:gd name="connsiteX341" fmla="*/ 89821 w 495300"/>
                  <a:gd name="connsiteY341" fmla="*/ 100679 h 400050"/>
                  <a:gd name="connsiteX342" fmla="*/ 89821 w 495300"/>
                  <a:gd name="connsiteY342" fmla="*/ 101537 h 400050"/>
                  <a:gd name="connsiteX343" fmla="*/ 88963 w 495300"/>
                  <a:gd name="connsiteY343" fmla="*/ 102394 h 400050"/>
                  <a:gd name="connsiteX344" fmla="*/ 88963 w 495300"/>
                  <a:gd name="connsiteY344" fmla="*/ 103251 h 400050"/>
                  <a:gd name="connsiteX345" fmla="*/ 88106 w 495300"/>
                  <a:gd name="connsiteY345" fmla="*/ 103251 h 400050"/>
                  <a:gd name="connsiteX346" fmla="*/ 86487 w 495300"/>
                  <a:gd name="connsiteY346" fmla="*/ 102394 h 400050"/>
                  <a:gd name="connsiteX347" fmla="*/ 85630 w 495300"/>
                  <a:gd name="connsiteY347" fmla="*/ 101537 h 400050"/>
                  <a:gd name="connsiteX348" fmla="*/ 83915 w 495300"/>
                  <a:gd name="connsiteY348" fmla="*/ 99060 h 400050"/>
                  <a:gd name="connsiteX349" fmla="*/ 82201 w 495300"/>
                  <a:gd name="connsiteY349" fmla="*/ 92202 h 400050"/>
                  <a:gd name="connsiteX350" fmla="*/ 78010 w 495300"/>
                  <a:gd name="connsiteY350" fmla="*/ 84677 h 400050"/>
                  <a:gd name="connsiteX351" fmla="*/ 76295 w 495300"/>
                  <a:gd name="connsiteY351" fmla="*/ 82963 h 400050"/>
                  <a:gd name="connsiteX352" fmla="*/ 75438 w 495300"/>
                  <a:gd name="connsiteY352" fmla="*/ 82963 h 400050"/>
                  <a:gd name="connsiteX353" fmla="*/ 75438 w 495300"/>
                  <a:gd name="connsiteY353" fmla="*/ 82963 h 400050"/>
                  <a:gd name="connsiteX354" fmla="*/ 74581 w 495300"/>
                  <a:gd name="connsiteY354" fmla="*/ 83820 h 400050"/>
                  <a:gd name="connsiteX355" fmla="*/ 72866 w 495300"/>
                  <a:gd name="connsiteY355" fmla="*/ 87154 h 400050"/>
                  <a:gd name="connsiteX356" fmla="*/ 72866 w 495300"/>
                  <a:gd name="connsiteY356" fmla="*/ 88011 h 400050"/>
                  <a:gd name="connsiteX357" fmla="*/ 72866 w 495300"/>
                  <a:gd name="connsiteY357" fmla="*/ 88868 h 400050"/>
                  <a:gd name="connsiteX358" fmla="*/ 72009 w 495300"/>
                  <a:gd name="connsiteY358" fmla="*/ 88868 h 400050"/>
                  <a:gd name="connsiteX359" fmla="*/ 71152 w 495300"/>
                  <a:gd name="connsiteY359" fmla="*/ 89725 h 400050"/>
                  <a:gd name="connsiteX360" fmla="*/ 69533 w 495300"/>
                  <a:gd name="connsiteY360" fmla="*/ 90583 h 400050"/>
                  <a:gd name="connsiteX361" fmla="*/ 67818 w 495300"/>
                  <a:gd name="connsiteY361" fmla="*/ 92202 h 400050"/>
                  <a:gd name="connsiteX362" fmla="*/ 66104 w 495300"/>
                  <a:gd name="connsiteY362" fmla="*/ 93917 h 400050"/>
                  <a:gd name="connsiteX363" fmla="*/ 64389 w 495300"/>
                  <a:gd name="connsiteY363" fmla="*/ 93917 h 400050"/>
                  <a:gd name="connsiteX364" fmla="*/ 60198 w 495300"/>
                  <a:gd name="connsiteY364" fmla="*/ 94774 h 400050"/>
                  <a:gd name="connsiteX365" fmla="*/ 57626 w 495300"/>
                  <a:gd name="connsiteY365" fmla="*/ 95631 h 400050"/>
                  <a:gd name="connsiteX366" fmla="*/ 56769 w 495300"/>
                  <a:gd name="connsiteY366" fmla="*/ 95631 h 400050"/>
                  <a:gd name="connsiteX367" fmla="*/ 55912 w 495300"/>
                  <a:gd name="connsiteY367" fmla="*/ 95631 h 400050"/>
                  <a:gd name="connsiteX368" fmla="*/ 53435 w 495300"/>
                  <a:gd name="connsiteY368" fmla="*/ 94774 h 400050"/>
                  <a:gd name="connsiteX369" fmla="*/ 52578 w 495300"/>
                  <a:gd name="connsiteY369" fmla="*/ 93917 h 400050"/>
                  <a:gd name="connsiteX370" fmla="*/ 50006 w 495300"/>
                  <a:gd name="connsiteY370" fmla="*/ 94774 h 400050"/>
                  <a:gd name="connsiteX371" fmla="*/ 47435 w 495300"/>
                  <a:gd name="connsiteY371" fmla="*/ 98203 h 400050"/>
                  <a:gd name="connsiteX372" fmla="*/ 45815 w 495300"/>
                  <a:gd name="connsiteY372" fmla="*/ 98203 h 400050"/>
                  <a:gd name="connsiteX373" fmla="*/ 39815 w 495300"/>
                  <a:gd name="connsiteY373" fmla="*/ 99060 h 400050"/>
                  <a:gd name="connsiteX374" fmla="*/ 33052 w 495300"/>
                  <a:gd name="connsiteY374" fmla="*/ 97346 h 400050"/>
                  <a:gd name="connsiteX375" fmla="*/ 22098 w 495300"/>
                  <a:gd name="connsiteY375" fmla="*/ 95631 h 400050"/>
                  <a:gd name="connsiteX376" fmla="*/ 21241 w 495300"/>
                  <a:gd name="connsiteY376" fmla="*/ 95631 h 400050"/>
                  <a:gd name="connsiteX377" fmla="*/ 11049 w 495300"/>
                  <a:gd name="connsiteY377" fmla="*/ 97346 h 400050"/>
                  <a:gd name="connsiteX378" fmla="*/ 9335 w 495300"/>
                  <a:gd name="connsiteY378" fmla="*/ 98203 h 400050"/>
                  <a:gd name="connsiteX379" fmla="*/ 7620 w 495300"/>
                  <a:gd name="connsiteY379" fmla="*/ 99060 h 400050"/>
                  <a:gd name="connsiteX380" fmla="*/ 7620 w 495300"/>
                  <a:gd name="connsiteY380" fmla="*/ 99822 h 400050"/>
                  <a:gd name="connsiteX381" fmla="*/ 6858 w 495300"/>
                  <a:gd name="connsiteY381" fmla="*/ 100679 h 400050"/>
                  <a:gd name="connsiteX382" fmla="*/ 6858 w 495300"/>
                  <a:gd name="connsiteY382" fmla="*/ 100679 h 400050"/>
                  <a:gd name="connsiteX383" fmla="*/ 6858 w 495300"/>
                  <a:gd name="connsiteY383" fmla="*/ 101537 h 400050"/>
                  <a:gd name="connsiteX384" fmla="*/ 6858 w 495300"/>
                  <a:gd name="connsiteY384" fmla="*/ 102394 h 400050"/>
                  <a:gd name="connsiteX385" fmla="*/ 6858 w 495300"/>
                  <a:gd name="connsiteY385" fmla="*/ 103251 h 400050"/>
                  <a:gd name="connsiteX386" fmla="*/ 6858 w 495300"/>
                  <a:gd name="connsiteY386" fmla="*/ 104966 h 400050"/>
                  <a:gd name="connsiteX387" fmla="*/ 7620 w 495300"/>
                  <a:gd name="connsiteY387" fmla="*/ 107442 h 400050"/>
                  <a:gd name="connsiteX388" fmla="*/ 8477 w 495300"/>
                  <a:gd name="connsiteY388" fmla="*/ 109156 h 400050"/>
                  <a:gd name="connsiteX389" fmla="*/ 9335 w 495300"/>
                  <a:gd name="connsiteY389" fmla="*/ 110014 h 400050"/>
                  <a:gd name="connsiteX390" fmla="*/ 11049 w 495300"/>
                  <a:gd name="connsiteY390" fmla="*/ 111728 h 400050"/>
                  <a:gd name="connsiteX391" fmla="*/ 12763 w 495300"/>
                  <a:gd name="connsiteY391" fmla="*/ 114205 h 400050"/>
                  <a:gd name="connsiteX392" fmla="*/ 12763 w 495300"/>
                  <a:gd name="connsiteY392" fmla="*/ 115062 h 400050"/>
                  <a:gd name="connsiteX393" fmla="*/ 12763 w 495300"/>
                  <a:gd name="connsiteY393" fmla="*/ 115919 h 400050"/>
                  <a:gd name="connsiteX394" fmla="*/ 12763 w 495300"/>
                  <a:gd name="connsiteY394" fmla="*/ 116776 h 400050"/>
                  <a:gd name="connsiteX395" fmla="*/ 12763 w 495300"/>
                  <a:gd name="connsiteY395" fmla="*/ 117634 h 400050"/>
                  <a:gd name="connsiteX396" fmla="*/ 9335 w 495300"/>
                  <a:gd name="connsiteY396" fmla="*/ 121825 h 400050"/>
                  <a:gd name="connsiteX397" fmla="*/ 9335 w 495300"/>
                  <a:gd name="connsiteY397" fmla="*/ 122682 h 400050"/>
                  <a:gd name="connsiteX398" fmla="*/ 9335 w 495300"/>
                  <a:gd name="connsiteY398" fmla="*/ 124396 h 400050"/>
                  <a:gd name="connsiteX399" fmla="*/ 9335 w 495300"/>
                  <a:gd name="connsiteY399" fmla="*/ 125254 h 400050"/>
                  <a:gd name="connsiteX400" fmla="*/ 9335 w 495300"/>
                  <a:gd name="connsiteY400" fmla="*/ 126111 h 400050"/>
                  <a:gd name="connsiteX401" fmla="*/ 8477 w 495300"/>
                  <a:gd name="connsiteY401" fmla="*/ 127825 h 400050"/>
                  <a:gd name="connsiteX402" fmla="*/ 7620 w 495300"/>
                  <a:gd name="connsiteY402" fmla="*/ 128588 h 400050"/>
                  <a:gd name="connsiteX403" fmla="*/ 5144 w 495300"/>
                  <a:gd name="connsiteY403" fmla="*/ 132017 h 400050"/>
                  <a:gd name="connsiteX404" fmla="*/ 3429 w 495300"/>
                  <a:gd name="connsiteY404" fmla="*/ 134588 h 400050"/>
                  <a:gd name="connsiteX405" fmla="*/ 2572 w 495300"/>
                  <a:gd name="connsiteY405" fmla="*/ 136208 h 400050"/>
                  <a:gd name="connsiteX406" fmla="*/ 0 w 495300"/>
                  <a:gd name="connsiteY406" fmla="*/ 142970 h 400050"/>
                  <a:gd name="connsiteX407" fmla="*/ 6001 w 495300"/>
                  <a:gd name="connsiteY407" fmla="*/ 144685 h 400050"/>
                  <a:gd name="connsiteX408" fmla="*/ 11906 w 495300"/>
                  <a:gd name="connsiteY408" fmla="*/ 144685 h 400050"/>
                  <a:gd name="connsiteX409" fmla="*/ 12763 w 495300"/>
                  <a:gd name="connsiteY409" fmla="*/ 145542 h 400050"/>
                  <a:gd name="connsiteX410" fmla="*/ 13621 w 495300"/>
                  <a:gd name="connsiteY410" fmla="*/ 145542 h 400050"/>
                  <a:gd name="connsiteX411" fmla="*/ 15240 w 495300"/>
                  <a:gd name="connsiteY411" fmla="*/ 147256 h 400050"/>
                  <a:gd name="connsiteX412" fmla="*/ 19526 w 495300"/>
                  <a:gd name="connsiteY412" fmla="*/ 149828 h 400050"/>
                  <a:gd name="connsiteX413" fmla="*/ 20383 w 495300"/>
                  <a:gd name="connsiteY413" fmla="*/ 150590 h 400050"/>
                  <a:gd name="connsiteX414" fmla="*/ 20383 w 495300"/>
                  <a:gd name="connsiteY414" fmla="*/ 151447 h 400050"/>
                  <a:gd name="connsiteX415" fmla="*/ 21241 w 495300"/>
                  <a:gd name="connsiteY415" fmla="*/ 153162 h 400050"/>
                  <a:gd name="connsiteX416" fmla="*/ 20383 w 495300"/>
                  <a:gd name="connsiteY416" fmla="*/ 158210 h 400050"/>
                  <a:gd name="connsiteX417" fmla="*/ 21241 w 495300"/>
                  <a:gd name="connsiteY417" fmla="*/ 159925 h 400050"/>
                  <a:gd name="connsiteX418" fmla="*/ 21241 w 495300"/>
                  <a:gd name="connsiteY418" fmla="*/ 161639 h 400050"/>
                  <a:gd name="connsiteX419" fmla="*/ 22098 w 495300"/>
                  <a:gd name="connsiteY419" fmla="*/ 163354 h 400050"/>
                  <a:gd name="connsiteX420" fmla="*/ 22860 w 495300"/>
                  <a:gd name="connsiteY420" fmla="*/ 164973 h 400050"/>
                  <a:gd name="connsiteX421" fmla="*/ 24575 w 495300"/>
                  <a:gd name="connsiteY421" fmla="*/ 167545 h 400050"/>
                  <a:gd name="connsiteX422" fmla="*/ 39815 w 495300"/>
                  <a:gd name="connsiteY422" fmla="*/ 181070 h 400050"/>
                  <a:gd name="connsiteX423" fmla="*/ 41529 w 495300"/>
                  <a:gd name="connsiteY423" fmla="*/ 183642 h 400050"/>
                  <a:gd name="connsiteX424" fmla="*/ 43244 w 495300"/>
                  <a:gd name="connsiteY424" fmla="*/ 188690 h 400050"/>
                  <a:gd name="connsiteX425" fmla="*/ 44101 w 495300"/>
                  <a:gd name="connsiteY425" fmla="*/ 189547 h 400050"/>
                  <a:gd name="connsiteX426" fmla="*/ 44101 w 495300"/>
                  <a:gd name="connsiteY426" fmla="*/ 191262 h 400050"/>
                  <a:gd name="connsiteX427" fmla="*/ 44101 w 495300"/>
                  <a:gd name="connsiteY427" fmla="*/ 192119 h 400050"/>
                  <a:gd name="connsiteX428" fmla="*/ 42386 w 495300"/>
                  <a:gd name="connsiteY428" fmla="*/ 195453 h 400050"/>
                  <a:gd name="connsiteX429" fmla="*/ 42386 w 495300"/>
                  <a:gd name="connsiteY429" fmla="*/ 196310 h 400050"/>
                  <a:gd name="connsiteX430" fmla="*/ 42386 w 495300"/>
                  <a:gd name="connsiteY430" fmla="*/ 197167 h 400050"/>
                  <a:gd name="connsiteX431" fmla="*/ 42386 w 495300"/>
                  <a:gd name="connsiteY431" fmla="*/ 198882 h 400050"/>
                  <a:gd name="connsiteX432" fmla="*/ 44101 w 495300"/>
                  <a:gd name="connsiteY432" fmla="*/ 201359 h 400050"/>
                  <a:gd name="connsiteX433" fmla="*/ 44958 w 495300"/>
                  <a:gd name="connsiteY433" fmla="*/ 204788 h 400050"/>
                  <a:gd name="connsiteX434" fmla="*/ 45815 w 495300"/>
                  <a:gd name="connsiteY434" fmla="*/ 207359 h 400050"/>
                  <a:gd name="connsiteX435" fmla="*/ 46673 w 495300"/>
                  <a:gd name="connsiteY435" fmla="*/ 208121 h 400050"/>
                  <a:gd name="connsiteX436" fmla="*/ 48292 w 495300"/>
                  <a:gd name="connsiteY436" fmla="*/ 208979 h 400050"/>
                  <a:gd name="connsiteX437" fmla="*/ 49149 w 495300"/>
                  <a:gd name="connsiteY437" fmla="*/ 208979 h 400050"/>
                  <a:gd name="connsiteX438" fmla="*/ 50006 w 495300"/>
                  <a:gd name="connsiteY438" fmla="*/ 208979 h 400050"/>
                  <a:gd name="connsiteX439" fmla="*/ 50863 w 495300"/>
                  <a:gd name="connsiteY439" fmla="*/ 208979 h 400050"/>
                  <a:gd name="connsiteX440" fmla="*/ 53435 w 495300"/>
                  <a:gd name="connsiteY440" fmla="*/ 208979 h 400050"/>
                  <a:gd name="connsiteX441" fmla="*/ 54292 w 495300"/>
                  <a:gd name="connsiteY441" fmla="*/ 208979 h 400050"/>
                  <a:gd name="connsiteX442" fmla="*/ 55054 w 495300"/>
                  <a:gd name="connsiteY442" fmla="*/ 208979 h 400050"/>
                  <a:gd name="connsiteX443" fmla="*/ 55912 w 495300"/>
                  <a:gd name="connsiteY443" fmla="*/ 208979 h 400050"/>
                  <a:gd name="connsiteX444" fmla="*/ 62770 w 495300"/>
                  <a:gd name="connsiteY444" fmla="*/ 211550 h 400050"/>
                  <a:gd name="connsiteX445" fmla="*/ 63532 w 495300"/>
                  <a:gd name="connsiteY445" fmla="*/ 211550 h 400050"/>
                  <a:gd name="connsiteX446" fmla="*/ 64389 w 495300"/>
                  <a:gd name="connsiteY446" fmla="*/ 211550 h 400050"/>
                  <a:gd name="connsiteX447" fmla="*/ 64389 w 495300"/>
                  <a:gd name="connsiteY447" fmla="*/ 211550 h 400050"/>
                  <a:gd name="connsiteX448" fmla="*/ 64389 w 495300"/>
                  <a:gd name="connsiteY448" fmla="*/ 211550 h 400050"/>
                  <a:gd name="connsiteX449" fmla="*/ 64389 w 495300"/>
                  <a:gd name="connsiteY449" fmla="*/ 210693 h 400050"/>
                  <a:gd name="connsiteX450" fmla="*/ 64389 w 495300"/>
                  <a:gd name="connsiteY450" fmla="*/ 208121 h 400050"/>
                  <a:gd name="connsiteX451" fmla="*/ 64389 w 495300"/>
                  <a:gd name="connsiteY451" fmla="*/ 206502 h 400050"/>
                  <a:gd name="connsiteX452" fmla="*/ 64389 w 495300"/>
                  <a:gd name="connsiteY452" fmla="*/ 205645 h 400050"/>
                  <a:gd name="connsiteX453" fmla="*/ 64389 w 495300"/>
                  <a:gd name="connsiteY453" fmla="*/ 205645 h 400050"/>
                  <a:gd name="connsiteX454" fmla="*/ 65246 w 495300"/>
                  <a:gd name="connsiteY454" fmla="*/ 204788 h 400050"/>
                  <a:gd name="connsiteX455" fmla="*/ 65246 w 495300"/>
                  <a:gd name="connsiteY455" fmla="*/ 204788 h 400050"/>
                  <a:gd name="connsiteX456" fmla="*/ 66104 w 495300"/>
                  <a:gd name="connsiteY456" fmla="*/ 203930 h 400050"/>
                  <a:gd name="connsiteX457" fmla="*/ 66961 w 495300"/>
                  <a:gd name="connsiteY457" fmla="*/ 203930 h 400050"/>
                  <a:gd name="connsiteX458" fmla="*/ 67818 w 495300"/>
                  <a:gd name="connsiteY458" fmla="*/ 203930 h 400050"/>
                  <a:gd name="connsiteX459" fmla="*/ 69533 w 495300"/>
                  <a:gd name="connsiteY459" fmla="*/ 203073 h 400050"/>
                  <a:gd name="connsiteX460" fmla="*/ 70390 w 495300"/>
                  <a:gd name="connsiteY460" fmla="*/ 202216 h 400050"/>
                  <a:gd name="connsiteX461" fmla="*/ 71152 w 495300"/>
                  <a:gd name="connsiteY461" fmla="*/ 202216 h 400050"/>
                  <a:gd name="connsiteX462" fmla="*/ 72009 w 495300"/>
                  <a:gd name="connsiteY462" fmla="*/ 203073 h 400050"/>
                  <a:gd name="connsiteX463" fmla="*/ 72009 w 495300"/>
                  <a:gd name="connsiteY463" fmla="*/ 203930 h 400050"/>
                  <a:gd name="connsiteX464" fmla="*/ 72866 w 495300"/>
                  <a:gd name="connsiteY464" fmla="*/ 204788 h 400050"/>
                  <a:gd name="connsiteX465" fmla="*/ 72866 w 495300"/>
                  <a:gd name="connsiteY465" fmla="*/ 206502 h 400050"/>
                  <a:gd name="connsiteX466" fmla="*/ 72866 w 495300"/>
                  <a:gd name="connsiteY466" fmla="*/ 208121 h 400050"/>
                  <a:gd name="connsiteX467" fmla="*/ 74581 w 495300"/>
                  <a:gd name="connsiteY467" fmla="*/ 211550 h 400050"/>
                  <a:gd name="connsiteX468" fmla="*/ 75438 w 495300"/>
                  <a:gd name="connsiteY468" fmla="*/ 212408 h 400050"/>
                  <a:gd name="connsiteX469" fmla="*/ 74581 w 495300"/>
                  <a:gd name="connsiteY469" fmla="*/ 213265 h 400050"/>
                  <a:gd name="connsiteX470" fmla="*/ 74581 w 495300"/>
                  <a:gd name="connsiteY470" fmla="*/ 214122 h 400050"/>
                  <a:gd name="connsiteX471" fmla="*/ 73724 w 495300"/>
                  <a:gd name="connsiteY471" fmla="*/ 215741 h 400050"/>
                  <a:gd name="connsiteX472" fmla="*/ 72866 w 495300"/>
                  <a:gd name="connsiteY472" fmla="*/ 217456 h 400050"/>
                  <a:gd name="connsiteX473" fmla="*/ 68675 w 495300"/>
                  <a:gd name="connsiteY473" fmla="*/ 220885 h 400050"/>
                  <a:gd name="connsiteX474" fmla="*/ 68675 w 495300"/>
                  <a:gd name="connsiteY474" fmla="*/ 221742 h 400050"/>
                  <a:gd name="connsiteX475" fmla="*/ 67818 w 495300"/>
                  <a:gd name="connsiteY475" fmla="*/ 222504 h 400050"/>
                  <a:gd name="connsiteX476" fmla="*/ 67818 w 495300"/>
                  <a:gd name="connsiteY476" fmla="*/ 223361 h 400050"/>
                  <a:gd name="connsiteX477" fmla="*/ 67818 w 495300"/>
                  <a:gd name="connsiteY477" fmla="*/ 224218 h 400050"/>
                  <a:gd name="connsiteX478" fmla="*/ 67818 w 495300"/>
                  <a:gd name="connsiteY478" fmla="*/ 225076 h 400050"/>
                  <a:gd name="connsiteX479" fmla="*/ 67818 w 495300"/>
                  <a:gd name="connsiteY479" fmla="*/ 226790 h 400050"/>
                  <a:gd name="connsiteX480" fmla="*/ 67818 w 495300"/>
                  <a:gd name="connsiteY480" fmla="*/ 227647 h 400050"/>
                  <a:gd name="connsiteX481" fmla="*/ 66961 w 495300"/>
                  <a:gd name="connsiteY481" fmla="*/ 230981 h 400050"/>
                  <a:gd name="connsiteX482" fmla="*/ 66961 w 495300"/>
                  <a:gd name="connsiteY482" fmla="*/ 231838 h 400050"/>
                  <a:gd name="connsiteX483" fmla="*/ 66961 w 495300"/>
                  <a:gd name="connsiteY483" fmla="*/ 233553 h 400050"/>
                  <a:gd name="connsiteX484" fmla="*/ 67818 w 495300"/>
                  <a:gd name="connsiteY484" fmla="*/ 235267 h 400050"/>
                  <a:gd name="connsiteX485" fmla="*/ 67818 w 495300"/>
                  <a:gd name="connsiteY485" fmla="*/ 236125 h 400050"/>
                  <a:gd name="connsiteX486" fmla="*/ 68675 w 495300"/>
                  <a:gd name="connsiteY486" fmla="*/ 236125 h 400050"/>
                  <a:gd name="connsiteX487" fmla="*/ 68675 w 495300"/>
                  <a:gd name="connsiteY487" fmla="*/ 236125 h 400050"/>
                  <a:gd name="connsiteX488" fmla="*/ 69533 w 495300"/>
                  <a:gd name="connsiteY488" fmla="*/ 236125 h 400050"/>
                  <a:gd name="connsiteX489" fmla="*/ 72866 w 495300"/>
                  <a:gd name="connsiteY489" fmla="*/ 233553 h 400050"/>
                  <a:gd name="connsiteX490" fmla="*/ 72866 w 495300"/>
                  <a:gd name="connsiteY490" fmla="*/ 232696 h 400050"/>
                  <a:gd name="connsiteX491" fmla="*/ 73724 w 495300"/>
                  <a:gd name="connsiteY491" fmla="*/ 232696 h 400050"/>
                  <a:gd name="connsiteX492" fmla="*/ 75438 w 495300"/>
                  <a:gd name="connsiteY492" fmla="*/ 233553 h 400050"/>
                  <a:gd name="connsiteX493" fmla="*/ 75438 w 495300"/>
                  <a:gd name="connsiteY493" fmla="*/ 235267 h 400050"/>
                  <a:gd name="connsiteX494" fmla="*/ 76295 w 495300"/>
                  <a:gd name="connsiteY494" fmla="*/ 236887 h 400050"/>
                  <a:gd name="connsiteX495" fmla="*/ 78010 w 495300"/>
                  <a:gd name="connsiteY495" fmla="*/ 242888 h 400050"/>
                  <a:gd name="connsiteX496" fmla="*/ 77153 w 495300"/>
                  <a:gd name="connsiteY496" fmla="*/ 252127 h 400050"/>
                  <a:gd name="connsiteX497" fmla="*/ 75438 w 495300"/>
                  <a:gd name="connsiteY497" fmla="*/ 257270 h 400050"/>
                  <a:gd name="connsiteX498" fmla="*/ 76295 w 495300"/>
                  <a:gd name="connsiteY498" fmla="*/ 261461 h 400050"/>
                  <a:gd name="connsiteX499" fmla="*/ 78010 w 495300"/>
                  <a:gd name="connsiteY499" fmla="*/ 264890 h 400050"/>
                  <a:gd name="connsiteX500" fmla="*/ 82201 w 495300"/>
                  <a:gd name="connsiteY500" fmla="*/ 268224 h 400050"/>
                  <a:gd name="connsiteX501" fmla="*/ 83058 w 495300"/>
                  <a:gd name="connsiteY501" fmla="*/ 269081 h 400050"/>
                  <a:gd name="connsiteX502" fmla="*/ 83915 w 495300"/>
                  <a:gd name="connsiteY502" fmla="*/ 270796 h 400050"/>
                  <a:gd name="connsiteX503" fmla="*/ 83915 w 495300"/>
                  <a:gd name="connsiteY503" fmla="*/ 272510 h 400050"/>
                  <a:gd name="connsiteX504" fmla="*/ 84773 w 495300"/>
                  <a:gd name="connsiteY504" fmla="*/ 274987 h 400050"/>
                  <a:gd name="connsiteX505" fmla="*/ 85630 w 495300"/>
                  <a:gd name="connsiteY505" fmla="*/ 277559 h 400050"/>
                  <a:gd name="connsiteX506" fmla="*/ 85630 w 495300"/>
                  <a:gd name="connsiteY506" fmla="*/ 279273 h 400050"/>
                  <a:gd name="connsiteX507" fmla="*/ 86487 w 495300"/>
                  <a:gd name="connsiteY507" fmla="*/ 279273 h 400050"/>
                  <a:gd name="connsiteX508" fmla="*/ 86487 w 495300"/>
                  <a:gd name="connsiteY508" fmla="*/ 280035 h 400050"/>
                  <a:gd name="connsiteX509" fmla="*/ 87249 w 495300"/>
                  <a:gd name="connsiteY509" fmla="*/ 280035 h 400050"/>
                  <a:gd name="connsiteX510" fmla="*/ 88106 w 495300"/>
                  <a:gd name="connsiteY510" fmla="*/ 280892 h 400050"/>
                  <a:gd name="connsiteX511" fmla="*/ 88963 w 495300"/>
                  <a:gd name="connsiteY511" fmla="*/ 280035 h 400050"/>
                  <a:gd name="connsiteX512" fmla="*/ 88963 w 495300"/>
                  <a:gd name="connsiteY512" fmla="*/ 280035 h 400050"/>
                  <a:gd name="connsiteX513" fmla="*/ 89821 w 495300"/>
                  <a:gd name="connsiteY513" fmla="*/ 279273 h 400050"/>
                  <a:gd name="connsiteX514" fmla="*/ 89821 w 495300"/>
                  <a:gd name="connsiteY514" fmla="*/ 279273 h 400050"/>
                  <a:gd name="connsiteX515" fmla="*/ 89821 w 495300"/>
                  <a:gd name="connsiteY515" fmla="*/ 279273 h 400050"/>
                  <a:gd name="connsiteX516" fmla="*/ 89821 w 495300"/>
                  <a:gd name="connsiteY516" fmla="*/ 277559 h 400050"/>
                  <a:gd name="connsiteX517" fmla="*/ 89821 w 495300"/>
                  <a:gd name="connsiteY517" fmla="*/ 276701 h 400050"/>
                  <a:gd name="connsiteX518" fmla="*/ 89821 w 495300"/>
                  <a:gd name="connsiteY518" fmla="*/ 276701 h 400050"/>
                  <a:gd name="connsiteX519" fmla="*/ 91535 w 495300"/>
                  <a:gd name="connsiteY519" fmla="*/ 276701 h 400050"/>
                  <a:gd name="connsiteX520" fmla="*/ 94869 w 495300"/>
                  <a:gd name="connsiteY520" fmla="*/ 279273 h 400050"/>
                  <a:gd name="connsiteX521" fmla="*/ 95726 w 495300"/>
                  <a:gd name="connsiteY521" fmla="*/ 279273 h 400050"/>
                  <a:gd name="connsiteX522" fmla="*/ 97441 w 495300"/>
                  <a:gd name="connsiteY522" fmla="*/ 280035 h 400050"/>
                  <a:gd name="connsiteX523" fmla="*/ 98298 w 495300"/>
                  <a:gd name="connsiteY523" fmla="*/ 280035 h 400050"/>
                  <a:gd name="connsiteX524" fmla="*/ 99155 w 495300"/>
                  <a:gd name="connsiteY524" fmla="*/ 280035 h 400050"/>
                  <a:gd name="connsiteX525" fmla="*/ 100013 w 495300"/>
                  <a:gd name="connsiteY525" fmla="*/ 280035 h 400050"/>
                  <a:gd name="connsiteX526" fmla="*/ 100870 w 495300"/>
                  <a:gd name="connsiteY526" fmla="*/ 279273 h 400050"/>
                  <a:gd name="connsiteX527" fmla="*/ 101727 w 495300"/>
                  <a:gd name="connsiteY527" fmla="*/ 279273 h 400050"/>
                  <a:gd name="connsiteX528" fmla="*/ 102584 w 495300"/>
                  <a:gd name="connsiteY528" fmla="*/ 279273 h 400050"/>
                  <a:gd name="connsiteX529" fmla="*/ 103346 w 495300"/>
                  <a:gd name="connsiteY529" fmla="*/ 279273 h 400050"/>
                  <a:gd name="connsiteX530" fmla="*/ 104204 w 495300"/>
                  <a:gd name="connsiteY530" fmla="*/ 279273 h 400050"/>
                  <a:gd name="connsiteX531" fmla="*/ 105918 w 495300"/>
                  <a:gd name="connsiteY531" fmla="*/ 279273 h 400050"/>
                  <a:gd name="connsiteX532" fmla="*/ 108490 w 495300"/>
                  <a:gd name="connsiteY532" fmla="*/ 280892 h 400050"/>
                  <a:gd name="connsiteX533" fmla="*/ 109347 w 495300"/>
                  <a:gd name="connsiteY533" fmla="*/ 281750 h 400050"/>
                  <a:gd name="connsiteX534" fmla="*/ 110204 w 495300"/>
                  <a:gd name="connsiteY534" fmla="*/ 282607 h 400050"/>
                  <a:gd name="connsiteX535" fmla="*/ 110204 w 495300"/>
                  <a:gd name="connsiteY535" fmla="*/ 285179 h 400050"/>
                  <a:gd name="connsiteX536" fmla="*/ 110966 w 495300"/>
                  <a:gd name="connsiteY536" fmla="*/ 286893 h 400050"/>
                  <a:gd name="connsiteX537" fmla="*/ 111824 w 495300"/>
                  <a:gd name="connsiteY537" fmla="*/ 288512 h 400050"/>
                  <a:gd name="connsiteX538" fmla="*/ 111824 w 495300"/>
                  <a:gd name="connsiteY538" fmla="*/ 290227 h 400050"/>
                  <a:gd name="connsiteX539" fmla="*/ 112681 w 495300"/>
                  <a:gd name="connsiteY539" fmla="*/ 291941 h 400050"/>
                  <a:gd name="connsiteX540" fmla="*/ 112681 w 495300"/>
                  <a:gd name="connsiteY540" fmla="*/ 292799 h 400050"/>
                  <a:gd name="connsiteX541" fmla="*/ 111824 w 495300"/>
                  <a:gd name="connsiteY541" fmla="*/ 294418 h 400050"/>
                  <a:gd name="connsiteX542" fmla="*/ 110966 w 495300"/>
                  <a:gd name="connsiteY542" fmla="*/ 296132 h 400050"/>
                  <a:gd name="connsiteX543" fmla="*/ 109347 w 495300"/>
                  <a:gd name="connsiteY543" fmla="*/ 296989 h 400050"/>
                  <a:gd name="connsiteX544" fmla="*/ 105061 w 495300"/>
                  <a:gd name="connsiteY544" fmla="*/ 300418 h 400050"/>
                  <a:gd name="connsiteX545" fmla="*/ 104204 w 495300"/>
                  <a:gd name="connsiteY545" fmla="*/ 301276 h 400050"/>
                  <a:gd name="connsiteX546" fmla="*/ 102584 w 495300"/>
                  <a:gd name="connsiteY546" fmla="*/ 302895 h 400050"/>
                  <a:gd name="connsiteX547" fmla="*/ 102584 w 495300"/>
                  <a:gd name="connsiteY547" fmla="*/ 302895 h 400050"/>
                  <a:gd name="connsiteX548" fmla="*/ 100013 w 495300"/>
                  <a:gd name="connsiteY548" fmla="*/ 303752 h 400050"/>
                  <a:gd name="connsiteX549" fmla="*/ 99155 w 495300"/>
                  <a:gd name="connsiteY549" fmla="*/ 304609 h 400050"/>
                  <a:gd name="connsiteX550" fmla="*/ 98298 w 495300"/>
                  <a:gd name="connsiteY550" fmla="*/ 305467 h 400050"/>
                  <a:gd name="connsiteX551" fmla="*/ 98298 w 495300"/>
                  <a:gd name="connsiteY551" fmla="*/ 306324 h 400050"/>
                  <a:gd name="connsiteX552" fmla="*/ 97441 w 495300"/>
                  <a:gd name="connsiteY552" fmla="*/ 307181 h 400050"/>
                  <a:gd name="connsiteX553" fmla="*/ 95726 w 495300"/>
                  <a:gd name="connsiteY553" fmla="*/ 313087 h 400050"/>
                  <a:gd name="connsiteX554" fmla="*/ 94869 w 495300"/>
                  <a:gd name="connsiteY554" fmla="*/ 313944 h 400050"/>
                  <a:gd name="connsiteX555" fmla="*/ 94107 w 495300"/>
                  <a:gd name="connsiteY555" fmla="*/ 314801 h 400050"/>
                  <a:gd name="connsiteX556" fmla="*/ 88963 w 495300"/>
                  <a:gd name="connsiteY556" fmla="*/ 318992 h 400050"/>
                  <a:gd name="connsiteX557" fmla="*/ 86487 w 495300"/>
                  <a:gd name="connsiteY557" fmla="*/ 321564 h 400050"/>
                  <a:gd name="connsiteX558" fmla="*/ 85630 w 495300"/>
                  <a:gd name="connsiteY558" fmla="*/ 321564 h 400050"/>
                  <a:gd name="connsiteX559" fmla="*/ 84773 w 495300"/>
                  <a:gd name="connsiteY559" fmla="*/ 322421 h 400050"/>
                  <a:gd name="connsiteX560" fmla="*/ 83915 w 495300"/>
                  <a:gd name="connsiteY560" fmla="*/ 322421 h 400050"/>
                  <a:gd name="connsiteX561" fmla="*/ 80486 w 495300"/>
                  <a:gd name="connsiteY561" fmla="*/ 322421 h 400050"/>
                  <a:gd name="connsiteX562" fmla="*/ 79629 w 495300"/>
                  <a:gd name="connsiteY562" fmla="*/ 322421 h 400050"/>
                  <a:gd name="connsiteX563" fmla="*/ 78010 w 495300"/>
                  <a:gd name="connsiteY563" fmla="*/ 323183 h 400050"/>
                  <a:gd name="connsiteX564" fmla="*/ 76295 w 495300"/>
                  <a:gd name="connsiteY564" fmla="*/ 325755 h 400050"/>
                  <a:gd name="connsiteX565" fmla="*/ 75438 w 495300"/>
                  <a:gd name="connsiteY565" fmla="*/ 326612 h 400050"/>
                  <a:gd name="connsiteX566" fmla="*/ 74581 w 495300"/>
                  <a:gd name="connsiteY566" fmla="*/ 326612 h 400050"/>
                  <a:gd name="connsiteX567" fmla="*/ 72866 w 495300"/>
                  <a:gd name="connsiteY567" fmla="*/ 327470 h 400050"/>
                  <a:gd name="connsiteX568" fmla="*/ 72866 w 495300"/>
                  <a:gd name="connsiteY568" fmla="*/ 328327 h 400050"/>
                  <a:gd name="connsiteX569" fmla="*/ 72009 w 495300"/>
                  <a:gd name="connsiteY569" fmla="*/ 328327 h 400050"/>
                  <a:gd name="connsiteX570" fmla="*/ 72009 w 495300"/>
                  <a:gd name="connsiteY570" fmla="*/ 329184 h 400050"/>
                  <a:gd name="connsiteX571" fmla="*/ 71152 w 495300"/>
                  <a:gd name="connsiteY571" fmla="*/ 330041 h 400050"/>
                  <a:gd name="connsiteX572" fmla="*/ 71152 w 495300"/>
                  <a:gd name="connsiteY572" fmla="*/ 332518 h 400050"/>
                  <a:gd name="connsiteX573" fmla="*/ 70390 w 495300"/>
                  <a:gd name="connsiteY573" fmla="*/ 334232 h 400050"/>
                  <a:gd name="connsiteX574" fmla="*/ 74581 w 495300"/>
                  <a:gd name="connsiteY574" fmla="*/ 335089 h 400050"/>
                  <a:gd name="connsiteX575" fmla="*/ 77153 w 495300"/>
                  <a:gd name="connsiteY575" fmla="*/ 336804 h 400050"/>
                  <a:gd name="connsiteX576" fmla="*/ 80486 w 495300"/>
                  <a:gd name="connsiteY576" fmla="*/ 338423 h 400050"/>
                  <a:gd name="connsiteX577" fmla="*/ 87249 w 495300"/>
                  <a:gd name="connsiteY577" fmla="*/ 347758 h 400050"/>
                  <a:gd name="connsiteX578" fmla="*/ 88106 w 495300"/>
                  <a:gd name="connsiteY578" fmla="*/ 349472 h 400050"/>
                  <a:gd name="connsiteX579" fmla="*/ 88106 w 495300"/>
                  <a:gd name="connsiteY579" fmla="*/ 350330 h 400050"/>
                  <a:gd name="connsiteX580" fmla="*/ 89821 w 495300"/>
                  <a:gd name="connsiteY580" fmla="*/ 351949 h 400050"/>
                  <a:gd name="connsiteX581" fmla="*/ 93250 w 495300"/>
                  <a:gd name="connsiteY581" fmla="*/ 354521 h 400050"/>
                  <a:gd name="connsiteX582" fmla="*/ 94107 w 495300"/>
                  <a:gd name="connsiteY582" fmla="*/ 355378 h 400050"/>
                  <a:gd name="connsiteX583" fmla="*/ 94869 w 495300"/>
                  <a:gd name="connsiteY583" fmla="*/ 355378 h 400050"/>
                  <a:gd name="connsiteX584" fmla="*/ 97441 w 495300"/>
                  <a:gd name="connsiteY584" fmla="*/ 355378 h 400050"/>
                  <a:gd name="connsiteX585" fmla="*/ 99155 w 495300"/>
                  <a:gd name="connsiteY585" fmla="*/ 355378 h 400050"/>
                  <a:gd name="connsiteX586" fmla="*/ 105918 w 495300"/>
                  <a:gd name="connsiteY586" fmla="*/ 358807 h 400050"/>
                  <a:gd name="connsiteX587" fmla="*/ 107633 w 495300"/>
                  <a:gd name="connsiteY587" fmla="*/ 359569 h 400050"/>
                  <a:gd name="connsiteX588" fmla="*/ 118682 w 495300"/>
                  <a:gd name="connsiteY588" fmla="*/ 358807 h 400050"/>
                  <a:gd name="connsiteX589" fmla="*/ 119444 w 495300"/>
                  <a:gd name="connsiteY589" fmla="*/ 358807 h 400050"/>
                  <a:gd name="connsiteX590" fmla="*/ 127063 w 495300"/>
                  <a:gd name="connsiteY590" fmla="*/ 355378 h 400050"/>
                  <a:gd name="connsiteX591" fmla="*/ 127921 w 495300"/>
                  <a:gd name="connsiteY591" fmla="*/ 354521 h 400050"/>
                  <a:gd name="connsiteX592" fmla="*/ 127921 w 495300"/>
                  <a:gd name="connsiteY592" fmla="*/ 353663 h 400050"/>
                  <a:gd name="connsiteX593" fmla="*/ 128778 w 495300"/>
                  <a:gd name="connsiteY593" fmla="*/ 353663 h 400050"/>
                  <a:gd name="connsiteX594" fmla="*/ 128778 w 495300"/>
                  <a:gd name="connsiteY594" fmla="*/ 352806 h 400050"/>
                  <a:gd name="connsiteX595" fmla="*/ 128778 w 495300"/>
                  <a:gd name="connsiteY595" fmla="*/ 351949 h 400050"/>
                  <a:gd name="connsiteX596" fmla="*/ 128778 w 495300"/>
                  <a:gd name="connsiteY596" fmla="*/ 350330 h 400050"/>
                  <a:gd name="connsiteX597" fmla="*/ 128778 w 495300"/>
                  <a:gd name="connsiteY597" fmla="*/ 349472 h 400050"/>
                  <a:gd name="connsiteX598" fmla="*/ 129635 w 495300"/>
                  <a:gd name="connsiteY598" fmla="*/ 348615 h 400050"/>
                  <a:gd name="connsiteX599" fmla="*/ 130492 w 495300"/>
                  <a:gd name="connsiteY599" fmla="*/ 348615 h 400050"/>
                  <a:gd name="connsiteX600" fmla="*/ 132207 w 495300"/>
                  <a:gd name="connsiteY600" fmla="*/ 347758 h 400050"/>
                  <a:gd name="connsiteX601" fmla="*/ 154210 w 495300"/>
                  <a:gd name="connsiteY601" fmla="*/ 347758 h 400050"/>
                  <a:gd name="connsiteX602" fmla="*/ 155924 w 495300"/>
                  <a:gd name="connsiteY602" fmla="*/ 346900 h 400050"/>
                  <a:gd name="connsiteX603" fmla="*/ 156782 w 495300"/>
                  <a:gd name="connsiteY603" fmla="*/ 346900 h 400050"/>
                  <a:gd name="connsiteX604" fmla="*/ 157639 w 495300"/>
                  <a:gd name="connsiteY604" fmla="*/ 346043 h 400050"/>
                  <a:gd name="connsiteX605" fmla="*/ 158496 w 495300"/>
                  <a:gd name="connsiteY605" fmla="*/ 345186 h 400050"/>
                  <a:gd name="connsiteX606" fmla="*/ 159258 w 495300"/>
                  <a:gd name="connsiteY606" fmla="*/ 345186 h 400050"/>
                  <a:gd name="connsiteX607" fmla="*/ 161830 w 495300"/>
                  <a:gd name="connsiteY607" fmla="*/ 344424 h 400050"/>
                  <a:gd name="connsiteX608" fmla="*/ 163544 w 495300"/>
                  <a:gd name="connsiteY608" fmla="*/ 345186 h 400050"/>
                  <a:gd name="connsiteX609" fmla="*/ 170307 w 495300"/>
                  <a:gd name="connsiteY609" fmla="*/ 346900 h 400050"/>
                  <a:gd name="connsiteX610" fmla="*/ 173736 w 495300"/>
                  <a:gd name="connsiteY610" fmla="*/ 347758 h 400050"/>
                  <a:gd name="connsiteX611" fmla="*/ 174593 w 495300"/>
                  <a:gd name="connsiteY611" fmla="*/ 347758 h 400050"/>
                  <a:gd name="connsiteX612" fmla="*/ 175355 w 495300"/>
                  <a:gd name="connsiteY612" fmla="*/ 347758 h 400050"/>
                  <a:gd name="connsiteX613" fmla="*/ 177070 w 495300"/>
                  <a:gd name="connsiteY613" fmla="*/ 346043 h 400050"/>
                  <a:gd name="connsiteX614" fmla="*/ 177927 w 495300"/>
                  <a:gd name="connsiteY614" fmla="*/ 345186 h 400050"/>
                  <a:gd name="connsiteX615" fmla="*/ 178784 w 495300"/>
                  <a:gd name="connsiteY615" fmla="*/ 345186 h 400050"/>
                  <a:gd name="connsiteX616" fmla="*/ 182213 w 495300"/>
                  <a:gd name="connsiteY616" fmla="*/ 344424 h 400050"/>
                  <a:gd name="connsiteX617" fmla="*/ 182213 w 495300"/>
                  <a:gd name="connsiteY617" fmla="*/ 344424 h 400050"/>
                  <a:gd name="connsiteX618" fmla="*/ 188119 w 495300"/>
                  <a:gd name="connsiteY618" fmla="*/ 340995 h 400050"/>
                  <a:gd name="connsiteX619" fmla="*/ 190691 w 495300"/>
                  <a:gd name="connsiteY619" fmla="*/ 338423 h 400050"/>
                  <a:gd name="connsiteX620" fmla="*/ 193167 w 495300"/>
                  <a:gd name="connsiteY620" fmla="*/ 345186 h 400050"/>
                  <a:gd name="connsiteX621" fmla="*/ 194882 w 495300"/>
                  <a:gd name="connsiteY621" fmla="*/ 351187 h 400050"/>
                  <a:gd name="connsiteX622" fmla="*/ 195739 w 495300"/>
                  <a:gd name="connsiteY622" fmla="*/ 355378 h 400050"/>
                  <a:gd name="connsiteX623" fmla="*/ 195739 w 495300"/>
                  <a:gd name="connsiteY623" fmla="*/ 358807 h 400050"/>
                  <a:gd name="connsiteX624" fmla="*/ 194882 w 495300"/>
                  <a:gd name="connsiteY624" fmla="*/ 362141 h 400050"/>
                  <a:gd name="connsiteX625" fmla="*/ 194024 w 495300"/>
                  <a:gd name="connsiteY625" fmla="*/ 363855 h 400050"/>
                  <a:gd name="connsiteX626" fmla="*/ 193167 w 495300"/>
                  <a:gd name="connsiteY626" fmla="*/ 364712 h 400050"/>
                  <a:gd name="connsiteX627" fmla="*/ 188119 w 495300"/>
                  <a:gd name="connsiteY627" fmla="*/ 372332 h 400050"/>
                  <a:gd name="connsiteX628" fmla="*/ 184690 w 495300"/>
                  <a:gd name="connsiteY628" fmla="*/ 379952 h 400050"/>
                  <a:gd name="connsiteX629" fmla="*/ 183833 w 495300"/>
                  <a:gd name="connsiteY629" fmla="*/ 381571 h 400050"/>
                  <a:gd name="connsiteX630" fmla="*/ 182975 w 495300"/>
                  <a:gd name="connsiteY630" fmla="*/ 383286 h 400050"/>
                  <a:gd name="connsiteX631" fmla="*/ 182213 w 495300"/>
                  <a:gd name="connsiteY631" fmla="*/ 385000 h 400050"/>
                  <a:gd name="connsiteX632" fmla="*/ 182213 w 495300"/>
                  <a:gd name="connsiteY632" fmla="*/ 385000 h 400050"/>
                  <a:gd name="connsiteX633" fmla="*/ 182975 w 495300"/>
                  <a:gd name="connsiteY633" fmla="*/ 385858 h 400050"/>
                  <a:gd name="connsiteX634" fmla="*/ 183833 w 495300"/>
                  <a:gd name="connsiteY634" fmla="*/ 385000 h 400050"/>
                  <a:gd name="connsiteX635" fmla="*/ 188119 w 495300"/>
                  <a:gd name="connsiteY635" fmla="*/ 384143 h 400050"/>
                  <a:gd name="connsiteX636" fmla="*/ 188976 w 495300"/>
                  <a:gd name="connsiteY636" fmla="*/ 383286 h 400050"/>
                  <a:gd name="connsiteX637" fmla="*/ 190691 w 495300"/>
                  <a:gd name="connsiteY637" fmla="*/ 383286 h 400050"/>
                  <a:gd name="connsiteX638" fmla="*/ 192310 w 495300"/>
                  <a:gd name="connsiteY638" fmla="*/ 384143 h 400050"/>
                  <a:gd name="connsiteX639" fmla="*/ 194882 w 495300"/>
                  <a:gd name="connsiteY639" fmla="*/ 384143 h 400050"/>
                  <a:gd name="connsiteX640" fmla="*/ 195739 w 495300"/>
                  <a:gd name="connsiteY640" fmla="*/ 385000 h 400050"/>
                  <a:gd name="connsiteX641" fmla="*/ 204216 w 495300"/>
                  <a:gd name="connsiteY641" fmla="*/ 390906 h 400050"/>
                  <a:gd name="connsiteX642" fmla="*/ 206692 w 495300"/>
                  <a:gd name="connsiteY642" fmla="*/ 393478 h 400050"/>
                  <a:gd name="connsiteX643" fmla="*/ 207550 w 495300"/>
                  <a:gd name="connsiteY643" fmla="*/ 394335 h 400050"/>
                  <a:gd name="connsiteX644" fmla="*/ 208407 w 495300"/>
                  <a:gd name="connsiteY644" fmla="*/ 394335 h 400050"/>
                  <a:gd name="connsiteX645" fmla="*/ 208407 w 495300"/>
                  <a:gd name="connsiteY645" fmla="*/ 394335 h 400050"/>
                  <a:gd name="connsiteX646" fmla="*/ 209264 w 495300"/>
                  <a:gd name="connsiteY646" fmla="*/ 394335 h 400050"/>
                  <a:gd name="connsiteX647" fmla="*/ 214408 w 495300"/>
                  <a:gd name="connsiteY647" fmla="*/ 388334 h 400050"/>
                  <a:gd name="connsiteX648" fmla="*/ 219456 w 495300"/>
                  <a:gd name="connsiteY648" fmla="*/ 383286 h 400050"/>
                  <a:gd name="connsiteX649" fmla="*/ 220313 w 495300"/>
                  <a:gd name="connsiteY649" fmla="*/ 382429 h 400050"/>
                  <a:gd name="connsiteX650" fmla="*/ 225362 w 495300"/>
                  <a:gd name="connsiteY650" fmla="*/ 380809 h 400050"/>
                  <a:gd name="connsiteX651" fmla="*/ 227076 w 495300"/>
                  <a:gd name="connsiteY651" fmla="*/ 379095 h 400050"/>
                  <a:gd name="connsiteX652" fmla="*/ 228791 w 495300"/>
                  <a:gd name="connsiteY652" fmla="*/ 379095 h 400050"/>
                  <a:gd name="connsiteX653" fmla="*/ 230505 w 495300"/>
                  <a:gd name="connsiteY653" fmla="*/ 378238 h 400050"/>
                  <a:gd name="connsiteX654" fmla="*/ 232124 w 495300"/>
                  <a:gd name="connsiteY654" fmla="*/ 379095 h 400050"/>
                  <a:gd name="connsiteX655" fmla="*/ 232982 w 495300"/>
                  <a:gd name="connsiteY655" fmla="*/ 379095 h 400050"/>
                  <a:gd name="connsiteX656" fmla="*/ 234696 w 495300"/>
                  <a:gd name="connsiteY656" fmla="*/ 379095 h 400050"/>
                  <a:gd name="connsiteX657" fmla="*/ 244888 w 495300"/>
                  <a:gd name="connsiteY657" fmla="*/ 385000 h 400050"/>
                  <a:gd name="connsiteX658" fmla="*/ 250793 w 495300"/>
                  <a:gd name="connsiteY658" fmla="*/ 387572 h 400050"/>
                  <a:gd name="connsiteX659" fmla="*/ 255842 w 495300"/>
                  <a:gd name="connsiteY659" fmla="*/ 388334 h 400050"/>
                  <a:gd name="connsiteX660" fmla="*/ 258413 w 495300"/>
                  <a:gd name="connsiteY660" fmla="*/ 389192 h 400050"/>
                  <a:gd name="connsiteX661" fmla="*/ 259271 w 495300"/>
                  <a:gd name="connsiteY661" fmla="*/ 389192 h 400050"/>
                  <a:gd name="connsiteX662" fmla="*/ 261842 w 495300"/>
                  <a:gd name="connsiteY662" fmla="*/ 387572 h 400050"/>
                  <a:gd name="connsiteX663" fmla="*/ 262604 w 495300"/>
                  <a:gd name="connsiteY663" fmla="*/ 387572 h 400050"/>
                  <a:gd name="connsiteX664" fmla="*/ 265176 w 495300"/>
                  <a:gd name="connsiteY664" fmla="*/ 386715 h 400050"/>
                  <a:gd name="connsiteX665" fmla="*/ 266033 w 495300"/>
                  <a:gd name="connsiteY665" fmla="*/ 385858 h 400050"/>
                  <a:gd name="connsiteX666" fmla="*/ 266891 w 495300"/>
                  <a:gd name="connsiteY666" fmla="*/ 385000 h 400050"/>
                  <a:gd name="connsiteX667" fmla="*/ 268605 w 495300"/>
                  <a:gd name="connsiteY667" fmla="*/ 384143 h 400050"/>
                  <a:gd name="connsiteX668" fmla="*/ 270320 w 495300"/>
                  <a:gd name="connsiteY668" fmla="*/ 383286 h 400050"/>
                  <a:gd name="connsiteX669" fmla="*/ 271082 w 495300"/>
                  <a:gd name="connsiteY669" fmla="*/ 382429 h 400050"/>
                  <a:gd name="connsiteX670" fmla="*/ 271939 w 495300"/>
                  <a:gd name="connsiteY670" fmla="*/ 383286 h 400050"/>
                  <a:gd name="connsiteX671" fmla="*/ 271939 w 495300"/>
                  <a:gd name="connsiteY671" fmla="*/ 384143 h 400050"/>
                  <a:gd name="connsiteX672" fmla="*/ 271939 w 495300"/>
                  <a:gd name="connsiteY672" fmla="*/ 385000 h 400050"/>
                  <a:gd name="connsiteX673" fmla="*/ 271939 w 495300"/>
                  <a:gd name="connsiteY673" fmla="*/ 386715 h 400050"/>
                  <a:gd name="connsiteX674" fmla="*/ 270320 w 495300"/>
                  <a:gd name="connsiteY674" fmla="*/ 388334 h 400050"/>
                  <a:gd name="connsiteX675" fmla="*/ 269462 w 495300"/>
                  <a:gd name="connsiteY675" fmla="*/ 389192 h 400050"/>
                  <a:gd name="connsiteX676" fmla="*/ 269462 w 495300"/>
                  <a:gd name="connsiteY676" fmla="*/ 390906 h 400050"/>
                  <a:gd name="connsiteX677" fmla="*/ 269462 w 495300"/>
                  <a:gd name="connsiteY677" fmla="*/ 391763 h 400050"/>
                  <a:gd name="connsiteX678" fmla="*/ 269462 w 495300"/>
                  <a:gd name="connsiteY678" fmla="*/ 393478 h 400050"/>
                  <a:gd name="connsiteX679" fmla="*/ 270320 w 495300"/>
                  <a:gd name="connsiteY679" fmla="*/ 395192 h 400050"/>
                  <a:gd name="connsiteX680" fmla="*/ 270320 w 495300"/>
                  <a:gd name="connsiteY680" fmla="*/ 396812 h 400050"/>
                  <a:gd name="connsiteX681" fmla="*/ 276225 w 495300"/>
                  <a:gd name="connsiteY681" fmla="*/ 400241 h 400050"/>
                  <a:gd name="connsiteX682" fmla="*/ 280416 w 495300"/>
                  <a:gd name="connsiteY682" fmla="*/ 398526 h 400050"/>
                  <a:gd name="connsiteX683" fmla="*/ 282988 w 495300"/>
                  <a:gd name="connsiteY683" fmla="*/ 396812 h 400050"/>
                  <a:gd name="connsiteX684" fmla="*/ 284702 w 495300"/>
                  <a:gd name="connsiteY684" fmla="*/ 395192 h 400050"/>
                  <a:gd name="connsiteX685" fmla="*/ 289750 w 495300"/>
                  <a:gd name="connsiteY685" fmla="*/ 388334 h 400050"/>
                  <a:gd name="connsiteX686" fmla="*/ 290608 w 495300"/>
                  <a:gd name="connsiteY686" fmla="*/ 386715 h 400050"/>
                  <a:gd name="connsiteX687" fmla="*/ 291465 w 495300"/>
                  <a:gd name="connsiteY687" fmla="*/ 385858 h 400050"/>
                  <a:gd name="connsiteX688" fmla="*/ 291465 w 495300"/>
                  <a:gd name="connsiteY688" fmla="*/ 385000 h 400050"/>
                  <a:gd name="connsiteX689" fmla="*/ 291465 w 495300"/>
                  <a:gd name="connsiteY689" fmla="*/ 384143 h 400050"/>
                  <a:gd name="connsiteX690" fmla="*/ 291465 w 495300"/>
                  <a:gd name="connsiteY690" fmla="*/ 382429 h 400050"/>
                  <a:gd name="connsiteX691" fmla="*/ 291465 w 495300"/>
                  <a:gd name="connsiteY691" fmla="*/ 379952 h 400050"/>
                  <a:gd name="connsiteX692" fmla="*/ 292322 w 495300"/>
                  <a:gd name="connsiteY692" fmla="*/ 377380 h 400050"/>
                  <a:gd name="connsiteX693" fmla="*/ 293180 w 495300"/>
                  <a:gd name="connsiteY693" fmla="*/ 375666 h 400050"/>
                  <a:gd name="connsiteX694" fmla="*/ 292322 w 495300"/>
                  <a:gd name="connsiteY694" fmla="*/ 373951 h 400050"/>
                  <a:gd name="connsiteX695" fmla="*/ 290608 w 495300"/>
                  <a:gd name="connsiteY695" fmla="*/ 370618 h 400050"/>
                  <a:gd name="connsiteX696" fmla="*/ 290608 w 495300"/>
                  <a:gd name="connsiteY696" fmla="*/ 368903 h 400050"/>
                  <a:gd name="connsiteX697" fmla="*/ 290608 w 495300"/>
                  <a:gd name="connsiteY697" fmla="*/ 367189 h 400050"/>
                  <a:gd name="connsiteX698" fmla="*/ 290608 w 495300"/>
                  <a:gd name="connsiteY698" fmla="*/ 365570 h 400050"/>
                  <a:gd name="connsiteX699" fmla="*/ 293180 w 495300"/>
                  <a:gd name="connsiteY699" fmla="*/ 362141 h 400050"/>
                  <a:gd name="connsiteX700" fmla="*/ 293180 w 495300"/>
                  <a:gd name="connsiteY700" fmla="*/ 360426 h 400050"/>
                  <a:gd name="connsiteX701" fmla="*/ 293180 w 495300"/>
                  <a:gd name="connsiteY701" fmla="*/ 357950 h 400050"/>
                  <a:gd name="connsiteX702" fmla="*/ 292322 w 495300"/>
                  <a:gd name="connsiteY702" fmla="*/ 351187 h 400050"/>
                  <a:gd name="connsiteX703" fmla="*/ 292322 w 495300"/>
                  <a:gd name="connsiteY703" fmla="*/ 349472 h 400050"/>
                  <a:gd name="connsiteX704" fmla="*/ 291465 w 495300"/>
                  <a:gd name="connsiteY704" fmla="*/ 347758 h 400050"/>
                  <a:gd name="connsiteX705" fmla="*/ 288893 w 495300"/>
                  <a:gd name="connsiteY705" fmla="*/ 344424 h 400050"/>
                  <a:gd name="connsiteX706" fmla="*/ 287179 w 495300"/>
                  <a:gd name="connsiteY706" fmla="*/ 342709 h 400050"/>
                  <a:gd name="connsiteX707" fmla="*/ 287179 w 495300"/>
                  <a:gd name="connsiteY707" fmla="*/ 340138 h 400050"/>
                  <a:gd name="connsiteX708" fmla="*/ 287179 w 495300"/>
                  <a:gd name="connsiteY708" fmla="*/ 339280 h 400050"/>
                  <a:gd name="connsiteX709" fmla="*/ 287179 w 495300"/>
                  <a:gd name="connsiteY709" fmla="*/ 339280 h 400050"/>
                  <a:gd name="connsiteX710" fmla="*/ 287179 w 495300"/>
                  <a:gd name="connsiteY710" fmla="*/ 338423 h 400050"/>
                  <a:gd name="connsiteX711" fmla="*/ 287179 w 495300"/>
                  <a:gd name="connsiteY711" fmla="*/ 338423 h 400050"/>
                  <a:gd name="connsiteX712" fmla="*/ 288036 w 495300"/>
                  <a:gd name="connsiteY712" fmla="*/ 338423 h 400050"/>
                  <a:gd name="connsiteX713" fmla="*/ 290608 w 495300"/>
                  <a:gd name="connsiteY713" fmla="*/ 337566 h 400050"/>
                  <a:gd name="connsiteX714" fmla="*/ 291465 w 495300"/>
                  <a:gd name="connsiteY714" fmla="*/ 336804 h 400050"/>
                  <a:gd name="connsiteX715" fmla="*/ 293180 w 495300"/>
                  <a:gd name="connsiteY715" fmla="*/ 336804 h 400050"/>
                  <a:gd name="connsiteX716" fmla="*/ 293180 w 495300"/>
                  <a:gd name="connsiteY716" fmla="*/ 336804 h 400050"/>
                  <a:gd name="connsiteX717" fmla="*/ 294037 w 495300"/>
                  <a:gd name="connsiteY717" fmla="*/ 336804 h 400050"/>
                  <a:gd name="connsiteX718" fmla="*/ 294799 w 495300"/>
                  <a:gd name="connsiteY718" fmla="*/ 335947 h 400050"/>
                  <a:gd name="connsiteX719" fmla="*/ 296513 w 495300"/>
                  <a:gd name="connsiteY719" fmla="*/ 333375 h 400050"/>
                  <a:gd name="connsiteX720" fmla="*/ 297371 w 495300"/>
                  <a:gd name="connsiteY720" fmla="*/ 332518 h 400050"/>
                  <a:gd name="connsiteX721" fmla="*/ 298228 w 495300"/>
                  <a:gd name="connsiteY721" fmla="*/ 331660 h 400050"/>
                  <a:gd name="connsiteX722" fmla="*/ 299942 w 495300"/>
                  <a:gd name="connsiteY722" fmla="*/ 331660 h 400050"/>
                  <a:gd name="connsiteX723" fmla="*/ 300800 w 495300"/>
                  <a:gd name="connsiteY723" fmla="*/ 332518 h 400050"/>
                  <a:gd name="connsiteX724" fmla="*/ 301657 w 495300"/>
                  <a:gd name="connsiteY724" fmla="*/ 333375 h 400050"/>
                  <a:gd name="connsiteX725" fmla="*/ 305848 w 495300"/>
                  <a:gd name="connsiteY725" fmla="*/ 338423 h 400050"/>
                  <a:gd name="connsiteX726" fmla="*/ 323660 w 495300"/>
                  <a:gd name="connsiteY726" fmla="*/ 347758 h 400050"/>
                  <a:gd name="connsiteX727" fmla="*/ 326231 w 495300"/>
                  <a:gd name="connsiteY727" fmla="*/ 349472 h 400050"/>
                  <a:gd name="connsiteX728" fmla="*/ 327850 w 495300"/>
                  <a:gd name="connsiteY728" fmla="*/ 351187 h 400050"/>
                  <a:gd name="connsiteX729" fmla="*/ 329565 w 495300"/>
                  <a:gd name="connsiteY729" fmla="*/ 354521 h 400050"/>
                  <a:gd name="connsiteX730" fmla="*/ 330422 w 495300"/>
                  <a:gd name="connsiteY730" fmla="*/ 355378 h 400050"/>
                  <a:gd name="connsiteX731" fmla="*/ 332137 w 495300"/>
                  <a:gd name="connsiteY731" fmla="*/ 357092 h 400050"/>
                  <a:gd name="connsiteX732" fmla="*/ 334613 w 495300"/>
                  <a:gd name="connsiteY732" fmla="*/ 358807 h 400050"/>
                  <a:gd name="connsiteX733" fmla="*/ 336328 w 495300"/>
                  <a:gd name="connsiteY733" fmla="*/ 359569 h 400050"/>
                  <a:gd name="connsiteX734" fmla="*/ 338900 w 495300"/>
                  <a:gd name="connsiteY734" fmla="*/ 360426 h 400050"/>
                  <a:gd name="connsiteX735" fmla="*/ 340614 w 495300"/>
                  <a:gd name="connsiteY735" fmla="*/ 360426 h 400050"/>
                  <a:gd name="connsiteX736" fmla="*/ 342329 w 495300"/>
                  <a:gd name="connsiteY736" fmla="*/ 359569 h 400050"/>
                  <a:gd name="connsiteX737" fmla="*/ 346520 w 495300"/>
                  <a:gd name="connsiteY737" fmla="*/ 357950 h 400050"/>
                  <a:gd name="connsiteX738" fmla="*/ 348234 w 495300"/>
                  <a:gd name="connsiteY738" fmla="*/ 357950 h 400050"/>
                  <a:gd name="connsiteX739" fmla="*/ 349091 w 495300"/>
                  <a:gd name="connsiteY739" fmla="*/ 358807 h 400050"/>
                  <a:gd name="connsiteX740" fmla="*/ 349949 w 495300"/>
                  <a:gd name="connsiteY740" fmla="*/ 358807 h 400050"/>
                  <a:gd name="connsiteX741" fmla="*/ 360902 w 495300"/>
                  <a:gd name="connsiteY741" fmla="*/ 365570 h 400050"/>
                  <a:gd name="connsiteX742" fmla="*/ 365188 w 495300"/>
                  <a:gd name="connsiteY742" fmla="*/ 370618 h 400050"/>
                  <a:gd name="connsiteX743" fmla="*/ 370237 w 495300"/>
                  <a:gd name="connsiteY743" fmla="*/ 372332 h 400050"/>
                  <a:gd name="connsiteX744" fmla="*/ 371094 w 495300"/>
                  <a:gd name="connsiteY744" fmla="*/ 371475 h 400050"/>
                  <a:gd name="connsiteX745" fmla="*/ 371951 w 495300"/>
                  <a:gd name="connsiteY745" fmla="*/ 370618 h 400050"/>
                  <a:gd name="connsiteX746" fmla="*/ 373666 w 495300"/>
                  <a:gd name="connsiteY746" fmla="*/ 369760 h 400050"/>
                  <a:gd name="connsiteX747" fmla="*/ 374428 w 495300"/>
                  <a:gd name="connsiteY747" fmla="*/ 368903 h 400050"/>
                  <a:gd name="connsiteX748" fmla="*/ 375285 w 495300"/>
                  <a:gd name="connsiteY748" fmla="*/ 368903 h 400050"/>
                  <a:gd name="connsiteX749" fmla="*/ 377000 w 495300"/>
                  <a:gd name="connsiteY749" fmla="*/ 369760 h 400050"/>
                  <a:gd name="connsiteX750" fmla="*/ 377857 w 495300"/>
                  <a:gd name="connsiteY750" fmla="*/ 369760 h 400050"/>
                  <a:gd name="connsiteX751" fmla="*/ 378714 w 495300"/>
                  <a:gd name="connsiteY751" fmla="*/ 368903 h 400050"/>
                  <a:gd name="connsiteX752" fmla="*/ 378714 w 495300"/>
                  <a:gd name="connsiteY752" fmla="*/ 367189 h 400050"/>
                  <a:gd name="connsiteX753" fmla="*/ 378714 w 495300"/>
                  <a:gd name="connsiteY753" fmla="*/ 365570 h 400050"/>
                  <a:gd name="connsiteX754" fmla="*/ 379571 w 495300"/>
                  <a:gd name="connsiteY754" fmla="*/ 364712 h 400050"/>
                  <a:gd name="connsiteX755" fmla="*/ 380429 w 495300"/>
                  <a:gd name="connsiteY755" fmla="*/ 363855 h 400050"/>
                  <a:gd name="connsiteX756" fmla="*/ 382143 w 495300"/>
                  <a:gd name="connsiteY756" fmla="*/ 364712 h 400050"/>
                  <a:gd name="connsiteX757" fmla="*/ 386334 w 495300"/>
                  <a:gd name="connsiteY757" fmla="*/ 363855 h 400050"/>
                  <a:gd name="connsiteX758" fmla="*/ 388049 w 495300"/>
                  <a:gd name="connsiteY758" fmla="*/ 362998 h 400050"/>
                  <a:gd name="connsiteX759" fmla="*/ 388049 w 495300"/>
                  <a:gd name="connsiteY759" fmla="*/ 362141 h 400050"/>
                  <a:gd name="connsiteX760" fmla="*/ 388049 w 495300"/>
                  <a:gd name="connsiteY760" fmla="*/ 361283 h 400050"/>
                  <a:gd name="connsiteX761" fmla="*/ 385477 w 495300"/>
                  <a:gd name="connsiteY761" fmla="*/ 359569 h 400050"/>
                  <a:gd name="connsiteX762" fmla="*/ 383762 w 495300"/>
                  <a:gd name="connsiteY762" fmla="*/ 357950 h 400050"/>
                  <a:gd name="connsiteX763" fmla="*/ 382905 w 495300"/>
                  <a:gd name="connsiteY763" fmla="*/ 357092 h 400050"/>
                  <a:gd name="connsiteX764" fmla="*/ 382143 w 495300"/>
                  <a:gd name="connsiteY764" fmla="*/ 354521 h 400050"/>
                  <a:gd name="connsiteX765" fmla="*/ 382143 w 495300"/>
                  <a:gd name="connsiteY765" fmla="*/ 351187 h 400050"/>
                  <a:gd name="connsiteX766" fmla="*/ 381286 w 495300"/>
                  <a:gd name="connsiteY766" fmla="*/ 348615 h 400050"/>
                  <a:gd name="connsiteX767" fmla="*/ 379571 w 495300"/>
                  <a:gd name="connsiteY767" fmla="*/ 346900 h 400050"/>
                  <a:gd name="connsiteX768" fmla="*/ 377857 w 495300"/>
                  <a:gd name="connsiteY768" fmla="*/ 346043 h 400050"/>
                  <a:gd name="connsiteX769" fmla="*/ 374428 w 495300"/>
                  <a:gd name="connsiteY769" fmla="*/ 343567 h 400050"/>
                  <a:gd name="connsiteX770" fmla="*/ 373666 w 495300"/>
                  <a:gd name="connsiteY770" fmla="*/ 343567 h 400050"/>
                  <a:gd name="connsiteX771" fmla="*/ 373666 w 495300"/>
                  <a:gd name="connsiteY771" fmla="*/ 342709 h 400050"/>
                  <a:gd name="connsiteX772" fmla="*/ 372809 w 495300"/>
                  <a:gd name="connsiteY772" fmla="*/ 340995 h 400050"/>
                  <a:gd name="connsiteX773" fmla="*/ 372809 w 495300"/>
                  <a:gd name="connsiteY773" fmla="*/ 339280 h 400050"/>
                  <a:gd name="connsiteX774" fmla="*/ 372809 w 495300"/>
                  <a:gd name="connsiteY774" fmla="*/ 339280 h 400050"/>
                  <a:gd name="connsiteX775" fmla="*/ 372809 w 495300"/>
                  <a:gd name="connsiteY775" fmla="*/ 338423 h 400050"/>
                  <a:gd name="connsiteX776" fmla="*/ 372809 w 495300"/>
                  <a:gd name="connsiteY776" fmla="*/ 338423 h 400050"/>
                  <a:gd name="connsiteX777" fmla="*/ 372809 w 495300"/>
                  <a:gd name="connsiteY777" fmla="*/ 338423 h 400050"/>
                  <a:gd name="connsiteX778" fmla="*/ 372809 w 495300"/>
                  <a:gd name="connsiteY778" fmla="*/ 338423 h 400050"/>
                  <a:gd name="connsiteX779" fmla="*/ 373666 w 495300"/>
                  <a:gd name="connsiteY779" fmla="*/ 338423 h 400050"/>
                  <a:gd name="connsiteX780" fmla="*/ 376142 w 495300"/>
                  <a:gd name="connsiteY780" fmla="*/ 338423 h 400050"/>
                  <a:gd name="connsiteX781" fmla="*/ 377000 w 495300"/>
                  <a:gd name="connsiteY781" fmla="*/ 338423 h 400050"/>
                  <a:gd name="connsiteX782" fmla="*/ 377857 w 495300"/>
                  <a:gd name="connsiteY782" fmla="*/ 338423 h 400050"/>
                  <a:gd name="connsiteX783" fmla="*/ 377857 w 495300"/>
                  <a:gd name="connsiteY783" fmla="*/ 337566 h 400050"/>
                  <a:gd name="connsiteX784" fmla="*/ 377857 w 495300"/>
                  <a:gd name="connsiteY784" fmla="*/ 336804 h 400050"/>
                  <a:gd name="connsiteX785" fmla="*/ 377857 w 495300"/>
                  <a:gd name="connsiteY785" fmla="*/ 335947 h 400050"/>
                  <a:gd name="connsiteX786" fmla="*/ 377000 w 495300"/>
                  <a:gd name="connsiteY786" fmla="*/ 333375 h 400050"/>
                  <a:gd name="connsiteX787" fmla="*/ 375285 w 495300"/>
                  <a:gd name="connsiteY787" fmla="*/ 331660 h 400050"/>
                  <a:gd name="connsiteX788" fmla="*/ 374428 w 495300"/>
                  <a:gd name="connsiteY788" fmla="*/ 330041 h 400050"/>
                  <a:gd name="connsiteX789" fmla="*/ 371951 w 495300"/>
                  <a:gd name="connsiteY789" fmla="*/ 328327 h 400050"/>
                  <a:gd name="connsiteX790" fmla="*/ 369380 w 495300"/>
                  <a:gd name="connsiteY790" fmla="*/ 328327 h 400050"/>
                  <a:gd name="connsiteX791" fmla="*/ 364331 w 495300"/>
                  <a:gd name="connsiteY791" fmla="*/ 328327 h 400050"/>
                  <a:gd name="connsiteX792" fmla="*/ 363474 w 495300"/>
                  <a:gd name="connsiteY792" fmla="*/ 327470 h 400050"/>
                  <a:gd name="connsiteX793" fmla="*/ 361760 w 495300"/>
                  <a:gd name="connsiteY793" fmla="*/ 326612 h 400050"/>
                  <a:gd name="connsiteX794" fmla="*/ 360902 w 495300"/>
                  <a:gd name="connsiteY794" fmla="*/ 324898 h 400050"/>
                  <a:gd name="connsiteX795" fmla="*/ 360045 w 495300"/>
                  <a:gd name="connsiteY795" fmla="*/ 323183 h 400050"/>
                  <a:gd name="connsiteX796" fmla="*/ 359188 w 495300"/>
                  <a:gd name="connsiteY796" fmla="*/ 317278 h 400050"/>
                  <a:gd name="connsiteX797" fmla="*/ 351568 w 495300"/>
                  <a:gd name="connsiteY797" fmla="*/ 311372 h 400050"/>
                  <a:gd name="connsiteX798" fmla="*/ 349091 w 495300"/>
                  <a:gd name="connsiteY798" fmla="*/ 309658 h 400050"/>
                  <a:gd name="connsiteX799" fmla="*/ 348234 w 495300"/>
                  <a:gd name="connsiteY799" fmla="*/ 309658 h 400050"/>
                  <a:gd name="connsiteX800" fmla="*/ 347377 w 495300"/>
                  <a:gd name="connsiteY800" fmla="*/ 309658 h 400050"/>
                  <a:gd name="connsiteX801" fmla="*/ 345662 w 495300"/>
                  <a:gd name="connsiteY801" fmla="*/ 309658 h 400050"/>
                  <a:gd name="connsiteX802" fmla="*/ 343948 w 495300"/>
                  <a:gd name="connsiteY802" fmla="*/ 309658 h 400050"/>
                  <a:gd name="connsiteX803" fmla="*/ 338042 w 495300"/>
                  <a:gd name="connsiteY803" fmla="*/ 304609 h 400050"/>
                  <a:gd name="connsiteX804" fmla="*/ 338042 w 495300"/>
                  <a:gd name="connsiteY804" fmla="*/ 302895 h 400050"/>
                  <a:gd name="connsiteX805" fmla="*/ 338042 w 495300"/>
                  <a:gd name="connsiteY805" fmla="*/ 301276 h 400050"/>
                  <a:gd name="connsiteX806" fmla="*/ 338042 w 495300"/>
                  <a:gd name="connsiteY806" fmla="*/ 298704 h 400050"/>
                  <a:gd name="connsiteX807" fmla="*/ 338042 w 495300"/>
                  <a:gd name="connsiteY807" fmla="*/ 295275 h 400050"/>
                  <a:gd name="connsiteX808" fmla="*/ 338900 w 495300"/>
                  <a:gd name="connsiteY808" fmla="*/ 294418 h 400050"/>
                  <a:gd name="connsiteX809" fmla="*/ 339757 w 495300"/>
                  <a:gd name="connsiteY809" fmla="*/ 291941 h 400050"/>
                  <a:gd name="connsiteX810" fmla="*/ 339757 w 495300"/>
                  <a:gd name="connsiteY810" fmla="*/ 290227 h 400050"/>
                  <a:gd name="connsiteX811" fmla="*/ 339757 w 495300"/>
                  <a:gd name="connsiteY811" fmla="*/ 289370 h 400050"/>
                  <a:gd name="connsiteX812" fmla="*/ 339757 w 495300"/>
                  <a:gd name="connsiteY812" fmla="*/ 287655 h 400050"/>
                  <a:gd name="connsiteX813" fmla="*/ 339757 w 495300"/>
                  <a:gd name="connsiteY813" fmla="*/ 286893 h 400050"/>
                  <a:gd name="connsiteX814" fmla="*/ 339757 w 495300"/>
                  <a:gd name="connsiteY814" fmla="*/ 286036 h 400050"/>
                  <a:gd name="connsiteX815" fmla="*/ 343091 w 495300"/>
                  <a:gd name="connsiteY815" fmla="*/ 283464 h 400050"/>
                  <a:gd name="connsiteX816" fmla="*/ 343948 w 495300"/>
                  <a:gd name="connsiteY816" fmla="*/ 283464 h 400050"/>
                  <a:gd name="connsiteX817" fmla="*/ 345662 w 495300"/>
                  <a:gd name="connsiteY817" fmla="*/ 282607 h 400050"/>
                  <a:gd name="connsiteX818" fmla="*/ 347377 w 495300"/>
                  <a:gd name="connsiteY818" fmla="*/ 282607 h 400050"/>
                  <a:gd name="connsiteX819" fmla="*/ 349091 w 495300"/>
                  <a:gd name="connsiteY819" fmla="*/ 281750 h 400050"/>
                  <a:gd name="connsiteX820" fmla="*/ 349091 w 495300"/>
                  <a:gd name="connsiteY820" fmla="*/ 281750 h 400050"/>
                  <a:gd name="connsiteX821" fmla="*/ 349949 w 495300"/>
                  <a:gd name="connsiteY821" fmla="*/ 280892 h 400050"/>
                  <a:gd name="connsiteX822" fmla="*/ 349949 w 495300"/>
                  <a:gd name="connsiteY822" fmla="*/ 280892 h 400050"/>
                  <a:gd name="connsiteX823" fmla="*/ 349949 w 495300"/>
                  <a:gd name="connsiteY823" fmla="*/ 280035 h 400050"/>
                  <a:gd name="connsiteX824" fmla="*/ 349091 w 495300"/>
                  <a:gd name="connsiteY824" fmla="*/ 280035 h 400050"/>
                  <a:gd name="connsiteX825" fmla="*/ 346520 w 495300"/>
                  <a:gd name="connsiteY825" fmla="*/ 280035 h 400050"/>
                  <a:gd name="connsiteX826" fmla="*/ 345662 w 495300"/>
                  <a:gd name="connsiteY826" fmla="*/ 279273 h 400050"/>
                  <a:gd name="connsiteX827" fmla="*/ 345662 w 495300"/>
                  <a:gd name="connsiteY827" fmla="*/ 279273 h 400050"/>
                  <a:gd name="connsiteX828" fmla="*/ 345662 w 495300"/>
                  <a:gd name="connsiteY828" fmla="*/ 279273 h 400050"/>
                  <a:gd name="connsiteX829" fmla="*/ 345662 w 495300"/>
                  <a:gd name="connsiteY829" fmla="*/ 279273 h 400050"/>
                  <a:gd name="connsiteX830" fmla="*/ 344805 w 495300"/>
                  <a:gd name="connsiteY830" fmla="*/ 279273 h 400050"/>
                  <a:gd name="connsiteX831" fmla="*/ 343948 w 495300"/>
                  <a:gd name="connsiteY831" fmla="*/ 278416 h 400050"/>
                  <a:gd name="connsiteX832" fmla="*/ 328708 w 495300"/>
                  <a:gd name="connsiteY832" fmla="*/ 278416 h 400050"/>
                  <a:gd name="connsiteX833" fmla="*/ 322802 w 495300"/>
                  <a:gd name="connsiteY833" fmla="*/ 276701 h 400050"/>
                  <a:gd name="connsiteX834" fmla="*/ 318516 w 495300"/>
                  <a:gd name="connsiteY834" fmla="*/ 276701 h 400050"/>
                  <a:gd name="connsiteX835" fmla="*/ 316897 w 495300"/>
                  <a:gd name="connsiteY835" fmla="*/ 277559 h 400050"/>
                  <a:gd name="connsiteX836" fmla="*/ 315182 w 495300"/>
                  <a:gd name="connsiteY836" fmla="*/ 278416 h 400050"/>
                  <a:gd name="connsiteX837" fmla="*/ 313468 w 495300"/>
                  <a:gd name="connsiteY837" fmla="*/ 278416 h 400050"/>
                  <a:gd name="connsiteX838" fmla="*/ 311753 w 495300"/>
                  <a:gd name="connsiteY838" fmla="*/ 277559 h 400050"/>
                  <a:gd name="connsiteX839" fmla="*/ 310134 w 495300"/>
                  <a:gd name="connsiteY839" fmla="*/ 275844 h 400050"/>
                  <a:gd name="connsiteX840" fmla="*/ 296513 w 495300"/>
                  <a:gd name="connsiteY840" fmla="*/ 261461 h 400050"/>
                  <a:gd name="connsiteX841" fmla="*/ 294799 w 495300"/>
                  <a:gd name="connsiteY841" fmla="*/ 259747 h 400050"/>
                  <a:gd name="connsiteX842" fmla="*/ 292322 w 495300"/>
                  <a:gd name="connsiteY842" fmla="*/ 258128 h 400050"/>
                  <a:gd name="connsiteX843" fmla="*/ 289750 w 495300"/>
                  <a:gd name="connsiteY843" fmla="*/ 258128 h 400050"/>
                  <a:gd name="connsiteX844" fmla="*/ 288036 w 495300"/>
                  <a:gd name="connsiteY844" fmla="*/ 258128 h 400050"/>
                  <a:gd name="connsiteX845" fmla="*/ 282988 w 495300"/>
                  <a:gd name="connsiteY845" fmla="*/ 259747 h 400050"/>
                  <a:gd name="connsiteX846" fmla="*/ 282131 w 495300"/>
                  <a:gd name="connsiteY846" fmla="*/ 259747 h 400050"/>
                  <a:gd name="connsiteX847" fmla="*/ 281273 w 495300"/>
                  <a:gd name="connsiteY847" fmla="*/ 259747 h 400050"/>
                  <a:gd name="connsiteX848" fmla="*/ 281273 w 495300"/>
                  <a:gd name="connsiteY848" fmla="*/ 258128 h 400050"/>
                  <a:gd name="connsiteX849" fmla="*/ 280416 w 495300"/>
                  <a:gd name="connsiteY849" fmla="*/ 257270 h 400050"/>
                  <a:gd name="connsiteX850" fmla="*/ 279559 w 495300"/>
                  <a:gd name="connsiteY850" fmla="*/ 254699 h 400050"/>
                  <a:gd name="connsiteX851" fmla="*/ 276225 w 495300"/>
                  <a:gd name="connsiteY851" fmla="*/ 250508 h 400050"/>
                  <a:gd name="connsiteX852" fmla="*/ 275368 w 495300"/>
                  <a:gd name="connsiteY852" fmla="*/ 247936 h 400050"/>
                  <a:gd name="connsiteX853" fmla="*/ 275368 w 495300"/>
                  <a:gd name="connsiteY853" fmla="*/ 245364 h 400050"/>
                  <a:gd name="connsiteX854" fmla="*/ 277082 w 495300"/>
                  <a:gd name="connsiteY854" fmla="*/ 242888 h 400050"/>
                  <a:gd name="connsiteX855" fmla="*/ 278702 w 495300"/>
                  <a:gd name="connsiteY855" fmla="*/ 240316 h 400050"/>
                  <a:gd name="connsiteX856" fmla="*/ 280416 w 495300"/>
                  <a:gd name="connsiteY856" fmla="*/ 237744 h 400050"/>
                  <a:gd name="connsiteX857" fmla="*/ 281273 w 495300"/>
                  <a:gd name="connsiteY857" fmla="*/ 236887 h 400050"/>
                  <a:gd name="connsiteX858" fmla="*/ 281273 w 495300"/>
                  <a:gd name="connsiteY858" fmla="*/ 235267 h 400050"/>
                  <a:gd name="connsiteX859" fmla="*/ 281273 w 495300"/>
                  <a:gd name="connsiteY859" fmla="*/ 232696 h 400050"/>
                  <a:gd name="connsiteX860" fmla="*/ 282131 w 495300"/>
                  <a:gd name="connsiteY860" fmla="*/ 230981 h 400050"/>
                  <a:gd name="connsiteX861" fmla="*/ 282131 w 495300"/>
                  <a:gd name="connsiteY861" fmla="*/ 230124 h 400050"/>
                  <a:gd name="connsiteX862" fmla="*/ 282131 w 495300"/>
                  <a:gd name="connsiteY862" fmla="*/ 229267 h 400050"/>
                  <a:gd name="connsiteX863" fmla="*/ 281273 w 495300"/>
                  <a:gd name="connsiteY863" fmla="*/ 228505 h 400050"/>
                  <a:gd name="connsiteX864" fmla="*/ 280416 w 495300"/>
                  <a:gd name="connsiteY864" fmla="*/ 228505 h 400050"/>
                  <a:gd name="connsiteX865" fmla="*/ 277082 w 495300"/>
                  <a:gd name="connsiteY865" fmla="*/ 228505 h 400050"/>
                  <a:gd name="connsiteX866" fmla="*/ 277082 w 495300"/>
                  <a:gd name="connsiteY866" fmla="*/ 228505 h 400050"/>
                  <a:gd name="connsiteX867" fmla="*/ 276225 w 495300"/>
                  <a:gd name="connsiteY867" fmla="*/ 226790 h 400050"/>
                  <a:gd name="connsiteX868" fmla="*/ 275368 w 495300"/>
                  <a:gd name="connsiteY868" fmla="*/ 225933 h 400050"/>
                  <a:gd name="connsiteX869" fmla="*/ 274511 w 495300"/>
                  <a:gd name="connsiteY869" fmla="*/ 225076 h 400050"/>
                  <a:gd name="connsiteX870" fmla="*/ 274511 w 495300"/>
                  <a:gd name="connsiteY870" fmla="*/ 223361 h 400050"/>
                  <a:gd name="connsiteX871" fmla="*/ 275368 w 495300"/>
                  <a:gd name="connsiteY871" fmla="*/ 221742 h 400050"/>
                  <a:gd name="connsiteX872" fmla="*/ 275368 w 495300"/>
                  <a:gd name="connsiteY872" fmla="*/ 221742 h 400050"/>
                  <a:gd name="connsiteX873" fmla="*/ 277940 w 495300"/>
                  <a:gd name="connsiteY873" fmla="*/ 220885 h 400050"/>
                  <a:gd name="connsiteX874" fmla="*/ 282988 w 495300"/>
                  <a:gd name="connsiteY874" fmla="*/ 219170 h 400050"/>
                  <a:gd name="connsiteX875" fmla="*/ 285560 w 495300"/>
                  <a:gd name="connsiteY875" fmla="*/ 219170 h 400050"/>
                  <a:gd name="connsiteX876" fmla="*/ 288036 w 495300"/>
                  <a:gd name="connsiteY876" fmla="*/ 219170 h 400050"/>
                  <a:gd name="connsiteX877" fmla="*/ 294037 w 495300"/>
                  <a:gd name="connsiteY877" fmla="*/ 218313 h 400050"/>
                  <a:gd name="connsiteX878" fmla="*/ 294799 w 495300"/>
                  <a:gd name="connsiteY878" fmla="*/ 218313 h 400050"/>
                  <a:gd name="connsiteX879" fmla="*/ 295656 w 495300"/>
                  <a:gd name="connsiteY879" fmla="*/ 217456 h 400050"/>
                  <a:gd name="connsiteX880" fmla="*/ 295656 w 495300"/>
                  <a:gd name="connsiteY880" fmla="*/ 215741 h 400050"/>
                  <a:gd name="connsiteX881" fmla="*/ 295656 w 495300"/>
                  <a:gd name="connsiteY881" fmla="*/ 214884 h 400050"/>
                  <a:gd name="connsiteX882" fmla="*/ 294037 w 495300"/>
                  <a:gd name="connsiteY882" fmla="*/ 210693 h 400050"/>
                  <a:gd name="connsiteX883" fmla="*/ 294037 w 495300"/>
                  <a:gd name="connsiteY883" fmla="*/ 209836 h 400050"/>
                  <a:gd name="connsiteX884" fmla="*/ 294799 w 495300"/>
                  <a:gd name="connsiteY884" fmla="*/ 208979 h 400050"/>
                  <a:gd name="connsiteX885" fmla="*/ 294799 w 495300"/>
                  <a:gd name="connsiteY885" fmla="*/ 208121 h 400050"/>
                  <a:gd name="connsiteX886" fmla="*/ 295656 w 495300"/>
                  <a:gd name="connsiteY886" fmla="*/ 207359 h 400050"/>
                  <a:gd name="connsiteX887" fmla="*/ 296513 w 495300"/>
                  <a:gd name="connsiteY887" fmla="*/ 206502 h 400050"/>
                  <a:gd name="connsiteX888" fmla="*/ 298228 w 495300"/>
                  <a:gd name="connsiteY888" fmla="*/ 206502 h 400050"/>
                  <a:gd name="connsiteX889" fmla="*/ 299942 w 495300"/>
                  <a:gd name="connsiteY889" fmla="*/ 207359 h 400050"/>
                  <a:gd name="connsiteX890" fmla="*/ 304991 w 495300"/>
                  <a:gd name="connsiteY890" fmla="*/ 209836 h 400050"/>
                  <a:gd name="connsiteX891" fmla="*/ 308420 w 495300"/>
                  <a:gd name="connsiteY891" fmla="*/ 209836 h 400050"/>
                  <a:gd name="connsiteX892" fmla="*/ 309277 w 495300"/>
                  <a:gd name="connsiteY892" fmla="*/ 212408 h 400050"/>
                  <a:gd name="connsiteX893" fmla="*/ 307562 w 495300"/>
                  <a:gd name="connsiteY893" fmla="*/ 218313 h 400050"/>
                  <a:gd name="connsiteX894" fmla="*/ 307562 w 495300"/>
                  <a:gd name="connsiteY894" fmla="*/ 219170 h 400050"/>
                  <a:gd name="connsiteX895" fmla="*/ 307562 w 495300"/>
                  <a:gd name="connsiteY895" fmla="*/ 220028 h 400050"/>
                  <a:gd name="connsiteX896" fmla="*/ 307562 w 495300"/>
                  <a:gd name="connsiteY896" fmla="*/ 220028 h 400050"/>
                  <a:gd name="connsiteX897" fmla="*/ 308420 w 495300"/>
                  <a:gd name="connsiteY897" fmla="*/ 220885 h 400050"/>
                  <a:gd name="connsiteX898" fmla="*/ 309277 w 495300"/>
                  <a:gd name="connsiteY898" fmla="*/ 220885 h 400050"/>
                  <a:gd name="connsiteX899" fmla="*/ 310896 w 495300"/>
                  <a:gd name="connsiteY899" fmla="*/ 220885 h 400050"/>
                  <a:gd name="connsiteX900" fmla="*/ 311753 w 495300"/>
                  <a:gd name="connsiteY900" fmla="*/ 221742 h 400050"/>
                  <a:gd name="connsiteX901" fmla="*/ 314325 w 495300"/>
                  <a:gd name="connsiteY901" fmla="*/ 222504 h 400050"/>
                  <a:gd name="connsiteX902" fmla="*/ 316897 w 495300"/>
                  <a:gd name="connsiteY902" fmla="*/ 224218 h 400050"/>
                  <a:gd name="connsiteX903" fmla="*/ 317754 w 495300"/>
                  <a:gd name="connsiteY903" fmla="*/ 225933 h 400050"/>
                  <a:gd name="connsiteX904" fmla="*/ 319373 w 495300"/>
                  <a:gd name="connsiteY904" fmla="*/ 225933 h 400050"/>
                  <a:gd name="connsiteX905" fmla="*/ 321088 w 495300"/>
                  <a:gd name="connsiteY905" fmla="*/ 225933 h 400050"/>
                  <a:gd name="connsiteX906" fmla="*/ 324517 w 495300"/>
                  <a:gd name="connsiteY906" fmla="*/ 225076 h 400050"/>
                  <a:gd name="connsiteX907" fmla="*/ 327850 w 495300"/>
                  <a:gd name="connsiteY907" fmla="*/ 222504 h 400050"/>
                  <a:gd name="connsiteX908" fmla="*/ 328708 w 495300"/>
                  <a:gd name="connsiteY908" fmla="*/ 221742 h 400050"/>
                  <a:gd name="connsiteX909" fmla="*/ 329565 w 495300"/>
                  <a:gd name="connsiteY909" fmla="*/ 220028 h 400050"/>
                  <a:gd name="connsiteX910" fmla="*/ 330422 w 495300"/>
                  <a:gd name="connsiteY910" fmla="*/ 220028 h 400050"/>
                  <a:gd name="connsiteX911" fmla="*/ 330422 w 495300"/>
                  <a:gd name="connsiteY911" fmla="*/ 220028 h 400050"/>
                  <a:gd name="connsiteX912" fmla="*/ 330422 w 495300"/>
                  <a:gd name="connsiteY912" fmla="*/ 219170 h 400050"/>
                  <a:gd name="connsiteX913" fmla="*/ 330422 w 495300"/>
                  <a:gd name="connsiteY913" fmla="*/ 219170 h 400050"/>
                  <a:gd name="connsiteX914" fmla="*/ 331280 w 495300"/>
                  <a:gd name="connsiteY914" fmla="*/ 218313 h 400050"/>
                  <a:gd name="connsiteX915" fmla="*/ 331280 w 495300"/>
                  <a:gd name="connsiteY915" fmla="*/ 217456 h 400050"/>
                  <a:gd name="connsiteX916" fmla="*/ 332137 w 495300"/>
                  <a:gd name="connsiteY916" fmla="*/ 215741 h 400050"/>
                  <a:gd name="connsiteX917" fmla="*/ 332137 w 495300"/>
                  <a:gd name="connsiteY917" fmla="*/ 214884 h 400050"/>
                  <a:gd name="connsiteX918" fmla="*/ 332137 w 495300"/>
                  <a:gd name="connsiteY918" fmla="*/ 213265 h 400050"/>
                  <a:gd name="connsiteX919" fmla="*/ 332137 w 495300"/>
                  <a:gd name="connsiteY919" fmla="*/ 211550 h 400050"/>
                  <a:gd name="connsiteX920" fmla="*/ 333851 w 495300"/>
                  <a:gd name="connsiteY920" fmla="*/ 209836 h 400050"/>
                  <a:gd name="connsiteX921" fmla="*/ 336328 w 495300"/>
                  <a:gd name="connsiteY921" fmla="*/ 208121 h 400050"/>
                  <a:gd name="connsiteX922" fmla="*/ 339757 w 495300"/>
                  <a:gd name="connsiteY922" fmla="*/ 205645 h 400050"/>
                  <a:gd name="connsiteX923" fmla="*/ 344805 w 495300"/>
                  <a:gd name="connsiteY923" fmla="*/ 203073 h 400050"/>
                  <a:gd name="connsiteX924" fmla="*/ 354140 w 495300"/>
                  <a:gd name="connsiteY924" fmla="*/ 200501 h 400050"/>
                  <a:gd name="connsiteX925" fmla="*/ 358426 w 495300"/>
                  <a:gd name="connsiteY925" fmla="*/ 198025 h 400050"/>
                  <a:gd name="connsiteX926" fmla="*/ 365188 w 495300"/>
                  <a:gd name="connsiteY926" fmla="*/ 196310 h 400050"/>
                  <a:gd name="connsiteX927" fmla="*/ 378714 w 495300"/>
                  <a:gd name="connsiteY927" fmla="*/ 193738 h 400050"/>
                  <a:gd name="connsiteX928" fmla="*/ 382143 w 495300"/>
                  <a:gd name="connsiteY928" fmla="*/ 192976 h 400050"/>
                  <a:gd name="connsiteX929" fmla="*/ 384620 w 495300"/>
                  <a:gd name="connsiteY929" fmla="*/ 189547 h 400050"/>
                  <a:gd name="connsiteX930" fmla="*/ 384620 w 495300"/>
                  <a:gd name="connsiteY930" fmla="*/ 186118 h 400050"/>
                  <a:gd name="connsiteX931" fmla="*/ 383762 w 495300"/>
                  <a:gd name="connsiteY931" fmla="*/ 184499 h 400050"/>
                  <a:gd name="connsiteX932" fmla="*/ 383762 w 495300"/>
                  <a:gd name="connsiteY932" fmla="*/ 182785 h 400050"/>
                  <a:gd name="connsiteX933" fmla="*/ 383762 w 495300"/>
                  <a:gd name="connsiteY933" fmla="*/ 181928 h 400050"/>
                  <a:gd name="connsiteX934" fmla="*/ 383762 w 495300"/>
                  <a:gd name="connsiteY934" fmla="*/ 181928 h 400050"/>
                  <a:gd name="connsiteX935" fmla="*/ 383762 w 495300"/>
                  <a:gd name="connsiteY935" fmla="*/ 179356 h 400050"/>
                  <a:gd name="connsiteX936" fmla="*/ 384620 w 495300"/>
                  <a:gd name="connsiteY936" fmla="*/ 177737 h 400050"/>
                  <a:gd name="connsiteX937" fmla="*/ 385477 w 495300"/>
                  <a:gd name="connsiteY937" fmla="*/ 176879 h 400050"/>
                  <a:gd name="connsiteX938" fmla="*/ 388049 w 495300"/>
                  <a:gd name="connsiteY938" fmla="*/ 176022 h 400050"/>
                  <a:gd name="connsiteX939" fmla="*/ 388906 w 495300"/>
                  <a:gd name="connsiteY939" fmla="*/ 174308 h 400050"/>
                  <a:gd name="connsiteX940" fmla="*/ 388906 w 495300"/>
                  <a:gd name="connsiteY940" fmla="*/ 173450 h 400050"/>
                  <a:gd name="connsiteX941" fmla="*/ 388906 w 495300"/>
                  <a:gd name="connsiteY941" fmla="*/ 172593 h 400050"/>
                  <a:gd name="connsiteX942" fmla="*/ 388906 w 495300"/>
                  <a:gd name="connsiteY942" fmla="*/ 171736 h 400050"/>
                  <a:gd name="connsiteX943" fmla="*/ 389763 w 495300"/>
                  <a:gd name="connsiteY943" fmla="*/ 171736 h 400050"/>
                  <a:gd name="connsiteX944" fmla="*/ 390525 w 495300"/>
                  <a:gd name="connsiteY944" fmla="*/ 170974 h 400050"/>
                  <a:gd name="connsiteX945" fmla="*/ 390525 w 495300"/>
                  <a:gd name="connsiteY945" fmla="*/ 170117 h 400050"/>
                  <a:gd name="connsiteX946" fmla="*/ 392240 w 495300"/>
                  <a:gd name="connsiteY946" fmla="*/ 170117 h 400050"/>
                  <a:gd name="connsiteX947" fmla="*/ 393954 w 495300"/>
                  <a:gd name="connsiteY947" fmla="*/ 170974 h 400050"/>
                  <a:gd name="connsiteX948" fmla="*/ 399860 w 495300"/>
                  <a:gd name="connsiteY948" fmla="*/ 175165 h 400050"/>
                  <a:gd name="connsiteX949" fmla="*/ 402431 w 495300"/>
                  <a:gd name="connsiteY949" fmla="*/ 176022 h 400050"/>
                  <a:gd name="connsiteX950" fmla="*/ 404146 w 495300"/>
                  <a:gd name="connsiteY950" fmla="*/ 176022 h 400050"/>
                  <a:gd name="connsiteX951" fmla="*/ 405003 w 495300"/>
                  <a:gd name="connsiteY951" fmla="*/ 176022 h 400050"/>
                  <a:gd name="connsiteX952" fmla="*/ 405860 w 495300"/>
                  <a:gd name="connsiteY952" fmla="*/ 176879 h 400050"/>
                  <a:gd name="connsiteX953" fmla="*/ 408337 w 495300"/>
                  <a:gd name="connsiteY953" fmla="*/ 179356 h 400050"/>
                  <a:gd name="connsiteX954" fmla="*/ 410909 w 495300"/>
                  <a:gd name="connsiteY954" fmla="*/ 180213 h 400050"/>
                  <a:gd name="connsiteX955" fmla="*/ 413480 w 495300"/>
                  <a:gd name="connsiteY955" fmla="*/ 181928 h 400050"/>
                  <a:gd name="connsiteX956" fmla="*/ 419386 w 495300"/>
                  <a:gd name="connsiteY956" fmla="*/ 183642 h 400050"/>
                  <a:gd name="connsiteX957" fmla="*/ 422720 w 495300"/>
                  <a:gd name="connsiteY957" fmla="*/ 182785 h 400050"/>
                  <a:gd name="connsiteX958" fmla="*/ 423577 w 495300"/>
                  <a:gd name="connsiteY958" fmla="*/ 181070 h 400050"/>
                  <a:gd name="connsiteX959" fmla="*/ 422720 w 495300"/>
                  <a:gd name="connsiteY959" fmla="*/ 180213 h 400050"/>
                  <a:gd name="connsiteX960" fmla="*/ 422720 w 495300"/>
                  <a:gd name="connsiteY960" fmla="*/ 179356 h 400050"/>
                  <a:gd name="connsiteX961" fmla="*/ 421100 w 495300"/>
                  <a:gd name="connsiteY961" fmla="*/ 177737 h 400050"/>
                  <a:gd name="connsiteX962" fmla="*/ 420243 w 495300"/>
                  <a:gd name="connsiteY962" fmla="*/ 176879 h 400050"/>
                  <a:gd name="connsiteX963" fmla="*/ 419386 w 495300"/>
                  <a:gd name="connsiteY963" fmla="*/ 176022 h 400050"/>
                  <a:gd name="connsiteX964" fmla="*/ 420243 w 495300"/>
                  <a:gd name="connsiteY964" fmla="*/ 175165 h 400050"/>
                  <a:gd name="connsiteX965" fmla="*/ 420243 w 495300"/>
                  <a:gd name="connsiteY965" fmla="*/ 174308 h 400050"/>
                  <a:gd name="connsiteX966" fmla="*/ 421958 w 495300"/>
                  <a:gd name="connsiteY966" fmla="*/ 174308 h 400050"/>
                  <a:gd name="connsiteX967" fmla="*/ 422720 w 495300"/>
                  <a:gd name="connsiteY967" fmla="*/ 174308 h 400050"/>
                  <a:gd name="connsiteX968" fmla="*/ 425291 w 495300"/>
                  <a:gd name="connsiteY968" fmla="*/ 175165 h 400050"/>
                  <a:gd name="connsiteX969" fmla="*/ 426149 w 495300"/>
                  <a:gd name="connsiteY969" fmla="*/ 175165 h 400050"/>
                  <a:gd name="connsiteX970" fmla="*/ 427006 w 495300"/>
                  <a:gd name="connsiteY970" fmla="*/ 175165 h 400050"/>
                  <a:gd name="connsiteX971" fmla="*/ 427863 w 495300"/>
                  <a:gd name="connsiteY971" fmla="*/ 176022 h 400050"/>
                  <a:gd name="connsiteX972" fmla="*/ 429578 w 495300"/>
                  <a:gd name="connsiteY972" fmla="*/ 178594 h 400050"/>
                  <a:gd name="connsiteX973" fmla="*/ 430435 w 495300"/>
                  <a:gd name="connsiteY973" fmla="*/ 178594 h 400050"/>
                  <a:gd name="connsiteX974" fmla="*/ 431197 w 495300"/>
                  <a:gd name="connsiteY974" fmla="*/ 177737 h 400050"/>
                  <a:gd name="connsiteX975" fmla="*/ 432054 w 495300"/>
                  <a:gd name="connsiteY975" fmla="*/ 176022 h 400050"/>
                  <a:gd name="connsiteX976" fmla="*/ 432054 w 495300"/>
                  <a:gd name="connsiteY976" fmla="*/ 174308 h 400050"/>
                  <a:gd name="connsiteX977" fmla="*/ 432054 w 495300"/>
                  <a:gd name="connsiteY977" fmla="*/ 171736 h 400050"/>
                  <a:gd name="connsiteX978" fmla="*/ 432054 w 495300"/>
                  <a:gd name="connsiteY978" fmla="*/ 170974 h 400050"/>
                  <a:gd name="connsiteX979" fmla="*/ 432911 w 495300"/>
                  <a:gd name="connsiteY979" fmla="*/ 170117 h 400050"/>
                  <a:gd name="connsiteX980" fmla="*/ 433769 w 495300"/>
                  <a:gd name="connsiteY980" fmla="*/ 170117 h 400050"/>
                  <a:gd name="connsiteX981" fmla="*/ 434626 w 495300"/>
                  <a:gd name="connsiteY981" fmla="*/ 170117 h 400050"/>
                  <a:gd name="connsiteX982" fmla="*/ 435483 w 495300"/>
                  <a:gd name="connsiteY982" fmla="*/ 168402 h 400050"/>
                  <a:gd name="connsiteX983" fmla="*/ 436340 w 495300"/>
                  <a:gd name="connsiteY983" fmla="*/ 166688 h 400050"/>
                  <a:gd name="connsiteX984" fmla="*/ 435483 w 495300"/>
                  <a:gd name="connsiteY984" fmla="*/ 164973 h 400050"/>
                  <a:gd name="connsiteX985" fmla="*/ 434626 w 495300"/>
                  <a:gd name="connsiteY985" fmla="*/ 164211 h 400050"/>
                  <a:gd name="connsiteX986" fmla="*/ 432911 w 495300"/>
                  <a:gd name="connsiteY986" fmla="*/ 162496 h 400050"/>
                  <a:gd name="connsiteX987" fmla="*/ 432054 w 495300"/>
                  <a:gd name="connsiteY987" fmla="*/ 161639 h 400050"/>
                  <a:gd name="connsiteX988" fmla="*/ 432054 w 495300"/>
                  <a:gd name="connsiteY988" fmla="*/ 160782 h 400050"/>
                  <a:gd name="connsiteX989" fmla="*/ 432054 w 495300"/>
                  <a:gd name="connsiteY989" fmla="*/ 159925 h 400050"/>
                  <a:gd name="connsiteX990" fmla="*/ 432054 w 495300"/>
                  <a:gd name="connsiteY990" fmla="*/ 159067 h 400050"/>
                  <a:gd name="connsiteX991" fmla="*/ 430435 w 495300"/>
                  <a:gd name="connsiteY991" fmla="*/ 157353 h 400050"/>
                  <a:gd name="connsiteX992" fmla="*/ 429578 w 495300"/>
                  <a:gd name="connsiteY992" fmla="*/ 156591 h 400050"/>
                  <a:gd name="connsiteX993" fmla="*/ 429578 w 495300"/>
                  <a:gd name="connsiteY993" fmla="*/ 155734 h 400050"/>
                  <a:gd name="connsiteX994" fmla="*/ 430435 w 495300"/>
                  <a:gd name="connsiteY994" fmla="*/ 154876 h 400050"/>
                  <a:gd name="connsiteX995" fmla="*/ 432911 w 495300"/>
                  <a:gd name="connsiteY995" fmla="*/ 154019 h 400050"/>
                  <a:gd name="connsiteX996" fmla="*/ 438055 w 495300"/>
                  <a:gd name="connsiteY996" fmla="*/ 153162 h 400050"/>
                  <a:gd name="connsiteX997" fmla="*/ 438817 w 495300"/>
                  <a:gd name="connsiteY997" fmla="*/ 153162 h 400050"/>
                  <a:gd name="connsiteX998" fmla="*/ 439674 w 495300"/>
                  <a:gd name="connsiteY998" fmla="*/ 153162 h 400050"/>
                  <a:gd name="connsiteX999" fmla="*/ 439674 w 495300"/>
                  <a:gd name="connsiteY999" fmla="*/ 154876 h 400050"/>
                  <a:gd name="connsiteX1000" fmla="*/ 440531 w 495300"/>
                  <a:gd name="connsiteY1000" fmla="*/ 155734 h 400050"/>
                  <a:gd name="connsiteX1001" fmla="*/ 440531 w 495300"/>
                  <a:gd name="connsiteY1001" fmla="*/ 157353 h 400050"/>
                  <a:gd name="connsiteX1002" fmla="*/ 440531 w 495300"/>
                  <a:gd name="connsiteY1002" fmla="*/ 159067 h 400050"/>
                  <a:gd name="connsiteX1003" fmla="*/ 441388 w 495300"/>
                  <a:gd name="connsiteY1003" fmla="*/ 159067 h 400050"/>
                  <a:gd name="connsiteX1004" fmla="*/ 442246 w 495300"/>
                  <a:gd name="connsiteY1004" fmla="*/ 159067 h 400050"/>
                  <a:gd name="connsiteX1005" fmla="*/ 448151 w 495300"/>
                  <a:gd name="connsiteY1005" fmla="*/ 156591 h 400050"/>
                  <a:gd name="connsiteX1006" fmla="*/ 450723 w 495300"/>
                  <a:gd name="connsiteY1006" fmla="*/ 156591 h 400050"/>
                  <a:gd name="connsiteX1007" fmla="*/ 454152 w 495300"/>
                  <a:gd name="connsiteY1007" fmla="*/ 157353 h 400050"/>
                  <a:gd name="connsiteX1008" fmla="*/ 454914 w 495300"/>
                  <a:gd name="connsiteY1008" fmla="*/ 157353 h 400050"/>
                  <a:gd name="connsiteX1009" fmla="*/ 456629 w 495300"/>
                  <a:gd name="connsiteY1009" fmla="*/ 155734 h 400050"/>
                  <a:gd name="connsiteX1010" fmla="*/ 457486 w 495300"/>
                  <a:gd name="connsiteY1010" fmla="*/ 154876 h 400050"/>
                  <a:gd name="connsiteX1011" fmla="*/ 458343 w 495300"/>
                  <a:gd name="connsiteY1011" fmla="*/ 154019 h 400050"/>
                  <a:gd name="connsiteX1012" fmla="*/ 459200 w 495300"/>
                  <a:gd name="connsiteY1012" fmla="*/ 153162 h 400050"/>
                  <a:gd name="connsiteX1013" fmla="*/ 458343 w 495300"/>
                  <a:gd name="connsiteY1013" fmla="*/ 149828 h 400050"/>
                  <a:gd name="connsiteX1014" fmla="*/ 459200 w 495300"/>
                  <a:gd name="connsiteY1014" fmla="*/ 148114 h 400050"/>
                  <a:gd name="connsiteX1015" fmla="*/ 458343 w 495300"/>
                  <a:gd name="connsiteY1015" fmla="*/ 144685 h 400050"/>
                  <a:gd name="connsiteX1016" fmla="*/ 458343 w 495300"/>
                  <a:gd name="connsiteY1016" fmla="*/ 143828 h 400050"/>
                  <a:gd name="connsiteX1017" fmla="*/ 459200 w 495300"/>
                  <a:gd name="connsiteY1017" fmla="*/ 142970 h 400050"/>
                  <a:gd name="connsiteX1018" fmla="*/ 460915 w 495300"/>
                  <a:gd name="connsiteY1018" fmla="*/ 142970 h 400050"/>
                  <a:gd name="connsiteX1019" fmla="*/ 461772 w 495300"/>
                  <a:gd name="connsiteY1019" fmla="*/ 142970 h 400050"/>
                  <a:gd name="connsiteX1020" fmla="*/ 462534 w 495300"/>
                  <a:gd name="connsiteY1020" fmla="*/ 143828 h 400050"/>
                  <a:gd name="connsiteX1021" fmla="*/ 465106 w 495300"/>
                  <a:gd name="connsiteY1021" fmla="*/ 145542 h 400050"/>
                  <a:gd name="connsiteX1022" fmla="*/ 466820 w 495300"/>
                  <a:gd name="connsiteY1022" fmla="*/ 146399 h 400050"/>
                  <a:gd name="connsiteX1023" fmla="*/ 467678 w 495300"/>
                  <a:gd name="connsiteY1023" fmla="*/ 145542 h 400050"/>
                  <a:gd name="connsiteX1024" fmla="*/ 468535 w 495300"/>
                  <a:gd name="connsiteY1024" fmla="*/ 142970 h 400050"/>
                  <a:gd name="connsiteX1025" fmla="*/ 469392 w 495300"/>
                  <a:gd name="connsiteY1025" fmla="*/ 142208 h 400050"/>
                  <a:gd name="connsiteX1026" fmla="*/ 469392 w 495300"/>
                  <a:gd name="connsiteY1026" fmla="*/ 138779 h 400050"/>
                  <a:gd name="connsiteX1027" fmla="*/ 470249 w 495300"/>
                  <a:gd name="connsiteY1027" fmla="*/ 137922 h 400050"/>
                  <a:gd name="connsiteX1028" fmla="*/ 471011 w 495300"/>
                  <a:gd name="connsiteY1028" fmla="*/ 137922 h 400050"/>
                  <a:gd name="connsiteX1029" fmla="*/ 474440 w 495300"/>
                  <a:gd name="connsiteY1029" fmla="*/ 137922 h 400050"/>
                  <a:gd name="connsiteX1030" fmla="*/ 476155 w 495300"/>
                  <a:gd name="connsiteY1030" fmla="*/ 137922 h 400050"/>
                  <a:gd name="connsiteX1031" fmla="*/ 477869 w 495300"/>
                  <a:gd name="connsiteY1031" fmla="*/ 137065 h 400050"/>
                  <a:gd name="connsiteX1032" fmla="*/ 477869 w 495300"/>
                  <a:gd name="connsiteY1032" fmla="*/ 135350 h 400050"/>
                  <a:gd name="connsiteX1033" fmla="*/ 476155 w 495300"/>
                  <a:gd name="connsiteY1033" fmla="*/ 133731 h 400050"/>
                  <a:gd name="connsiteX1034" fmla="*/ 476155 w 495300"/>
                  <a:gd name="connsiteY1034" fmla="*/ 132874 h 400050"/>
                  <a:gd name="connsiteX1035" fmla="*/ 475298 w 495300"/>
                  <a:gd name="connsiteY1035" fmla="*/ 132874 h 400050"/>
                  <a:gd name="connsiteX1036" fmla="*/ 474440 w 495300"/>
                  <a:gd name="connsiteY1036" fmla="*/ 132874 h 400050"/>
                  <a:gd name="connsiteX1037" fmla="*/ 473583 w 495300"/>
                  <a:gd name="connsiteY1037" fmla="*/ 132874 h 400050"/>
                  <a:gd name="connsiteX1038" fmla="*/ 473583 w 495300"/>
                  <a:gd name="connsiteY1038" fmla="*/ 132874 h 400050"/>
                  <a:gd name="connsiteX1039" fmla="*/ 473583 w 495300"/>
                  <a:gd name="connsiteY1039" fmla="*/ 132017 h 400050"/>
                  <a:gd name="connsiteX1040" fmla="*/ 473583 w 495300"/>
                  <a:gd name="connsiteY1040" fmla="*/ 131159 h 400050"/>
                  <a:gd name="connsiteX1041" fmla="*/ 472726 w 495300"/>
                  <a:gd name="connsiteY1041" fmla="*/ 129445 h 400050"/>
                  <a:gd name="connsiteX1042" fmla="*/ 473583 w 495300"/>
                  <a:gd name="connsiteY1042" fmla="*/ 128588 h 400050"/>
                  <a:gd name="connsiteX1043" fmla="*/ 474440 w 495300"/>
                  <a:gd name="connsiteY1043" fmla="*/ 126968 h 400050"/>
                  <a:gd name="connsiteX1044" fmla="*/ 476155 w 495300"/>
                  <a:gd name="connsiteY1044" fmla="*/ 126111 h 400050"/>
                  <a:gd name="connsiteX1045" fmla="*/ 477869 w 495300"/>
                  <a:gd name="connsiteY1045" fmla="*/ 126111 h 400050"/>
                  <a:gd name="connsiteX1046" fmla="*/ 481203 w 495300"/>
                  <a:gd name="connsiteY1046" fmla="*/ 124396 h 400050"/>
                  <a:gd name="connsiteX1047" fmla="*/ 483775 w 495300"/>
                  <a:gd name="connsiteY1047" fmla="*/ 121825 h 400050"/>
                  <a:gd name="connsiteX1048" fmla="*/ 485489 w 495300"/>
                  <a:gd name="connsiteY1048" fmla="*/ 119348 h 400050"/>
                  <a:gd name="connsiteX1049" fmla="*/ 490538 w 495300"/>
                  <a:gd name="connsiteY1049" fmla="*/ 109156 h 400050"/>
                  <a:gd name="connsiteX1050" fmla="*/ 490538 w 495300"/>
                  <a:gd name="connsiteY1050" fmla="*/ 107442 h 400050"/>
                  <a:gd name="connsiteX1051" fmla="*/ 490538 w 495300"/>
                  <a:gd name="connsiteY1051" fmla="*/ 105823 h 400050"/>
                  <a:gd name="connsiteX1052" fmla="*/ 490538 w 495300"/>
                  <a:gd name="connsiteY1052" fmla="*/ 104966 h 400050"/>
                  <a:gd name="connsiteX1053" fmla="*/ 490538 w 495300"/>
                  <a:gd name="connsiteY1053" fmla="*/ 104108 h 400050"/>
                  <a:gd name="connsiteX1054" fmla="*/ 490538 w 495300"/>
                  <a:gd name="connsiteY1054" fmla="*/ 103251 h 400050"/>
                  <a:gd name="connsiteX1055" fmla="*/ 491395 w 495300"/>
                  <a:gd name="connsiteY1055" fmla="*/ 101537 h 400050"/>
                  <a:gd name="connsiteX1056" fmla="*/ 492252 w 495300"/>
                  <a:gd name="connsiteY1056" fmla="*/ 101537 h 400050"/>
                  <a:gd name="connsiteX1057" fmla="*/ 493109 w 495300"/>
                  <a:gd name="connsiteY1057" fmla="*/ 99822 h 400050"/>
                  <a:gd name="connsiteX1058" fmla="*/ 493109 w 495300"/>
                  <a:gd name="connsiteY1058" fmla="*/ 99822 h 400050"/>
                  <a:gd name="connsiteX1059" fmla="*/ 493109 w 495300"/>
                  <a:gd name="connsiteY1059" fmla="*/ 99060 h 400050"/>
                  <a:gd name="connsiteX1060" fmla="*/ 492252 w 495300"/>
                  <a:gd name="connsiteY1060" fmla="*/ 98203 h 400050"/>
                  <a:gd name="connsiteX1061" fmla="*/ 491395 w 495300"/>
                  <a:gd name="connsiteY1061" fmla="*/ 96488 h 400050"/>
                  <a:gd name="connsiteX1062" fmla="*/ 491395 w 495300"/>
                  <a:gd name="connsiteY1062" fmla="*/ 95631 h 400050"/>
                  <a:gd name="connsiteX1063" fmla="*/ 492252 w 495300"/>
                  <a:gd name="connsiteY1063" fmla="*/ 92202 h 400050"/>
                  <a:gd name="connsiteX1064" fmla="*/ 491395 w 495300"/>
                  <a:gd name="connsiteY1064" fmla="*/ 91440 h 400050"/>
                  <a:gd name="connsiteX1065" fmla="*/ 490538 w 495300"/>
                  <a:gd name="connsiteY1065" fmla="*/ 90583 h 400050"/>
                  <a:gd name="connsiteX1066" fmla="*/ 489680 w 495300"/>
                  <a:gd name="connsiteY1066" fmla="*/ 89725 h 400050"/>
                  <a:gd name="connsiteX1067" fmla="*/ 488823 w 495300"/>
                  <a:gd name="connsiteY1067" fmla="*/ 89725 h 400050"/>
                  <a:gd name="connsiteX1068" fmla="*/ 487109 w 495300"/>
                  <a:gd name="connsiteY1068" fmla="*/ 88868 h 400050"/>
                  <a:gd name="connsiteX1069" fmla="*/ 487109 w 495300"/>
                  <a:gd name="connsiteY1069" fmla="*/ 88011 h 400050"/>
                  <a:gd name="connsiteX1070" fmla="*/ 487966 w 495300"/>
                  <a:gd name="connsiteY1070" fmla="*/ 87154 h 400050"/>
                  <a:gd name="connsiteX1071" fmla="*/ 489680 w 495300"/>
                  <a:gd name="connsiteY1071" fmla="*/ 87154 h 400050"/>
                  <a:gd name="connsiteX1072" fmla="*/ 490538 w 495300"/>
                  <a:gd name="connsiteY1072" fmla="*/ 87154 h 400050"/>
                  <a:gd name="connsiteX1073" fmla="*/ 492252 w 495300"/>
                  <a:gd name="connsiteY1073" fmla="*/ 88011 h 400050"/>
                  <a:gd name="connsiteX1074" fmla="*/ 493109 w 495300"/>
                  <a:gd name="connsiteY1074" fmla="*/ 88868 h 400050"/>
                  <a:gd name="connsiteX1075" fmla="*/ 493967 w 495300"/>
                  <a:gd name="connsiteY1075" fmla="*/ 88868 h 400050"/>
                  <a:gd name="connsiteX1076" fmla="*/ 495586 w 495300"/>
                  <a:gd name="connsiteY1076" fmla="*/ 89725 h 400050"/>
                  <a:gd name="connsiteX1077" fmla="*/ 496443 w 495300"/>
                  <a:gd name="connsiteY1077" fmla="*/ 89725 h 400050"/>
                  <a:gd name="connsiteX1078" fmla="*/ 498158 w 495300"/>
                  <a:gd name="connsiteY1078" fmla="*/ 89725 h 400050"/>
                  <a:gd name="connsiteX1079" fmla="*/ 499872 w 495300"/>
                  <a:gd name="connsiteY1079" fmla="*/ 89725 h 400050"/>
                  <a:gd name="connsiteX1080" fmla="*/ 501587 w 495300"/>
                  <a:gd name="connsiteY1080" fmla="*/ 88868 h 400050"/>
                  <a:gd name="connsiteX1081" fmla="*/ 502349 w 495300"/>
                  <a:gd name="connsiteY1081" fmla="*/ 88011 h 400050"/>
                  <a:gd name="connsiteX1082" fmla="*/ 503206 w 495300"/>
                  <a:gd name="connsiteY1082" fmla="*/ 87154 h 400050"/>
                  <a:gd name="connsiteX1083" fmla="*/ 504063 w 495300"/>
                  <a:gd name="connsiteY1083" fmla="*/ 84677 h 400050"/>
                  <a:gd name="connsiteX1084" fmla="*/ 502349 w 495300"/>
                  <a:gd name="connsiteY1084" fmla="*/ 84677 h 400050"/>
                  <a:gd name="connsiteX1085" fmla="*/ 502349 w 495300"/>
                  <a:gd name="connsiteY1085" fmla="*/ 84677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</a:cxnLst>
                <a:rect l="l" t="t" r="r" b="b"/>
                <a:pathLst>
                  <a:path w="495300" h="400050">
                    <a:moveTo>
                      <a:pt x="502349" y="84677"/>
                    </a:moveTo>
                    <a:lnTo>
                      <a:pt x="501587" y="84677"/>
                    </a:lnTo>
                    <a:lnTo>
                      <a:pt x="500729" y="83820"/>
                    </a:lnTo>
                    <a:lnTo>
                      <a:pt x="500729" y="83820"/>
                    </a:lnTo>
                    <a:lnTo>
                      <a:pt x="500729" y="82105"/>
                    </a:lnTo>
                    <a:lnTo>
                      <a:pt x="501587" y="81248"/>
                    </a:lnTo>
                    <a:lnTo>
                      <a:pt x="503206" y="80391"/>
                    </a:lnTo>
                    <a:lnTo>
                      <a:pt x="503206" y="79534"/>
                    </a:lnTo>
                    <a:lnTo>
                      <a:pt x="503206" y="78676"/>
                    </a:lnTo>
                    <a:lnTo>
                      <a:pt x="502349" y="77819"/>
                    </a:lnTo>
                    <a:lnTo>
                      <a:pt x="502349" y="77057"/>
                    </a:lnTo>
                    <a:lnTo>
                      <a:pt x="501587" y="76200"/>
                    </a:lnTo>
                    <a:lnTo>
                      <a:pt x="501587" y="75343"/>
                    </a:lnTo>
                    <a:lnTo>
                      <a:pt x="501587" y="73628"/>
                    </a:lnTo>
                    <a:lnTo>
                      <a:pt x="500729" y="71914"/>
                    </a:lnTo>
                    <a:lnTo>
                      <a:pt x="500729" y="71056"/>
                    </a:lnTo>
                    <a:lnTo>
                      <a:pt x="499872" y="69437"/>
                    </a:lnTo>
                    <a:lnTo>
                      <a:pt x="499015" y="68580"/>
                    </a:lnTo>
                    <a:lnTo>
                      <a:pt x="499015" y="68580"/>
                    </a:lnTo>
                    <a:lnTo>
                      <a:pt x="496443" y="67723"/>
                    </a:lnTo>
                    <a:lnTo>
                      <a:pt x="495586" y="67723"/>
                    </a:lnTo>
                    <a:lnTo>
                      <a:pt x="494729" y="66866"/>
                    </a:lnTo>
                    <a:lnTo>
                      <a:pt x="493967" y="66008"/>
                    </a:lnTo>
                    <a:lnTo>
                      <a:pt x="493967" y="65151"/>
                    </a:lnTo>
                    <a:lnTo>
                      <a:pt x="494729" y="64294"/>
                    </a:lnTo>
                    <a:lnTo>
                      <a:pt x="495586" y="63437"/>
                    </a:lnTo>
                    <a:lnTo>
                      <a:pt x="496443" y="64294"/>
                    </a:lnTo>
                    <a:lnTo>
                      <a:pt x="497300" y="64294"/>
                    </a:lnTo>
                    <a:lnTo>
                      <a:pt x="498158" y="65151"/>
                    </a:lnTo>
                    <a:lnTo>
                      <a:pt x="499015" y="64294"/>
                    </a:lnTo>
                    <a:lnTo>
                      <a:pt x="499015" y="63437"/>
                    </a:lnTo>
                    <a:lnTo>
                      <a:pt x="499015" y="63437"/>
                    </a:lnTo>
                    <a:lnTo>
                      <a:pt x="499872" y="57531"/>
                    </a:lnTo>
                    <a:lnTo>
                      <a:pt x="499872" y="55912"/>
                    </a:lnTo>
                    <a:lnTo>
                      <a:pt x="501587" y="53340"/>
                    </a:lnTo>
                    <a:lnTo>
                      <a:pt x="501587" y="52483"/>
                    </a:lnTo>
                    <a:lnTo>
                      <a:pt x="501587" y="49054"/>
                    </a:lnTo>
                    <a:lnTo>
                      <a:pt x="501587" y="46577"/>
                    </a:lnTo>
                    <a:lnTo>
                      <a:pt x="499015" y="38100"/>
                    </a:lnTo>
                    <a:lnTo>
                      <a:pt x="498158" y="35528"/>
                    </a:lnTo>
                    <a:lnTo>
                      <a:pt x="497300" y="33909"/>
                    </a:lnTo>
                    <a:lnTo>
                      <a:pt x="496443" y="33909"/>
                    </a:lnTo>
                    <a:lnTo>
                      <a:pt x="492252" y="28766"/>
                    </a:lnTo>
                    <a:lnTo>
                      <a:pt x="492252" y="28766"/>
                    </a:lnTo>
                    <a:lnTo>
                      <a:pt x="491395" y="28766"/>
                    </a:lnTo>
                    <a:lnTo>
                      <a:pt x="490538" y="27908"/>
                    </a:lnTo>
                    <a:lnTo>
                      <a:pt x="490538" y="27146"/>
                    </a:lnTo>
                    <a:lnTo>
                      <a:pt x="490538" y="26289"/>
                    </a:lnTo>
                    <a:lnTo>
                      <a:pt x="490538" y="24575"/>
                    </a:lnTo>
                    <a:lnTo>
                      <a:pt x="490538" y="23717"/>
                    </a:lnTo>
                    <a:lnTo>
                      <a:pt x="489680" y="21146"/>
                    </a:lnTo>
                    <a:lnTo>
                      <a:pt x="489680" y="19526"/>
                    </a:lnTo>
                    <a:lnTo>
                      <a:pt x="489680" y="18669"/>
                    </a:lnTo>
                    <a:lnTo>
                      <a:pt x="489680" y="16954"/>
                    </a:lnTo>
                    <a:lnTo>
                      <a:pt x="490538" y="16097"/>
                    </a:lnTo>
                    <a:lnTo>
                      <a:pt x="491395" y="14383"/>
                    </a:lnTo>
                    <a:lnTo>
                      <a:pt x="491395" y="12668"/>
                    </a:lnTo>
                    <a:lnTo>
                      <a:pt x="490538" y="11906"/>
                    </a:lnTo>
                    <a:lnTo>
                      <a:pt x="489680" y="10192"/>
                    </a:lnTo>
                    <a:lnTo>
                      <a:pt x="488823" y="9334"/>
                    </a:lnTo>
                    <a:lnTo>
                      <a:pt x="487109" y="9334"/>
                    </a:lnTo>
                    <a:lnTo>
                      <a:pt x="484632" y="8477"/>
                    </a:lnTo>
                    <a:lnTo>
                      <a:pt x="479488" y="9334"/>
                    </a:lnTo>
                    <a:lnTo>
                      <a:pt x="477012" y="8477"/>
                    </a:lnTo>
                    <a:lnTo>
                      <a:pt x="471011" y="6763"/>
                    </a:lnTo>
                    <a:lnTo>
                      <a:pt x="469392" y="5905"/>
                    </a:lnTo>
                    <a:lnTo>
                      <a:pt x="468535" y="4286"/>
                    </a:lnTo>
                    <a:lnTo>
                      <a:pt x="467678" y="2572"/>
                    </a:lnTo>
                    <a:lnTo>
                      <a:pt x="465963" y="857"/>
                    </a:lnTo>
                    <a:lnTo>
                      <a:pt x="465106" y="857"/>
                    </a:lnTo>
                    <a:lnTo>
                      <a:pt x="464249" y="857"/>
                    </a:lnTo>
                    <a:lnTo>
                      <a:pt x="463391" y="0"/>
                    </a:lnTo>
                    <a:lnTo>
                      <a:pt x="462534" y="0"/>
                    </a:lnTo>
                    <a:lnTo>
                      <a:pt x="460915" y="857"/>
                    </a:lnTo>
                    <a:lnTo>
                      <a:pt x="456629" y="5143"/>
                    </a:lnTo>
                    <a:lnTo>
                      <a:pt x="454914" y="6763"/>
                    </a:lnTo>
                    <a:lnTo>
                      <a:pt x="454914" y="8477"/>
                    </a:lnTo>
                    <a:lnTo>
                      <a:pt x="454914" y="9334"/>
                    </a:lnTo>
                    <a:lnTo>
                      <a:pt x="453295" y="10192"/>
                    </a:lnTo>
                    <a:lnTo>
                      <a:pt x="452438" y="11049"/>
                    </a:lnTo>
                    <a:lnTo>
                      <a:pt x="451580" y="14383"/>
                    </a:lnTo>
                    <a:lnTo>
                      <a:pt x="451580" y="16097"/>
                    </a:lnTo>
                    <a:lnTo>
                      <a:pt x="449866" y="16954"/>
                    </a:lnTo>
                    <a:lnTo>
                      <a:pt x="448151" y="16954"/>
                    </a:lnTo>
                    <a:lnTo>
                      <a:pt x="445675" y="16097"/>
                    </a:lnTo>
                    <a:lnTo>
                      <a:pt x="444817" y="15240"/>
                    </a:lnTo>
                    <a:lnTo>
                      <a:pt x="443960" y="15240"/>
                    </a:lnTo>
                    <a:lnTo>
                      <a:pt x="443103" y="16097"/>
                    </a:lnTo>
                    <a:lnTo>
                      <a:pt x="442246" y="16097"/>
                    </a:lnTo>
                    <a:lnTo>
                      <a:pt x="441388" y="16097"/>
                    </a:lnTo>
                    <a:lnTo>
                      <a:pt x="439674" y="16954"/>
                    </a:lnTo>
                    <a:lnTo>
                      <a:pt x="438055" y="16954"/>
                    </a:lnTo>
                    <a:lnTo>
                      <a:pt x="436340" y="17812"/>
                    </a:lnTo>
                    <a:lnTo>
                      <a:pt x="435483" y="21146"/>
                    </a:lnTo>
                    <a:lnTo>
                      <a:pt x="435483" y="22860"/>
                    </a:lnTo>
                    <a:lnTo>
                      <a:pt x="433769" y="30480"/>
                    </a:lnTo>
                    <a:lnTo>
                      <a:pt x="432911" y="31337"/>
                    </a:lnTo>
                    <a:lnTo>
                      <a:pt x="432911" y="31337"/>
                    </a:lnTo>
                    <a:lnTo>
                      <a:pt x="430435" y="30480"/>
                    </a:lnTo>
                    <a:lnTo>
                      <a:pt x="428720" y="30480"/>
                    </a:lnTo>
                    <a:lnTo>
                      <a:pt x="425291" y="31337"/>
                    </a:lnTo>
                    <a:lnTo>
                      <a:pt x="423577" y="33052"/>
                    </a:lnTo>
                    <a:lnTo>
                      <a:pt x="421100" y="35528"/>
                    </a:lnTo>
                    <a:lnTo>
                      <a:pt x="418529" y="38957"/>
                    </a:lnTo>
                    <a:lnTo>
                      <a:pt x="417671" y="40672"/>
                    </a:lnTo>
                    <a:lnTo>
                      <a:pt x="417671" y="43148"/>
                    </a:lnTo>
                    <a:lnTo>
                      <a:pt x="417671" y="55912"/>
                    </a:lnTo>
                    <a:lnTo>
                      <a:pt x="417671" y="57531"/>
                    </a:lnTo>
                    <a:lnTo>
                      <a:pt x="416814" y="58388"/>
                    </a:lnTo>
                    <a:lnTo>
                      <a:pt x="415957" y="60103"/>
                    </a:lnTo>
                    <a:lnTo>
                      <a:pt x="414338" y="63437"/>
                    </a:lnTo>
                    <a:lnTo>
                      <a:pt x="413480" y="64294"/>
                    </a:lnTo>
                    <a:lnTo>
                      <a:pt x="412623" y="65151"/>
                    </a:lnTo>
                    <a:lnTo>
                      <a:pt x="411766" y="66008"/>
                    </a:lnTo>
                    <a:lnTo>
                      <a:pt x="412623" y="66866"/>
                    </a:lnTo>
                    <a:lnTo>
                      <a:pt x="412623" y="68580"/>
                    </a:lnTo>
                    <a:lnTo>
                      <a:pt x="413480" y="70295"/>
                    </a:lnTo>
                    <a:lnTo>
                      <a:pt x="411766" y="75343"/>
                    </a:lnTo>
                    <a:lnTo>
                      <a:pt x="411766" y="79534"/>
                    </a:lnTo>
                    <a:lnTo>
                      <a:pt x="410909" y="83820"/>
                    </a:lnTo>
                    <a:lnTo>
                      <a:pt x="410051" y="85439"/>
                    </a:lnTo>
                    <a:lnTo>
                      <a:pt x="410051" y="88011"/>
                    </a:lnTo>
                    <a:lnTo>
                      <a:pt x="409194" y="88868"/>
                    </a:lnTo>
                    <a:lnTo>
                      <a:pt x="407480" y="89725"/>
                    </a:lnTo>
                    <a:lnTo>
                      <a:pt x="405860" y="88868"/>
                    </a:lnTo>
                    <a:lnTo>
                      <a:pt x="399860" y="87154"/>
                    </a:lnTo>
                    <a:lnTo>
                      <a:pt x="396526" y="85439"/>
                    </a:lnTo>
                    <a:lnTo>
                      <a:pt x="395669" y="86296"/>
                    </a:lnTo>
                    <a:lnTo>
                      <a:pt x="394811" y="88011"/>
                    </a:lnTo>
                    <a:lnTo>
                      <a:pt x="393097" y="90583"/>
                    </a:lnTo>
                    <a:lnTo>
                      <a:pt x="392240" y="91440"/>
                    </a:lnTo>
                    <a:lnTo>
                      <a:pt x="392240" y="92202"/>
                    </a:lnTo>
                    <a:lnTo>
                      <a:pt x="392240" y="94774"/>
                    </a:lnTo>
                    <a:lnTo>
                      <a:pt x="392240" y="95631"/>
                    </a:lnTo>
                    <a:lnTo>
                      <a:pt x="383762" y="93059"/>
                    </a:lnTo>
                    <a:lnTo>
                      <a:pt x="380429" y="90583"/>
                    </a:lnTo>
                    <a:lnTo>
                      <a:pt x="378714" y="89725"/>
                    </a:lnTo>
                    <a:lnTo>
                      <a:pt x="377857" y="88868"/>
                    </a:lnTo>
                    <a:lnTo>
                      <a:pt x="376142" y="88868"/>
                    </a:lnTo>
                    <a:lnTo>
                      <a:pt x="375285" y="89725"/>
                    </a:lnTo>
                    <a:lnTo>
                      <a:pt x="374428" y="92202"/>
                    </a:lnTo>
                    <a:lnTo>
                      <a:pt x="371951" y="93917"/>
                    </a:lnTo>
                    <a:lnTo>
                      <a:pt x="370237" y="93917"/>
                    </a:lnTo>
                    <a:lnTo>
                      <a:pt x="367665" y="93917"/>
                    </a:lnTo>
                    <a:lnTo>
                      <a:pt x="366046" y="93917"/>
                    </a:lnTo>
                    <a:lnTo>
                      <a:pt x="363474" y="93059"/>
                    </a:lnTo>
                    <a:lnTo>
                      <a:pt x="360902" y="92202"/>
                    </a:lnTo>
                    <a:lnTo>
                      <a:pt x="359188" y="92202"/>
                    </a:lnTo>
                    <a:lnTo>
                      <a:pt x="353282" y="97346"/>
                    </a:lnTo>
                    <a:lnTo>
                      <a:pt x="349949" y="100679"/>
                    </a:lnTo>
                    <a:lnTo>
                      <a:pt x="349091" y="101537"/>
                    </a:lnTo>
                    <a:lnTo>
                      <a:pt x="347377" y="105823"/>
                    </a:lnTo>
                    <a:lnTo>
                      <a:pt x="348234" y="110014"/>
                    </a:lnTo>
                    <a:lnTo>
                      <a:pt x="346520" y="110871"/>
                    </a:lnTo>
                    <a:lnTo>
                      <a:pt x="345662" y="111728"/>
                    </a:lnTo>
                    <a:lnTo>
                      <a:pt x="345662" y="112585"/>
                    </a:lnTo>
                    <a:lnTo>
                      <a:pt x="344805" y="113443"/>
                    </a:lnTo>
                    <a:lnTo>
                      <a:pt x="345662" y="115062"/>
                    </a:lnTo>
                    <a:lnTo>
                      <a:pt x="344805" y="115919"/>
                    </a:lnTo>
                    <a:lnTo>
                      <a:pt x="344805" y="117634"/>
                    </a:lnTo>
                    <a:lnTo>
                      <a:pt x="343948" y="118491"/>
                    </a:lnTo>
                    <a:lnTo>
                      <a:pt x="342329" y="118491"/>
                    </a:lnTo>
                    <a:lnTo>
                      <a:pt x="339757" y="117634"/>
                    </a:lnTo>
                    <a:lnTo>
                      <a:pt x="332994" y="112585"/>
                    </a:lnTo>
                    <a:lnTo>
                      <a:pt x="324517" y="107442"/>
                    </a:lnTo>
                    <a:lnTo>
                      <a:pt x="323660" y="105823"/>
                    </a:lnTo>
                    <a:lnTo>
                      <a:pt x="324517" y="104966"/>
                    </a:lnTo>
                    <a:lnTo>
                      <a:pt x="326993" y="101537"/>
                    </a:lnTo>
                    <a:lnTo>
                      <a:pt x="327850" y="100679"/>
                    </a:lnTo>
                    <a:lnTo>
                      <a:pt x="327850" y="99822"/>
                    </a:lnTo>
                    <a:lnTo>
                      <a:pt x="326993" y="95631"/>
                    </a:lnTo>
                    <a:lnTo>
                      <a:pt x="326993" y="93917"/>
                    </a:lnTo>
                    <a:lnTo>
                      <a:pt x="326231" y="93059"/>
                    </a:lnTo>
                    <a:lnTo>
                      <a:pt x="322802" y="93059"/>
                    </a:lnTo>
                    <a:lnTo>
                      <a:pt x="318516" y="91440"/>
                    </a:lnTo>
                    <a:lnTo>
                      <a:pt x="317754" y="91440"/>
                    </a:lnTo>
                    <a:lnTo>
                      <a:pt x="315182" y="93059"/>
                    </a:lnTo>
                    <a:lnTo>
                      <a:pt x="313468" y="93059"/>
                    </a:lnTo>
                    <a:lnTo>
                      <a:pt x="310896" y="93059"/>
                    </a:lnTo>
                    <a:lnTo>
                      <a:pt x="309277" y="91440"/>
                    </a:lnTo>
                    <a:lnTo>
                      <a:pt x="308420" y="89725"/>
                    </a:lnTo>
                    <a:lnTo>
                      <a:pt x="307562" y="88011"/>
                    </a:lnTo>
                    <a:lnTo>
                      <a:pt x="305848" y="78676"/>
                    </a:lnTo>
                    <a:lnTo>
                      <a:pt x="304991" y="76200"/>
                    </a:lnTo>
                    <a:lnTo>
                      <a:pt x="303276" y="75343"/>
                    </a:lnTo>
                    <a:lnTo>
                      <a:pt x="301657" y="74485"/>
                    </a:lnTo>
                    <a:lnTo>
                      <a:pt x="299942" y="74485"/>
                    </a:lnTo>
                    <a:lnTo>
                      <a:pt x="298228" y="74485"/>
                    </a:lnTo>
                    <a:lnTo>
                      <a:pt x="297371" y="73628"/>
                    </a:lnTo>
                    <a:lnTo>
                      <a:pt x="298228" y="72771"/>
                    </a:lnTo>
                    <a:lnTo>
                      <a:pt x="299085" y="71914"/>
                    </a:lnTo>
                    <a:lnTo>
                      <a:pt x="299085" y="71056"/>
                    </a:lnTo>
                    <a:lnTo>
                      <a:pt x="298228" y="69437"/>
                    </a:lnTo>
                    <a:lnTo>
                      <a:pt x="296513" y="70295"/>
                    </a:lnTo>
                    <a:lnTo>
                      <a:pt x="294037" y="71914"/>
                    </a:lnTo>
                    <a:lnTo>
                      <a:pt x="289750" y="75343"/>
                    </a:lnTo>
                    <a:lnTo>
                      <a:pt x="284702" y="75343"/>
                    </a:lnTo>
                    <a:lnTo>
                      <a:pt x="279559" y="69437"/>
                    </a:lnTo>
                    <a:lnTo>
                      <a:pt x="277940" y="67723"/>
                    </a:lnTo>
                    <a:lnTo>
                      <a:pt x="275368" y="66866"/>
                    </a:lnTo>
                    <a:lnTo>
                      <a:pt x="266033" y="66866"/>
                    </a:lnTo>
                    <a:lnTo>
                      <a:pt x="264319" y="66866"/>
                    </a:lnTo>
                    <a:lnTo>
                      <a:pt x="262604" y="69437"/>
                    </a:lnTo>
                    <a:lnTo>
                      <a:pt x="261842" y="71056"/>
                    </a:lnTo>
                    <a:lnTo>
                      <a:pt x="260985" y="72771"/>
                    </a:lnTo>
                    <a:lnTo>
                      <a:pt x="260985" y="73628"/>
                    </a:lnTo>
                    <a:lnTo>
                      <a:pt x="260128" y="77819"/>
                    </a:lnTo>
                    <a:lnTo>
                      <a:pt x="260128" y="78676"/>
                    </a:lnTo>
                    <a:lnTo>
                      <a:pt x="259271" y="80391"/>
                    </a:lnTo>
                    <a:lnTo>
                      <a:pt x="255842" y="81248"/>
                    </a:lnTo>
                    <a:lnTo>
                      <a:pt x="254984" y="82105"/>
                    </a:lnTo>
                    <a:lnTo>
                      <a:pt x="254984" y="82105"/>
                    </a:lnTo>
                    <a:lnTo>
                      <a:pt x="255842" y="82963"/>
                    </a:lnTo>
                    <a:lnTo>
                      <a:pt x="256699" y="84677"/>
                    </a:lnTo>
                    <a:lnTo>
                      <a:pt x="256699" y="85439"/>
                    </a:lnTo>
                    <a:lnTo>
                      <a:pt x="256699" y="87154"/>
                    </a:lnTo>
                    <a:lnTo>
                      <a:pt x="256699" y="91440"/>
                    </a:lnTo>
                    <a:lnTo>
                      <a:pt x="256699" y="92202"/>
                    </a:lnTo>
                    <a:lnTo>
                      <a:pt x="254984" y="93059"/>
                    </a:lnTo>
                    <a:lnTo>
                      <a:pt x="252508" y="93059"/>
                    </a:lnTo>
                    <a:lnTo>
                      <a:pt x="249936" y="93059"/>
                    </a:lnTo>
                    <a:lnTo>
                      <a:pt x="248221" y="92202"/>
                    </a:lnTo>
                    <a:lnTo>
                      <a:pt x="247364" y="92202"/>
                    </a:lnTo>
                    <a:lnTo>
                      <a:pt x="247364" y="93917"/>
                    </a:lnTo>
                    <a:lnTo>
                      <a:pt x="246602" y="94774"/>
                    </a:lnTo>
                    <a:lnTo>
                      <a:pt x="245745" y="95631"/>
                    </a:lnTo>
                    <a:lnTo>
                      <a:pt x="244888" y="96488"/>
                    </a:lnTo>
                    <a:lnTo>
                      <a:pt x="241459" y="99060"/>
                    </a:lnTo>
                    <a:lnTo>
                      <a:pt x="240602" y="99822"/>
                    </a:lnTo>
                    <a:lnTo>
                      <a:pt x="239744" y="99060"/>
                    </a:lnTo>
                    <a:lnTo>
                      <a:pt x="238125" y="99060"/>
                    </a:lnTo>
                    <a:lnTo>
                      <a:pt x="237268" y="98203"/>
                    </a:lnTo>
                    <a:lnTo>
                      <a:pt x="234696" y="99060"/>
                    </a:lnTo>
                    <a:lnTo>
                      <a:pt x="232124" y="99060"/>
                    </a:lnTo>
                    <a:lnTo>
                      <a:pt x="227076" y="98203"/>
                    </a:lnTo>
                    <a:lnTo>
                      <a:pt x="225362" y="99822"/>
                    </a:lnTo>
                    <a:lnTo>
                      <a:pt x="216027" y="100679"/>
                    </a:lnTo>
                    <a:lnTo>
                      <a:pt x="214408" y="100679"/>
                    </a:lnTo>
                    <a:lnTo>
                      <a:pt x="214408" y="101537"/>
                    </a:lnTo>
                    <a:lnTo>
                      <a:pt x="214408" y="102394"/>
                    </a:lnTo>
                    <a:lnTo>
                      <a:pt x="213550" y="103251"/>
                    </a:lnTo>
                    <a:lnTo>
                      <a:pt x="212693" y="104108"/>
                    </a:lnTo>
                    <a:lnTo>
                      <a:pt x="202502" y="108299"/>
                    </a:lnTo>
                    <a:lnTo>
                      <a:pt x="201644" y="109156"/>
                    </a:lnTo>
                    <a:lnTo>
                      <a:pt x="200787" y="110014"/>
                    </a:lnTo>
                    <a:lnTo>
                      <a:pt x="201644" y="110871"/>
                    </a:lnTo>
                    <a:lnTo>
                      <a:pt x="200787" y="112585"/>
                    </a:lnTo>
                    <a:lnTo>
                      <a:pt x="199930" y="113443"/>
                    </a:lnTo>
                    <a:lnTo>
                      <a:pt x="198311" y="114205"/>
                    </a:lnTo>
                    <a:lnTo>
                      <a:pt x="194882" y="118491"/>
                    </a:lnTo>
                    <a:lnTo>
                      <a:pt x="194024" y="118491"/>
                    </a:lnTo>
                    <a:lnTo>
                      <a:pt x="193167" y="117634"/>
                    </a:lnTo>
                    <a:lnTo>
                      <a:pt x="193167" y="116776"/>
                    </a:lnTo>
                    <a:lnTo>
                      <a:pt x="193167" y="113443"/>
                    </a:lnTo>
                    <a:lnTo>
                      <a:pt x="193167" y="112585"/>
                    </a:lnTo>
                    <a:lnTo>
                      <a:pt x="192310" y="112585"/>
                    </a:lnTo>
                    <a:lnTo>
                      <a:pt x="185547" y="115062"/>
                    </a:lnTo>
                    <a:lnTo>
                      <a:pt x="183833" y="115919"/>
                    </a:lnTo>
                    <a:lnTo>
                      <a:pt x="181356" y="117634"/>
                    </a:lnTo>
                    <a:lnTo>
                      <a:pt x="179642" y="117634"/>
                    </a:lnTo>
                    <a:lnTo>
                      <a:pt x="173736" y="116776"/>
                    </a:lnTo>
                    <a:lnTo>
                      <a:pt x="172021" y="115919"/>
                    </a:lnTo>
                    <a:lnTo>
                      <a:pt x="171164" y="115062"/>
                    </a:lnTo>
                    <a:lnTo>
                      <a:pt x="170307" y="108299"/>
                    </a:lnTo>
                    <a:lnTo>
                      <a:pt x="170307" y="107442"/>
                    </a:lnTo>
                    <a:lnTo>
                      <a:pt x="169450" y="106585"/>
                    </a:lnTo>
                    <a:lnTo>
                      <a:pt x="168592" y="107442"/>
                    </a:lnTo>
                    <a:lnTo>
                      <a:pt x="166878" y="107442"/>
                    </a:lnTo>
                    <a:lnTo>
                      <a:pt x="165259" y="106585"/>
                    </a:lnTo>
                    <a:lnTo>
                      <a:pt x="164402" y="101537"/>
                    </a:lnTo>
                    <a:lnTo>
                      <a:pt x="163544" y="99822"/>
                    </a:lnTo>
                    <a:lnTo>
                      <a:pt x="160973" y="99822"/>
                    </a:lnTo>
                    <a:lnTo>
                      <a:pt x="160115" y="100679"/>
                    </a:lnTo>
                    <a:lnTo>
                      <a:pt x="159258" y="101537"/>
                    </a:lnTo>
                    <a:lnTo>
                      <a:pt x="157639" y="102394"/>
                    </a:lnTo>
                    <a:lnTo>
                      <a:pt x="155924" y="104108"/>
                    </a:lnTo>
                    <a:lnTo>
                      <a:pt x="150781" y="106585"/>
                    </a:lnTo>
                    <a:lnTo>
                      <a:pt x="149162" y="108299"/>
                    </a:lnTo>
                    <a:lnTo>
                      <a:pt x="148304" y="110014"/>
                    </a:lnTo>
                    <a:lnTo>
                      <a:pt x="146590" y="113443"/>
                    </a:lnTo>
                    <a:lnTo>
                      <a:pt x="145733" y="114205"/>
                    </a:lnTo>
                    <a:lnTo>
                      <a:pt x="144875" y="114205"/>
                    </a:lnTo>
                    <a:lnTo>
                      <a:pt x="142399" y="114205"/>
                    </a:lnTo>
                    <a:lnTo>
                      <a:pt x="140684" y="114205"/>
                    </a:lnTo>
                    <a:lnTo>
                      <a:pt x="139827" y="113443"/>
                    </a:lnTo>
                    <a:lnTo>
                      <a:pt x="138970" y="112585"/>
                    </a:lnTo>
                    <a:lnTo>
                      <a:pt x="138113" y="112585"/>
                    </a:lnTo>
                    <a:lnTo>
                      <a:pt x="138113" y="112585"/>
                    </a:lnTo>
                    <a:lnTo>
                      <a:pt x="137255" y="113443"/>
                    </a:lnTo>
                    <a:lnTo>
                      <a:pt x="136398" y="115062"/>
                    </a:lnTo>
                    <a:lnTo>
                      <a:pt x="133921" y="117634"/>
                    </a:lnTo>
                    <a:lnTo>
                      <a:pt x="133921" y="118491"/>
                    </a:lnTo>
                    <a:lnTo>
                      <a:pt x="133064" y="119348"/>
                    </a:lnTo>
                    <a:lnTo>
                      <a:pt x="133064" y="120205"/>
                    </a:lnTo>
                    <a:lnTo>
                      <a:pt x="130492" y="122682"/>
                    </a:lnTo>
                    <a:lnTo>
                      <a:pt x="129635" y="123539"/>
                    </a:lnTo>
                    <a:lnTo>
                      <a:pt x="127921" y="123539"/>
                    </a:lnTo>
                    <a:lnTo>
                      <a:pt x="127063" y="123539"/>
                    </a:lnTo>
                    <a:lnTo>
                      <a:pt x="125444" y="122682"/>
                    </a:lnTo>
                    <a:lnTo>
                      <a:pt x="123730" y="120967"/>
                    </a:lnTo>
                    <a:lnTo>
                      <a:pt x="122873" y="120205"/>
                    </a:lnTo>
                    <a:lnTo>
                      <a:pt x="122015" y="119348"/>
                    </a:lnTo>
                    <a:lnTo>
                      <a:pt x="121158" y="117634"/>
                    </a:lnTo>
                    <a:lnTo>
                      <a:pt x="118682" y="115919"/>
                    </a:lnTo>
                    <a:lnTo>
                      <a:pt x="115253" y="114205"/>
                    </a:lnTo>
                    <a:lnTo>
                      <a:pt x="113538" y="113443"/>
                    </a:lnTo>
                    <a:lnTo>
                      <a:pt x="112681" y="111728"/>
                    </a:lnTo>
                    <a:lnTo>
                      <a:pt x="110966" y="109156"/>
                    </a:lnTo>
                    <a:lnTo>
                      <a:pt x="107633" y="106585"/>
                    </a:lnTo>
                    <a:lnTo>
                      <a:pt x="107633" y="105823"/>
                    </a:lnTo>
                    <a:lnTo>
                      <a:pt x="108490" y="104108"/>
                    </a:lnTo>
                    <a:lnTo>
                      <a:pt x="109347" y="103251"/>
                    </a:lnTo>
                    <a:lnTo>
                      <a:pt x="109347" y="99060"/>
                    </a:lnTo>
                    <a:lnTo>
                      <a:pt x="107633" y="96488"/>
                    </a:lnTo>
                    <a:lnTo>
                      <a:pt x="106775" y="95631"/>
                    </a:lnTo>
                    <a:lnTo>
                      <a:pt x="105918" y="95631"/>
                    </a:lnTo>
                    <a:lnTo>
                      <a:pt x="105061" y="95631"/>
                    </a:lnTo>
                    <a:lnTo>
                      <a:pt x="104204" y="97346"/>
                    </a:lnTo>
                    <a:lnTo>
                      <a:pt x="103346" y="97346"/>
                    </a:lnTo>
                    <a:lnTo>
                      <a:pt x="102584" y="97346"/>
                    </a:lnTo>
                    <a:lnTo>
                      <a:pt x="101727" y="96488"/>
                    </a:lnTo>
                    <a:lnTo>
                      <a:pt x="100870" y="96488"/>
                    </a:lnTo>
                    <a:lnTo>
                      <a:pt x="100013" y="96488"/>
                    </a:lnTo>
                    <a:lnTo>
                      <a:pt x="99155" y="97346"/>
                    </a:lnTo>
                    <a:lnTo>
                      <a:pt x="98298" y="97346"/>
                    </a:lnTo>
                    <a:lnTo>
                      <a:pt x="96583" y="96488"/>
                    </a:lnTo>
                    <a:lnTo>
                      <a:pt x="95726" y="97346"/>
                    </a:lnTo>
                    <a:lnTo>
                      <a:pt x="94869" y="97346"/>
                    </a:lnTo>
                    <a:lnTo>
                      <a:pt x="94869" y="98203"/>
                    </a:lnTo>
                    <a:lnTo>
                      <a:pt x="94869" y="100679"/>
                    </a:lnTo>
                    <a:lnTo>
                      <a:pt x="94869" y="101537"/>
                    </a:lnTo>
                    <a:lnTo>
                      <a:pt x="94107" y="102394"/>
                    </a:lnTo>
                    <a:lnTo>
                      <a:pt x="93250" y="102394"/>
                    </a:lnTo>
                    <a:lnTo>
                      <a:pt x="92392" y="102394"/>
                    </a:lnTo>
                    <a:lnTo>
                      <a:pt x="92392" y="100679"/>
                    </a:lnTo>
                    <a:lnTo>
                      <a:pt x="92392" y="99822"/>
                    </a:lnTo>
                    <a:lnTo>
                      <a:pt x="92392" y="99060"/>
                    </a:lnTo>
                    <a:lnTo>
                      <a:pt x="91535" y="98203"/>
                    </a:lnTo>
                    <a:lnTo>
                      <a:pt x="90678" y="98203"/>
                    </a:lnTo>
                    <a:lnTo>
                      <a:pt x="90678" y="99060"/>
                    </a:lnTo>
                    <a:lnTo>
                      <a:pt x="89821" y="99060"/>
                    </a:lnTo>
                    <a:lnTo>
                      <a:pt x="89821" y="100679"/>
                    </a:lnTo>
                    <a:lnTo>
                      <a:pt x="89821" y="101537"/>
                    </a:lnTo>
                    <a:lnTo>
                      <a:pt x="88963" y="102394"/>
                    </a:lnTo>
                    <a:lnTo>
                      <a:pt x="88963" y="103251"/>
                    </a:lnTo>
                    <a:lnTo>
                      <a:pt x="88106" y="103251"/>
                    </a:lnTo>
                    <a:lnTo>
                      <a:pt x="86487" y="102394"/>
                    </a:lnTo>
                    <a:lnTo>
                      <a:pt x="85630" y="101537"/>
                    </a:lnTo>
                    <a:lnTo>
                      <a:pt x="83915" y="99060"/>
                    </a:lnTo>
                    <a:lnTo>
                      <a:pt x="82201" y="92202"/>
                    </a:lnTo>
                    <a:lnTo>
                      <a:pt x="78010" y="84677"/>
                    </a:lnTo>
                    <a:lnTo>
                      <a:pt x="76295" y="82963"/>
                    </a:lnTo>
                    <a:lnTo>
                      <a:pt x="75438" y="82963"/>
                    </a:lnTo>
                    <a:lnTo>
                      <a:pt x="75438" y="82963"/>
                    </a:lnTo>
                    <a:lnTo>
                      <a:pt x="74581" y="83820"/>
                    </a:lnTo>
                    <a:lnTo>
                      <a:pt x="72866" y="87154"/>
                    </a:lnTo>
                    <a:lnTo>
                      <a:pt x="72866" y="88011"/>
                    </a:lnTo>
                    <a:lnTo>
                      <a:pt x="72866" y="88868"/>
                    </a:lnTo>
                    <a:lnTo>
                      <a:pt x="72009" y="88868"/>
                    </a:lnTo>
                    <a:lnTo>
                      <a:pt x="71152" y="89725"/>
                    </a:lnTo>
                    <a:lnTo>
                      <a:pt x="69533" y="90583"/>
                    </a:lnTo>
                    <a:lnTo>
                      <a:pt x="67818" y="92202"/>
                    </a:lnTo>
                    <a:lnTo>
                      <a:pt x="66104" y="93917"/>
                    </a:lnTo>
                    <a:lnTo>
                      <a:pt x="64389" y="93917"/>
                    </a:lnTo>
                    <a:lnTo>
                      <a:pt x="60198" y="94774"/>
                    </a:lnTo>
                    <a:lnTo>
                      <a:pt x="57626" y="95631"/>
                    </a:lnTo>
                    <a:lnTo>
                      <a:pt x="56769" y="95631"/>
                    </a:lnTo>
                    <a:lnTo>
                      <a:pt x="55912" y="95631"/>
                    </a:lnTo>
                    <a:lnTo>
                      <a:pt x="53435" y="94774"/>
                    </a:lnTo>
                    <a:lnTo>
                      <a:pt x="52578" y="93917"/>
                    </a:lnTo>
                    <a:lnTo>
                      <a:pt x="50006" y="94774"/>
                    </a:lnTo>
                    <a:lnTo>
                      <a:pt x="47435" y="98203"/>
                    </a:lnTo>
                    <a:lnTo>
                      <a:pt x="45815" y="98203"/>
                    </a:lnTo>
                    <a:lnTo>
                      <a:pt x="39815" y="99060"/>
                    </a:lnTo>
                    <a:lnTo>
                      <a:pt x="33052" y="97346"/>
                    </a:lnTo>
                    <a:lnTo>
                      <a:pt x="22098" y="95631"/>
                    </a:lnTo>
                    <a:lnTo>
                      <a:pt x="21241" y="95631"/>
                    </a:lnTo>
                    <a:lnTo>
                      <a:pt x="11049" y="97346"/>
                    </a:lnTo>
                    <a:lnTo>
                      <a:pt x="9335" y="98203"/>
                    </a:lnTo>
                    <a:lnTo>
                      <a:pt x="7620" y="99060"/>
                    </a:lnTo>
                    <a:lnTo>
                      <a:pt x="7620" y="99822"/>
                    </a:lnTo>
                    <a:lnTo>
                      <a:pt x="6858" y="100679"/>
                    </a:lnTo>
                    <a:lnTo>
                      <a:pt x="6858" y="100679"/>
                    </a:lnTo>
                    <a:lnTo>
                      <a:pt x="6858" y="101537"/>
                    </a:lnTo>
                    <a:lnTo>
                      <a:pt x="6858" y="102394"/>
                    </a:lnTo>
                    <a:lnTo>
                      <a:pt x="6858" y="103251"/>
                    </a:lnTo>
                    <a:lnTo>
                      <a:pt x="6858" y="104966"/>
                    </a:lnTo>
                    <a:lnTo>
                      <a:pt x="7620" y="107442"/>
                    </a:lnTo>
                    <a:lnTo>
                      <a:pt x="8477" y="109156"/>
                    </a:lnTo>
                    <a:lnTo>
                      <a:pt x="9335" y="110014"/>
                    </a:lnTo>
                    <a:lnTo>
                      <a:pt x="11049" y="111728"/>
                    </a:lnTo>
                    <a:lnTo>
                      <a:pt x="12763" y="114205"/>
                    </a:lnTo>
                    <a:lnTo>
                      <a:pt x="12763" y="115062"/>
                    </a:lnTo>
                    <a:lnTo>
                      <a:pt x="12763" y="115919"/>
                    </a:lnTo>
                    <a:lnTo>
                      <a:pt x="12763" y="116776"/>
                    </a:lnTo>
                    <a:lnTo>
                      <a:pt x="12763" y="117634"/>
                    </a:lnTo>
                    <a:lnTo>
                      <a:pt x="9335" y="121825"/>
                    </a:lnTo>
                    <a:lnTo>
                      <a:pt x="9335" y="122682"/>
                    </a:lnTo>
                    <a:lnTo>
                      <a:pt x="9335" y="124396"/>
                    </a:lnTo>
                    <a:lnTo>
                      <a:pt x="9335" y="125254"/>
                    </a:lnTo>
                    <a:lnTo>
                      <a:pt x="9335" y="126111"/>
                    </a:lnTo>
                    <a:lnTo>
                      <a:pt x="8477" y="127825"/>
                    </a:lnTo>
                    <a:lnTo>
                      <a:pt x="7620" y="128588"/>
                    </a:lnTo>
                    <a:lnTo>
                      <a:pt x="5144" y="132017"/>
                    </a:lnTo>
                    <a:lnTo>
                      <a:pt x="3429" y="134588"/>
                    </a:lnTo>
                    <a:lnTo>
                      <a:pt x="2572" y="136208"/>
                    </a:lnTo>
                    <a:lnTo>
                      <a:pt x="0" y="142970"/>
                    </a:lnTo>
                    <a:lnTo>
                      <a:pt x="6001" y="144685"/>
                    </a:lnTo>
                    <a:lnTo>
                      <a:pt x="11906" y="144685"/>
                    </a:lnTo>
                    <a:lnTo>
                      <a:pt x="12763" y="145542"/>
                    </a:lnTo>
                    <a:lnTo>
                      <a:pt x="13621" y="145542"/>
                    </a:lnTo>
                    <a:lnTo>
                      <a:pt x="15240" y="147256"/>
                    </a:lnTo>
                    <a:lnTo>
                      <a:pt x="19526" y="149828"/>
                    </a:lnTo>
                    <a:lnTo>
                      <a:pt x="20383" y="150590"/>
                    </a:lnTo>
                    <a:lnTo>
                      <a:pt x="20383" y="151447"/>
                    </a:lnTo>
                    <a:lnTo>
                      <a:pt x="21241" y="153162"/>
                    </a:lnTo>
                    <a:lnTo>
                      <a:pt x="20383" y="158210"/>
                    </a:lnTo>
                    <a:lnTo>
                      <a:pt x="21241" y="159925"/>
                    </a:lnTo>
                    <a:lnTo>
                      <a:pt x="21241" y="161639"/>
                    </a:lnTo>
                    <a:lnTo>
                      <a:pt x="22098" y="163354"/>
                    </a:lnTo>
                    <a:lnTo>
                      <a:pt x="22860" y="164973"/>
                    </a:lnTo>
                    <a:lnTo>
                      <a:pt x="24575" y="167545"/>
                    </a:lnTo>
                    <a:lnTo>
                      <a:pt x="39815" y="181070"/>
                    </a:lnTo>
                    <a:lnTo>
                      <a:pt x="41529" y="183642"/>
                    </a:lnTo>
                    <a:lnTo>
                      <a:pt x="43244" y="188690"/>
                    </a:lnTo>
                    <a:lnTo>
                      <a:pt x="44101" y="189547"/>
                    </a:lnTo>
                    <a:lnTo>
                      <a:pt x="44101" y="191262"/>
                    </a:lnTo>
                    <a:lnTo>
                      <a:pt x="44101" y="192119"/>
                    </a:lnTo>
                    <a:lnTo>
                      <a:pt x="42386" y="195453"/>
                    </a:lnTo>
                    <a:lnTo>
                      <a:pt x="42386" y="196310"/>
                    </a:lnTo>
                    <a:lnTo>
                      <a:pt x="42386" y="197167"/>
                    </a:lnTo>
                    <a:lnTo>
                      <a:pt x="42386" y="198882"/>
                    </a:lnTo>
                    <a:lnTo>
                      <a:pt x="44101" y="201359"/>
                    </a:lnTo>
                    <a:lnTo>
                      <a:pt x="44958" y="204788"/>
                    </a:lnTo>
                    <a:lnTo>
                      <a:pt x="45815" y="207359"/>
                    </a:lnTo>
                    <a:lnTo>
                      <a:pt x="46673" y="208121"/>
                    </a:lnTo>
                    <a:lnTo>
                      <a:pt x="48292" y="208979"/>
                    </a:lnTo>
                    <a:lnTo>
                      <a:pt x="49149" y="208979"/>
                    </a:lnTo>
                    <a:lnTo>
                      <a:pt x="50006" y="208979"/>
                    </a:lnTo>
                    <a:lnTo>
                      <a:pt x="50863" y="208979"/>
                    </a:lnTo>
                    <a:lnTo>
                      <a:pt x="53435" y="208979"/>
                    </a:lnTo>
                    <a:lnTo>
                      <a:pt x="54292" y="208979"/>
                    </a:lnTo>
                    <a:lnTo>
                      <a:pt x="55054" y="208979"/>
                    </a:lnTo>
                    <a:lnTo>
                      <a:pt x="55912" y="208979"/>
                    </a:lnTo>
                    <a:lnTo>
                      <a:pt x="62770" y="211550"/>
                    </a:lnTo>
                    <a:lnTo>
                      <a:pt x="63532" y="211550"/>
                    </a:lnTo>
                    <a:lnTo>
                      <a:pt x="64389" y="211550"/>
                    </a:lnTo>
                    <a:lnTo>
                      <a:pt x="64389" y="211550"/>
                    </a:lnTo>
                    <a:lnTo>
                      <a:pt x="64389" y="211550"/>
                    </a:lnTo>
                    <a:lnTo>
                      <a:pt x="64389" y="210693"/>
                    </a:lnTo>
                    <a:lnTo>
                      <a:pt x="64389" y="208121"/>
                    </a:lnTo>
                    <a:lnTo>
                      <a:pt x="64389" y="206502"/>
                    </a:lnTo>
                    <a:lnTo>
                      <a:pt x="64389" y="205645"/>
                    </a:lnTo>
                    <a:lnTo>
                      <a:pt x="64389" y="205645"/>
                    </a:lnTo>
                    <a:lnTo>
                      <a:pt x="65246" y="204788"/>
                    </a:lnTo>
                    <a:lnTo>
                      <a:pt x="65246" y="204788"/>
                    </a:lnTo>
                    <a:lnTo>
                      <a:pt x="66104" y="203930"/>
                    </a:lnTo>
                    <a:lnTo>
                      <a:pt x="66961" y="203930"/>
                    </a:lnTo>
                    <a:lnTo>
                      <a:pt x="67818" y="203930"/>
                    </a:lnTo>
                    <a:lnTo>
                      <a:pt x="69533" y="203073"/>
                    </a:lnTo>
                    <a:lnTo>
                      <a:pt x="70390" y="202216"/>
                    </a:lnTo>
                    <a:lnTo>
                      <a:pt x="71152" y="202216"/>
                    </a:lnTo>
                    <a:lnTo>
                      <a:pt x="72009" y="203073"/>
                    </a:lnTo>
                    <a:lnTo>
                      <a:pt x="72009" y="203930"/>
                    </a:lnTo>
                    <a:lnTo>
                      <a:pt x="72866" y="204788"/>
                    </a:lnTo>
                    <a:lnTo>
                      <a:pt x="72866" y="206502"/>
                    </a:lnTo>
                    <a:lnTo>
                      <a:pt x="72866" y="208121"/>
                    </a:lnTo>
                    <a:lnTo>
                      <a:pt x="74581" y="211550"/>
                    </a:lnTo>
                    <a:lnTo>
                      <a:pt x="75438" y="212408"/>
                    </a:lnTo>
                    <a:lnTo>
                      <a:pt x="74581" y="213265"/>
                    </a:lnTo>
                    <a:lnTo>
                      <a:pt x="74581" y="214122"/>
                    </a:lnTo>
                    <a:lnTo>
                      <a:pt x="73724" y="215741"/>
                    </a:lnTo>
                    <a:lnTo>
                      <a:pt x="72866" y="217456"/>
                    </a:lnTo>
                    <a:lnTo>
                      <a:pt x="68675" y="220885"/>
                    </a:lnTo>
                    <a:lnTo>
                      <a:pt x="68675" y="221742"/>
                    </a:lnTo>
                    <a:lnTo>
                      <a:pt x="67818" y="222504"/>
                    </a:lnTo>
                    <a:lnTo>
                      <a:pt x="67818" y="223361"/>
                    </a:lnTo>
                    <a:lnTo>
                      <a:pt x="67818" y="224218"/>
                    </a:lnTo>
                    <a:lnTo>
                      <a:pt x="67818" y="225076"/>
                    </a:lnTo>
                    <a:lnTo>
                      <a:pt x="67818" y="226790"/>
                    </a:lnTo>
                    <a:lnTo>
                      <a:pt x="67818" y="227647"/>
                    </a:lnTo>
                    <a:lnTo>
                      <a:pt x="66961" y="230981"/>
                    </a:lnTo>
                    <a:lnTo>
                      <a:pt x="66961" y="231838"/>
                    </a:lnTo>
                    <a:lnTo>
                      <a:pt x="66961" y="233553"/>
                    </a:lnTo>
                    <a:lnTo>
                      <a:pt x="67818" y="235267"/>
                    </a:lnTo>
                    <a:lnTo>
                      <a:pt x="67818" y="236125"/>
                    </a:lnTo>
                    <a:lnTo>
                      <a:pt x="68675" y="236125"/>
                    </a:lnTo>
                    <a:lnTo>
                      <a:pt x="68675" y="236125"/>
                    </a:lnTo>
                    <a:lnTo>
                      <a:pt x="69533" y="236125"/>
                    </a:lnTo>
                    <a:lnTo>
                      <a:pt x="72866" y="233553"/>
                    </a:lnTo>
                    <a:lnTo>
                      <a:pt x="72866" y="232696"/>
                    </a:lnTo>
                    <a:lnTo>
                      <a:pt x="73724" y="232696"/>
                    </a:lnTo>
                    <a:lnTo>
                      <a:pt x="75438" y="233553"/>
                    </a:lnTo>
                    <a:lnTo>
                      <a:pt x="75438" y="235267"/>
                    </a:lnTo>
                    <a:lnTo>
                      <a:pt x="76295" y="236887"/>
                    </a:lnTo>
                    <a:lnTo>
                      <a:pt x="78010" y="242888"/>
                    </a:lnTo>
                    <a:lnTo>
                      <a:pt x="77153" y="252127"/>
                    </a:lnTo>
                    <a:lnTo>
                      <a:pt x="75438" y="257270"/>
                    </a:lnTo>
                    <a:lnTo>
                      <a:pt x="76295" y="261461"/>
                    </a:lnTo>
                    <a:lnTo>
                      <a:pt x="78010" y="264890"/>
                    </a:lnTo>
                    <a:lnTo>
                      <a:pt x="82201" y="268224"/>
                    </a:lnTo>
                    <a:lnTo>
                      <a:pt x="83058" y="269081"/>
                    </a:lnTo>
                    <a:lnTo>
                      <a:pt x="83915" y="270796"/>
                    </a:lnTo>
                    <a:lnTo>
                      <a:pt x="83915" y="272510"/>
                    </a:lnTo>
                    <a:lnTo>
                      <a:pt x="84773" y="274987"/>
                    </a:lnTo>
                    <a:lnTo>
                      <a:pt x="85630" y="277559"/>
                    </a:lnTo>
                    <a:lnTo>
                      <a:pt x="85630" y="279273"/>
                    </a:lnTo>
                    <a:lnTo>
                      <a:pt x="86487" y="279273"/>
                    </a:lnTo>
                    <a:lnTo>
                      <a:pt x="86487" y="280035"/>
                    </a:lnTo>
                    <a:lnTo>
                      <a:pt x="87249" y="280035"/>
                    </a:lnTo>
                    <a:lnTo>
                      <a:pt x="88106" y="280892"/>
                    </a:lnTo>
                    <a:lnTo>
                      <a:pt x="88963" y="280035"/>
                    </a:lnTo>
                    <a:lnTo>
                      <a:pt x="88963" y="280035"/>
                    </a:lnTo>
                    <a:lnTo>
                      <a:pt x="89821" y="279273"/>
                    </a:lnTo>
                    <a:lnTo>
                      <a:pt x="89821" y="279273"/>
                    </a:lnTo>
                    <a:lnTo>
                      <a:pt x="89821" y="279273"/>
                    </a:lnTo>
                    <a:lnTo>
                      <a:pt x="89821" y="277559"/>
                    </a:lnTo>
                    <a:lnTo>
                      <a:pt x="89821" y="276701"/>
                    </a:lnTo>
                    <a:lnTo>
                      <a:pt x="89821" y="276701"/>
                    </a:lnTo>
                    <a:lnTo>
                      <a:pt x="91535" y="276701"/>
                    </a:lnTo>
                    <a:lnTo>
                      <a:pt x="94869" y="279273"/>
                    </a:lnTo>
                    <a:lnTo>
                      <a:pt x="95726" y="279273"/>
                    </a:lnTo>
                    <a:lnTo>
                      <a:pt x="97441" y="280035"/>
                    </a:lnTo>
                    <a:lnTo>
                      <a:pt x="98298" y="280035"/>
                    </a:lnTo>
                    <a:lnTo>
                      <a:pt x="99155" y="280035"/>
                    </a:lnTo>
                    <a:lnTo>
                      <a:pt x="100013" y="280035"/>
                    </a:lnTo>
                    <a:lnTo>
                      <a:pt x="100870" y="279273"/>
                    </a:lnTo>
                    <a:lnTo>
                      <a:pt x="101727" y="279273"/>
                    </a:lnTo>
                    <a:lnTo>
                      <a:pt x="102584" y="279273"/>
                    </a:lnTo>
                    <a:lnTo>
                      <a:pt x="103346" y="279273"/>
                    </a:lnTo>
                    <a:lnTo>
                      <a:pt x="104204" y="279273"/>
                    </a:lnTo>
                    <a:lnTo>
                      <a:pt x="105918" y="279273"/>
                    </a:lnTo>
                    <a:lnTo>
                      <a:pt x="108490" y="280892"/>
                    </a:lnTo>
                    <a:lnTo>
                      <a:pt x="109347" y="281750"/>
                    </a:lnTo>
                    <a:lnTo>
                      <a:pt x="110204" y="282607"/>
                    </a:lnTo>
                    <a:lnTo>
                      <a:pt x="110204" y="285179"/>
                    </a:lnTo>
                    <a:lnTo>
                      <a:pt x="110966" y="286893"/>
                    </a:lnTo>
                    <a:lnTo>
                      <a:pt x="111824" y="288512"/>
                    </a:lnTo>
                    <a:lnTo>
                      <a:pt x="111824" y="290227"/>
                    </a:lnTo>
                    <a:lnTo>
                      <a:pt x="112681" y="291941"/>
                    </a:lnTo>
                    <a:lnTo>
                      <a:pt x="112681" y="292799"/>
                    </a:lnTo>
                    <a:lnTo>
                      <a:pt x="111824" y="294418"/>
                    </a:lnTo>
                    <a:lnTo>
                      <a:pt x="110966" y="296132"/>
                    </a:lnTo>
                    <a:lnTo>
                      <a:pt x="109347" y="296989"/>
                    </a:lnTo>
                    <a:lnTo>
                      <a:pt x="105061" y="300418"/>
                    </a:lnTo>
                    <a:lnTo>
                      <a:pt x="104204" y="301276"/>
                    </a:lnTo>
                    <a:lnTo>
                      <a:pt x="102584" y="302895"/>
                    </a:lnTo>
                    <a:lnTo>
                      <a:pt x="102584" y="302895"/>
                    </a:lnTo>
                    <a:lnTo>
                      <a:pt x="100013" y="303752"/>
                    </a:lnTo>
                    <a:lnTo>
                      <a:pt x="99155" y="304609"/>
                    </a:lnTo>
                    <a:lnTo>
                      <a:pt x="98298" y="305467"/>
                    </a:lnTo>
                    <a:lnTo>
                      <a:pt x="98298" y="306324"/>
                    </a:lnTo>
                    <a:lnTo>
                      <a:pt x="97441" y="307181"/>
                    </a:lnTo>
                    <a:lnTo>
                      <a:pt x="95726" y="313087"/>
                    </a:lnTo>
                    <a:lnTo>
                      <a:pt x="94869" y="313944"/>
                    </a:lnTo>
                    <a:lnTo>
                      <a:pt x="94107" y="314801"/>
                    </a:lnTo>
                    <a:lnTo>
                      <a:pt x="88963" y="318992"/>
                    </a:lnTo>
                    <a:lnTo>
                      <a:pt x="86487" y="321564"/>
                    </a:lnTo>
                    <a:lnTo>
                      <a:pt x="85630" y="321564"/>
                    </a:lnTo>
                    <a:lnTo>
                      <a:pt x="84773" y="322421"/>
                    </a:lnTo>
                    <a:lnTo>
                      <a:pt x="83915" y="322421"/>
                    </a:lnTo>
                    <a:lnTo>
                      <a:pt x="80486" y="322421"/>
                    </a:lnTo>
                    <a:lnTo>
                      <a:pt x="79629" y="322421"/>
                    </a:lnTo>
                    <a:lnTo>
                      <a:pt x="78010" y="323183"/>
                    </a:lnTo>
                    <a:lnTo>
                      <a:pt x="76295" y="325755"/>
                    </a:lnTo>
                    <a:lnTo>
                      <a:pt x="75438" y="326612"/>
                    </a:lnTo>
                    <a:lnTo>
                      <a:pt x="74581" y="326612"/>
                    </a:lnTo>
                    <a:lnTo>
                      <a:pt x="72866" y="327470"/>
                    </a:lnTo>
                    <a:lnTo>
                      <a:pt x="72866" y="328327"/>
                    </a:lnTo>
                    <a:lnTo>
                      <a:pt x="72009" y="328327"/>
                    </a:lnTo>
                    <a:lnTo>
                      <a:pt x="72009" y="329184"/>
                    </a:lnTo>
                    <a:lnTo>
                      <a:pt x="71152" y="330041"/>
                    </a:lnTo>
                    <a:lnTo>
                      <a:pt x="71152" y="332518"/>
                    </a:lnTo>
                    <a:lnTo>
                      <a:pt x="70390" y="334232"/>
                    </a:lnTo>
                    <a:lnTo>
                      <a:pt x="74581" y="335089"/>
                    </a:lnTo>
                    <a:lnTo>
                      <a:pt x="77153" y="336804"/>
                    </a:lnTo>
                    <a:lnTo>
                      <a:pt x="80486" y="338423"/>
                    </a:lnTo>
                    <a:lnTo>
                      <a:pt x="87249" y="347758"/>
                    </a:lnTo>
                    <a:lnTo>
                      <a:pt x="88106" y="349472"/>
                    </a:lnTo>
                    <a:lnTo>
                      <a:pt x="88106" y="350330"/>
                    </a:lnTo>
                    <a:lnTo>
                      <a:pt x="89821" y="351949"/>
                    </a:lnTo>
                    <a:lnTo>
                      <a:pt x="93250" y="354521"/>
                    </a:lnTo>
                    <a:lnTo>
                      <a:pt x="94107" y="355378"/>
                    </a:lnTo>
                    <a:lnTo>
                      <a:pt x="94869" y="355378"/>
                    </a:lnTo>
                    <a:lnTo>
                      <a:pt x="97441" y="355378"/>
                    </a:lnTo>
                    <a:lnTo>
                      <a:pt x="99155" y="355378"/>
                    </a:lnTo>
                    <a:lnTo>
                      <a:pt x="105918" y="358807"/>
                    </a:lnTo>
                    <a:lnTo>
                      <a:pt x="107633" y="359569"/>
                    </a:lnTo>
                    <a:lnTo>
                      <a:pt x="118682" y="358807"/>
                    </a:lnTo>
                    <a:lnTo>
                      <a:pt x="119444" y="358807"/>
                    </a:lnTo>
                    <a:lnTo>
                      <a:pt x="127063" y="355378"/>
                    </a:lnTo>
                    <a:lnTo>
                      <a:pt x="127921" y="354521"/>
                    </a:lnTo>
                    <a:lnTo>
                      <a:pt x="127921" y="353663"/>
                    </a:lnTo>
                    <a:lnTo>
                      <a:pt x="128778" y="353663"/>
                    </a:lnTo>
                    <a:lnTo>
                      <a:pt x="128778" y="352806"/>
                    </a:lnTo>
                    <a:lnTo>
                      <a:pt x="128778" y="351949"/>
                    </a:lnTo>
                    <a:lnTo>
                      <a:pt x="128778" y="350330"/>
                    </a:lnTo>
                    <a:lnTo>
                      <a:pt x="128778" y="349472"/>
                    </a:lnTo>
                    <a:lnTo>
                      <a:pt x="129635" y="348615"/>
                    </a:lnTo>
                    <a:lnTo>
                      <a:pt x="130492" y="348615"/>
                    </a:lnTo>
                    <a:lnTo>
                      <a:pt x="132207" y="347758"/>
                    </a:lnTo>
                    <a:lnTo>
                      <a:pt x="154210" y="347758"/>
                    </a:lnTo>
                    <a:lnTo>
                      <a:pt x="155924" y="346900"/>
                    </a:lnTo>
                    <a:lnTo>
                      <a:pt x="156782" y="346900"/>
                    </a:lnTo>
                    <a:lnTo>
                      <a:pt x="157639" y="346043"/>
                    </a:lnTo>
                    <a:lnTo>
                      <a:pt x="158496" y="345186"/>
                    </a:lnTo>
                    <a:lnTo>
                      <a:pt x="159258" y="345186"/>
                    </a:lnTo>
                    <a:lnTo>
                      <a:pt x="161830" y="344424"/>
                    </a:lnTo>
                    <a:lnTo>
                      <a:pt x="163544" y="345186"/>
                    </a:lnTo>
                    <a:lnTo>
                      <a:pt x="170307" y="346900"/>
                    </a:lnTo>
                    <a:lnTo>
                      <a:pt x="173736" y="347758"/>
                    </a:lnTo>
                    <a:lnTo>
                      <a:pt x="174593" y="347758"/>
                    </a:lnTo>
                    <a:lnTo>
                      <a:pt x="175355" y="347758"/>
                    </a:lnTo>
                    <a:lnTo>
                      <a:pt x="177070" y="346043"/>
                    </a:lnTo>
                    <a:lnTo>
                      <a:pt x="177927" y="345186"/>
                    </a:lnTo>
                    <a:lnTo>
                      <a:pt x="178784" y="345186"/>
                    </a:lnTo>
                    <a:lnTo>
                      <a:pt x="182213" y="344424"/>
                    </a:lnTo>
                    <a:lnTo>
                      <a:pt x="182213" y="344424"/>
                    </a:lnTo>
                    <a:lnTo>
                      <a:pt x="188119" y="340995"/>
                    </a:lnTo>
                    <a:lnTo>
                      <a:pt x="190691" y="338423"/>
                    </a:lnTo>
                    <a:lnTo>
                      <a:pt x="193167" y="345186"/>
                    </a:lnTo>
                    <a:lnTo>
                      <a:pt x="194882" y="351187"/>
                    </a:lnTo>
                    <a:lnTo>
                      <a:pt x="195739" y="355378"/>
                    </a:lnTo>
                    <a:lnTo>
                      <a:pt x="195739" y="358807"/>
                    </a:lnTo>
                    <a:lnTo>
                      <a:pt x="194882" y="362141"/>
                    </a:lnTo>
                    <a:lnTo>
                      <a:pt x="194024" y="363855"/>
                    </a:lnTo>
                    <a:lnTo>
                      <a:pt x="193167" y="364712"/>
                    </a:lnTo>
                    <a:lnTo>
                      <a:pt x="188119" y="372332"/>
                    </a:lnTo>
                    <a:lnTo>
                      <a:pt x="184690" y="379952"/>
                    </a:lnTo>
                    <a:lnTo>
                      <a:pt x="183833" y="381571"/>
                    </a:lnTo>
                    <a:lnTo>
                      <a:pt x="182975" y="383286"/>
                    </a:lnTo>
                    <a:lnTo>
                      <a:pt x="182213" y="385000"/>
                    </a:lnTo>
                    <a:lnTo>
                      <a:pt x="182213" y="385000"/>
                    </a:lnTo>
                    <a:lnTo>
                      <a:pt x="182975" y="385858"/>
                    </a:lnTo>
                    <a:lnTo>
                      <a:pt x="183833" y="385000"/>
                    </a:lnTo>
                    <a:lnTo>
                      <a:pt x="188119" y="384143"/>
                    </a:lnTo>
                    <a:lnTo>
                      <a:pt x="188976" y="383286"/>
                    </a:lnTo>
                    <a:lnTo>
                      <a:pt x="190691" y="383286"/>
                    </a:lnTo>
                    <a:lnTo>
                      <a:pt x="192310" y="384143"/>
                    </a:lnTo>
                    <a:lnTo>
                      <a:pt x="194882" y="384143"/>
                    </a:lnTo>
                    <a:lnTo>
                      <a:pt x="195739" y="385000"/>
                    </a:lnTo>
                    <a:lnTo>
                      <a:pt x="204216" y="390906"/>
                    </a:lnTo>
                    <a:lnTo>
                      <a:pt x="206692" y="393478"/>
                    </a:lnTo>
                    <a:lnTo>
                      <a:pt x="207550" y="394335"/>
                    </a:lnTo>
                    <a:lnTo>
                      <a:pt x="208407" y="394335"/>
                    </a:lnTo>
                    <a:lnTo>
                      <a:pt x="208407" y="394335"/>
                    </a:lnTo>
                    <a:lnTo>
                      <a:pt x="209264" y="394335"/>
                    </a:lnTo>
                    <a:lnTo>
                      <a:pt x="214408" y="388334"/>
                    </a:lnTo>
                    <a:lnTo>
                      <a:pt x="219456" y="383286"/>
                    </a:lnTo>
                    <a:lnTo>
                      <a:pt x="220313" y="382429"/>
                    </a:lnTo>
                    <a:lnTo>
                      <a:pt x="225362" y="380809"/>
                    </a:lnTo>
                    <a:lnTo>
                      <a:pt x="227076" y="379095"/>
                    </a:lnTo>
                    <a:lnTo>
                      <a:pt x="228791" y="379095"/>
                    </a:lnTo>
                    <a:lnTo>
                      <a:pt x="230505" y="378238"/>
                    </a:lnTo>
                    <a:lnTo>
                      <a:pt x="232124" y="379095"/>
                    </a:lnTo>
                    <a:lnTo>
                      <a:pt x="232982" y="379095"/>
                    </a:lnTo>
                    <a:lnTo>
                      <a:pt x="234696" y="379095"/>
                    </a:lnTo>
                    <a:lnTo>
                      <a:pt x="244888" y="385000"/>
                    </a:lnTo>
                    <a:lnTo>
                      <a:pt x="250793" y="387572"/>
                    </a:lnTo>
                    <a:lnTo>
                      <a:pt x="255842" y="388334"/>
                    </a:lnTo>
                    <a:lnTo>
                      <a:pt x="258413" y="389192"/>
                    </a:lnTo>
                    <a:lnTo>
                      <a:pt x="259271" y="389192"/>
                    </a:lnTo>
                    <a:lnTo>
                      <a:pt x="261842" y="387572"/>
                    </a:lnTo>
                    <a:lnTo>
                      <a:pt x="262604" y="387572"/>
                    </a:lnTo>
                    <a:lnTo>
                      <a:pt x="265176" y="386715"/>
                    </a:lnTo>
                    <a:lnTo>
                      <a:pt x="266033" y="385858"/>
                    </a:lnTo>
                    <a:lnTo>
                      <a:pt x="266891" y="385000"/>
                    </a:lnTo>
                    <a:lnTo>
                      <a:pt x="268605" y="384143"/>
                    </a:lnTo>
                    <a:lnTo>
                      <a:pt x="270320" y="383286"/>
                    </a:lnTo>
                    <a:lnTo>
                      <a:pt x="271082" y="382429"/>
                    </a:lnTo>
                    <a:lnTo>
                      <a:pt x="271939" y="383286"/>
                    </a:lnTo>
                    <a:lnTo>
                      <a:pt x="271939" y="384143"/>
                    </a:lnTo>
                    <a:lnTo>
                      <a:pt x="271939" y="385000"/>
                    </a:lnTo>
                    <a:lnTo>
                      <a:pt x="271939" y="386715"/>
                    </a:lnTo>
                    <a:lnTo>
                      <a:pt x="270320" y="388334"/>
                    </a:lnTo>
                    <a:lnTo>
                      <a:pt x="269462" y="389192"/>
                    </a:lnTo>
                    <a:lnTo>
                      <a:pt x="269462" y="390906"/>
                    </a:lnTo>
                    <a:lnTo>
                      <a:pt x="269462" y="391763"/>
                    </a:lnTo>
                    <a:lnTo>
                      <a:pt x="269462" y="393478"/>
                    </a:lnTo>
                    <a:lnTo>
                      <a:pt x="270320" y="395192"/>
                    </a:lnTo>
                    <a:lnTo>
                      <a:pt x="270320" y="396812"/>
                    </a:lnTo>
                    <a:lnTo>
                      <a:pt x="276225" y="400241"/>
                    </a:lnTo>
                    <a:lnTo>
                      <a:pt x="280416" y="398526"/>
                    </a:lnTo>
                    <a:lnTo>
                      <a:pt x="282988" y="396812"/>
                    </a:lnTo>
                    <a:lnTo>
                      <a:pt x="284702" y="395192"/>
                    </a:lnTo>
                    <a:lnTo>
                      <a:pt x="289750" y="388334"/>
                    </a:lnTo>
                    <a:lnTo>
                      <a:pt x="290608" y="386715"/>
                    </a:lnTo>
                    <a:lnTo>
                      <a:pt x="291465" y="385858"/>
                    </a:lnTo>
                    <a:lnTo>
                      <a:pt x="291465" y="385000"/>
                    </a:lnTo>
                    <a:lnTo>
                      <a:pt x="291465" y="384143"/>
                    </a:lnTo>
                    <a:lnTo>
                      <a:pt x="291465" y="382429"/>
                    </a:lnTo>
                    <a:lnTo>
                      <a:pt x="291465" y="379952"/>
                    </a:lnTo>
                    <a:lnTo>
                      <a:pt x="292322" y="377380"/>
                    </a:lnTo>
                    <a:lnTo>
                      <a:pt x="293180" y="375666"/>
                    </a:lnTo>
                    <a:lnTo>
                      <a:pt x="292322" y="373951"/>
                    </a:lnTo>
                    <a:lnTo>
                      <a:pt x="290608" y="370618"/>
                    </a:lnTo>
                    <a:lnTo>
                      <a:pt x="290608" y="368903"/>
                    </a:lnTo>
                    <a:lnTo>
                      <a:pt x="290608" y="367189"/>
                    </a:lnTo>
                    <a:lnTo>
                      <a:pt x="290608" y="365570"/>
                    </a:lnTo>
                    <a:lnTo>
                      <a:pt x="293180" y="362141"/>
                    </a:lnTo>
                    <a:lnTo>
                      <a:pt x="293180" y="360426"/>
                    </a:lnTo>
                    <a:lnTo>
                      <a:pt x="293180" y="357950"/>
                    </a:lnTo>
                    <a:lnTo>
                      <a:pt x="292322" y="351187"/>
                    </a:lnTo>
                    <a:lnTo>
                      <a:pt x="292322" y="349472"/>
                    </a:lnTo>
                    <a:lnTo>
                      <a:pt x="291465" y="347758"/>
                    </a:lnTo>
                    <a:lnTo>
                      <a:pt x="288893" y="344424"/>
                    </a:lnTo>
                    <a:lnTo>
                      <a:pt x="287179" y="342709"/>
                    </a:lnTo>
                    <a:lnTo>
                      <a:pt x="287179" y="340138"/>
                    </a:lnTo>
                    <a:lnTo>
                      <a:pt x="287179" y="339280"/>
                    </a:lnTo>
                    <a:lnTo>
                      <a:pt x="287179" y="339280"/>
                    </a:lnTo>
                    <a:lnTo>
                      <a:pt x="287179" y="338423"/>
                    </a:lnTo>
                    <a:lnTo>
                      <a:pt x="287179" y="338423"/>
                    </a:lnTo>
                    <a:lnTo>
                      <a:pt x="288036" y="338423"/>
                    </a:lnTo>
                    <a:lnTo>
                      <a:pt x="290608" y="337566"/>
                    </a:lnTo>
                    <a:lnTo>
                      <a:pt x="291465" y="336804"/>
                    </a:lnTo>
                    <a:lnTo>
                      <a:pt x="293180" y="336804"/>
                    </a:lnTo>
                    <a:lnTo>
                      <a:pt x="293180" y="336804"/>
                    </a:lnTo>
                    <a:lnTo>
                      <a:pt x="294037" y="336804"/>
                    </a:lnTo>
                    <a:lnTo>
                      <a:pt x="294799" y="335947"/>
                    </a:lnTo>
                    <a:lnTo>
                      <a:pt x="296513" y="333375"/>
                    </a:lnTo>
                    <a:lnTo>
                      <a:pt x="297371" y="332518"/>
                    </a:lnTo>
                    <a:lnTo>
                      <a:pt x="298228" y="331660"/>
                    </a:lnTo>
                    <a:lnTo>
                      <a:pt x="299942" y="331660"/>
                    </a:lnTo>
                    <a:lnTo>
                      <a:pt x="300800" y="332518"/>
                    </a:lnTo>
                    <a:lnTo>
                      <a:pt x="301657" y="333375"/>
                    </a:lnTo>
                    <a:lnTo>
                      <a:pt x="305848" y="338423"/>
                    </a:lnTo>
                    <a:lnTo>
                      <a:pt x="323660" y="347758"/>
                    </a:lnTo>
                    <a:lnTo>
                      <a:pt x="326231" y="349472"/>
                    </a:lnTo>
                    <a:lnTo>
                      <a:pt x="327850" y="351187"/>
                    </a:lnTo>
                    <a:lnTo>
                      <a:pt x="329565" y="354521"/>
                    </a:lnTo>
                    <a:lnTo>
                      <a:pt x="330422" y="355378"/>
                    </a:lnTo>
                    <a:lnTo>
                      <a:pt x="332137" y="357092"/>
                    </a:lnTo>
                    <a:lnTo>
                      <a:pt x="334613" y="358807"/>
                    </a:lnTo>
                    <a:lnTo>
                      <a:pt x="336328" y="359569"/>
                    </a:lnTo>
                    <a:lnTo>
                      <a:pt x="338900" y="360426"/>
                    </a:lnTo>
                    <a:lnTo>
                      <a:pt x="340614" y="360426"/>
                    </a:lnTo>
                    <a:lnTo>
                      <a:pt x="342329" y="359569"/>
                    </a:lnTo>
                    <a:lnTo>
                      <a:pt x="346520" y="357950"/>
                    </a:lnTo>
                    <a:lnTo>
                      <a:pt x="348234" y="357950"/>
                    </a:lnTo>
                    <a:lnTo>
                      <a:pt x="349091" y="358807"/>
                    </a:lnTo>
                    <a:lnTo>
                      <a:pt x="349949" y="358807"/>
                    </a:lnTo>
                    <a:lnTo>
                      <a:pt x="360902" y="365570"/>
                    </a:lnTo>
                    <a:lnTo>
                      <a:pt x="365188" y="370618"/>
                    </a:lnTo>
                    <a:lnTo>
                      <a:pt x="370237" y="372332"/>
                    </a:lnTo>
                    <a:lnTo>
                      <a:pt x="371094" y="371475"/>
                    </a:lnTo>
                    <a:lnTo>
                      <a:pt x="371951" y="370618"/>
                    </a:lnTo>
                    <a:lnTo>
                      <a:pt x="373666" y="369760"/>
                    </a:lnTo>
                    <a:lnTo>
                      <a:pt x="374428" y="368903"/>
                    </a:lnTo>
                    <a:lnTo>
                      <a:pt x="375285" y="368903"/>
                    </a:lnTo>
                    <a:lnTo>
                      <a:pt x="377000" y="369760"/>
                    </a:lnTo>
                    <a:lnTo>
                      <a:pt x="377857" y="369760"/>
                    </a:lnTo>
                    <a:lnTo>
                      <a:pt x="378714" y="368903"/>
                    </a:lnTo>
                    <a:lnTo>
                      <a:pt x="378714" y="367189"/>
                    </a:lnTo>
                    <a:lnTo>
                      <a:pt x="378714" y="365570"/>
                    </a:lnTo>
                    <a:lnTo>
                      <a:pt x="379571" y="364712"/>
                    </a:lnTo>
                    <a:lnTo>
                      <a:pt x="380429" y="363855"/>
                    </a:lnTo>
                    <a:lnTo>
                      <a:pt x="382143" y="364712"/>
                    </a:lnTo>
                    <a:lnTo>
                      <a:pt x="386334" y="363855"/>
                    </a:lnTo>
                    <a:lnTo>
                      <a:pt x="388049" y="362998"/>
                    </a:lnTo>
                    <a:lnTo>
                      <a:pt x="388049" y="362141"/>
                    </a:lnTo>
                    <a:lnTo>
                      <a:pt x="388049" y="361283"/>
                    </a:lnTo>
                    <a:lnTo>
                      <a:pt x="385477" y="359569"/>
                    </a:lnTo>
                    <a:lnTo>
                      <a:pt x="383762" y="357950"/>
                    </a:lnTo>
                    <a:lnTo>
                      <a:pt x="382905" y="357092"/>
                    </a:lnTo>
                    <a:lnTo>
                      <a:pt x="382143" y="354521"/>
                    </a:lnTo>
                    <a:lnTo>
                      <a:pt x="382143" y="351187"/>
                    </a:lnTo>
                    <a:lnTo>
                      <a:pt x="381286" y="348615"/>
                    </a:lnTo>
                    <a:lnTo>
                      <a:pt x="379571" y="346900"/>
                    </a:lnTo>
                    <a:lnTo>
                      <a:pt x="377857" y="346043"/>
                    </a:lnTo>
                    <a:lnTo>
                      <a:pt x="374428" y="343567"/>
                    </a:lnTo>
                    <a:lnTo>
                      <a:pt x="373666" y="343567"/>
                    </a:lnTo>
                    <a:lnTo>
                      <a:pt x="373666" y="342709"/>
                    </a:lnTo>
                    <a:lnTo>
                      <a:pt x="372809" y="340995"/>
                    </a:lnTo>
                    <a:lnTo>
                      <a:pt x="372809" y="339280"/>
                    </a:lnTo>
                    <a:lnTo>
                      <a:pt x="372809" y="339280"/>
                    </a:lnTo>
                    <a:lnTo>
                      <a:pt x="372809" y="338423"/>
                    </a:lnTo>
                    <a:lnTo>
                      <a:pt x="372809" y="338423"/>
                    </a:lnTo>
                    <a:lnTo>
                      <a:pt x="372809" y="338423"/>
                    </a:lnTo>
                    <a:lnTo>
                      <a:pt x="372809" y="338423"/>
                    </a:lnTo>
                    <a:lnTo>
                      <a:pt x="373666" y="338423"/>
                    </a:lnTo>
                    <a:lnTo>
                      <a:pt x="376142" y="338423"/>
                    </a:lnTo>
                    <a:lnTo>
                      <a:pt x="377000" y="338423"/>
                    </a:lnTo>
                    <a:lnTo>
                      <a:pt x="377857" y="338423"/>
                    </a:lnTo>
                    <a:lnTo>
                      <a:pt x="377857" y="337566"/>
                    </a:lnTo>
                    <a:lnTo>
                      <a:pt x="377857" y="336804"/>
                    </a:lnTo>
                    <a:lnTo>
                      <a:pt x="377857" y="335947"/>
                    </a:lnTo>
                    <a:lnTo>
                      <a:pt x="377000" y="333375"/>
                    </a:lnTo>
                    <a:lnTo>
                      <a:pt x="375285" y="331660"/>
                    </a:lnTo>
                    <a:lnTo>
                      <a:pt x="374428" y="330041"/>
                    </a:lnTo>
                    <a:lnTo>
                      <a:pt x="371951" y="328327"/>
                    </a:lnTo>
                    <a:lnTo>
                      <a:pt x="369380" y="328327"/>
                    </a:lnTo>
                    <a:lnTo>
                      <a:pt x="364331" y="328327"/>
                    </a:lnTo>
                    <a:lnTo>
                      <a:pt x="363474" y="327470"/>
                    </a:lnTo>
                    <a:lnTo>
                      <a:pt x="361760" y="326612"/>
                    </a:lnTo>
                    <a:lnTo>
                      <a:pt x="360902" y="324898"/>
                    </a:lnTo>
                    <a:lnTo>
                      <a:pt x="360045" y="323183"/>
                    </a:lnTo>
                    <a:lnTo>
                      <a:pt x="359188" y="317278"/>
                    </a:lnTo>
                    <a:lnTo>
                      <a:pt x="351568" y="311372"/>
                    </a:lnTo>
                    <a:lnTo>
                      <a:pt x="349091" y="309658"/>
                    </a:lnTo>
                    <a:lnTo>
                      <a:pt x="348234" y="309658"/>
                    </a:lnTo>
                    <a:lnTo>
                      <a:pt x="347377" y="309658"/>
                    </a:lnTo>
                    <a:lnTo>
                      <a:pt x="345662" y="309658"/>
                    </a:lnTo>
                    <a:lnTo>
                      <a:pt x="343948" y="309658"/>
                    </a:lnTo>
                    <a:lnTo>
                      <a:pt x="338042" y="304609"/>
                    </a:lnTo>
                    <a:lnTo>
                      <a:pt x="338042" y="302895"/>
                    </a:lnTo>
                    <a:lnTo>
                      <a:pt x="338042" y="301276"/>
                    </a:lnTo>
                    <a:lnTo>
                      <a:pt x="338042" y="298704"/>
                    </a:lnTo>
                    <a:lnTo>
                      <a:pt x="338042" y="295275"/>
                    </a:lnTo>
                    <a:lnTo>
                      <a:pt x="338900" y="294418"/>
                    </a:lnTo>
                    <a:lnTo>
                      <a:pt x="339757" y="291941"/>
                    </a:lnTo>
                    <a:lnTo>
                      <a:pt x="339757" y="290227"/>
                    </a:lnTo>
                    <a:lnTo>
                      <a:pt x="339757" y="289370"/>
                    </a:lnTo>
                    <a:lnTo>
                      <a:pt x="339757" y="287655"/>
                    </a:lnTo>
                    <a:lnTo>
                      <a:pt x="339757" y="286893"/>
                    </a:lnTo>
                    <a:lnTo>
                      <a:pt x="339757" y="286036"/>
                    </a:lnTo>
                    <a:lnTo>
                      <a:pt x="343091" y="283464"/>
                    </a:lnTo>
                    <a:lnTo>
                      <a:pt x="343948" y="283464"/>
                    </a:lnTo>
                    <a:lnTo>
                      <a:pt x="345662" y="282607"/>
                    </a:lnTo>
                    <a:lnTo>
                      <a:pt x="347377" y="282607"/>
                    </a:lnTo>
                    <a:lnTo>
                      <a:pt x="349091" y="281750"/>
                    </a:lnTo>
                    <a:lnTo>
                      <a:pt x="349091" y="281750"/>
                    </a:lnTo>
                    <a:lnTo>
                      <a:pt x="349949" y="280892"/>
                    </a:lnTo>
                    <a:lnTo>
                      <a:pt x="349949" y="280892"/>
                    </a:lnTo>
                    <a:lnTo>
                      <a:pt x="349949" y="280035"/>
                    </a:lnTo>
                    <a:lnTo>
                      <a:pt x="349091" y="280035"/>
                    </a:lnTo>
                    <a:lnTo>
                      <a:pt x="346520" y="280035"/>
                    </a:lnTo>
                    <a:lnTo>
                      <a:pt x="345662" y="279273"/>
                    </a:lnTo>
                    <a:lnTo>
                      <a:pt x="345662" y="279273"/>
                    </a:lnTo>
                    <a:lnTo>
                      <a:pt x="345662" y="279273"/>
                    </a:lnTo>
                    <a:lnTo>
                      <a:pt x="345662" y="279273"/>
                    </a:lnTo>
                    <a:lnTo>
                      <a:pt x="344805" y="279273"/>
                    </a:lnTo>
                    <a:lnTo>
                      <a:pt x="343948" y="278416"/>
                    </a:lnTo>
                    <a:lnTo>
                      <a:pt x="328708" y="278416"/>
                    </a:lnTo>
                    <a:lnTo>
                      <a:pt x="322802" y="276701"/>
                    </a:lnTo>
                    <a:lnTo>
                      <a:pt x="318516" y="276701"/>
                    </a:lnTo>
                    <a:lnTo>
                      <a:pt x="316897" y="277559"/>
                    </a:lnTo>
                    <a:lnTo>
                      <a:pt x="315182" y="278416"/>
                    </a:lnTo>
                    <a:lnTo>
                      <a:pt x="313468" y="278416"/>
                    </a:lnTo>
                    <a:lnTo>
                      <a:pt x="311753" y="277559"/>
                    </a:lnTo>
                    <a:lnTo>
                      <a:pt x="310134" y="275844"/>
                    </a:lnTo>
                    <a:lnTo>
                      <a:pt x="296513" y="261461"/>
                    </a:lnTo>
                    <a:lnTo>
                      <a:pt x="294799" y="259747"/>
                    </a:lnTo>
                    <a:lnTo>
                      <a:pt x="292322" y="258128"/>
                    </a:lnTo>
                    <a:lnTo>
                      <a:pt x="289750" y="258128"/>
                    </a:lnTo>
                    <a:lnTo>
                      <a:pt x="288036" y="258128"/>
                    </a:lnTo>
                    <a:lnTo>
                      <a:pt x="282988" y="259747"/>
                    </a:lnTo>
                    <a:lnTo>
                      <a:pt x="282131" y="259747"/>
                    </a:lnTo>
                    <a:lnTo>
                      <a:pt x="281273" y="259747"/>
                    </a:lnTo>
                    <a:lnTo>
                      <a:pt x="281273" y="258128"/>
                    </a:lnTo>
                    <a:lnTo>
                      <a:pt x="280416" y="257270"/>
                    </a:lnTo>
                    <a:lnTo>
                      <a:pt x="279559" y="254699"/>
                    </a:lnTo>
                    <a:lnTo>
                      <a:pt x="276225" y="250508"/>
                    </a:lnTo>
                    <a:lnTo>
                      <a:pt x="275368" y="247936"/>
                    </a:lnTo>
                    <a:lnTo>
                      <a:pt x="275368" y="245364"/>
                    </a:lnTo>
                    <a:lnTo>
                      <a:pt x="277082" y="242888"/>
                    </a:lnTo>
                    <a:lnTo>
                      <a:pt x="278702" y="240316"/>
                    </a:lnTo>
                    <a:lnTo>
                      <a:pt x="280416" y="237744"/>
                    </a:lnTo>
                    <a:lnTo>
                      <a:pt x="281273" y="236887"/>
                    </a:lnTo>
                    <a:lnTo>
                      <a:pt x="281273" y="235267"/>
                    </a:lnTo>
                    <a:lnTo>
                      <a:pt x="281273" y="232696"/>
                    </a:lnTo>
                    <a:lnTo>
                      <a:pt x="282131" y="230981"/>
                    </a:lnTo>
                    <a:lnTo>
                      <a:pt x="282131" y="230124"/>
                    </a:lnTo>
                    <a:lnTo>
                      <a:pt x="282131" y="229267"/>
                    </a:lnTo>
                    <a:lnTo>
                      <a:pt x="281273" y="228505"/>
                    </a:lnTo>
                    <a:lnTo>
                      <a:pt x="280416" y="228505"/>
                    </a:lnTo>
                    <a:lnTo>
                      <a:pt x="277082" y="228505"/>
                    </a:lnTo>
                    <a:lnTo>
                      <a:pt x="277082" y="228505"/>
                    </a:lnTo>
                    <a:lnTo>
                      <a:pt x="276225" y="226790"/>
                    </a:lnTo>
                    <a:lnTo>
                      <a:pt x="275368" y="225933"/>
                    </a:lnTo>
                    <a:lnTo>
                      <a:pt x="274511" y="225076"/>
                    </a:lnTo>
                    <a:lnTo>
                      <a:pt x="274511" y="223361"/>
                    </a:lnTo>
                    <a:lnTo>
                      <a:pt x="275368" y="221742"/>
                    </a:lnTo>
                    <a:lnTo>
                      <a:pt x="275368" y="221742"/>
                    </a:lnTo>
                    <a:lnTo>
                      <a:pt x="277940" y="220885"/>
                    </a:lnTo>
                    <a:lnTo>
                      <a:pt x="282988" y="219170"/>
                    </a:lnTo>
                    <a:lnTo>
                      <a:pt x="285560" y="219170"/>
                    </a:lnTo>
                    <a:lnTo>
                      <a:pt x="288036" y="219170"/>
                    </a:lnTo>
                    <a:lnTo>
                      <a:pt x="294037" y="218313"/>
                    </a:lnTo>
                    <a:lnTo>
                      <a:pt x="294799" y="218313"/>
                    </a:lnTo>
                    <a:lnTo>
                      <a:pt x="295656" y="217456"/>
                    </a:lnTo>
                    <a:lnTo>
                      <a:pt x="295656" y="215741"/>
                    </a:lnTo>
                    <a:lnTo>
                      <a:pt x="295656" y="214884"/>
                    </a:lnTo>
                    <a:lnTo>
                      <a:pt x="294037" y="210693"/>
                    </a:lnTo>
                    <a:lnTo>
                      <a:pt x="294037" y="209836"/>
                    </a:lnTo>
                    <a:lnTo>
                      <a:pt x="294799" y="208979"/>
                    </a:lnTo>
                    <a:lnTo>
                      <a:pt x="294799" y="208121"/>
                    </a:lnTo>
                    <a:lnTo>
                      <a:pt x="295656" y="207359"/>
                    </a:lnTo>
                    <a:lnTo>
                      <a:pt x="296513" y="206502"/>
                    </a:lnTo>
                    <a:lnTo>
                      <a:pt x="298228" y="206502"/>
                    </a:lnTo>
                    <a:lnTo>
                      <a:pt x="299942" y="207359"/>
                    </a:lnTo>
                    <a:lnTo>
                      <a:pt x="304991" y="209836"/>
                    </a:lnTo>
                    <a:lnTo>
                      <a:pt x="308420" y="209836"/>
                    </a:lnTo>
                    <a:lnTo>
                      <a:pt x="309277" y="212408"/>
                    </a:lnTo>
                    <a:lnTo>
                      <a:pt x="307562" y="218313"/>
                    </a:lnTo>
                    <a:lnTo>
                      <a:pt x="307562" y="219170"/>
                    </a:lnTo>
                    <a:lnTo>
                      <a:pt x="307562" y="220028"/>
                    </a:lnTo>
                    <a:lnTo>
                      <a:pt x="307562" y="220028"/>
                    </a:lnTo>
                    <a:lnTo>
                      <a:pt x="308420" y="220885"/>
                    </a:lnTo>
                    <a:lnTo>
                      <a:pt x="309277" y="220885"/>
                    </a:lnTo>
                    <a:lnTo>
                      <a:pt x="310896" y="220885"/>
                    </a:lnTo>
                    <a:lnTo>
                      <a:pt x="311753" y="221742"/>
                    </a:lnTo>
                    <a:lnTo>
                      <a:pt x="314325" y="222504"/>
                    </a:lnTo>
                    <a:lnTo>
                      <a:pt x="316897" y="224218"/>
                    </a:lnTo>
                    <a:lnTo>
                      <a:pt x="317754" y="225933"/>
                    </a:lnTo>
                    <a:lnTo>
                      <a:pt x="319373" y="225933"/>
                    </a:lnTo>
                    <a:lnTo>
                      <a:pt x="321088" y="225933"/>
                    </a:lnTo>
                    <a:lnTo>
                      <a:pt x="324517" y="225076"/>
                    </a:lnTo>
                    <a:lnTo>
                      <a:pt x="327850" y="222504"/>
                    </a:lnTo>
                    <a:lnTo>
                      <a:pt x="328708" y="221742"/>
                    </a:lnTo>
                    <a:lnTo>
                      <a:pt x="329565" y="220028"/>
                    </a:lnTo>
                    <a:lnTo>
                      <a:pt x="330422" y="220028"/>
                    </a:lnTo>
                    <a:lnTo>
                      <a:pt x="330422" y="220028"/>
                    </a:lnTo>
                    <a:lnTo>
                      <a:pt x="330422" y="219170"/>
                    </a:lnTo>
                    <a:lnTo>
                      <a:pt x="330422" y="219170"/>
                    </a:lnTo>
                    <a:lnTo>
                      <a:pt x="331280" y="218313"/>
                    </a:lnTo>
                    <a:lnTo>
                      <a:pt x="331280" y="217456"/>
                    </a:lnTo>
                    <a:lnTo>
                      <a:pt x="332137" y="215741"/>
                    </a:lnTo>
                    <a:lnTo>
                      <a:pt x="332137" y="214884"/>
                    </a:lnTo>
                    <a:lnTo>
                      <a:pt x="332137" y="213265"/>
                    </a:lnTo>
                    <a:lnTo>
                      <a:pt x="332137" y="211550"/>
                    </a:lnTo>
                    <a:lnTo>
                      <a:pt x="333851" y="209836"/>
                    </a:lnTo>
                    <a:lnTo>
                      <a:pt x="336328" y="208121"/>
                    </a:lnTo>
                    <a:lnTo>
                      <a:pt x="339757" y="205645"/>
                    </a:lnTo>
                    <a:lnTo>
                      <a:pt x="344805" y="203073"/>
                    </a:lnTo>
                    <a:lnTo>
                      <a:pt x="354140" y="200501"/>
                    </a:lnTo>
                    <a:lnTo>
                      <a:pt x="358426" y="198025"/>
                    </a:lnTo>
                    <a:lnTo>
                      <a:pt x="365188" y="196310"/>
                    </a:lnTo>
                    <a:lnTo>
                      <a:pt x="378714" y="193738"/>
                    </a:lnTo>
                    <a:lnTo>
                      <a:pt x="382143" y="192976"/>
                    </a:lnTo>
                    <a:lnTo>
                      <a:pt x="384620" y="189547"/>
                    </a:lnTo>
                    <a:lnTo>
                      <a:pt x="384620" y="186118"/>
                    </a:lnTo>
                    <a:lnTo>
                      <a:pt x="383762" y="184499"/>
                    </a:lnTo>
                    <a:lnTo>
                      <a:pt x="383762" y="182785"/>
                    </a:lnTo>
                    <a:lnTo>
                      <a:pt x="383762" y="181928"/>
                    </a:lnTo>
                    <a:lnTo>
                      <a:pt x="383762" y="181928"/>
                    </a:lnTo>
                    <a:lnTo>
                      <a:pt x="383762" y="179356"/>
                    </a:lnTo>
                    <a:lnTo>
                      <a:pt x="384620" y="177737"/>
                    </a:lnTo>
                    <a:lnTo>
                      <a:pt x="385477" y="176879"/>
                    </a:lnTo>
                    <a:lnTo>
                      <a:pt x="388049" y="176022"/>
                    </a:lnTo>
                    <a:lnTo>
                      <a:pt x="388906" y="174308"/>
                    </a:lnTo>
                    <a:lnTo>
                      <a:pt x="388906" y="173450"/>
                    </a:lnTo>
                    <a:lnTo>
                      <a:pt x="388906" y="172593"/>
                    </a:lnTo>
                    <a:lnTo>
                      <a:pt x="388906" y="171736"/>
                    </a:lnTo>
                    <a:lnTo>
                      <a:pt x="389763" y="171736"/>
                    </a:lnTo>
                    <a:lnTo>
                      <a:pt x="390525" y="170974"/>
                    </a:lnTo>
                    <a:lnTo>
                      <a:pt x="390525" y="170117"/>
                    </a:lnTo>
                    <a:lnTo>
                      <a:pt x="392240" y="170117"/>
                    </a:lnTo>
                    <a:lnTo>
                      <a:pt x="393954" y="170974"/>
                    </a:lnTo>
                    <a:lnTo>
                      <a:pt x="399860" y="175165"/>
                    </a:lnTo>
                    <a:lnTo>
                      <a:pt x="402431" y="176022"/>
                    </a:lnTo>
                    <a:lnTo>
                      <a:pt x="404146" y="176022"/>
                    </a:lnTo>
                    <a:lnTo>
                      <a:pt x="405003" y="176022"/>
                    </a:lnTo>
                    <a:lnTo>
                      <a:pt x="405860" y="176879"/>
                    </a:lnTo>
                    <a:lnTo>
                      <a:pt x="408337" y="179356"/>
                    </a:lnTo>
                    <a:lnTo>
                      <a:pt x="410909" y="180213"/>
                    </a:lnTo>
                    <a:lnTo>
                      <a:pt x="413480" y="181928"/>
                    </a:lnTo>
                    <a:lnTo>
                      <a:pt x="419386" y="183642"/>
                    </a:lnTo>
                    <a:lnTo>
                      <a:pt x="422720" y="182785"/>
                    </a:lnTo>
                    <a:lnTo>
                      <a:pt x="423577" y="181070"/>
                    </a:lnTo>
                    <a:lnTo>
                      <a:pt x="422720" y="180213"/>
                    </a:lnTo>
                    <a:lnTo>
                      <a:pt x="422720" y="179356"/>
                    </a:lnTo>
                    <a:lnTo>
                      <a:pt x="421100" y="177737"/>
                    </a:lnTo>
                    <a:lnTo>
                      <a:pt x="420243" y="176879"/>
                    </a:lnTo>
                    <a:lnTo>
                      <a:pt x="419386" y="176022"/>
                    </a:lnTo>
                    <a:lnTo>
                      <a:pt x="420243" y="175165"/>
                    </a:lnTo>
                    <a:lnTo>
                      <a:pt x="420243" y="174308"/>
                    </a:lnTo>
                    <a:lnTo>
                      <a:pt x="421958" y="174308"/>
                    </a:lnTo>
                    <a:lnTo>
                      <a:pt x="422720" y="174308"/>
                    </a:lnTo>
                    <a:lnTo>
                      <a:pt x="425291" y="175165"/>
                    </a:lnTo>
                    <a:lnTo>
                      <a:pt x="426149" y="175165"/>
                    </a:lnTo>
                    <a:lnTo>
                      <a:pt x="427006" y="175165"/>
                    </a:lnTo>
                    <a:lnTo>
                      <a:pt x="427863" y="176022"/>
                    </a:lnTo>
                    <a:lnTo>
                      <a:pt x="429578" y="178594"/>
                    </a:lnTo>
                    <a:lnTo>
                      <a:pt x="430435" y="178594"/>
                    </a:lnTo>
                    <a:lnTo>
                      <a:pt x="431197" y="177737"/>
                    </a:lnTo>
                    <a:lnTo>
                      <a:pt x="432054" y="176022"/>
                    </a:lnTo>
                    <a:lnTo>
                      <a:pt x="432054" y="174308"/>
                    </a:lnTo>
                    <a:lnTo>
                      <a:pt x="432054" y="171736"/>
                    </a:lnTo>
                    <a:lnTo>
                      <a:pt x="432054" y="170974"/>
                    </a:lnTo>
                    <a:lnTo>
                      <a:pt x="432911" y="170117"/>
                    </a:lnTo>
                    <a:lnTo>
                      <a:pt x="433769" y="170117"/>
                    </a:lnTo>
                    <a:lnTo>
                      <a:pt x="434626" y="170117"/>
                    </a:lnTo>
                    <a:lnTo>
                      <a:pt x="435483" y="168402"/>
                    </a:lnTo>
                    <a:lnTo>
                      <a:pt x="436340" y="166688"/>
                    </a:lnTo>
                    <a:lnTo>
                      <a:pt x="435483" y="164973"/>
                    </a:lnTo>
                    <a:lnTo>
                      <a:pt x="434626" y="164211"/>
                    </a:lnTo>
                    <a:lnTo>
                      <a:pt x="432911" y="162496"/>
                    </a:lnTo>
                    <a:lnTo>
                      <a:pt x="432054" y="161639"/>
                    </a:lnTo>
                    <a:lnTo>
                      <a:pt x="432054" y="160782"/>
                    </a:lnTo>
                    <a:lnTo>
                      <a:pt x="432054" y="159925"/>
                    </a:lnTo>
                    <a:lnTo>
                      <a:pt x="432054" y="159067"/>
                    </a:lnTo>
                    <a:lnTo>
                      <a:pt x="430435" y="157353"/>
                    </a:lnTo>
                    <a:lnTo>
                      <a:pt x="429578" y="156591"/>
                    </a:lnTo>
                    <a:lnTo>
                      <a:pt x="429578" y="155734"/>
                    </a:lnTo>
                    <a:lnTo>
                      <a:pt x="430435" y="154876"/>
                    </a:lnTo>
                    <a:lnTo>
                      <a:pt x="432911" y="154019"/>
                    </a:lnTo>
                    <a:lnTo>
                      <a:pt x="438055" y="153162"/>
                    </a:lnTo>
                    <a:lnTo>
                      <a:pt x="438817" y="153162"/>
                    </a:lnTo>
                    <a:lnTo>
                      <a:pt x="439674" y="153162"/>
                    </a:lnTo>
                    <a:lnTo>
                      <a:pt x="439674" y="154876"/>
                    </a:lnTo>
                    <a:lnTo>
                      <a:pt x="440531" y="155734"/>
                    </a:lnTo>
                    <a:lnTo>
                      <a:pt x="440531" y="157353"/>
                    </a:lnTo>
                    <a:lnTo>
                      <a:pt x="440531" y="159067"/>
                    </a:lnTo>
                    <a:lnTo>
                      <a:pt x="441388" y="159067"/>
                    </a:lnTo>
                    <a:lnTo>
                      <a:pt x="442246" y="159067"/>
                    </a:lnTo>
                    <a:lnTo>
                      <a:pt x="448151" y="156591"/>
                    </a:lnTo>
                    <a:lnTo>
                      <a:pt x="450723" y="156591"/>
                    </a:lnTo>
                    <a:lnTo>
                      <a:pt x="454152" y="157353"/>
                    </a:lnTo>
                    <a:lnTo>
                      <a:pt x="454914" y="157353"/>
                    </a:lnTo>
                    <a:lnTo>
                      <a:pt x="456629" y="155734"/>
                    </a:lnTo>
                    <a:lnTo>
                      <a:pt x="457486" y="154876"/>
                    </a:lnTo>
                    <a:lnTo>
                      <a:pt x="458343" y="154019"/>
                    </a:lnTo>
                    <a:lnTo>
                      <a:pt x="459200" y="153162"/>
                    </a:lnTo>
                    <a:lnTo>
                      <a:pt x="458343" y="149828"/>
                    </a:lnTo>
                    <a:lnTo>
                      <a:pt x="459200" y="148114"/>
                    </a:lnTo>
                    <a:lnTo>
                      <a:pt x="458343" y="144685"/>
                    </a:lnTo>
                    <a:lnTo>
                      <a:pt x="458343" y="143828"/>
                    </a:lnTo>
                    <a:lnTo>
                      <a:pt x="459200" y="142970"/>
                    </a:lnTo>
                    <a:lnTo>
                      <a:pt x="460915" y="142970"/>
                    </a:lnTo>
                    <a:lnTo>
                      <a:pt x="461772" y="142970"/>
                    </a:lnTo>
                    <a:lnTo>
                      <a:pt x="462534" y="143828"/>
                    </a:lnTo>
                    <a:lnTo>
                      <a:pt x="465106" y="145542"/>
                    </a:lnTo>
                    <a:lnTo>
                      <a:pt x="466820" y="146399"/>
                    </a:lnTo>
                    <a:lnTo>
                      <a:pt x="467678" y="145542"/>
                    </a:lnTo>
                    <a:lnTo>
                      <a:pt x="468535" y="142970"/>
                    </a:lnTo>
                    <a:lnTo>
                      <a:pt x="469392" y="142208"/>
                    </a:lnTo>
                    <a:lnTo>
                      <a:pt x="469392" y="138779"/>
                    </a:lnTo>
                    <a:lnTo>
                      <a:pt x="470249" y="137922"/>
                    </a:lnTo>
                    <a:lnTo>
                      <a:pt x="471011" y="137922"/>
                    </a:lnTo>
                    <a:lnTo>
                      <a:pt x="474440" y="137922"/>
                    </a:lnTo>
                    <a:lnTo>
                      <a:pt x="476155" y="137922"/>
                    </a:lnTo>
                    <a:lnTo>
                      <a:pt x="477869" y="137065"/>
                    </a:lnTo>
                    <a:lnTo>
                      <a:pt x="477869" y="135350"/>
                    </a:lnTo>
                    <a:lnTo>
                      <a:pt x="476155" y="133731"/>
                    </a:lnTo>
                    <a:lnTo>
                      <a:pt x="476155" y="132874"/>
                    </a:lnTo>
                    <a:lnTo>
                      <a:pt x="475298" y="132874"/>
                    </a:lnTo>
                    <a:lnTo>
                      <a:pt x="474440" y="132874"/>
                    </a:lnTo>
                    <a:lnTo>
                      <a:pt x="473583" y="132874"/>
                    </a:lnTo>
                    <a:lnTo>
                      <a:pt x="473583" y="132874"/>
                    </a:lnTo>
                    <a:lnTo>
                      <a:pt x="473583" y="132017"/>
                    </a:lnTo>
                    <a:lnTo>
                      <a:pt x="473583" y="131159"/>
                    </a:lnTo>
                    <a:lnTo>
                      <a:pt x="472726" y="129445"/>
                    </a:lnTo>
                    <a:lnTo>
                      <a:pt x="473583" y="128588"/>
                    </a:lnTo>
                    <a:lnTo>
                      <a:pt x="474440" y="126968"/>
                    </a:lnTo>
                    <a:lnTo>
                      <a:pt x="476155" y="126111"/>
                    </a:lnTo>
                    <a:lnTo>
                      <a:pt x="477869" y="126111"/>
                    </a:lnTo>
                    <a:lnTo>
                      <a:pt x="481203" y="124396"/>
                    </a:lnTo>
                    <a:lnTo>
                      <a:pt x="483775" y="121825"/>
                    </a:lnTo>
                    <a:lnTo>
                      <a:pt x="485489" y="119348"/>
                    </a:lnTo>
                    <a:lnTo>
                      <a:pt x="490538" y="109156"/>
                    </a:lnTo>
                    <a:lnTo>
                      <a:pt x="490538" y="107442"/>
                    </a:lnTo>
                    <a:lnTo>
                      <a:pt x="490538" y="105823"/>
                    </a:lnTo>
                    <a:lnTo>
                      <a:pt x="490538" y="104966"/>
                    </a:lnTo>
                    <a:lnTo>
                      <a:pt x="490538" y="104108"/>
                    </a:lnTo>
                    <a:lnTo>
                      <a:pt x="490538" y="103251"/>
                    </a:lnTo>
                    <a:lnTo>
                      <a:pt x="491395" y="101537"/>
                    </a:lnTo>
                    <a:lnTo>
                      <a:pt x="492252" y="101537"/>
                    </a:lnTo>
                    <a:lnTo>
                      <a:pt x="493109" y="99822"/>
                    </a:lnTo>
                    <a:lnTo>
                      <a:pt x="493109" y="99822"/>
                    </a:lnTo>
                    <a:lnTo>
                      <a:pt x="493109" y="99060"/>
                    </a:lnTo>
                    <a:lnTo>
                      <a:pt x="492252" y="98203"/>
                    </a:lnTo>
                    <a:lnTo>
                      <a:pt x="491395" y="96488"/>
                    </a:lnTo>
                    <a:lnTo>
                      <a:pt x="491395" y="95631"/>
                    </a:lnTo>
                    <a:lnTo>
                      <a:pt x="492252" y="92202"/>
                    </a:lnTo>
                    <a:lnTo>
                      <a:pt x="491395" y="91440"/>
                    </a:lnTo>
                    <a:lnTo>
                      <a:pt x="490538" y="90583"/>
                    </a:lnTo>
                    <a:lnTo>
                      <a:pt x="489680" y="89725"/>
                    </a:lnTo>
                    <a:lnTo>
                      <a:pt x="488823" y="89725"/>
                    </a:lnTo>
                    <a:lnTo>
                      <a:pt x="487109" y="88868"/>
                    </a:lnTo>
                    <a:lnTo>
                      <a:pt x="487109" y="88011"/>
                    </a:lnTo>
                    <a:lnTo>
                      <a:pt x="487966" y="87154"/>
                    </a:lnTo>
                    <a:lnTo>
                      <a:pt x="489680" y="87154"/>
                    </a:lnTo>
                    <a:lnTo>
                      <a:pt x="490538" y="87154"/>
                    </a:lnTo>
                    <a:lnTo>
                      <a:pt x="492252" y="88011"/>
                    </a:lnTo>
                    <a:lnTo>
                      <a:pt x="493109" y="88868"/>
                    </a:lnTo>
                    <a:lnTo>
                      <a:pt x="493967" y="88868"/>
                    </a:lnTo>
                    <a:lnTo>
                      <a:pt x="495586" y="89725"/>
                    </a:lnTo>
                    <a:lnTo>
                      <a:pt x="496443" y="89725"/>
                    </a:lnTo>
                    <a:lnTo>
                      <a:pt x="498158" y="89725"/>
                    </a:lnTo>
                    <a:lnTo>
                      <a:pt x="499872" y="89725"/>
                    </a:lnTo>
                    <a:lnTo>
                      <a:pt x="501587" y="88868"/>
                    </a:lnTo>
                    <a:lnTo>
                      <a:pt x="502349" y="88011"/>
                    </a:lnTo>
                    <a:lnTo>
                      <a:pt x="503206" y="87154"/>
                    </a:lnTo>
                    <a:lnTo>
                      <a:pt x="504063" y="84677"/>
                    </a:lnTo>
                    <a:lnTo>
                      <a:pt x="502349" y="84677"/>
                    </a:lnTo>
                    <a:lnTo>
                      <a:pt x="502349" y="84677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45" name="Freeform: Shape 149">
                <a:extLst>
                  <a:ext uri="{FF2B5EF4-FFF2-40B4-BE49-F238E27FC236}">
                    <a16:creationId xmlns:a16="http://schemas.microsoft.com/office/drawing/2014/main" id="{1F8B79D2-C7E0-4BEC-9DD6-042C1E746EFB}"/>
                  </a:ext>
                </a:extLst>
              </p:cNvPr>
              <p:cNvSpPr/>
              <p:nvPr/>
            </p:nvSpPr>
            <p:spPr>
              <a:xfrm>
                <a:off x="5302758" y="2109121"/>
                <a:ext cx="371475" cy="361950"/>
              </a:xfrm>
              <a:custGeom>
                <a:avLst/>
                <a:gdLst>
                  <a:gd name="connsiteX0" fmla="*/ 377190 w 371475"/>
                  <a:gd name="connsiteY0" fmla="*/ 269462 h 361950"/>
                  <a:gd name="connsiteX1" fmla="*/ 373856 w 371475"/>
                  <a:gd name="connsiteY1" fmla="*/ 264414 h 361950"/>
                  <a:gd name="connsiteX2" fmla="*/ 371284 w 371475"/>
                  <a:gd name="connsiteY2" fmla="*/ 259271 h 361950"/>
                  <a:gd name="connsiteX3" fmla="*/ 367855 w 371475"/>
                  <a:gd name="connsiteY3" fmla="*/ 255842 h 361950"/>
                  <a:gd name="connsiteX4" fmla="*/ 366998 w 371475"/>
                  <a:gd name="connsiteY4" fmla="*/ 254984 h 361950"/>
                  <a:gd name="connsiteX5" fmla="*/ 364522 w 371475"/>
                  <a:gd name="connsiteY5" fmla="*/ 251650 h 361950"/>
                  <a:gd name="connsiteX6" fmla="*/ 364522 w 371475"/>
                  <a:gd name="connsiteY6" fmla="*/ 251650 h 361950"/>
                  <a:gd name="connsiteX7" fmla="*/ 362807 w 371475"/>
                  <a:gd name="connsiteY7" fmla="*/ 252508 h 361950"/>
                  <a:gd name="connsiteX8" fmla="*/ 361093 w 371475"/>
                  <a:gd name="connsiteY8" fmla="*/ 252508 h 361950"/>
                  <a:gd name="connsiteX9" fmla="*/ 358521 w 371475"/>
                  <a:gd name="connsiteY9" fmla="*/ 252508 h 361950"/>
                  <a:gd name="connsiteX10" fmla="*/ 356044 w 371475"/>
                  <a:gd name="connsiteY10" fmla="*/ 253365 h 361950"/>
                  <a:gd name="connsiteX11" fmla="*/ 354330 w 371475"/>
                  <a:gd name="connsiteY11" fmla="*/ 253365 h 361950"/>
                  <a:gd name="connsiteX12" fmla="*/ 350901 w 371475"/>
                  <a:gd name="connsiteY12" fmla="*/ 251650 h 361950"/>
                  <a:gd name="connsiteX13" fmla="*/ 350044 w 371475"/>
                  <a:gd name="connsiteY13" fmla="*/ 250793 h 361950"/>
                  <a:gd name="connsiteX14" fmla="*/ 349282 w 371475"/>
                  <a:gd name="connsiteY14" fmla="*/ 249079 h 361950"/>
                  <a:gd name="connsiteX15" fmla="*/ 349282 w 371475"/>
                  <a:gd name="connsiteY15" fmla="*/ 247364 h 361950"/>
                  <a:gd name="connsiteX16" fmla="*/ 350044 w 371475"/>
                  <a:gd name="connsiteY16" fmla="*/ 242316 h 361950"/>
                  <a:gd name="connsiteX17" fmla="*/ 351758 w 371475"/>
                  <a:gd name="connsiteY17" fmla="*/ 237173 h 361950"/>
                  <a:gd name="connsiteX18" fmla="*/ 351758 w 371475"/>
                  <a:gd name="connsiteY18" fmla="*/ 232886 h 361950"/>
                  <a:gd name="connsiteX19" fmla="*/ 348425 w 371475"/>
                  <a:gd name="connsiteY19" fmla="*/ 229552 h 361950"/>
                  <a:gd name="connsiteX20" fmla="*/ 344996 w 371475"/>
                  <a:gd name="connsiteY20" fmla="*/ 226981 h 361950"/>
                  <a:gd name="connsiteX21" fmla="*/ 344996 w 371475"/>
                  <a:gd name="connsiteY21" fmla="*/ 224409 h 361950"/>
                  <a:gd name="connsiteX22" fmla="*/ 356044 w 371475"/>
                  <a:gd name="connsiteY22" fmla="*/ 215932 h 361950"/>
                  <a:gd name="connsiteX23" fmla="*/ 357759 w 371475"/>
                  <a:gd name="connsiteY23" fmla="*/ 213360 h 361950"/>
                  <a:gd name="connsiteX24" fmla="*/ 358521 w 371475"/>
                  <a:gd name="connsiteY24" fmla="*/ 211646 h 361950"/>
                  <a:gd name="connsiteX25" fmla="*/ 356044 w 371475"/>
                  <a:gd name="connsiteY25" fmla="*/ 208312 h 361950"/>
                  <a:gd name="connsiteX26" fmla="*/ 351758 w 371475"/>
                  <a:gd name="connsiteY26" fmla="*/ 204025 h 361950"/>
                  <a:gd name="connsiteX27" fmla="*/ 349282 w 371475"/>
                  <a:gd name="connsiteY27" fmla="*/ 204883 h 361950"/>
                  <a:gd name="connsiteX28" fmla="*/ 348425 w 371475"/>
                  <a:gd name="connsiteY28" fmla="*/ 204025 h 361950"/>
                  <a:gd name="connsiteX29" fmla="*/ 347567 w 371475"/>
                  <a:gd name="connsiteY29" fmla="*/ 203168 h 361950"/>
                  <a:gd name="connsiteX30" fmla="*/ 346710 w 371475"/>
                  <a:gd name="connsiteY30" fmla="*/ 202311 h 361950"/>
                  <a:gd name="connsiteX31" fmla="*/ 345853 w 371475"/>
                  <a:gd name="connsiteY31" fmla="*/ 199739 h 361950"/>
                  <a:gd name="connsiteX32" fmla="*/ 344996 w 371475"/>
                  <a:gd name="connsiteY32" fmla="*/ 198882 h 361950"/>
                  <a:gd name="connsiteX33" fmla="*/ 344138 w 371475"/>
                  <a:gd name="connsiteY33" fmla="*/ 197263 h 361950"/>
                  <a:gd name="connsiteX34" fmla="*/ 344138 w 371475"/>
                  <a:gd name="connsiteY34" fmla="*/ 196406 h 361950"/>
                  <a:gd name="connsiteX35" fmla="*/ 344138 w 371475"/>
                  <a:gd name="connsiteY35" fmla="*/ 194691 h 361950"/>
                  <a:gd name="connsiteX36" fmla="*/ 344996 w 371475"/>
                  <a:gd name="connsiteY36" fmla="*/ 193834 h 361950"/>
                  <a:gd name="connsiteX37" fmla="*/ 341567 w 371475"/>
                  <a:gd name="connsiteY37" fmla="*/ 191262 h 361950"/>
                  <a:gd name="connsiteX38" fmla="*/ 342424 w 371475"/>
                  <a:gd name="connsiteY38" fmla="*/ 188690 h 361950"/>
                  <a:gd name="connsiteX39" fmla="*/ 344996 w 371475"/>
                  <a:gd name="connsiteY39" fmla="*/ 184499 h 361950"/>
                  <a:gd name="connsiteX40" fmla="*/ 345853 w 371475"/>
                  <a:gd name="connsiteY40" fmla="*/ 181927 h 361950"/>
                  <a:gd name="connsiteX41" fmla="*/ 346710 w 371475"/>
                  <a:gd name="connsiteY41" fmla="*/ 176022 h 361950"/>
                  <a:gd name="connsiteX42" fmla="*/ 347567 w 371475"/>
                  <a:gd name="connsiteY42" fmla="*/ 173450 h 361950"/>
                  <a:gd name="connsiteX43" fmla="*/ 349282 w 371475"/>
                  <a:gd name="connsiteY43" fmla="*/ 168307 h 361950"/>
                  <a:gd name="connsiteX44" fmla="*/ 350044 w 371475"/>
                  <a:gd name="connsiteY44" fmla="*/ 165735 h 361950"/>
                  <a:gd name="connsiteX45" fmla="*/ 348425 w 371475"/>
                  <a:gd name="connsiteY45" fmla="*/ 163259 h 361950"/>
                  <a:gd name="connsiteX46" fmla="*/ 347567 w 371475"/>
                  <a:gd name="connsiteY46" fmla="*/ 161544 h 361950"/>
                  <a:gd name="connsiteX47" fmla="*/ 342424 w 371475"/>
                  <a:gd name="connsiteY47" fmla="*/ 158972 h 361950"/>
                  <a:gd name="connsiteX48" fmla="*/ 339090 w 371475"/>
                  <a:gd name="connsiteY48" fmla="*/ 156400 h 361950"/>
                  <a:gd name="connsiteX49" fmla="*/ 328898 w 371475"/>
                  <a:gd name="connsiteY49" fmla="*/ 141161 h 361950"/>
                  <a:gd name="connsiteX50" fmla="*/ 327184 w 371475"/>
                  <a:gd name="connsiteY50" fmla="*/ 137731 h 361950"/>
                  <a:gd name="connsiteX51" fmla="*/ 324707 w 371475"/>
                  <a:gd name="connsiteY51" fmla="*/ 134302 h 361950"/>
                  <a:gd name="connsiteX52" fmla="*/ 320421 w 371475"/>
                  <a:gd name="connsiteY52" fmla="*/ 131826 h 361950"/>
                  <a:gd name="connsiteX53" fmla="*/ 319564 w 371475"/>
                  <a:gd name="connsiteY53" fmla="*/ 131826 h 361950"/>
                  <a:gd name="connsiteX54" fmla="*/ 319564 w 371475"/>
                  <a:gd name="connsiteY54" fmla="*/ 131826 h 361950"/>
                  <a:gd name="connsiteX55" fmla="*/ 317849 w 371475"/>
                  <a:gd name="connsiteY55" fmla="*/ 130969 h 361950"/>
                  <a:gd name="connsiteX56" fmla="*/ 317849 w 371475"/>
                  <a:gd name="connsiteY56" fmla="*/ 129254 h 361950"/>
                  <a:gd name="connsiteX57" fmla="*/ 318707 w 371475"/>
                  <a:gd name="connsiteY57" fmla="*/ 127540 h 361950"/>
                  <a:gd name="connsiteX58" fmla="*/ 318707 w 371475"/>
                  <a:gd name="connsiteY58" fmla="*/ 124111 h 361950"/>
                  <a:gd name="connsiteX59" fmla="*/ 316230 w 371475"/>
                  <a:gd name="connsiteY59" fmla="*/ 112204 h 361950"/>
                  <a:gd name="connsiteX60" fmla="*/ 316230 w 371475"/>
                  <a:gd name="connsiteY60" fmla="*/ 112204 h 361950"/>
                  <a:gd name="connsiteX61" fmla="*/ 315373 w 371475"/>
                  <a:gd name="connsiteY61" fmla="*/ 110490 h 361950"/>
                  <a:gd name="connsiteX62" fmla="*/ 316230 w 371475"/>
                  <a:gd name="connsiteY62" fmla="*/ 109633 h 361950"/>
                  <a:gd name="connsiteX63" fmla="*/ 316230 w 371475"/>
                  <a:gd name="connsiteY63" fmla="*/ 108013 h 361950"/>
                  <a:gd name="connsiteX64" fmla="*/ 316992 w 371475"/>
                  <a:gd name="connsiteY64" fmla="*/ 107156 h 361950"/>
                  <a:gd name="connsiteX65" fmla="*/ 317849 w 371475"/>
                  <a:gd name="connsiteY65" fmla="*/ 106299 h 361950"/>
                  <a:gd name="connsiteX66" fmla="*/ 316992 w 371475"/>
                  <a:gd name="connsiteY66" fmla="*/ 105442 h 361950"/>
                  <a:gd name="connsiteX67" fmla="*/ 312801 w 371475"/>
                  <a:gd name="connsiteY67" fmla="*/ 98584 h 361950"/>
                  <a:gd name="connsiteX68" fmla="*/ 309372 w 371475"/>
                  <a:gd name="connsiteY68" fmla="*/ 91821 h 361950"/>
                  <a:gd name="connsiteX69" fmla="*/ 307753 w 371475"/>
                  <a:gd name="connsiteY69" fmla="*/ 93536 h 361950"/>
                  <a:gd name="connsiteX70" fmla="*/ 302609 w 371475"/>
                  <a:gd name="connsiteY70" fmla="*/ 99441 h 361950"/>
                  <a:gd name="connsiteX71" fmla="*/ 300895 w 371475"/>
                  <a:gd name="connsiteY71" fmla="*/ 99441 h 361950"/>
                  <a:gd name="connsiteX72" fmla="*/ 300038 w 371475"/>
                  <a:gd name="connsiteY72" fmla="*/ 99441 h 361950"/>
                  <a:gd name="connsiteX73" fmla="*/ 299275 w 371475"/>
                  <a:gd name="connsiteY73" fmla="*/ 98584 h 361950"/>
                  <a:gd name="connsiteX74" fmla="*/ 298418 w 371475"/>
                  <a:gd name="connsiteY74" fmla="*/ 96965 h 361950"/>
                  <a:gd name="connsiteX75" fmla="*/ 297561 w 371475"/>
                  <a:gd name="connsiteY75" fmla="*/ 95250 h 361950"/>
                  <a:gd name="connsiteX76" fmla="*/ 298418 w 371475"/>
                  <a:gd name="connsiteY76" fmla="*/ 93536 h 361950"/>
                  <a:gd name="connsiteX77" fmla="*/ 299275 w 371475"/>
                  <a:gd name="connsiteY77" fmla="*/ 91821 h 361950"/>
                  <a:gd name="connsiteX78" fmla="*/ 299275 w 371475"/>
                  <a:gd name="connsiteY78" fmla="*/ 90106 h 361950"/>
                  <a:gd name="connsiteX79" fmla="*/ 300038 w 371475"/>
                  <a:gd name="connsiteY79" fmla="*/ 85916 h 361950"/>
                  <a:gd name="connsiteX80" fmla="*/ 300895 w 371475"/>
                  <a:gd name="connsiteY80" fmla="*/ 84201 h 361950"/>
                  <a:gd name="connsiteX81" fmla="*/ 300895 w 371475"/>
                  <a:gd name="connsiteY81" fmla="*/ 83344 h 361950"/>
                  <a:gd name="connsiteX82" fmla="*/ 302609 w 371475"/>
                  <a:gd name="connsiteY82" fmla="*/ 82487 h 361950"/>
                  <a:gd name="connsiteX83" fmla="*/ 304324 w 371475"/>
                  <a:gd name="connsiteY83" fmla="*/ 80772 h 361950"/>
                  <a:gd name="connsiteX84" fmla="*/ 307753 w 371475"/>
                  <a:gd name="connsiteY84" fmla="*/ 78200 h 361950"/>
                  <a:gd name="connsiteX85" fmla="*/ 308515 w 371475"/>
                  <a:gd name="connsiteY85" fmla="*/ 77343 h 361950"/>
                  <a:gd name="connsiteX86" fmla="*/ 309372 w 371475"/>
                  <a:gd name="connsiteY86" fmla="*/ 76486 h 361950"/>
                  <a:gd name="connsiteX87" fmla="*/ 309372 w 371475"/>
                  <a:gd name="connsiteY87" fmla="*/ 75724 h 361950"/>
                  <a:gd name="connsiteX88" fmla="*/ 309372 w 371475"/>
                  <a:gd name="connsiteY88" fmla="*/ 74009 h 361950"/>
                  <a:gd name="connsiteX89" fmla="*/ 310229 w 371475"/>
                  <a:gd name="connsiteY89" fmla="*/ 69723 h 361950"/>
                  <a:gd name="connsiteX90" fmla="*/ 310229 w 371475"/>
                  <a:gd name="connsiteY90" fmla="*/ 68008 h 361950"/>
                  <a:gd name="connsiteX91" fmla="*/ 309372 w 371475"/>
                  <a:gd name="connsiteY91" fmla="*/ 65437 h 361950"/>
                  <a:gd name="connsiteX92" fmla="*/ 308515 w 371475"/>
                  <a:gd name="connsiteY92" fmla="*/ 62960 h 361950"/>
                  <a:gd name="connsiteX93" fmla="*/ 308515 w 371475"/>
                  <a:gd name="connsiteY93" fmla="*/ 62103 h 361950"/>
                  <a:gd name="connsiteX94" fmla="*/ 308515 w 371475"/>
                  <a:gd name="connsiteY94" fmla="*/ 61246 h 361950"/>
                  <a:gd name="connsiteX95" fmla="*/ 307753 w 371475"/>
                  <a:gd name="connsiteY95" fmla="*/ 61246 h 361950"/>
                  <a:gd name="connsiteX96" fmla="*/ 306896 w 371475"/>
                  <a:gd name="connsiteY96" fmla="*/ 60389 h 361950"/>
                  <a:gd name="connsiteX97" fmla="*/ 304324 w 371475"/>
                  <a:gd name="connsiteY97" fmla="*/ 61246 h 361950"/>
                  <a:gd name="connsiteX98" fmla="*/ 303467 w 371475"/>
                  <a:gd name="connsiteY98" fmla="*/ 61246 h 361950"/>
                  <a:gd name="connsiteX99" fmla="*/ 302609 w 371475"/>
                  <a:gd name="connsiteY99" fmla="*/ 61246 h 361950"/>
                  <a:gd name="connsiteX100" fmla="*/ 302609 w 371475"/>
                  <a:gd name="connsiteY100" fmla="*/ 62103 h 361950"/>
                  <a:gd name="connsiteX101" fmla="*/ 302609 w 371475"/>
                  <a:gd name="connsiteY101" fmla="*/ 63818 h 361950"/>
                  <a:gd name="connsiteX102" fmla="*/ 302609 w 371475"/>
                  <a:gd name="connsiteY102" fmla="*/ 64675 h 361950"/>
                  <a:gd name="connsiteX103" fmla="*/ 300895 w 371475"/>
                  <a:gd name="connsiteY103" fmla="*/ 65437 h 361950"/>
                  <a:gd name="connsiteX104" fmla="*/ 298418 w 371475"/>
                  <a:gd name="connsiteY104" fmla="*/ 67151 h 361950"/>
                  <a:gd name="connsiteX105" fmla="*/ 297561 w 371475"/>
                  <a:gd name="connsiteY105" fmla="*/ 67151 h 361950"/>
                  <a:gd name="connsiteX106" fmla="*/ 295846 w 371475"/>
                  <a:gd name="connsiteY106" fmla="*/ 69723 h 361950"/>
                  <a:gd name="connsiteX107" fmla="*/ 294989 w 371475"/>
                  <a:gd name="connsiteY107" fmla="*/ 70580 h 361950"/>
                  <a:gd name="connsiteX108" fmla="*/ 292417 w 371475"/>
                  <a:gd name="connsiteY108" fmla="*/ 70580 h 361950"/>
                  <a:gd name="connsiteX109" fmla="*/ 290798 w 371475"/>
                  <a:gd name="connsiteY109" fmla="*/ 70580 h 361950"/>
                  <a:gd name="connsiteX110" fmla="*/ 289084 w 371475"/>
                  <a:gd name="connsiteY110" fmla="*/ 70580 h 361950"/>
                  <a:gd name="connsiteX111" fmla="*/ 287369 w 371475"/>
                  <a:gd name="connsiteY111" fmla="*/ 71438 h 361950"/>
                  <a:gd name="connsiteX112" fmla="*/ 284798 w 371475"/>
                  <a:gd name="connsiteY112" fmla="*/ 73152 h 361950"/>
                  <a:gd name="connsiteX113" fmla="*/ 282321 w 371475"/>
                  <a:gd name="connsiteY113" fmla="*/ 73152 h 361950"/>
                  <a:gd name="connsiteX114" fmla="*/ 280607 w 371475"/>
                  <a:gd name="connsiteY114" fmla="*/ 74009 h 361950"/>
                  <a:gd name="connsiteX115" fmla="*/ 278892 w 371475"/>
                  <a:gd name="connsiteY115" fmla="*/ 74867 h 361950"/>
                  <a:gd name="connsiteX116" fmla="*/ 278892 w 371475"/>
                  <a:gd name="connsiteY116" fmla="*/ 75724 h 361950"/>
                  <a:gd name="connsiteX117" fmla="*/ 278035 w 371475"/>
                  <a:gd name="connsiteY117" fmla="*/ 76486 h 361950"/>
                  <a:gd name="connsiteX118" fmla="*/ 277178 w 371475"/>
                  <a:gd name="connsiteY118" fmla="*/ 76486 h 361950"/>
                  <a:gd name="connsiteX119" fmla="*/ 276320 w 371475"/>
                  <a:gd name="connsiteY119" fmla="*/ 77343 h 361950"/>
                  <a:gd name="connsiteX120" fmla="*/ 275463 w 371475"/>
                  <a:gd name="connsiteY120" fmla="*/ 79057 h 361950"/>
                  <a:gd name="connsiteX121" fmla="*/ 274606 w 371475"/>
                  <a:gd name="connsiteY121" fmla="*/ 79915 h 361950"/>
                  <a:gd name="connsiteX122" fmla="*/ 272129 w 371475"/>
                  <a:gd name="connsiteY122" fmla="*/ 81629 h 361950"/>
                  <a:gd name="connsiteX123" fmla="*/ 268700 w 371475"/>
                  <a:gd name="connsiteY123" fmla="*/ 81629 h 361950"/>
                  <a:gd name="connsiteX124" fmla="*/ 266986 w 371475"/>
                  <a:gd name="connsiteY124" fmla="*/ 79915 h 361950"/>
                  <a:gd name="connsiteX125" fmla="*/ 266129 w 371475"/>
                  <a:gd name="connsiteY125" fmla="*/ 78200 h 361950"/>
                  <a:gd name="connsiteX126" fmla="*/ 266129 w 371475"/>
                  <a:gd name="connsiteY126" fmla="*/ 76486 h 361950"/>
                  <a:gd name="connsiteX127" fmla="*/ 264509 w 371475"/>
                  <a:gd name="connsiteY127" fmla="*/ 74867 h 361950"/>
                  <a:gd name="connsiteX128" fmla="*/ 261938 w 371475"/>
                  <a:gd name="connsiteY128" fmla="*/ 72295 h 361950"/>
                  <a:gd name="connsiteX129" fmla="*/ 261080 w 371475"/>
                  <a:gd name="connsiteY129" fmla="*/ 70580 h 361950"/>
                  <a:gd name="connsiteX130" fmla="*/ 260223 w 371475"/>
                  <a:gd name="connsiteY130" fmla="*/ 68008 h 361950"/>
                  <a:gd name="connsiteX131" fmla="*/ 259366 w 371475"/>
                  <a:gd name="connsiteY131" fmla="*/ 61246 h 361950"/>
                  <a:gd name="connsiteX132" fmla="*/ 259366 w 371475"/>
                  <a:gd name="connsiteY132" fmla="*/ 59531 h 361950"/>
                  <a:gd name="connsiteX133" fmla="*/ 257651 w 371475"/>
                  <a:gd name="connsiteY133" fmla="*/ 57817 h 361950"/>
                  <a:gd name="connsiteX134" fmla="*/ 256032 w 371475"/>
                  <a:gd name="connsiteY134" fmla="*/ 56102 h 361950"/>
                  <a:gd name="connsiteX135" fmla="*/ 251746 w 371475"/>
                  <a:gd name="connsiteY135" fmla="*/ 46768 h 361950"/>
                  <a:gd name="connsiteX136" fmla="*/ 248412 w 371475"/>
                  <a:gd name="connsiteY136" fmla="*/ 41720 h 361950"/>
                  <a:gd name="connsiteX137" fmla="*/ 241554 w 371475"/>
                  <a:gd name="connsiteY137" fmla="*/ 35719 h 361950"/>
                  <a:gd name="connsiteX138" fmla="*/ 239077 w 371475"/>
                  <a:gd name="connsiteY138" fmla="*/ 32290 h 361950"/>
                  <a:gd name="connsiteX139" fmla="*/ 238220 w 371475"/>
                  <a:gd name="connsiteY139" fmla="*/ 29813 h 361950"/>
                  <a:gd name="connsiteX140" fmla="*/ 236506 w 371475"/>
                  <a:gd name="connsiteY140" fmla="*/ 28956 h 361950"/>
                  <a:gd name="connsiteX141" fmla="*/ 235648 w 371475"/>
                  <a:gd name="connsiteY141" fmla="*/ 28099 h 361950"/>
                  <a:gd name="connsiteX142" fmla="*/ 234791 w 371475"/>
                  <a:gd name="connsiteY142" fmla="*/ 28956 h 361950"/>
                  <a:gd name="connsiteX143" fmla="*/ 233934 w 371475"/>
                  <a:gd name="connsiteY143" fmla="*/ 28956 h 361950"/>
                  <a:gd name="connsiteX144" fmla="*/ 231457 w 371475"/>
                  <a:gd name="connsiteY144" fmla="*/ 29813 h 361950"/>
                  <a:gd name="connsiteX145" fmla="*/ 231457 w 371475"/>
                  <a:gd name="connsiteY145" fmla="*/ 30671 h 361950"/>
                  <a:gd name="connsiteX146" fmla="*/ 229743 w 371475"/>
                  <a:gd name="connsiteY146" fmla="*/ 32290 h 361950"/>
                  <a:gd name="connsiteX147" fmla="*/ 228886 w 371475"/>
                  <a:gd name="connsiteY147" fmla="*/ 33147 h 361950"/>
                  <a:gd name="connsiteX148" fmla="*/ 228029 w 371475"/>
                  <a:gd name="connsiteY148" fmla="*/ 33147 h 361950"/>
                  <a:gd name="connsiteX149" fmla="*/ 226314 w 371475"/>
                  <a:gd name="connsiteY149" fmla="*/ 34004 h 361950"/>
                  <a:gd name="connsiteX150" fmla="*/ 225457 w 371475"/>
                  <a:gd name="connsiteY150" fmla="*/ 34862 h 361950"/>
                  <a:gd name="connsiteX151" fmla="*/ 224600 w 371475"/>
                  <a:gd name="connsiteY151" fmla="*/ 35719 h 361950"/>
                  <a:gd name="connsiteX152" fmla="*/ 221266 w 371475"/>
                  <a:gd name="connsiteY152" fmla="*/ 38291 h 361950"/>
                  <a:gd name="connsiteX153" fmla="*/ 219551 w 371475"/>
                  <a:gd name="connsiteY153" fmla="*/ 39148 h 361950"/>
                  <a:gd name="connsiteX154" fmla="*/ 218694 w 371475"/>
                  <a:gd name="connsiteY154" fmla="*/ 40005 h 361950"/>
                  <a:gd name="connsiteX155" fmla="*/ 216979 w 371475"/>
                  <a:gd name="connsiteY155" fmla="*/ 40862 h 361950"/>
                  <a:gd name="connsiteX156" fmla="*/ 211931 w 371475"/>
                  <a:gd name="connsiteY156" fmla="*/ 42481 h 361950"/>
                  <a:gd name="connsiteX157" fmla="*/ 210217 w 371475"/>
                  <a:gd name="connsiteY157" fmla="*/ 43339 h 361950"/>
                  <a:gd name="connsiteX158" fmla="*/ 206026 w 371475"/>
                  <a:gd name="connsiteY158" fmla="*/ 44196 h 361950"/>
                  <a:gd name="connsiteX159" fmla="*/ 200882 w 371475"/>
                  <a:gd name="connsiteY159" fmla="*/ 45053 h 361950"/>
                  <a:gd name="connsiteX160" fmla="*/ 200025 w 371475"/>
                  <a:gd name="connsiteY160" fmla="*/ 45053 h 361950"/>
                  <a:gd name="connsiteX161" fmla="*/ 200025 w 371475"/>
                  <a:gd name="connsiteY161" fmla="*/ 45910 h 361950"/>
                  <a:gd name="connsiteX162" fmla="*/ 199168 w 371475"/>
                  <a:gd name="connsiteY162" fmla="*/ 46768 h 361950"/>
                  <a:gd name="connsiteX163" fmla="*/ 198406 w 371475"/>
                  <a:gd name="connsiteY163" fmla="*/ 47625 h 361950"/>
                  <a:gd name="connsiteX164" fmla="*/ 195834 w 371475"/>
                  <a:gd name="connsiteY164" fmla="*/ 47625 h 361950"/>
                  <a:gd name="connsiteX165" fmla="*/ 181451 w 371475"/>
                  <a:gd name="connsiteY165" fmla="*/ 43339 h 361950"/>
                  <a:gd name="connsiteX166" fmla="*/ 172117 w 371475"/>
                  <a:gd name="connsiteY166" fmla="*/ 40005 h 361950"/>
                  <a:gd name="connsiteX167" fmla="*/ 166973 w 371475"/>
                  <a:gd name="connsiteY167" fmla="*/ 36576 h 361950"/>
                  <a:gd name="connsiteX168" fmla="*/ 156877 w 371475"/>
                  <a:gd name="connsiteY168" fmla="*/ 28956 h 361950"/>
                  <a:gd name="connsiteX169" fmla="*/ 152590 w 371475"/>
                  <a:gd name="connsiteY169" fmla="*/ 27242 h 361950"/>
                  <a:gd name="connsiteX170" fmla="*/ 150876 w 371475"/>
                  <a:gd name="connsiteY170" fmla="*/ 25527 h 361950"/>
                  <a:gd name="connsiteX171" fmla="*/ 149161 w 371475"/>
                  <a:gd name="connsiteY171" fmla="*/ 24670 h 361950"/>
                  <a:gd name="connsiteX172" fmla="*/ 146685 w 371475"/>
                  <a:gd name="connsiteY172" fmla="*/ 20383 h 361950"/>
                  <a:gd name="connsiteX173" fmla="*/ 140684 w 371475"/>
                  <a:gd name="connsiteY173" fmla="*/ 15335 h 361950"/>
                  <a:gd name="connsiteX174" fmla="*/ 138208 w 371475"/>
                  <a:gd name="connsiteY174" fmla="*/ 13621 h 361950"/>
                  <a:gd name="connsiteX175" fmla="*/ 131445 w 371475"/>
                  <a:gd name="connsiteY175" fmla="*/ 6001 h 361950"/>
                  <a:gd name="connsiteX176" fmla="*/ 130588 w 371475"/>
                  <a:gd name="connsiteY176" fmla="*/ 5144 h 361950"/>
                  <a:gd name="connsiteX177" fmla="*/ 128873 w 371475"/>
                  <a:gd name="connsiteY177" fmla="*/ 4286 h 361950"/>
                  <a:gd name="connsiteX178" fmla="*/ 116110 w 371475"/>
                  <a:gd name="connsiteY178" fmla="*/ 5144 h 361950"/>
                  <a:gd name="connsiteX179" fmla="*/ 114490 w 371475"/>
                  <a:gd name="connsiteY179" fmla="*/ 5144 h 361950"/>
                  <a:gd name="connsiteX180" fmla="*/ 108490 w 371475"/>
                  <a:gd name="connsiteY180" fmla="*/ 0 h 361950"/>
                  <a:gd name="connsiteX181" fmla="*/ 106775 w 371475"/>
                  <a:gd name="connsiteY181" fmla="*/ 0 h 361950"/>
                  <a:gd name="connsiteX182" fmla="*/ 103442 w 371475"/>
                  <a:gd name="connsiteY182" fmla="*/ 1715 h 361950"/>
                  <a:gd name="connsiteX183" fmla="*/ 90678 w 371475"/>
                  <a:gd name="connsiteY183" fmla="*/ 4286 h 361950"/>
                  <a:gd name="connsiteX184" fmla="*/ 85630 w 371475"/>
                  <a:gd name="connsiteY184" fmla="*/ 6858 h 361950"/>
                  <a:gd name="connsiteX185" fmla="*/ 79724 w 371475"/>
                  <a:gd name="connsiteY185" fmla="*/ 11049 h 361950"/>
                  <a:gd name="connsiteX186" fmla="*/ 78010 w 371475"/>
                  <a:gd name="connsiteY186" fmla="*/ 12764 h 361950"/>
                  <a:gd name="connsiteX187" fmla="*/ 77152 w 371475"/>
                  <a:gd name="connsiteY187" fmla="*/ 13621 h 361950"/>
                  <a:gd name="connsiteX188" fmla="*/ 77152 w 371475"/>
                  <a:gd name="connsiteY188" fmla="*/ 15335 h 361950"/>
                  <a:gd name="connsiteX189" fmla="*/ 76295 w 371475"/>
                  <a:gd name="connsiteY189" fmla="*/ 17050 h 361950"/>
                  <a:gd name="connsiteX190" fmla="*/ 75438 w 371475"/>
                  <a:gd name="connsiteY190" fmla="*/ 18764 h 361950"/>
                  <a:gd name="connsiteX191" fmla="*/ 72961 w 371475"/>
                  <a:gd name="connsiteY191" fmla="*/ 22098 h 361950"/>
                  <a:gd name="connsiteX192" fmla="*/ 70390 w 371475"/>
                  <a:gd name="connsiteY192" fmla="*/ 23813 h 361950"/>
                  <a:gd name="connsiteX193" fmla="*/ 67818 w 371475"/>
                  <a:gd name="connsiteY193" fmla="*/ 24670 h 361950"/>
                  <a:gd name="connsiteX194" fmla="*/ 63627 w 371475"/>
                  <a:gd name="connsiteY194" fmla="*/ 26384 h 361950"/>
                  <a:gd name="connsiteX195" fmla="*/ 57626 w 371475"/>
                  <a:gd name="connsiteY195" fmla="*/ 28956 h 361950"/>
                  <a:gd name="connsiteX196" fmla="*/ 56007 w 371475"/>
                  <a:gd name="connsiteY196" fmla="*/ 29813 h 361950"/>
                  <a:gd name="connsiteX197" fmla="*/ 55150 w 371475"/>
                  <a:gd name="connsiteY197" fmla="*/ 31432 h 361950"/>
                  <a:gd name="connsiteX198" fmla="*/ 52578 w 371475"/>
                  <a:gd name="connsiteY198" fmla="*/ 34004 h 361950"/>
                  <a:gd name="connsiteX199" fmla="*/ 44101 w 371475"/>
                  <a:gd name="connsiteY199" fmla="*/ 41720 h 361950"/>
                  <a:gd name="connsiteX200" fmla="*/ 41529 w 371475"/>
                  <a:gd name="connsiteY200" fmla="*/ 43339 h 361950"/>
                  <a:gd name="connsiteX201" fmla="*/ 40672 w 371475"/>
                  <a:gd name="connsiteY201" fmla="*/ 43339 h 361950"/>
                  <a:gd name="connsiteX202" fmla="*/ 39815 w 371475"/>
                  <a:gd name="connsiteY202" fmla="*/ 43339 h 361950"/>
                  <a:gd name="connsiteX203" fmla="*/ 38195 w 371475"/>
                  <a:gd name="connsiteY203" fmla="*/ 40862 h 361950"/>
                  <a:gd name="connsiteX204" fmla="*/ 37338 w 371475"/>
                  <a:gd name="connsiteY204" fmla="*/ 40005 h 361950"/>
                  <a:gd name="connsiteX205" fmla="*/ 36481 w 371475"/>
                  <a:gd name="connsiteY205" fmla="*/ 40005 h 361950"/>
                  <a:gd name="connsiteX206" fmla="*/ 34766 w 371475"/>
                  <a:gd name="connsiteY206" fmla="*/ 39148 h 361950"/>
                  <a:gd name="connsiteX207" fmla="*/ 32194 w 371475"/>
                  <a:gd name="connsiteY207" fmla="*/ 38291 h 361950"/>
                  <a:gd name="connsiteX208" fmla="*/ 31337 w 371475"/>
                  <a:gd name="connsiteY208" fmla="*/ 38291 h 361950"/>
                  <a:gd name="connsiteX209" fmla="*/ 29718 w 371475"/>
                  <a:gd name="connsiteY209" fmla="*/ 38291 h 361950"/>
                  <a:gd name="connsiteX210" fmla="*/ 27146 w 371475"/>
                  <a:gd name="connsiteY210" fmla="*/ 38291 h 361950"/>
                  <a:gd name="connsiteX211" fmla="*/ 26289 w 371475"/>
                  <a:gd name="connsiteY211" fmla="*/ 39148 h 361950"/>
                  <a:gd name="connsiteX212" fmla="*/ 25432 w 371475"/>
                  <a:gd name="connsiteY212" fmla="*/ 40005 h 361950"/>
                  <a:gd name="connsiteX213" fmla="*/ 25432 w 371475"/>
                  <a:gd name="connsiteY213" fmla="*/ 41720 h 361950"/>
                  <a:gd name="connsiteX214" fmla="*/ 25432 w 371475"/>
                  <a:gd name="connsiteY214" fmla="*/ 43339 h 361950"/>
                  <a:gd name="connsiteX215" fmla="*/ 26289 w 371475"/>
                  <a:gd name="connsiteY215" fmla="*/ 45910 h 361950"/>
                  <a:gd name="connsiteX216" fmla="*/ 27146 w 371475"/>
                  <a:gd name="connsiteY216" fmla="*/ 47625 h 361950"/>
                  <a:gd name="connsiteX217" fmla="*/ 31337 w 371475"/>
                  <a:gd name="connsiteY217" fmla="*/ 51054 h 361950"/>
                  <a:gd name="connsiteX218" fmla="*/ 32194 w 371475"/>
                  <a:gd name="connsiteY218" fmla="*/ 52769 h 361950"/>
                  <a:gd name="connsiteX219" fmla="*/ 33052 w 371475"/>
                  <a:gd name="connsiteY219" fmla="*/ 54388 h 361950"/>
                  <a:gd name="connsiteX220" fmla="*/ 33909 w 371475"/>
                  <a:gd name="connsiteY220" fmla="*/ 55245 h 361950"/>
                  <a:gd name="connsiteX221" fmla="*/ 33909 w 371475"/>
                  <a:gd name="connsiteY221" fmla="*/ 56102 h 361950"/>
                  <a:gd name="connsiteX222" fmla="*/ 36481 w 371475"/>
                  <a:gd name="connsiteY222" fmla="*/ 58674 h 361950"/>
                  <a:gd name="connsiteX223" fmla="*/ 36481 w 371475"/>
                  <a:gd name="connsiteY223" fmla="*/ 60389 h 361950"/>
                  <a:gd name="connsiteX224" fmla="*/ 37338 w 371475"/>
                  <a:gd name="connsiteY224" fmla="*/ 61246 h 361950"/>
                  <a:gd name="connsiteX225" fmla="*/ 37338 w 371475"/>
                  <a:gd name="connsiteY225" fmla="*/ 62103 h 361950"/>
                  <a:gd name="connsiteX226" fmla="*/ 36481 w 371475"/>
                  <a:gd name="connsiteY226" fmla="*/ 64675 h 361950"/>
                  <a:gd name="connsiteX227" fmla="*/ 35623 w 371475"/>
                  <a:gd name="connsiteY227" fmla="*/ 68866 h 361950"/>
                  <a:gd name="connsiteX228" fmla="*/ 36481 w 371475"/>
                  <a:gd name="connsiteY228" fmla="*/ 70580 h 361950"/>
                  <a:gd name="connsiteX229" fmla="*/ 39052 w 371475"/>
                  <a:gd name="connsiteY229" fmla="*/ 75724 h 361950"/>
                  <a:gd name="connsiteX230" fmla="*/ 39052 w 371475"/>
                  <a:gd name="connsiteY230" fmla="*/ 77343 h 361950"/>
                  <a:gd name="connsiteX231" fmla="*/ 39052 w 371475"/>
                  <a:gd name="connsiteY231" fmla="*/ 79057 h 361950"/>
                  <a:gd name="connsiteX232" fmla="*/ 38195 w 371475"/>
                  <a:gd name="connsiteY232" fmla="*/ 80772 h 361950"/>
                  <a:gd name="connsiteX233" fmla="*/ 38195 w 371475"/>
                  <a:gd name="connsiteY233" fmla="*/ 80772 h 361950"/>
                  <a:gd name="connsiteX234" fmla="*/ 37338 w 371475"/>
                  <a:gd name="connsiteY234" fmla="*/ 81629 h 361950"/>
                  <a:gd name="connsiteX235" fmla="*/ 35623 w 371475"/>
                  <a:gd name="connsiteY235" fmla="*/ 83344 h 361950"/>
                  <a:gd name="connsiteX236" fmla="*/ 32194 w 371475"/>
                  <a:gd name="connsiteY236" fmla="*/ 87535 h 361950"/>
                  <a:gd name="connsiteX237" fmla="*/ 32194 w 371475"/>
                  <a:gd name="connsiteY237" fmla="*/ 89249 h 361950"/>
                  <a:gd name="connsiteX238" fmla="*/ 30575 w 371475"/>
                  <a:gd name="connsiteY238" fmla="*/ 92678 h 361950"/>
                  <a:gd name="connsiteX239" fmla="*/ 29718 w 371475"/>
                  <a:gd name="connsiteY239" fmla="*/ 93536 h 361950"/>
                  <a:gd name="connsiteX240" fmla="*/ 31337 w 371475"/>
                  <a:gd name="connsiteY240" fmla="*/ 93536 h 361950"/>
                  <a:gd name="connsiteX241" fmla="*/ 32194 w 371475"/>
                  <a:gd name="connsiteY241" fmla="*/ 95250 h 361950"/>
                  <a:gd name="connsiteX242" fmla="*/ 32194 w 371475"/>
                  <a:gd name="connsiteY242" fmla="*/ 96107 h 361950"/>
                  <a:gd name="connsiteX243" fmla="*/ 37338 w 371475"/>
                  <a:gd name="connsiteY243" fmla="*/ 104585 h 361950"/>
                  <a:gd name="connsiteX244" fmla="*/ 37338 w 371475"/>
                  <a:gd name="connsiteY244" fmla="*/ 105442 h 361950"/>
                  <a:gd name="connsiteX245" fmla="*/ 37338 w 371475"/>
                  <a:gd name="connsiteY245" fmla="*/ 106299 h 361950"/>
                  <a:gd name="connsiteX246" fmla="*/ 36481 w 371475"/>
                  <a:gd name="connsiteY246" fmla="*/ 107156 h 361950"/>
                  <a:gd name="connsiteX247" fmla="*/ 31337 w 371475"/>
                  <a:gd name="connsiteY247" fmla="*/ 110490 h 361950"/>
                  <a:gd name="connsiteX248" fmla="*/ 22098 w 371475"/>
                  <a:gd name="connsiteY248" fmla="*/ 117348 h 361950"/>
                  <a:gd name="connsiteX249" fmla="*/ 18669 w 371475"/>
                  <a:gd name="connsiteY249" fmla="*/ 121539 h 361950"/>
                  <a:gd name="connsiteX250" fmla="*/ 16954 w 371475"/>
                  <a:gd name="connsiteY250" fmla="*/ 123254 h 361950"/>
                  <a:gd name="connsiteX251" fmla="*/ 15240 w 371475"/>
                  <a:gd name="connsiteY251" fmla="*/ 124968 h 361950"/>
                  <a:gd name="connsiteX252" fmla="*/ 12763 w 371475"/>
                  <a:gd name="connsiteY252" fmla="*/ 125825 h 361950"/>
                  <a:gd name="connsiteX253" fmla="*/ 5144 w 371475"/>
                  <a:gd name="connsiteY253" fmla="*/ 127540 h 361950"/>
                  <a:gd name="connsiteX254" fmla="*/ 4286 w 371475"/>
                  <a:gd name="connsiteY254" fmla="*/ 127540 h 361950"/>
                  <a:gd name="connsiteX255" fmla="*/ 4286 w 371475"/>
                  <a:gd name="connsiteY255" fmla="*/ 128397 h 361950"/>
                  <a:gd name="connsiteX256" fmla="*/ 3429 w 371475"/>
                  <a:gd name="connsiteY256" fmla="*/ 130111 h 361950"/>
                  <a:gd name="connsiteX257" fmla="*/ 3429 w 371475"/>
                  <a:gd name="connsiteY257" fmla="*/ 131826 h 361950"/>
                  <a:gd name="connsiteX258" fmla="*/ 3429 w 371475"/>
                  <a:gd name="connsiteY258" fmla="*/ 133445 h 361950"/>
                  <a:gd name="connsiteX259" fmla="*/ 4286 w 371475"/>
                  <a:gd name="connsiteY259" fmla="*/ 135160 h 361950"/>
                  <a:gd name="connsiteX260" fmla="*/ 5144 w 371475"/>
                  <a:gd name="connsiteY260" fmla="*/ 136017 h 361950"/>
                  <a:gd name="connsiteX261" fmla="*/ 5905 w 371475"/>
                  <a:gd name="connsiteY261" fmla="*/ 136017 h 361950"/>
                  <a:gd name="connsiteX262" fmla="*/ 6763 w 371475"/>
                  <a:gd name="connsiteY262" fmla="*/ 136017 h 361950"/>
                  <a:gd name="connsiteX263" fmla="*/ 6763 w 371475"/>
                  <a:gd name="connsiteY263" fmla="*/ 135160 h 361950"/>
                  <a:gd name="connsiteX264" fmla="*/ 7620 w 371475"/>
                  <a:gd name="connsiteY264" fmla="*/ 135160 h 361950"/>
                  <a:gd name="connsiteX265" fmla="*/ 8477 w 371475"/>
                  <a:gd name="connsiteY265" fmla="*/ 135160 h 361950"/>
                  <a:gd name="connsiteX266" fmla="*/ 9334 w 371475"/>
                  <a:gd name="connsiteY266" fmla="*/ 135160 h 361950"/>
                  <a:gd name="connsiteX267" fmla="*/ 9334 w 371475"/>
                  <a:gd name="connsiteY267" fmla="*/ 136017 h 361950"/>
                  <a:gd name="connsiteX268" fmla="*/ 8477 w 371475"/>
                  <a:gd name="connsiteY268" fmla="*/ 138589 h 361950"/>
                  <a:gd name="connsiteX269" fmla="*/ 8477 w 371475"/>
                  <a:gd name="connsiteY269" fmla="*/ 140303 h 361950"/>
                  <a:gd name="connsiteX270" fmla="*/ 6763 w 371475"/>
                  <a:gd name="connsiteY270" fmla="*/ 142018 h 361950"/>
                  <a:gd name="connsiteX271" fmla="*/ 857 w 371475"/>
                  <a:gd name="connsiteY271" fmla="*/ 148781 h 361950"/>
                  <a:gd name="connsiteX272" fmla="*/ 0 w 371475"/>
                  <a:gd name="connsiteY272" fmla="*/ 149638 h 361950"/>
                  <a:gd name="connsiteX273" fmla="*/ 857 w 371475"/>
                  <a:gd name="connsiteY273" fmla="*/ 151352 h 361950"/>
                  <a:gd name="connsiteX274" fmla="*/ 1715 w 371475"/>
                  <a:gd name="connsiteY274" fmla="*/ 151352 h 361950"/>
                  <a:gd name="connsiteX275" fmla="*/ 2572 w 371475"/>
                  <a:gd name="connsiteY275" fmla="*/ 152210 h 361950"/>
                  <a:gd name="connsiteX276" fmla="*/ 9334 w 371475"/>
                  <a:gd name="connsiteY276" fmla="*/ 153067 h 361950"/>
                  <a:gd name="connsiteX277" fmla="*/ 11906 w 371475"/>
                  <a:gd name="connsiteY277" fmla="*/ 153924 h 361950"/>
                  <a:gd name="connsiteX278" fmla="*/ 13621 w 371475"/>
                  <a:gd name="connsiteY278" fmla="*/ 153924 h 361950"/>
                  <a:gd name="connsiteX279" fmla="*/ 14383 w 371475"/>
                  <a:gd name="connsiteY279" fmla="*/ 154686 h 361950"/>
                  <a:gd name="connsiteX280" fmla="*/ 19526 w 371475"/>
                  <a:gd name="connsiteY280" fmla="*/ 156400 h 361950"/>
                  <a:gd name="connsiteX281" fmla="*/ 24575 w 371475"/>
                  <a:gd name="connsiteY281" fmla="*/ 159829 h 361950"/>
                  <a:gd name="connsiteX282" fmla="*/ 31337 w 371475"/>
                  <a:gd name="connsiteY282" fmla="*/ 163259 h 361950"/>
                  <a:gd name="connsiteX283" fmla="*/ 33909 w 371475"/>
                  <a:gd name="connsiteY283" fmla="*/ 164973 h 361950"/>
                  <a:gd name="connsiteX284" fmla="*/ 34766 w 371475"/>
                  <a:gd name="connsiteY284" fmla="*/ 167450 h 361950"/>
                  <a:gd name="connsiteX285" fmla="*/ 39052 w 371475"/>
                  <a:gd name="connsiteY285" fmla="*/ 172593 h 361950"/>
                  <a:gd name="connsiteX286" fmla="*/ 43244 w 371475"/>
                  <a:gd name="connsiteY286" fmla="*/ 181070 h 361950"/>
                  <a:gd name="connsiteX287" fmla="*/ 43244 w 371475"/>
                  <a:gd name="connsiteY287" fmla="*/ 181927 h 361950"/>
                  <a:gd name="connsiteX288" fmla="*/ 43244 w 371475"/>
                  <a:gd name="connsiteY288" fmla="*/ 182785 h 361950"/>
                  <a:gd name="connsiteX289" fmla="*/ 42386 w 371475"/>
                  <a:gd name="connsiteY289" fmla="*/ 182785 h 361950"/>
                  <a:gd name="connsiteX290" fmla="*/ 41529 w 371475"/>
                  <a:gd name="connsiteY290" fmla="*/ 182785 h 361950"/>
                  <a:gd name="connsiteX291" fmla="*/ 40672 w 371475"/>
                  <a:gd name="connsiteY291" fmla="*/ 182785 h 361950"/>
                  <a:gd name="connsiteX292" fmla="*/ 39815 w 371475"/>
                  <a:gd name="connsiteY292" fmla="*/ 182785 h 361950"/>
                  <a:gd name="connsiteX293" fmla="*/ 39052 w 371475"/>
                  <a:gd name="connsiteY293" fmla="*/ 182785 h 361950"/>
                  <a:gd name="connsiteX294" fmla="*/ 38195 w 371475"/>
                  <a:gd name="connsiteY294" fmla="*/ 183642 h 361950"/>
                  <a:gd name="connsiteX295" fmla="*/ 38195 w 371475"/>
                  <a:gd name="connsiteY295" fmla="*/ 185356 h 361950"/>
                  <a:gd name="connsiteX296" fmla="*/ 38195 w 371475"/>
                  <a:gd name="connsiteY296" fmla="*/ 186214 h 361950"/>
                  <a:gd name="connsiteX297" fmla="*/ 40672 w 371475"/>
                  <a:gd name="connsiteY297" fmla="*/ 190405 h 361950"/>
                  <a:gd name="connsiteX298" fmla="*/ 54292 w 371475"/>
                  <a:gd name="connsiteY298" fmla="*/ 217646 h 361950"/>
                  <a:gd name="connsiteX299" fmla="*/ 61055 w 371475"/>
                  <a:gd name="connsiteY299" fmla="*/ 234601 h 361950"/>
                  <a:gd name="connsiteX300" fmla="*/ 62770 w 371475"/>
                  <a:gd name="connsiteY300" fmla="*/ 242316 h 361950"/>
                  <a:gd name="connsiteX301" fmla="*/ 62770 w 371475"/>
                  <a:gd name="connsiteY301" fmla="*/ 244792 h 361950"/>
                  <a:gd name="connsiteX302" fmla="*/ 64484 w 371475"/>
                  <a:gd name="connsiteY302" fmla="*/ 246507 h 361950"/>
                  <a:gd name="connsiteX303" fmla="*/ 66961 w 371475"/>
                  <a:gd name="connsiteY303" fmla="*/ 249079 h 361950"/>
                  <a:gd name="connsiteX304" fmla="*/ 69532 w 371475"/>
                  <a:gd name="connsiteY304" fmla="*/ 250793 h 361950"/>
                  <a:gd name="connsiteX305" fmla="*/ 71247 w 371475"/>
                  <a:gd name="connsiteY305" fmla="*/ 249936 h 361950"/>
                  <a:gd name="connsiteX306" fmla="*/ 72104 w 371475"/>
                  <a:gd name="connsiteY306" fmla="*/ 249079 h 361950"/>
                  <a:gd name="connsiteX307" fmla="*/ 73723 w 371475"/>
                  <a:gd name="connsiteY307" fmla="*/ 249079 h 361950"/>
                  <a:gd name="connsiteX308" fmla="*/ 75438 w 371475"/>
                  <a:gd name="connsiteY308" fmla="*/ 249936 h 361950"/>
                  <a:gd name="connsiteX309" fmla="*/ 76295 w 371475"/>
                  <a:gd name="connsiteY309" fmla="*/ 250793 h 361950"/>
                  <a:gd name="connsiteX310" fmla="*/ 77152 w 371475"/>
                  <a:gd name="connsiteY310" fmla="*/ 249936 h 361950"/>
                  <a:gd name="connsiteX311" fmla="*/ 78010 w 371475"/>
                  <a:gd name="connsiteY311" fmla="*/ 249936 h 361950"/>
                  <a:gd name="connsiteX312" fmla="*/ 78867 w 371475"/>
                  <a:gd name="connsiteY312" fmla="*/ 248221 h 361950"/>
                  <a:gd name="connsiteX313" fmla="*/ 78867 w 371475"/>
                  <a:gd name="connsiteY313" fmla="*/ 246507 h 361950"/>
                  <a:gd name="connsiteX314" fmla="*/ 79724 w 371475"/>
                  <a:gd name="connsiteY314" fmla="*/ 245650 h 361950"/>
                  <a:gd name="connsiteX315" fmla="*/ 80581 w 371475"/>
                  <a:gd name="connsiteY315" fmla="*/ 244792 h 361950"/>
                  <a:gd name="connsiteX316" fmla="*/ 81344 w 371475"/>
                  <a:gd name="connsiteY316" fmla="*/ 245650 h 361950"/>
                  <a:gd name="connsiteX317" fmla="*/ 82201 w 371475"/>
                  <a:gd name="connsiteY317" fmla="*/ 244792 h 361950"/>
                  <a:gd name="connsiteX318" fmla="*/ 82201 w 371475"/>
                  <a:gd name="connsiteY318" fmla="*/ 243173 h 361950"/>
                  <a:gd name="connsiteX319" fmla="*/ 82201 w 371475"/>
                  <a:gd name="connsiteY319" fmla="*/ 238887 h 361950"/>
                  <a:gd name="connsiteX320" fmla="*/ 82201 w 371475"/>
                  <a:gd name="connsiteY320" fmla="*/ 237173 h 361950"/>
                  <a:gd name="connsiteX321" fmla="*/ 84773 w 371475"/>
                  <a:gd name="connsiteY321" fmla="*/ 236315 h 361950"/>
                  <a:gd name="connsiteX322" fmla="*/ 85630 w 371475"/>
                  <a:gd name="connsiteY322" fmla="*/ 236315 h 361950"/>
                  <a:gd name="connsiteX323" fmla="*/ 85630 w 371475"/>
                  <a:gd name="connsiteY323" fmla="*/ 236315 h 361950"/>
                  <a:gd name="connsiteX324" fmla="*/ 86487 w 371475"/>
                  <a:gd name="connsiteY324" fmla="*/ 235458 h 361950"/>
                  <a:gd name="connsiteX325" fmla="*/ 86487 w 371475"/>
                  <a:gd name="connsiteY325" fmla="*/ 234601 h 361950"/>
                  <a:gd name="connsiteX326" fmla="*/ 88202 w 371475"/>
                  <a:gd name="connsiteY326" fmla="*/ 236315 h 361950"/>
                  <a:gd name="connsiteX327" fmla="*/ 92392 w 371475"/>
                  <a:gd name="connsiteY327" fmla="*/ 244792 h 361950"/>
                  <a:gd name="connsiteX328" fmla="*/ 94964 w 371475"/>
                  <a:gd name="connsiteY328" fmla="*/ 249079 h 361950"/>
                  <a:gd name="connsiteX329" fmla="*/ 94964 w 371475"/>
                  <a:gd name="connsiteY329" fmla="*/ 251650 h 361950"/>
                  <a:gd name="connsiteX330" fmla="*/ 95821 w 371475"/>
                  <a:gd name="connsiteY330" fmla="*/ 251650 h 361950"/>
                  <a:gd name="connsiteX331" fmla="*/ 96679 w 371475"/>
                  <a:gd name="connsiteY331" fmla="*/ 251650 h 361950"/>
                  <a:gd name="connsiteX332" fmla="*/ 97536 w 371475"/>
                  <a:gd name="connsiteY332" fmla="*/ 251650 h 361950"/>
                  <a:gd name="connsiteX333" fmla="*/ 98298 w 371475"/>
                  <a:gd name="connsiteY333" fmla="*/ 250793 h 361950"/>
                  <a:gd name="connsiteX334" fmla="*/ 98298 w 371475"/>
                  <a:gd name="connsiteY334" fmla="*/ 250793 h 361950"/>
                  <a:gd name="connsiteX335" fmla="*/ 99155 w 371475"/>
                  <a:gd name="connsiteY335" fmla="*/ 251650 h 361950"/>
                  <a:gd name="connsiteX336" fmla="*/ 100013 w 371475"/>
                  <a:gd name="connsiteY336" fmla="*/ 252508 h 361950"/>
                  <a:gd name="connsiteX337" fmla="*/ 100870 w 371475"/>
                  <a:gd name="connsiteY337" fmla="*/ 253365 h 361950"/>
                  <a:gd name="connsiteX338" fmla="*/ 101727 w 371475"/>
                  <a:gd name="connsiteY338" fmla="*/ 254222 h 361950"/>
                  <a:gd name="connsiteX339" fmla="*/ 101727 w 371475"/>
                  <a:gd name="connsiteY339" fmla="*/ 253365 h 361950"/>
                  <a:gd name="connsiteX340" fmla="*/ 102584 w 371475"/>
                  <a:gd name="connsiteY340" fmla="*/ 253365 h 361950"/>
                  <a:gd name="connsiteX341" fmla="*/ 102584 w 371475"/>
                  <a:gd name="connsiteY341" fmla="*/ 252508 h 361950"/>
                  <a:gd name="connsiteX342" fmla="*/ 102584 w 371475"/>
                  <a:gd name="connsiteY342" fmla="*/ 252508 h 361950"/>
                  <a:gd name="connsiteX343" fmla="*/ 104299 w 371475"/>
                  <a:gd name="connsiteY343" fmla="*/ 253365 h 361950"/>
                  <a:gd name="connsiteX344" fmla="*/ 105156 w 371475"/>
                  <a:gd name="connsiteY344" fmla="*/ 253365 h 361950"/>
                  <a:gd name="connsiteX345" fmla="*/ 105156 w 371475"/>
                  <a:gd name="connsiteY345" fmla="*/ 254222 h 361950"/>
                  <a:gd name="connsiteX346" fmla="*/ 106013 w 371475"/>
                  <a:gd name="connsiteY346" fmla="*/ 255842 h 361950"/>
                  <a:gd name="connsiteX347" fmla="*/ 106013 w 371475"/>
                  <a:gd name="connsiteY347" fmla="*/ 256699 h 361950"/>
                  <a:gd name="connsiteX348" fmla="*/ 106775 w 371475"/>
                  <a:gd name="connsiteY348" fmla="*/ 257556 h 361950"/>
                  <a:gd name="connsiteX349" fmla="*/ 106775 w 371475"/>
                  <a:gd name="connsiteY349" fmla="*/ 256699 h 361950"/>
                  <a:gd name="connsiteX350" fmla="*/ 107632 w 371475"/>
                  <a:gd name="connsiteY350" fmla="*/ 256699 h 361950"/>
                  <a:gd name="connsiteX351" fmla="*/ 107632 w 371475"/>
                  <a:gd name="connsiteY351" fmla="*/ 255842 h 361950"/>
                  <a:gd name="connsiteX352" fmla="*/ 108490 w 371475"/>
                  <a:gd name="connsiteY352" fmla="*/ 254222 h 361950"/>
                  <a:gd name="connsiteX353" fmla="*/ 109347 w 371475"/>
                  <a:gd name="connsiteY353" fmla="*/ 254222 h 361950"/>
                  <a:gd name="connsiteX354" fmla="*/ 109347 w 371475"/>
                  <a:gd name="connsiteY354" fmla="*/ 254222 h 361950"/>
                  <a:gd name="connsiteX355" fmla="*/ 110204 w 371475"/>
                  <a:gd name="connsiteY355" fmla="*/ 254222 h 361950"/>
                  <a:gd name="connsiteX356" fmla="*/ 110204 w 371475"/>
                  <a:gd name="connsiteY356" fmla="*/ 254984 h 361950"/>
                  <a:gd name="connsiteX357" fmla="*/ 111061 w 371475"/>
                  <a:gd name="connsiteY357" fmla="*/ 256699 h 361950"/>
                  <a:gd name="connsiteX358" fmla="*/ 111919 w 371475"/>
                  <a:gd name="connsiteY358" fmla="*/ 258413 h 361950"/>
                  <a:gd name="connsiteX359" fmla="*/ 111061 w 371475"/>
                  <a:gd name="connsiteY359" fmla="*/ 260985 h 361950"/>
                  <a:gd name="connsiteX360" fmla="*/ 111061 w 371475"/>
                  <a:gd name="connsiteY360" fmla="*/ 260985 h 361950"/>
                  <a:gd name="connsiteX361" fmla="*/ 111919 w 371475"/>
                  <a:gd name="connsiteY361" fmla="*/ 260985 h 361950"/>
                  <a:gd name="connsiteX362" fmla="*/ 114490 w 371475"/>
                  <a:gd name="connsiteY362" fmla="*/ 260985 h 361950"/>
                  <a:gd name="connsiteX363" fmla="*/ 115252 w 371475"/>
                  <a:gd name="connsiteY363" fmla="*/ 260985 h 361950"/>
                  <a:gd name="connsiteX364" fmla="*/ 116110 w 371475"/>
                  <a:gd name="connsiteY364" fmla="*/ 261842 h 361950"/>
                  <a:gd name="connsiteX365" fmla="*/ 115252 w 371475"/>
                  <a:gd name="connsiteY365" fmla="*/ 263557 h 361950"/>
                  <a:gd name="connsiteX366" fmla="*/ 113633 w 371475"/>
                  <a:gd name="connsiteY366" fmla="*/ 265271 h 361950"/>
                  <a:gd name="connsiteX367" fmla="*/ 113633 w 371475"/>
                  <a:gd name="connsiteY367" fmla="*/ 266033 h 361950"/>
                  <a:gd name="connsiteX368" fmla="*/ 113633 w 371475"/>
                  <a:gd name="connsiteY368" fmla="*/ 267748 h 361950"/>
                  <a:gd name="connsiteX369" fmla="*/ 112776 w 371475"/>
                  <a:gd name="connsiteY369" fmla="*/ 272891 h 361950"/>
                  <a:gd name="connsiteX370" fmla="*/ 113633 w 371475"/>
                  <a:gd name="connsiteY370" fmla="*/ 273748 h 361950"/>
                  <a:gd name="connsiteX371" fmla="*/ 115252 w 371475"/>
                  <a:gd name="connsiteY371" fmla="*/ 275463 h 361950"/>
                  <a:gd name="connsiteX372" fmla="*/ 115252 w 371475"/>
                  <a:gd name="connsiteY372" fmla="*/ 276320 h 361950"/>
                  <a:gd name="connsiteX373" fmla="*/ 114490 w 371475"/>
                  <a:gd name="connsiteY373" fmla="*/ 278797 h 361950"/>
                  <a:gd name="connsiteX374" fmla="*/ 113633 w 371475"/>
                  <a:gd name="connsiteY374" fmla="*/ 279654 h 361950"/>
                  <a:gd name="connsiteX375" fmla="*/ 113633 w 371475"/>
                  <a:gd name="connsiteY375" fmla="*/ 280511 h 361950"/>
                  <a:gd name="connsiteX376" fmla="*/ 113633 w 371475"/>
                  <a:gd name="connsiteY376" fmla="*/ 282226 h 361950"/>
                  <a:gd name="connsiteX377" fmla="*/ 113633 w 371475"/>
                  <a:gd name="connsiteY377" fmla="*/ 283083 h 361950"/>
                  <a:gd name="connsiteX378" fmla="*/ 114490 w 371475"/>
                  <a:gd name="connsiteY378" fmla="*/ 284798 h 361950"/>
                  <a:gd name="connsiteX379" fmla="*/ 114490 w 371475"/>
                  <a:gd name="connsiteY379" fmla="*/ 286512 h 361950"/>
                  <a:gd name="connsiteX380" fmla="*/ 116110 w 371475"/>
                  <a:gd name="connsiteY380" fmla="*/ 288227 h 361950"/>
                  <a:gd name="connsiteX381" fmla="*/ 117824 w 371475"/>
                  <a:gd name="connsiteY381" fmla="*/ 290703 h 361950"/>
                  <a:gd name="connsiteX382" fmla="*/ 123730 w 371475"/>
                  <a:gd name="connsiteY382" fmla="*/ 294989 h 361950"/>
                  <a:gd name="connsiteX383" fmla="*/ 126302 w 371475"/>
                  <a:gd name="connsiteY383" fmla="*/ 297561 h 361950"/>
                  <a:gd name="connsiteX384" fmla="*/ 131445 w 371475"/>
                  <a:gd name="connsiteY384" fmla="*/ 301752 h 361950"/>
                  <a:gd name="connsiteX385" fmla="*/ 132207 w 371475"/>
                  <a:gd name="connsiteY385" fmla="*/ 301752 h 361950"/>
                  <a:gd name="connsiteX386" fmla="*/ 133064 w 371475"/>
                  <a:gd name="connsiteY386" fmla="*/ 300895 h 361950"/>
                  <a:gd name="connsiteX387" fmla="*/ 134779 w 371475"/>
                  <a:gd name="connsiteY387" fmla="*/ 299275 h 361950"/>
                  <a:gd name="connsiteX388" fmla="*/ 135636 w 371475"/>
                  <a:gd name="connsiteY388" fmla="*/ 299275 h 361950"/>
                  <a:gd name="connsiteX389" fmla="*/ 136493 w 371475"/>
                  <a:gd name="connsiteY389" fmla="*/ 299275 h 361950"/>
                  <a:gd name="connsiteX390" fmla="*/ 137350 w 371475"/>
                  <a:gd name="connsiteY390" fmla="*/ 299275 h 361950"/>
                  <a:gd name="connsiteX391" fmla="*/ 137350 w 371475"/>
                  <a:gd name="connsiteY391" fmla="*/ 299275 h 361950"/>
                  <a:gd name="connsiteX392" fmla="*/ 138208 w 371475"/>
                  <a:gd name="connsiteY392" fmla="*/ 301752 h 361950"/>
                  <a:gd name="connsiteX393" fmla="*/ 139065 w 371475"/>
                  <a:gd name="connsiteY393" fmla="*/ 302609 h 361950"/>
                  <a:gd name="connsiteX394" fmla="*/ 140684 w 371475"/>
                  <a:gd name="connsiteY394" fmla="*/ 303467 h 361950"/>
                  <a:gd name="connsiteX395" fmla="*/ 142399 w 371475"/>
                  <a:gd name="connsiteY395" fmla="*/ 303467 h 361950"/>
                  <a:gd name="connsiteX396" fmla="*/ 143256 w 371475"/>
                  <a:gd name="connsiteY396" fmla="*/ 303467 h 361950"/>
                  <a:gd name="connsiteX397" fmla="*/ 144971 w 371475"/>
                  <a:gd name="connsiteY397" fmla="*/ 302609 h 361950"/>
                  <a:gd name="connsiteX398" fmla="*/ 146685 w 371475"/>
                  <a:gd name="connsiteY398" fmla="*/ 303467 h 361950"/>
                  <a:gd name="connsiteX399" fmla="*/ 148400 w 371475"/>
                  <a:gd name="connsiteY399" fmla="*/ 305181 h 361950"/>
                  <a:gd name="connsiteX400" fmla="*/ 150019 w 371475"/>
                  <a:gd name="connsiteY400" fmla="*/ 306896 h 361950"/>
                  <a:gd name="connsiteX401" fmla="*/ 150876 w 371475"/>
                  <a:gd name="connsiteY401" fmla="*/ 308610 h 361950"/>
                  <a:gd name="connsiteX402" fmla="*/ 150876 w 371475"/>
                  <a:gd name="connsiteY402" fmla="*/ 311086 h 361950"/>
                  <a:gd name="connsiteX403" fmla="*/ 151733 w 371475"/>
                  <a:gd name="connsiteY403" fmla="*/ 311944 h 361950"/>
                  <a:gd name="connsiteX404" fmla="*/ 152590 w 371475"/>
                  <a:gd name="connsiteY404" fmla="*/ 313658 h 361950"/>
                  <a:gd name="connsiteX405" fmla="*/ 153448 w 371475"/>
                  <a:gd name="connsiteY405" fmla="*/ 313658 h 361950"/>
                  <a:gd name="connsiteX406" fmla="*/ 155162 w 371475"/>
                  <a:gd name="connsiteY406" fmla="*/ 314515 h 361950"/>
                  <a:gd name="connsiteX407" fmla="*/ 156019 w 371475"/>
                  <a:gd name="connsiteY407" fmla="*/ 314515 h 361950"/>
                  <a:gd name="connsiteX408" fmla="*/ 156877 w 371475"/>
                  <a:gd name="connsiteY408" fmla="*/ 315373 h 361950"/>
                  <a:gd name="connsiteX409" fmla="*/ 156877 w 371475"/>
                  <a:gd name="connsiteY409" fmla="*/ 317087 h 361950"/>
                  <a:gd name="connsiteX410" fmla="*/ 156877 w 371475"/>
                  <a:gd name="connsiteY410" fmla="*/ 317944 h 361950"/>
                  <a:gd name="connsiteX411" fmla="*/ 157639 w 371475"/>
                  <a:gd name="connsiteY411" fmla="*/ 318802 h 361950"/>
                  <a:gd name="connsiteX412" fmla="*/ 158496 w 371475"/>
                  <a:gd name="connsiteY412" fmla="*/ 319659 h 361950"/>
                  <a:gd name="connsiteX413" fmla="*/ 161925 w 371475"/>
                  <a:gd name="connsiteY413" fmla="*/ 321373 h 361950"/>
                  <a:gd name="connsiteX414" fmla="*/ 166973 w 371475"/>
                  <a:gd name="connsiteY414" fmla="*/ 323850 h 361950"/>
                  <a:gd name="connsiteX415" fmla="*/ 169545 w 371475"/>
                  <a:gd name="connsiteY415" fmla="*/ 326422 h 361950"/>
                  <a:gd name="connsiteX416" fmla="*/ 171259 w 371475"/>
                  <a:gd name="connsiteY416" fmla="*/ 327279 h 361950"/>
                  <a:gd name="connsiteX417" fmla="*/ 172974 w 371475"/>
                  <a:gd name="connsiteY417" fmla="*/ 329851 h 361950"/>
                  <a:gd name="connsiteX418" fmla="*/ 173736 w 371475"/>
                  <a:gd name="connsiteY418" fmla="*/ 331565 h 361950"/>
                  <a:gd name="connsiteX419" fmla="*/ 173736 w 371475"/>
                  <a:gd name="connsiteY419" fmla="*/ 333185 h 361950"/>
                  <a:gd name="connsiteX420" fmla="*/ 173736 w 371475"/>
                  <a:gd name="connsiteY420" fmla="*/ 336613 h 361950"/>
                  <a:gd name="connsiteX421" fmla="*/ 173736 w 371475"/>
                  <a:gd name="connsiteY421" fmla="*/ 340042 h 361950"/>
                  <a:gd name="connsiteX422" fmla="*/ 172974 w 371475"/>
                  <a:gd name="connsiteY422" fmla="*/ 342614 h 361950"/>
                  <a:gd name="connsiteX423" fmla="*/ 172974 w 371475"/>
                  <a:gd name="connsiteY423" fmla="*/ 343471 h 361950"/>
                  <a:gd name="connsiteX424" fmla="*/ 172117 w 371475"/>
                  <a:gd name="connsiteY424" fmla="*/ 345948 h 361950"/>
                  <a:gd name="connsiteX425" fmla="*/ 172117 w 371475"/>
                  <a:gd name="connsiteY425" fmla="*/ 347663 h 361950"/>
                  <a:gd name="connsiteX426" fmla="*/ 173736 w 371475"/>
                  <a:gd name="connsiteY426" fmla="*/ 349377 h 361950"/>
                  <a:gd name="connsiteX427" fmla="*/ 179737 w 371475"/>
                  <a:gd name="connsiteY427" fmla="*/ 354521 h 361950"/>
                  <a:gd name="connsiteX428" fmla="*/ 179737 w 371475"/>
                  <a:gd name="connsiteY428" fmla="*/ 356140 h 361950"/>
                  <a:gd name="connsiteX429" fmla="*/ 179737 w 371475"/>
                  <a:gd name="connsiteY429" fmla="*/ 356140 h 361950"/>
                  <a:gd name="connsiteX430" fmla="*/ 180594 w 371475"/>
                  <a:gd name="connsiteY430" fmla="*/ 356997 h 361950"/>
                  <a:gd name="connsiteX431" fmla="*/ 181451 w 371475"/>
                  <a:gd name="connsiteY431" fmla="*/ 357854 h 361950"/>
                  <a:gd name="connsiteX432" fmla="*/ 183928 w 371475"/>
                  <a:gd name="connsiteY432" fmla="*/ 356140 h 361950"/>
                  <a:gd name="connsiteX433" fmla="*/ 187357 w 371475"/>
                  <a:gd name="connsiteY433" fmla="*/ 357854 h 361950"/>
                  <a:gd name="connsiteX434" fmla="*/ 189071 w 371475"/>
                  <a:gd name="connsiteY434" fmla="*/ 358711 h 361950"/>
                  <a:gd name="connsiteX435" fmla="*/ 190690 w 371475"/>
                  <a:gd name="connsiteY435" fmla="*/ 359569 h 361950"/>
                  <a:gd name="connsiteX436" fmla="*/ 195834 w 371475"/>
                  <a:gd name="connsiteY436" fmla="*/ 360426 h 361950"/>
                  <a:gd name="connsiteX437" fmla="*/ 196691 w 371475"/>
                  <a:gd name="connsiteY437" fmla="*/ 360426 h 361950"/>
                  <a:gd name="connsiteX438" fmla="*/ 197548 w 371475"/>
                  <a:gd name="connsiteY438" fmla="*/ 361283 h 361950"/>
                  <a:gd name="connsiteX439" fmla="*/ 198406 w 371475"/>
                  <a:gd name="connsiteY439" fmla="*/ 362140 h 361950"/>
                  <a:gd name="connsiteX440" fmla="*/ 199168 w 371475"/>
                  <a:gd name="connsiteY440" fmla="*/ 362998 h 361950"/>
                  <a:gd name="connsiteX441" fmla="*/ 200882 w 371475"/>
                  <a:gd name="connsiteY441" fmla="*/ 362998 h 361950"/>
                  <a:gd name="connsiteX442" fmla="*/ 202597 w 371475"/>
                  <a:gd name="connsiteY442" fmla="*/ 362998 h 361950"/>
                  <a:gd name="connsiteX443" fmla="*/ 206026 w 371475"/>
                  <a:gd name="connsiteY443" fmla="*/ 360426 h 361950"/>
                  <a:gd name="connsiteX444" fmla="*/ 206883 w 371475"/>
                  <a:gd name="connsiteY444" fmla="*/ 360426 h 361950"/>
                  <a:gd name="connsiteX445" fmla="*/ 207645 w 371475"/>
                  <a:gd name="connsiteY445" fmla="*/ 361283 h 361950"/>
                  <a:gd name="connsiteX446" fmla="*/ 206883 w 371475"/>
                  <a:gd name="connsiteY446" fmla="*/ 362140 h 361950"/>
                  <a:gd name="connsiteX447" fmla="*/ 205169 w 371475"/>
                  <a:gd name="connsiteY447" fmla="*/ 363855 h 361950"/>
                  <a:gd name="connsiteX448" fmla="*/ 205169 w 371475"/>
                  <a:gd name="connsiteY448" fmla="*/ 364712 h 361950"/>
                  <a:gd name="connsiteX449" fmla="*/ 206026 w 371475"/>
                  <a:gd name="connsiteY449" fmla="*/ 364712 h 361950"/>
                  <a:gd name="connsiteX450" fmla="*/ 208502 w 371475"/>
                  <a:gd name="connsiteY450" fmla="*/ 364712 h 361950"/>
                  <a:gd name="connsiteX451" fmla="*/ 209359 w 371475"/>
                  <a:gd name="connsiteY451" fmla="*/ 364712 h 361950"/>
                  <a:gd name="connsiteX452" fmla="*/ 211074 w 371475"/>
                  <a:gd name="connsiteY452" fmla="*/ 364712 h 361950"/>
                  <a:gd name="connsiteX453" fmla="*/ 211931 w 371475"/>
                  <a:gd name="connsiteY453" fmla="*/ 363855 h 361950"/>
                  <a:gd name="connsiteX454" fmla="*/ 213646 w 371475"/>
                  <a:gd name="connsiteY454" fmla="*/ 363855 h 361950"/>
                  <a:gd name="connsiteX455" fmla="*/ 216979 w 371475"/>
                  <a:gd name="connsiteY455" fmla="*/ 366427 h 361950"/>
                  <a:gd name="connsiteX456" fmla="*/ 221266 w 371475"/>
                  <a:gd name="connsiteY456" fmla="*/ 369761 h 361950"/>
                  <a:gd name="connsiteX457" fmla="*/ 222123 w 371475"/>
                  <a:gd name="connsiteY457" fmla="*/ 369761 h 361950"/>
                  <a:gd name="connsiteX458" fmla="*/ 221266 w 371475"/>
                  <a:gd name="connsiteY458" fmla="*/ 368903 h 361950"/>
                  <a:gd name="connsiteX459" fmla="*/ 219551 w 371475"/>
                  <a:gd name="connsiteY459" fmla="*/ 366427 h 361950"/>
                  <a:gd name="connsiteX460" fmla="*/ 219551 w 371475"/>
                  <a:gd name="connsiteY460" fmla="*/ 365569 h 361950"/>
                  <a:gd name="connsiteX461" fmla="*/ 220409 w 371475"/>
                  <a:gd name="connsiteY461" fmla="*/ 363855 h 361950"/>
                  <a:gd name="connsiteX462" fmla="*/ 222980 w 371475"/>
                  <a:gd name="connsiteY462" fmla="*/ 362140 h 361950"/>
                  <a:gd name="connsiteX463" fmla="*/ 226314 w 371475"/>
                  <a:gd name="connsiteY463" fmla="*/ 362140 h 361950"/>
                  <a:gd name="connsiteX464" fmla="*/ 228029 w 371475"/>
                  <a:gd name="connsiteY464" fmla="*/ 362140 h 361950"/>
                  <a:gd name="connsiteX465" fmla="*/ 230600 w 371475"/>
                  <a:gd name="connsiteY465" fmla="*/ 361283 h 361950"/>
                  <a:gd name="connsiteX466" fmla="*/ 233077 w 371475"/>
                  <a:gd name="connsiteY466" fmla="*/ 360426 h 361950"/>
                  <a:gd name="connsiteX467" fmla="*/ 242411 w 371475"/>
                  <a:gd name="connsiteY467" fmla="*/ 354521 h 361950"/>
                  <a:gd name="connsiteX468" fmla="*/ 244983 w 371475"/>
                  <a:gd name="connsiteY468" fmla="*/ 353663 h 361950"/>
                  <a:gd name="connsiteX469" fmla="*/ 245840 w 371475"/>
                  <a:gd name="connsiteY469" fmla="*/ 353663 h 361950"/>
                  <a:gd name="connsiteX470" fmla="*/ 246698 w 371475"/>
                  <a:gd name="connsiteY470" fmla="*/ 351949 h 361950"/>
                  <a:gd name="connsiteX471" fmla="*/ 247555 w 371475"/>
                  <a:gd name="connsiteY471" fmla="*/ 350234 h 361950"/>
                  <a:gd name="connsiteX472" fmla="*/ 247555 w 371475"/>
                  <a:gd name="connsiteY472" fmla="*/ 349377 h 361950"/>
                  <a:gd name="connsiteX473" fmla="*/ 247555 w 371475"/>
                  <a:gd name="connsiteY473" fmla="*/ 348520 h 361950"/>
                  <a:gd name="connsiteX474" fmla="*/ 246698 w 371475"/>
                  <a:gd name="connsiteY474" fmla="*/ 347663 h 361950"/>
                  <a:gd name="connsiteX475" fmla="*/ 245840 w 371475"/>
                  <a:gd name="connsiteY475" fmla="*/ 347663 h 361950"/>
                  <a:gd name="connsiteX476" fmla="*/ 244126 w 371475"/>
                  <a:gd name="connsiteY476" fmla="*/ 347663 h 361950"/>
                  <a:gd name="connsiteX477" fmla="*/ 242411 w 371475"/>
                  <a:gd name="connsiteY477" fmla="*/ 346805 h 361950"/>
                  <a:gd name="connsiteX478" fmla="*/ 241554 w 371475"/>
                  <a:gd name="connsiteY478" fmla="*/ 345948 h 361950"/>
                  <a:gd name="connsiteX479" fmla="*/ 239077 w 371475"/>
                  <a:gd name="connsiteY479" fmla="*/ 341757 h 361950"/>
                  <a:gd name="connsiteX480" fmla="*/ 239935 w 371475"/>
                  <a:gd name="connsiteY480" fmla="*/ 340900 h 361950"/>
                  <a:gd name="connsiteX481" fmla="*/ 241554 w 371475"/>
                  <a:gd name="connsiteY481" fmla="*/ 339185 h 361950"/>
                  <a:gd name="connsiteX482" fmla="*/ 242411 w 371475"/>
                  <a:gd name="connsiteY482" fmla="*/ 338328 h 361950"/>
                  <a:gd name="connsiteX483" fmla="*/ 242411 w 371475"/>
                  <a:gd name="connsiteY483" fmla="*/ 336613 h 361950"/>
                  <a:gd name="connsiteX484" fmla="*/ 241554 w 371475"/>
                  <a:gd name="connsiteY484" fmla="*/ 334042 h 361950"/>
                  <a:gd name="connsiteX485" fmla="*/ 240792 w 371475"/>
                  <a:gd name="connsiteY485" fmla="*/ 332423 h 361950"/>
                  <a:gd name="connsiteX486" fmla="*/ 239077 w 371475"/>
                  <a:gd name="connsiteY486" fmla="*/ 330708 h 361950"/>
                  <a:gd name="connsiteX487" fmla="*/ 239077 w 371475"/>
                  <a:gd name="connsiteY487" fmla="*/ 328994 h 361950"/>
                  <a:gd name="connsiteX488" fmla="*/ 239077 w 371475"/>
                  <a:gd name="connsiteY488" fmla="*/ 326422 h 361950"/>
                  <a:gd name="connsiteX489" fmla="*/ 238220 w 371475"/>
                  <a:gd name="connsiteY489" fmla="*/ 323850 h 361950"/>
                  <a:gd name="connsiteX490" fmla="*/ 235648 w 371475"/>
                  <a:gd name="connsiteY490" fmla="*/ 321373 h 361950"/>
                  <a:gd name="connsiteX491" fmla="*/ 234791 w 371475"/>
                  <a:gd name="connsiteY491" fmla="*/ 319659 h 361950"/>
                  <a:gd name="connsiteX492" fmla="*/ 235648 w 371475"/>
                  <a:gd name="connsiteY492" fmla="*/ 317087 h 361950"/>
                  <a:gd name="connsiteX493" fmla="*/ 237363 w 371475"/>
                  <a:gd name="connsiteY493" fmla="*/ 311086 h 361950"/>
                  <a:gd name="connsiteX494" fmla="*/ 239077 w 371475"/>
                  <a:gd name="connsiteY494" fmla="*/ 306896 h 361950"/>
                  <a:gd name="connsiteX495" fmla="*/ 239935 w 371475"/>
                  <a:gd name="connsiteY495" fmla="*/ 305181 h 361950"/>
                  <a:gd name="connsiteX496" fmla="*/ 240792 w 371475"/>
                  <a:gd name="connsiteY496" fmla="*/ 305181 h 361950"/>
                  <a:gd name="connsiteX497" fmla="*/ 242411 w 371475"/>
                  <a:gd name="connsiteY497" fmla="*/ 306038 h 361950"/>
                  <a:gd name="connsiteX498" fmla="*/ 242411 w 371475"/>
                  <a:gd name="connsiteY498" fmla="*/ 306038 h 361950"/>
                  <a:gd name="connsiteX499" fmla="*/ 244126 w 371475"/>
                  <a:gd name="connsiteY499" fmla="*/ 306896 h 361950"/>
                  <a:gd name="connsiteX500" fmla="*/ 244983 w 371475"/>
                  <a:gd name="connsiteY500" fmla="*/ 303467 h 361950"/>
                  <a:gd name="connsiteX501" fmla="*/ 244983 w 371475"/>
                  <a:gd name="connsiteY501" fmla="*/ 300895 h 361950"/>
                  <a:gd name="connsiteX502" fmla="*/ 244126 w 371475"/>
                  <a:gd name="connsiteY502" fmla="*/ 299275 h 361950"/>
                  <a:gd name="connsiteX503" fmla="*/ 243269 w 371475"/>
                  <a:gd name="connsiteY503" fmla="*/ 298418 h 361950"/>
                  <a:gd name="connsiteX504" fmla="*/ 242411 w 371475"/>
                  <a:gd name="connsiteY504" fmla="*/ 297561 h 361950"/>
                  <a:gd name="connsiteX505" fmla="*/ 241554 w 371475"/>
                  <a:gd name="connsiteY505" fmla="*/ 296704 h 361950"/>
                  <a:gd name="connsiteX506" fmla="*/ 239935 w 371475"/>
                  <a:gd name="connsiteY506" fmla="*/ 294132 h 361950"/>
                  <a:gd name="connsiteX507" fmla="*/ 239935 w 371475"/>
                  <a:gd name="connsiteY507" fmla="*/ 292417 h 361950"/>
                  <a:gd name="connsiteX508" fmla="*/ 240792 w 371475"/>
                  <a:gd name="connsiteY508" fmla="*/ 292417 h 361950"/>
                  <a:gd name="connsiteX509" fmla="*/ 241554 w 371475"/>
                  <a:gd name="connsiteY509" fmla="*/ 292417 h 361950"/>
                  <a:gd name="connsiteX510" fmla="*/ 243269 w 371475"/>
                  <a:gd name="connsiteY510" fmla="*/ 292417 h 361950"/>
                  <a:gd name="connsiteX511" fmla="*/ 244126 w 371475"/>
                  <a:gd name="connsiteY511" fmla="*/ 292417 h 361950"/>
                  <a:gd name="connsiteX512" fmla="*/ 244983 w 371475"/>
                  <a:gd name="connsiteY512" fmla="*/ 292417 h 361950"/>
                  <a:gd name="connsiteX513" fmla="*/ 245840 w 371475"/>
                  <a:gd name="connsiteY513" fmla="*/ 291560 h 361950"/>
                  <a:gd name="connsiteX514" fmla="*/ 246698 w 371475"/>
                  <a:gd name="connsiteY514" fmla="*/ 289846 h 361950"/>
                  <a:gd name="connsiteX515" fmla="*/ 246698 w 371475"/>
                  <a:gd name="connsiteY515" fmla="*/ 288988 h 361950"/>
                  <a:gd name="connsiteX516" fmla="*/ 244983 w 371475"/>
                  <a:gd name="connsiteY516" fmla="*/ 286512 h 361950"/>
                  <a:gd name="connsiteX517" fmla="*/ 245840 w 371475"/>
                  <a:gd name="connsiteY517" fmla="*/ 284798 h 361950"/>
                  <a:gd name="connsiteX518" fmla="*/ 246698 w 371475"/>
                  <a:gd name="connsiteY518" fmla="*/ 283940 h 361950"/>
                  <a:gd name="connsiteX519" fmla="*/ 252603 w 371475"/>
                  <a:gd name="connsiteY519" fmla="*/ 277082 h 361950"/>
                  <a:gd name="connsiteX520" fmla="*/ 256889 w 371475"/>
                  <a:gd name="connsiteY520" fmla="*/ 272891 h 361950"/>
                  <a:gd name="connsiteX521" fmla="*/ 259366 w 371475"/>
                  <a:gd name="connsiteY521" fmla="*/ 268605 h 361950"/>
                  <a:gd name="connsiteX522" fmla="*/ 261080 w 371475"/>
                  <a:gd name="connsiteY522" fmla="*/ 267748 h 361950"/>
                  <a:gd name="connsiteX523" fmla="*/ 262795 w 371475"/>
                  <a:gd name="connsiteY523" fmla="*/ 267748 h 361950"/>
                  <a:gd name="connsiteX524" fmla="*/ 263652 w 371475"/>
                  <a:gd name="connsiteY524" fmla="*/ 267748 h 361950"/>
                  <a:gd name="connsiteX525" fmla="*/ 268700 w 371475"/>
                  <a:gd name="connsiteY525" fmla="*/ 268605 h 361950"/>
                  <a:gd name="connsiteX526" fmla="*/ 270415 w 371475"/>
                  <a:gd name="connsiteY526" fmla="*/ 268605 h 361950"/>
                  <a:gd name="connsiteX527" fmla="*/ 272129 w 371475"/>
                  <a:gd name="connsiteY527" fmla="*/ 267748 h 361950"/>
                  <a:gd name="connsiteX528" fmla="*/ 275463 w 371475"/>
                  <a:gd name="connsiteY528" fmla="*/ 266033 h 361950"/>
                  <a:gd name="connsiteX529" fmla="*/ 280607 w 371475"/>
                  <a:gd name="connsiteY529" fmla="*/ 262700 h 361950"/>
                  <a:gd name="connsiteX530" fmla="*/ 288227 w 371475"/>
                  <a:gd name="connsiteY530" fmla="*/ 258413 h 361950"/>
                  <a:gd name="connsiteX531" fmla="*/ 293275 w 371475"/>
                  <a:gd name="connsiteY531" fmla="*/ 256699 h 361950"/>
                  <a:gd name="connsiteX532" fmla="*/ 299275 w 371475"/>
                  <a:gd name="connsiteY532" fmla="*/ 252508 h 361950"/>
                  <a:gd name="connsiteX533" fmla="*/ 300038 w 371475"/>
                  <a:gd name="connsiteY533" fmla="*/ 252508 h 361950"/>
                  <a:gd name="connsiteX534" fmla="*/ 301752 w 371475"/>
                  <a:gd name="connsiteY534" fmla="*/ 252508 h 361950"/>
                  <a:gd name="connsiteX535" fmla="*/ 306038 w 371475"/>
                  <a:gd name="connsiteY535" fmla="*/ 253365 h 361950"/>
                  <a:gd name="connsiteX536" fmla="*/ 308515 w 371475"/>
                  <a:gd name="connsiteY536" fmla="*/ 253365 h 361950"/>
                  <a:gd name="connsiteX537" fmla="*/ 309372 w 371475"/>
                  <a:gd name="connsiteY537" fmla="*/ 253365 h 361950"/>
                  <a:gd name="connsiteX538" fmla="*/ 310229 w 371475"/>
                  <a:gd name="connsiteY538" fmla="*/ 254222 h 361950"/>
                  <a:gd name="connsiteX539" fmla="*/ 311086 w 371475"/>
                  <a:gd name="connsiteY539" fmla="*/ 254984 h 361950"/>
                  <a:gd name="connsiteX540" fmla="*/ 311944 w 371475"/>
                  <a:gd name="connsiteY540" fmla="*/ 255842 h 361950"/>
                  <a:gd name="connsiteX541" fmla="*/ 312801 w 371475"/>
                  <a:gd name="connsiteY541" fmla="*/ 255842 h 361950"/>
                  <a:gd name="connsiteX542" fmla="*/ 314515 w 371475"/>
                  <a:gd name="connsiteY542" fmla="*/ 254984 h 361950"/>
                  <a:gd name="connsiteX543" fmla="*/ 315373 w 371475"/>
                  <a:gd name="connsiteY543" fmla="*/ 255842 h 361950"/>
                  <a:gd name="connsiteX544" fmla="*/ 316992 w 371475"/>
                  <a:gd name="connsiteY544" fmla="*/ 256699 h 361950"/>
                  <a:gd name="connsiteX545" fmla="*/ 319564 w 371475"/>
                  <a:gd name="connsiteY545" fmla="*/ 260128 h 361950"/>
                  <a:gd name="connsiteX546" fmla="*/ 322136 w 371475"/>
                  <a:gd name="connsiteY546" fmla="*/ 261842 h 361950"/>
                  <a:gd name="connsiteX547" fmla="*/ 322993 w 371475"/>
                  <a:gd name="connsiteY547" fmla="*/ 261842 h 361950"/>
                  <a:gd name="connsiteX548" fmla="*/ 325469 w 371475"/>
                  <a:gd name="connsiteY548" fmla="*/ 261842 h 361950"/>
                  <a:gd name="connsiteX549" fmla="*/ 327184 w 371475"/>
                  <a:gd name="connsiteY549" fmla="*/ 260985 h 361950"/>
                  <a:gd name="connsiteX550" fmla="*/ 332327 w 371475"/>
                  <a:gd name="connsiteY550" fmla="*/ 260985 h 361950"/>
                  <a:gd name="connsiteX551" fmla="*/ 334804 w 371475"/>
                  <a:gd name="connsiteY551" fmla="*/ 260985 h 361950"/>
                  <a:gd name="connsiteX552" fmla="*/ 336518 w 371475"/>
                  <a:gd name="connsiteY552" fmla="*/ 260985 h 361950"/>
                  <a:gd name="connsiteX553" fmla="*/ 337375 w 371475"/>
                  <a:gd name="connsiteY553" fmla="*/ 261842 h 361950"/>
                  <a:gd name="connsiteX554" fmla="*/ 339947 w 371475"/>
                  <a:gd name="connsiteY554" fmla="*/ 262700 h 361950"/>
                  <a:gd name="connsiteX555" fmla="*/ 341567 w 371475"/>
                  <a:gd name="connsiteY555" fmla="*/ 262700 h 361950"/>
                  <a:gd name="connsiteX556" fmla="*/ 343281 w 371475"/>
                  <a:gd name="connsiteY556" fmla="*/ 262700 h 361950"/>
                  <a:gd name="connsiteX557" fmla="*/ 347567 w 371475"/>
                  <a:gd name="connsiteY557" fmla="*/ 262700 h 361950"/>
                  <a:gd name="connsiteX558" fmla="*/ 350901 w 371475"/>
                  <a:gd name="connsiteY558" fmla="*/ 263557 h 361950"/>
                  <a:gd name="connsiteX559" fmla="*/ 353473 w 371475"/>
                  <a:gd name="connsiteY559" fmla="*/ 263557 h 361950"/>
                  <a:gd name="connsiteX560" fmla="*/ 355187 w 371475"/>
                  <a:gd name="connsiteY560" fmla="*/ 263557 h 361950"/>
                  <a:gd name="connsiteX561" fmla="*/ 356044 w 371475"/>
                  <a:gd name="connsiteY561" fmla="*/ 264414 h 361950"/>
                  <a:gd name="connsiteX562" fmla="*/ 358521 w 371475"/>
                  <a:gd name="connsiteY562" fmla="*/ 269462 h 361950"/>
                  <a:gd name="connsiteX563" fmla="*/ 359378 w 371475"/>
                  <a:gd name="connsiteY563" fmla="*/ 271177 h 361950"/>
                  <a:gd name="connsiteX564" fmla="*/ 361093 w 371475"/>
                  <a:gd name="connsiteY564" fmla="*/ 272891 h 361950"/>
                  <a:gd name="connsiteX565" fmla="*/ 363665 w 371475"/>
                  <a:gd name="connsiteY565" fmla="*/ 274606 h 361950"/>
                  <a:gd name="connsiteX566" fmla="*/ 370427 w 371475"/>
                  <a:gd name="connsiteY566" fmla="*/ 275463 h 361950"/>
                  <a:gd name="connsiteX567" fmla="*/ 372142 w 371475"/>
                  <a:gd name="connsiteY567" fmla="*/ 274606 h 361950"/>
                  <a:gd name="connsiteX568" fmla="*/ 373856 w 371475"/>
                  <a:gd name="connsiteY568" fmla="*/ 274606 h 361950"/>
                  <a:gd name="connsiteX569" fmla="*/ 377190 w 371475"/>
                  <a:gd name="connsiteY569" fmla="*/ 273748 h 361950"/>
                  <a:gd name="connsiteX570" fmla="*/ 378047 w 371475"/>
                  <a:gd name="connsiteY570" fmla="*/ 271177 h 361950"/>
                  <a:gd name="connsiteX571" fmla="*/ 377190 w 371475"/>
                  <a:gd name="connsiteY571" fmla="*/ 269462 h 361950"/>
                  <a:gd name="connsiteX572" fmla="*/ 377190 w 371475"/>
                  <a:gd name="connsiteY572" fmla="*/ 269462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</a:cxnLst>
                <a:rect l="l" t="t" r="r" b="b"/>
                <a:pathLst>
                  <a:path w="371475" h="361950">
                    <a:moveTo>
                      <a:pt x="377190" y="269462"/>
                    </a:moveTo>
                    <a:lnTo>
                      <a:pt x="373856" y="264414"/>
                    </a:lnTo>
                    <a:lnTo>
                      <a:pt x="371284" y="259271"/>
                    </a:lnTo>
                    <a:lnTo>
                      <a:pt x="367855" y="255842"/>
                    </a:lnTo>
                    <a:lnTo>
                      <a:pt x="366998" y="254984"/>
                    </a:lnTo>
                    <a:lnTo>
                      <a:pt x="364522" y="251650"/>
                    </a:lnTo>
                    <a:lnTo>
                      <a:pt x="364522" y="251650"/>
                    </a:lnTo>
                    <a:lnTo>
                      <a:pt x="362807" y="252508"/>
                    </a:lnTo>
                    <a:lnTo>
                      <a:pt x="361093" y="252508"/>
                    </a:lnTo>
                    <a:lnTo>
                      <a:pt x="358521" y="252508"/>
                    </a:lnTo>
                    <a:lnTo>
                      <a:pt x="356044" y="253365"/>
                    </a:lnTo>
                    <a:lnTo>
                      <a:pt x="354330" y="253365"/>
                    </a:lnTo>
                    <a:lnTo>
                      <a:pt x="350901" y="251650"/>
                    </a:lnTo>
                    <a:lnTo>
                      <a:pt x="350044" y="250793"/>
                    </a:lnTo>
                    <a:lnTo>
                      <a:pt x="349282" y="249079"/>
                    </a:lnTo>
                    <a:lnTo>
                      <a:pt x="349282" y="247364"/>
                    </a:lnTo>
                    <a:lnTo>
                      <a:pt x="350044" y="242316"/>
                    </a:lnTo>
                    <a:lnTo>
                      <a:pt x="351758" y="237173"/>
                    </a:lnTo>
                    <a:lnTo>
                      <a:pt x="351758" y="232886"/>
                    </a:lnTo>
                    <a:lnTo>
                      <a:pt x="348425" y="229552"/>
                    </a:lnTo>
                    <a:lnTo>
                      <a:pt x="344996" y="226981"/>
                    </a:lnTo>
                    <a:lnTo>
                      <a:pt x="344996" y="224409"/>
                    </a:lnTo>
                    <a:lnTo>
                      <a:pt x="356044" y="215932"/>
                    </a:lnTo>
                    <a:lnTo>
                      <a:pt x="357759" y="213360"/>
                    </a:lnTo>
                    <a:lnTo>
                      <a:pt x="358521" y="211646"/>
                    </a:lnTo>
                    <a:lnTo>
                      <a:pt x="356044" y="208312"/>
                    </a:lnTo>
                    <a:lnTo>
                      <a:pt x="351758" y="204025"/>
                    </a:lnTo>
                    <a:lnTo>
                      <a:pt x="349282" y="204883"/>
                    </a:lnTo>
                    <a:lnTo>
                      <a:pt x="348425" y="204025"/>
                    </a:lnTo>
                    <a:lnTo>
                      <a:pt x="347567" y="203168"/>
                    </a:lnTo>
                    <a:lnTo>
                      <a:pt x="346710" y="202311"/>
                    </a:lnTo>
                    <a:lnTo>
                      <a:pt x="345853" y="199739"/>
                    </a:lnTo>
                    <a:lnTo>
                      <a:pt x="344996" y="198882"/>
                    </a:lnTo>
                    <a:lnTo>
                      <a:pt x="344138" y="197263"/>
                    </a:lnTo>
                    <a:lnTo>
                      <a:pt x="344138" y="196406"/>
                    </a:lnTo>
                    <a:lnTo>
                      <a:pt x="344138" y="194691"/>
                    </a:lnTo>
                    <a:lnTo>
                      <a:pt x="344996" y="193834"/>
                    </a:lnTo>
                    <a:lnTo>
                      <a:pt x="341567" y="191262"/>
                    </a:lnTo>
                    <a:lnTo>
                      <a:pt x="342424" y="188690"/>
                    </a:lnTo>
                    <a:lnTo>
                      <a:pt x="344996" y="184499"/>
                    </a:lnTo>
                    <a:lnTo>
                      <a:pt x="345853" y="181927"/>
                    </a:lnTo>
                    <a:lnTo>
                      <a:pt x="346710" y="176022"/>
                    </a:lnTo>
                    <a:lnTo>
                      <a:pt x="347567" y="173450"/>
                    </a:lnTo>
                    <a:lnTo>
                      <a:pt x="349282" y="168307"/>
                    </a:lnTo>
                    <a:lnTo>
                      <a:pt x="350044" y="165735"/>
                    </a:lnTo>
                    <a:lnTo>
                      <a:pt x="348425" y="163259"/>
                    </a:lnTo>
                    <a:lnTo>
                      <a:pt x="347567" y="161544"/>
                    </a:lnTo>
                    <a:lnTo>
                      <a:pt x="342424" y="158972"/>
                    </a:lnTo>
                    <a:lnTo>
                      <a:pt x="339090" y="156400"/>
                    </a:lnTo>
                    <a:lnTo>
                      <a:pt x="328898" y="141161"/>
                    </a:lnTo>
                    <a:lnTo>
                      <a:pt x="327184" y="137731"/>
                    </a:lnTo>
                    <a:lnTo>
                      <a:pt x="324707" y="134302"/>
                    </a:lnTo>
                    <a:lnTo>
                      <a:pt x="320421" y="131826"/>
                    </a:lnTo>
                    <a:lnTo>
                      <a:pt x="319564" y="131826"/>
                    </a:lnTo>
                    <a:lnTo>
                      <a:pt x="319564" y="131826"/>
                    </a:lnTo>
                    <a:lnTo>
                      <a:pt x="317849" y="130969"/>
                    </a:lnTo>
                    <a:lnTo>
                      <a:pt x="317849" y="129254"/>
                    </a:lnTo>
                    <a:lnTo>
                      <a:pt x="318707" y="127540"/>
                    </a:lnTo>
                    <a:lnTo>
                      <a:pt x="318707" y="124111"/>
                    </a:lnTo>
                    <a:lnTo>
                      <a:pt x="316230" y="112204"/>
                    </a:lnTo>
                    <a:lnTo>
                      <a:pt x="316230" y="112204"/>
                    </a:lnTo>
                    <a:lnTo>
                      <a:pt x="315373" y="110490"/>
                    </a:lnTo>
                    <a:lnTo>
                      <a:pt x="316230" y="109633"/>
                    </a:lnTo>
                    <a:lnTo>
                      <a:pt x="316230" y="108013"/>
                    </a:lnTo>
                    <a:lnTo>
                      <a:pt x="316992" y="107156"/>
                    </a:lnTo>
                    <a:lnTo>
                      <a:pt x="317849" y="106299"/>
                    </a:lnTo>
                    <a:lnTo>
                      <a:pt x="316992" y="105442"/>
                    </a:lnTo>
                    <a:lnTo>
                      <a:pt x="312801" y="98584"/>
                    </a:lnTo>
                    <a:lnTo>
                      <a:pt x="309372" y="91821"/>
                    </a:lnTo>
                    <a:lnTo>
                      <a:pt x="307753" y="93536"/>
                    </a:lnTo>
                    <a:lnTo>
                      <a:pt x="302609" y="99441"/>
                    </a:lnTo>
                    <a:lnTo>
                      <a:pt x="300895" y="99441"/>
                    </a:lnTo>
                    <a:lnTo>
                      <a:pt x="300038" y="99441"/>
                    </a:lnTo>
                    <a:lnTo>
                      <a:pt x="299275" y="98584"/>
                    </a:lnTo>
                    <a:lnTo>
                      <a:pt x="298418" y="96965"/>
                    </a:lnTo>
                    <a:lnTo>
                      <a:pt x="297561" y="95250"/>
                    </a:lnTo>
                    <a:lnTo>
                      <a:pt x="298418" y="93536"/>
                    </a:lnTo>
                    <a:lnTo>
                      <a:pt x="299275" y="91821"/>
                    </a:lnTo>
                    <a:lnTo>
                      <a:pt x="299275" y="90106"/>
                    </a:lnTo>
                    <a:lnTo>
                      <a:pt x="300038" y="85916"/>
                    </a:lnTo>
                    <a:lnTo>
                      <a:pt x="300895" y="84201"/>
                    </a:lnTo>
                    <a:lnTo>
                      <a:pt x="300895" y="83344"/>
                    </a:lnTo>
                    <a:lnTo>
                      <a:pt x="302609" y="82487"/>
                    </a:lnTo>
                    <a:lnTo>
                      <a:pt x="304324" y="80772"/>
                    </a:lnTo>
                    <a:lnTo>
                      <a:pt x="307753" y="78200"/>
                    </a:lnTo>
                    <a:lnTo>
                      <a:pt x="308515" y="77343"/>
                    </a:lnTo>
                    <a:lnTo>
                      <a:pt x="309372" y="76486"/>
                    </a:lnTo>
                    <a:lnTo>
                      <a:pt x="309372" y="75724"/>
                    </a:lnTo>
                    <a:lnTo>
                      <a:pt x="309372" y="74009"/>
                    </a:lnTo>
                    <a:lnTo>
                      <a:pt x="310229" y="69723"/>
                    </a:lnTo>
                    <a:lnTo>
                      <a:pt x="310229" y="68008"/>
                    </a:lnTo>
                    <a:lnTo>
                      <a:pt x="309372" y="65437"/>
                    </a:lnTo>
                    <a:lnTo>
                      <a:pt x="308515" y="62960"/>
                    </a:lnTo>
                    <a:lnTo>
                      <a:pt x="308515" y="62103"/>
                    </a:lnTo>
                    <a:lnTo>
                      <a:pt x="308515" y="61246"/>
                    </a:lnTo>
                    <a:lnTo>
                      <a:pt x="307753" y="61246"/>
                    </a:lnTo>
                    <a:lnTo>
                      <a:pt x="306896" y="60389"/>
                    </a:lnTo>
                    <a:lnTo>
                      <a:pt x="304324" y="61246"/>
                    </a:lnTo>
                    <a:lnTo>
                      <a:pt x="303467" y="61246"/>
                    </a:lnTo>
                    <a:lnTo>
                      <a:pt x="302609" y="61246"/>
                    </a:lnTo>
                    <a:lnTo>
                      <a:pt x="302609" y="62103"/>
                    </a:lnTo>
                    <a:lnTo>
                      <a:pt x="302609" y="63818"/>
                    </a:lnTo>
                    <a:lnTo>
                      <a:pt x="302609" y="64675"/>
                    </a:lnTo>
                    <a:lnTo>
                      <a:pt x="300895" y="65437"/>
                    </a:lnTo>
                    <a:lnTo>
                      <a:pt x="298418" y="67151"/>
                    </a:lnTo>
                    <a:lnTo>
                      <a:pt x="297561" y="67151"/>
                    </a:lnTo>
                    <a:lnTo>
                      <a:pt x="295846" y="69723"/>
                    </a:lnTo>
                    <a:lnTo>
                      <a:pt x="294989" y="70580"/>
                    </a:lnTo>
                    <a:lnTo>
                      <a:pt x="292417" y="70580"/>
                    </a:lnTo>
                    <a:lnTo>
                      <a:pt x="290798" y="70580"/>
                    </a:lnTo>
                    <a:lnTo>
                      <a:pt x="289084" y="70580"/>
                    </a:lnTo>
                    <a:lnTo>
                      <a:pt x="287369" y="71438"/>
                    </a:lnTo>
                    <a:lnTo>
                      <a:pt x="284798" y="73152"/>
                    </a:lnTo>
                    <a:lnTo>
                      <a:pt x="282321" y="73152"/>
                    </a:lnTo>
                    <a:lnTo>
                      <a:pt x="280607" y="74009"/>
                    </a:lnTo>
                    <a:lnTo>
                      <a:pt x="278892" y="74867"/>
                    </a:lnTo>
                    <a:lnTo>
                      <a:pt x="278892" y="75724"/>
                    </a:lnTo>
                    <a:lnTo>
                      <a:pt x="278035" y="76486"/>
                    </a:lnTo>
                    <a:lnTo>
                      <a:pt x="277178" y="76486"/>
                    </a:lnTo>
                    <a:lnTo>
                      <a:pt x="276320" y="77343"/>
                    </a:lnTo>
                    <a:lnTo>
                      <a:pt x="275463" y="79057"/>
                    </a:lnTo>
                    <a:lnTo>
                      <a:pt x="274606" y="79915"/>
                    </a:lnTo>
                    <a:lnTo>
                      <a:pt x="272129" y="81629"/>
                    </a:lnTo>
                    <a:lnTo>
                      <a:pt x="268700" y="81629"/>
                    </a:lnTo>
                    <a:lnTo>
                      <a:pt x="266986" y="79915"/>
                    </a:lnTo>
                    <a:lnTo>
                      <a:pt x="266129" y="78200"/>
                    </a:lnTo>
                    <a:lnTo>
                      <a:pt x="266129" y="76486"/>
                    </a:lnTo>
                    <a:lnTo>
                      <a:pt x="264509" y="74867"/>
                    </a:lnTo>
                    <a:lnTo>
                      <a:pt x="261938" y="72295"/>
                    </a:lnTo>
                    <a:lnTo>
                      <a:pt x="261080" y="70580"/>
                    </a:lnTo>
                    <a:lnTo>
                      <a:pt x="260223" y="68008"/>
                    </a:lnTo>
                    <a:lnTo>
                      <a:pt x="259366" y="61246"/>
                    </a:lnTo>
                    <a:lnTo>
                      <a:pt x="259366" y="59531"/>
                    </a:lnTo>
                    <a:lnTo>
                      <a:pt x="257651" y="57817"/>
                    </a:lnTo>
                    <a:lnTo>
                      <a:pt x="256032" y="56102"/>
                    </a:lnTo>
                    <a:lnTo>
                      <a:pt x="251746" y="46768"/>
                    </a:lnTo>
                    <a:lnTo>
                      <a:pt x="248412" y="41720"/>
                    </a:lnTo>
                    <a:lnTo>
                      <a:pt x="241554" y="35719"/>
                    </a:lnTo>
                    <a:lnTo>
                      <a:pt x="239077" y="32290"/>
                    </a:lnTo>
                    <a:lnTo>
                      <a:pt x="238220" y="29813"/>
                    </a:lnTo>
                    <a:lnTo>
                      <a:pt x="236506" y="28956"/>
                    </a:lnTo>
                    <a:lnTo>
                      <a:pt x="235648" y="28099"/>
                    </a:lnTo>
                    <a:lnTo>
                      <a:pt x="234791" y="28956"/>
                    </a:lnTo>
                    <a:lnTo>
                      <a:pt x="233934" y="28956"/>
                    </a:lnTo>
                    <a:lnTo>
                      <a:pt x="231457" y="29813"/>
                    </a:lnTo>
                    <a:lnTo>
                      <a:pt x="231457" y="30671"/>
                    </a:lnTo>
                    <a:lnTo>
                      <a:pt x="229743" y="32290"/>
                    </a:lnTo>
                    <a:lnTo>
                      <a:pt x="228886" y="33147"/>
                    </a:lnTo>
                    <a:lnTo>
                      <a:pt x="228029" y="33147"/>
                    </a:lnTo>
                    <a:lnTo>
                      <a:pt x="226314" y="34004"/>
                    </a:lnTo>
                    <a:lnTo>
                      <a:pt x="225457" y="34862"/>
                    </a:lnTo>
                    <a:lnTo>
                      <a:pt x="224600" y="35719"/>
                    </a:lnTo>
                    <a:lnTo>
                      <a:pt x="221266" y="38291"/>
                    </a:lnTo>
                    <a:lnTo>
                      <a:pt x="219551" y="39148"/>
                    </a:lnTo>
                    <a:lnTo>
                      <a:pt x="218694" y="40005"/>
                    </a:lnTo>
                    <a:lnTo>
                      <a:pt x="216979" y="40862"/>
                    </a:lnTo>
                    <a:lnTo>
                      <a:pt x="211931" y="42481"/>
                    </a:lnTo>
                    <a:lnTo>
                      <a:pt x="210217" y="43339"/>
                    </a:lnTo>
                    <a:lnTo>
                      <a:pt x="206026" y="44196"/>
                    </a:lnTo>
                    <a:lnTo>
                      <a:pt x="200882" y="45053"/>
                    </a:lnTo>
                    <a:lnTo>
                      <a:pt x="200025" y="45053"/>
                    </a:lnTo>
                    <a:lnTo>
                      <a:pt x="200025" y="45910"/>
                    </a:lnTo>
                    <a:lnTo>
                      <a:pt x="199168" y="46768"/>
                    </a:lnTo>
                    <a:lnTo>
                      <a:pt x="198406" y="47625"/>
                    </a:lnTo>
                    <a:lnTo>
                      <a:pt x="195834" y="47625"/>
                    </a:lnTo>
                    <a:lnTo>
                      <a:pt x="181451" y="43339"/>
                    </a:lnTo>
                    <a:lnTo>
                      <a:pt x="172117" y="40005"/>
                    </a:lnTo>
                    <a:lnTo>
                      <a:pt x="166973" y="36576"/>
                    </a:lnTo>
                    <a:lnTo>
                      <a:pt x="156877" y="28956"/>
                    </a:lnTo>
                    <a:lnTo>
                      <a:pt x="152590" y="27242"/>
                    </a:lnTo>
                    <a:lnTo>
                      <a:pt x="150876" y="25527"/>
                    </a:lnTo>
                    <a:lnTo>
                      <a:pt x="149161" y="24670"/>
                    </a:lnTo>
                    <a:lnTo>
                      <a:pt x="146685" y="20383"/>
                    </a:lnTo>
                    <a:lnTo>
                      <a:pt x="140684" y="15335"/>
                    </a:lnTo>
                    <a:lnTo>
                      <a:pt x="138208" y="13621"/>
                    </a:lnTo>
                    <a:lnTo>
                      <a:pt x="131445" y="6001"/>
                    </a:lnTo>
                    <a:lnTo>
                      <a:pt x="130588" y="5144"/>
                    </a:lnTo>
                    <a:lnTo>
                      <a:pt x="128873" y="4286"/>
                    </a:lnTo>
                    <a:lnTo>
                      <a:pt x="116110" y="5144"/>
                    </a:lnTo>
                    <a:lnTo>
                      <a:pt x="114490" y="5144"/>
                    </a:lnTo>
                    <a:lnTo>
                      <a:pt x="108490" y="0"/>
                    </a:lnTo>
                    <a:lnTo>
                      <a:pt x="106775" y="0"/>
                    </a:lnTo>
                    <a:lnTo>
                      <a:pt x="103442" y="1715"/>
                    </a:lnTo>
                    <a:lnTo>
                      <a:pt x="90678" y="4286"/>
                    </a:lnTo>
                    <a:lnTo>
                      <a:pt x="85630" y="6858"/>
                    </a:lnTo>
                    <a:lnTo>
                      <a:pt x="79724" y="11049"/>
                    </a:lnTo>
                    <a:lnTo>
                      <a:pt x="78010" y="12764"/>
                    </a:lnTo>
                    <a:lnTo>
                      <a:pt x="77152" y="13621"/>
                    </a:lnTo>
                    <a:lnTo>
                      <a:pt x="77152" y="15335"/>
                    </a:lnTo>
                    <a:lnTo>
                      <a:pt x="76295" y="17050"/>
                    </a:lnTo>
                    <a:lnTo>
                      <a:pt x="75438" y="18764"/>
                    </a:lnTo>
                    <a:lnTo>
                      <a:pt x="72961" y="22098"/>
                    </a:lnTo>
                    <a:lnTo>
                      <a:pt x="70390" y="23813"/>
                    </a:lnTo>
                    <a:lnTo>
                      <a:pt x="67818" y="24670"/>
                    </a:lnTo>
                    <a:lnTo>
                      <a:pt x="63627" y="26384"/>
                    </a:lnTo>
                    <a:lnTo>
                      <a:pt x="57626" y="28956"/>
                    </a:lnTo>
                    <a:lnTo>
                      <a:pt x="56007" y="29813"/>
                    </a:lnTo>
                    <a:lnTo>
                      <a:pt x="55150" y="31432"/>
                    </a:lnTo>
                    <a:lnTo>
                      <a:pt x="52578" y="34004"/>
                    </a:lnTo>
                    <a:lnTo>
                      <a:pt x="44101" y="41720"/>
                    </a:lnTo>
                    <a:lnTo>
                      <a:pt x="41529" y="43339"/>
                    </a:lnTo>
                    <a:lnTo>
                      <a:pt x="40672" y="43339"/>
                    </a:lnTo>
                    <a:lnTo>
                      <a:pt x="39815" y="43339"/>
                    </a:lnTo>
                    <a:lnTo>
                      <a:pt x="38195" y="40862"/>
                    </a:lnTo>
                    <a:lnTo>
                      <a:pt x="37338" y="40005"/>
                    </a:lnTo>
                    <a:lnTo>
                      <a:pt x="36481" y="40005"/>
                    </a:lnTo>
                    <a:lnTo>
                      <a:pt x="34766" y="39148"/>
                    </a:lnTo>
                    <a:lnTo>
                      <a:pt x="32194" y="38291"/>
                    </a:lnTo>
                    <a:lnTo>
                      <a:pt x="31337" y="38291"/>
                    </a:lnTo>
                    <a:lnTo>
                      <a:pt x="29718" y="38291"/>
                    </a:lnTo>
                    <a:lnTo>
                      <a:pt x="27146" y="38291"/>
                    </a:lnTo>
                    <a:lnTo>
                      <a:pt x="26289" y="39148"/>
                    </a:lnTo>
                    <a:lnTo>
                      <a:pt x="25432" y="40005"/>
                    </a:lnTo>
                    <a:lnTo>
                      <a:pt x="25432" y="41720"/>
                    </a:lnTo>
                    <a:lnTo>
                      <a:pt x="25432" y="43339"/>
                    </a:lnTo>
                    <a:lnTo>
                      <a:pt x="26289" y="45910"/>
                    </a:lnTo>
                    <a:lnTo>
                      <a:pt x="27146" y="47625"/>
                    </a:lnTo>
                    <a:lnTo>
                      <a:pt x="31337" y="51054"/>
                    </a:lnTo>
                    <a:lnTo>
                      <a:pt x="32194" y="52769"/>
                    </a:lnTo>
                    <a:lnTo>
                      <a:pt x="33052" y="54388"/>
                    </a:lnTo>
                    <a:lnTo>
                      <a:pt x="33909" y="55245"/>
                    </a:lnTo>
                    <a:lnTo>
                      <a:pt x="33909" y="56102"/>
                    </a:lnTo>
                    <a:lnTo>
                      <a:pt x="36481" y="58674"/>
                    </a:lnTo>
                    <a:lnTo>
                      <a:pt x="36481" y="60389"/>
                    </a:lnTo>
                    <a:lnTo>
                      <a:pt x="37338" y="61246"/>
                    </a:lnTo>
                    <a:lnTo>
                      <a:pt x="37338" y="62103"/>
                    </a:lnTo>
                    <a:lnTo>
                      <a:pt x="36481" y="64675"/>
                    </a:lnTo>
                    <a:lnTo>
                      <a:pt x="35623" y="68866"/>
                    </a:lnTo>
                    <a:lnTo>
                      <a:pt x="36481" y="70580"/>
                    </a:lnTo>
                    <a:lnTo>
                      <a:pt x="39052" y="75724"/>
                    </a:lnTo>
                    <a:lnTo>
                      <a:pt x="39052" y="77343"/>
                    </a:lnTo>
                    <a:lnTo>
                      <a:pt x="39052" y="79057"/>
                    </a:lnTo>
                    <a:lnTo>
                      <a:pt x="38195" y="80772"/>
                    </a:lnTo>
                    <a:lnTo>
                      <a:pt x="38195" y="80772"/>
                    </a:lnTo>
                    <a:lnTo>
                      <a:pt x="37338" y="81629"/>
                    </a:lnTo>
                    <a:lnTo>
                      <a:pt x="35623" y="83344"/>
                    </a:lnTo>
                    <a:lnTo>
                      <a:pt x="32194" y="87535"/>
                    </a:lnTo>
                    <a:lnTo>
                      <a:pt x="32194" y="89249"/>
                    </a:lnTo>
                    <a:lnTo>
                      <a:pt x="30575" y="92678"/>
                    </a:lnTo>
                    <a:lnTo>
                      <a:pt x="29718" y="93536"/>
                    </a:lnTo>
                    <a:lnTo>
                      <a:pt x="31337" y="93536"/>
                    </a:lnTo>
                    <a:lnTo>
                      <a:pt x="32194" y="95250"/>
                    </a:lnTo>
                    <a:lnTo>
                      <a:pt x="32194" y="96107"/>
                    </a:lnTo>
                    <a:lnTo>
                      <a:pt x="37338" y="104585"/>
                    </a:lnTo>
                    <a:lnTo>
                      <a:pt x="37338" y="105442"/>
                    </a:lnTo>
                    <a:lnTo>
                      <a:pt x="37338" y="106299"/>
                    </a:lnTo>
                    <a:lnTo>
                      <a:pt x="36481" y="107156"/>
                    </a:lnTo>
                    <a:lnTo>
                      <a:pt x="31337" y="110490"/>
                    </a:lnTo>
                    <a:lnTo>
                      <a:pt x="22098" y="117348"/>
                    </a:lnTo>
                    <a:lnTo>
                      <a:pt x="18669" y="121539"/>
                    </a:lnTo>
                    <a:lnTo>
                      <a:pt x="16954" y="123254"/>
                    </a:lnTo>
                    <a:lnTo>
                      <a:pt x="15240" y="124968"/>
                    </a:lnTo>
                    <a:lnTo>
                      <a:pt x="12763" y="125825"/>
                    </a:lnTo>
                    <a:lnTo>
                      <a:pt x="5144" y="127540"/>
                    </a:lnTo>
                    <a:lnTo>
                      <a:pt x="4286" y="127540"/>
                    </a:lnTo>
                    <a:lnTo>
                      <a:pt x="4286" y="128397"/>
                    </a:lnTo>
                    <a:lnTo>
                      <a:pt x="3429" y="130111"/>
                    </a:lnTo>
                    <a:lnTo>
                      <a:pt x="3429" y="131826"/>
                    </a:lnTo>
                    <a:lnTo>
                      <a:pt x="3429" y="133445"/>
                    </a:lnTo>
                    <a:lnTo>
                      <a:pt x="4286" y="135160"/>
                    </a:lnTo>
                    <a:lnTo>
                      <a:pt x="5144" y="136017"/>
                    </a:lnTo>
                    <a:lnTo>
                      <a:pt x="5905" y="136017"/>
                    </a:lnTo>
                    <a:lnTo>
                      <a:pt x="6763" y="136017"/>
                    </a:lnTo>
                    <a:lnTo>
                      <a:pt x="6763" y="135160"/>
                    </a:lnTo>
                    <a:lnTo>
                      <a:pt x="7620" y="135160"/>
                    </a:lnTo>
                    <a:lnTo>
                      <a:pt x="8477" y="135160"/>
                    </a:lnTo>
                    <a:lnTo>
                      <a:pt x="9334" y="135160"/>
                    </a:lnTo>
                    <a:lnTo>
                      <a:pt x="9334" y="136017"/>
                    </a:lnTo>
                    <a:lnTo>
                      <a:pt x="8477" y="138589"/>
                    </a:lnTo>
                    <a:lnTo>
                      <a:pt x="8477" y="140303"/>
                    </a:lnTo>
                    <a:lnTo>
                      <a:pt x="6763" y="142018"/>
                    </a:lnTo>
                    <a:lnTo>
                      <a:pt x="857" y="148781"/>
                    </a:lnTo>
                    <a:lnTo>
                      <a:pt x="0" y="149638"/>
                    </a:lnTo>
                    <a:lnTo>
                      <a:pt x="857" y="151352"/>
                    </a:lnTo>
                    <a:lnTo>
                      <a:pt x="1715" y="151352"/>
                    </a:lnTo>
                    <a:lnTo>
                      <a:pt x="2572" y="152210"/>
                    </a:lnTo>
                    <a:lnTo>
                      <a:pt x="9334" y="153067"/>
                    </a:lnTo>
                    <a:lnTo>
                      <a:pt x="11906" y="153924"/>
                    </a:lnTo>
                    <a:lnTo>
                      <a:pt x="13621" y="153924"/>
                    </a:lnTo>
                    <a:lnTo>
                      <a:pt x="14383" y="154686"/>
                    </a:lnTo>
                    <a:lnTo>
                      <a:pt x="19526" y="156400"/>
                    </a:lnTo>
                    <a:lnTo>
                      <a:pt x="24575" y="159829"/>
                    </a:lnTo>
                    <a:lnTo>
                      <a:pt x="31337" y="163259"/>
                    </a:lnTo>
                    <a:lnTo>
                      <a:pt x="33909" y="164973"/>
                    </a:lnTo>
                    <a:lnTo>
                      <a:pt x="34766" y="167450"/>
                    </a:lnTo>
                    <a:lnTo>
                      <a:pt x="39052" y="172593"/>
                    </a:lnTo>
                    <a:lnTo>
                      <a:pt x="43244" y="181070"/>
                    </a:lnTo>
                    <a:lnTo>
                      <a:pt x="43244" y="181927"/>
                    </a:lnTo>
                    <a:lnTo>
                      <a:pt x="43244" y="182785"/>
                    </a:lnTo>
                    <a:lnTo>
                      <a:pt x="42386" y="182785"/>
                    </a:lnTo>
                    <a:lnTo>
                      <a:pt x="41529" y="182785"/>
                    </a:lnTo>
                    <a:lnTo>
                      <a:pt x="40672" y="182785"/>
                    </a:lnTo>
                    <a:lnTo>
                      <a:pt x="39815" y="182785"/>
                    </a:lnTo>
                    <a:lnTo>
                      <a:pt x="39052" y="182785"/>
                    </a:lnTo>
                    <a:lnTo>
                      <a:pt x="38195" y="183642"/>
                    </a:lnTo>
                    <a:lnTo>
                      <a:pt x="38195" y="185356"/>
                    </a:lnTo>
                    <a:lnTo>
                      <a:pt x="38195" y="186214"/>
                    </a:lnTo>
                    <a:lnTo>
                      <a:pt x="40672" y="190405"/>
                    </a:lnTo>
                    <a:lnTo>
                      <a:pt x="54292" y="217646"/>
                    </a:lnTo>
                    <a:lnTo>
                      <a:pt x="61055" y="234601"/>
                    </a:lnTo>
                    <a:lnTo>
                      <a:pt x="62770" y="242316"/>
                    </a:lnTo>
                    <a:lnTo>
                      <a:pt x="62770" y="244792"/>
                    </a:lnTo>
                    <a:lnTo>
                      <a:pt x="64484" y="246507"/>
                    </a:lnTo>
                    <a:lnTo>
                      <a:pt x="66961" y="249079"/>
                    </a:lnTo>
                    <a:lnTo>
                      <a:pt x="69532" y="250793"/>
                    </a:lnTo>
                    <a:lnTo>
                      <a:pt x="71247" y="249936"/>
                    </a:lnTo>
                    <a:lnTo>
                      <a:pt x="72104" y="249079"/>
                    </a:lnTo>
                    <a:lnTo>
                      <a:pt x="73723" y="249079"/>
                    </a:lnTo>
                    <a:lnTo>
                      <a:pt x="75438" y="249936"/>
                    </a:lnTo>
                    <a:lnTo>
                      <a:pt x="76295" y="250793"/>
                    </a:lnTo>
                    <a:lnTo>
                      <a:pt x="77152" y="249936"/>
                    </a:lnTo>
                    <a:lnTo>
                      <a:pt x="78010" y="249936"/>
                    </a:lnTo>
                    <a:lnTo>
                      <a:pt x="78867" y="248221"/>
                    </a:lnTo>
                    <a:lnTo>
                      <a:pt x="78867" y="246507"/>
                    </a:lnTo>
                    <a:lnTo>
                      <a:pt x="79724" y="245650"/>
                    </a:lnTo>
                    <a:lnTo>
                      <a:pt x="80581" y="244792"/>
                    </a:lnTo>
                    <a:lnTo>
                      <a:pt x="81344" y="245650"/>
                    </a:lnTo>
                    <a:lnTo>
                      <a:pt x="82201" y="244792"/>
                    </a:lnTo>
                    <a:lnTo>
                      <a:pt x="82201" y="243173"/>
                    </a:lnTo>
                    <a:lnTo>
                      <a:pt x="82201" y="238887"/>
                    </a:lnTo>
                    <a:lnTo>
                      <a:pt x="82201" y="237173"/>
                    </a:lnTo>
                    <a:lnTo>
                      <a:pt x="84773" y="236315"/>
                    </a:lnTo>
                    <a:lnTo>
                      <a:pt x="85630" y="236315"/>
                    </a:lnTo>
                    <a:lnTo>
                      <a:pt x="85630" y="236315"/>
                    </a:lnTo>
                    <a:lnTo>
                      <a:pt x="86487" y="235458"/>
                    </a:lnTo>
                    <a:lnTo>
                      <a:pt x="86487" y="234601"/>
                    </a:lnTo>
                    <a:lnTo>
                      <a:pt x="88202" y="236315"/>
                    </a:lnTo>
                    <a:lnTo>
                      <a:pt x="92392" y="244792"/>
                    </a:lnTo>
                    <a:lnTo>
                      <a:pt x="94964" y="249079"/>
                    </a:lnTo>
                    <a:lnTo>
                      <a:pt x="94964" y="251650"/>
                    </a:lnTo>
                    <a:lnTo>
                      <a:pt x="95821" y="251650"/>
                    </a:lnTo>
                    <a:lnTo>
                      <a:pt x="96679" y="251650"/>
                    </a:lnTo>
                    <a:lnTo>
                      <a:pt x="97536" y="251650"/>
                    </a:lnTo>
                    <a:lnTo>
                      <a:pt x="98298" y="250793"/>
                    </a:lnTo>
                    <a:lnTo>
                      <a:pt x="98298" y="250793"/>
                    </a:lnTo>
                    <a:lnTo>
                      <a:pt x="99155" y="251650"/>
                    </a:lnTo>
                    <a:lnTo>
                      <a:pt x="100013" y="252508"/>
                    </a:lnTo>
                    <a:lnTo>
                      <a:pt x="100870" y="253365"/>
                    </a:lnTo>
                    <a:lnTo>
                      <a:pt x="101727" y="254222"/>
                    </a:lnTo>
                    <a:lnTo>
                      <a:pt x="101727" y="253365"/>
                    </a:lnTo>
                    <a:lnTo>
                      <a:pt x="102584" y="253365"/>
                    </a:lnTo>
                    <a:lnTo>
                      <a:pt x="102584" y="252508"/>
                    </a:lnTo>
                    <a:lnTo>
                      <a:pt x="102584" y="252508"/>
                    </a:lnTo>
                    <a:lnTo>
                      <a:pt x="104299" y="253365"/>
                    </a:lnTo>
                    <a:lnTo>
                      <a:pt x="105156" y="253365"/>
                    </a:lnTo>
                    <a:lnTo>
                      <a:pt x="105156" y="254222"/>
                    </a:lnTo>
                    <a:lnTo>
                      <a:pt x="106013" y="255842"/>
                    </a:lnTo>
                    <a:lnTo>
                      <a:pt x="106013" y="256699"/>
                    </a:lnTo>
                    <a:lnTo>
                      <a:pt x="106775" y="257556"/>
                    </a:lnTo>
                    <a:lnTo>
                      <a:pt x="106775" y="256699"/>
                    </a:lnTo>
                    <a:lnTo>
                      <a:pt x="107632" y="256699"/>
                    </a:lnTo>
                    <a:lnTo>
                      <a:pt x="107632" y="255842"/>
                    </a:lnTo>
                    <a:lnTo>
                      <a:pt x="108490" y="254222"/>
                    </a:lnTo>
                    <a:lnTo>
                      <a:pt x="109347" y="254222"/>
                    </a:lnTo>
                    <a:lnTo>
                      <a:pt x="109347" y="254222"/>
                    </a:lnTo>
                    <a:lnTo>
                      <a:pt x="110204" y="254222"/>
                    </a:lnTo>
                    <a:lnTo>
                      <a:pt x="110204" y="254984"/>
                    </a:lnTo>
                    <a:lnTo>
                      <a:pt x="111061" y="256699"/>
                    </a:lnTo>
                    <a:lnTo>
                      <a:pt x="111919" y="258413"/>
                    </a:lnTo>
                    <a:lnTo>
                      <a:pt x="111061" y="260985"/>
                    </a:lnTo>
                    <a:lnTo>
                      <a:pt x="111061" y="260985"/>
                    </a:lnTo>
                    <a:lnTo>
                      <a:pt x="111919" y="260985"/>
                    </a:lnTo>
                    <a:lnTo>
                      <a:pt x="114490" y="260985"/>
                    </a:lnTo>
                    <a:lnTo>
                      <a:pt x="115252" y="260985"/>
                    </a:lnTo>
                    <a:lnTo>
                      <a:pt x="116110" y="261842"/>
                    </a:lnTo>
                    <a:lnTo>
                      <a:pt x="115252" y="263557"/>
                    </a:lnTo>
                    <a:lnTo>
                      <a:pt x="113633" y="265271"/>
                    </a:lnTo>
                    <a:lnTo>
                      <a:pt x="113633" y="266033"/>
                    </a:lnTo>
                    <a:lnTo>
                      <a:pt x="113633" y="267748"/>
                    </a:lnTo>
                    <a:lnTo>
                      <a:pt x="112776" y="272891"/>
                    </a:lnTo>
                    <a:lnTo>
                      <a:pt x="113633" y="273748"/>
                    </a:lnTo>
                    <a:lnTo>
                      <a:pt x="115252" y="275463"/>
                    </a:lnTo>
                    <a:lnTo>
                      <a:pt x="115252" y="276320"/>
                    </a:lnTo>
                    <a:lnTo>
                      <a:pt x="114490" y="278797"/>
                    </a:lnTo>
                    <a:lnTo>
                      <a:pt x="113633" y="279654"/>
                    </a:lnTo>
                    <a:lnTo>
                      <a:pt x="113633" y="280511"/>
                    </a:lnTo>
                    <a:lnTo>
                      <a:pt x="113633" y="282226"/>
                    </a:lnTo>
                    <a:lnTo>
                      <a:pt x="113633" y="283083"/>
                    </a:lnTo>
                    <a:lnTo>
                      <a:pt x="114490" y="284798"/>
                    </a:lnTo>
                    <a:lnTo>
                      <a:pt x="114490" y="286512"/>
                    </a:lnTo>
                    <a:lnTo>
                      <a:pt x="116110" y="288227"/>
                    </a:lnTo>
                    <a:lnTo>
                      <a:pt x="117824" y="290703"/>
                    </a:lnTo>
                    <a:lnTo>
                      <a:pt x="123730" y="294989"/>
                    </a:lnTo>
                    <a:lnTo>
                      <a:pt x="126302" y="297561"/>
                    </a:lnTo>
                    <a:lnTo>
                      <a:pt x="131445" y="301752"/>
                    </a:lnTo>
                    <a:lnTo>
                      <a:pt x="132207" y="301752"/>
                    </a:lnTo>
                    <a:lnTo>
                      <a:pt x="133064" y="300895"/>
                    </a:lnTo>
                    <a:lnTo>
                      <a:pt x="134779" y="299275"/>
                    </a:lnTo>
                    <a:lnTo>
                      <a:pt x="135636" y="299275"/>
                    </a:lnTo>
                    <a:lnTo>
                      <a:pt x="136493" y="299275"/>
                    </a:lnTo>
                    <a:lnTo>
                      <a:pt x="137350" y="299275"/>
                    </a:lnTo>
                    <a:lnTo>
                      <a:pt x="137350" y="299275"/>
                    </a:lnTo>
                    <a:lnTo>
                      <a:pt x="138208" y="301752"/>
                    </a:lnTo>
                    <a:lnTo>
                      <a:pt x="139065" y="302609"/>
                    </a:lnTo>
                    <a:lnTo>
                      <a:pt x="140684" y="303467"/>
                    </a:lnTo>
                    <a:lnTo>
                      <a:pt x="142399" y="303467"/>
                    </a:lnTo>
                    <a:lnTo>
                      <a:pt x="143256" y="303467"/>
                    </a:lnTo>
                    <a:lnTo>
                      <a:pt x="144971" y="302609"/>
                    </a:lnTo>
                    <a:lnTo>
                      <a:pt x="146685" y="303467"/>
                    </a:lnTo>
                    <a:lnTo>
                      <a:pt x="148400" y="305181"/>
                    </a:lnTo>
                    <a:lnTo>
                      <a:pt x="150019" y="306896"/>
                    </a:lnTo>
                    <a:lnTo>
                      <a:pt x="150876" y="308610"/>
                    </a:lnTo>
                    <a:lnTo>
                      <a:pt x="150876" y="311086"/>
                    </a:lnTo>
                    <a:lnTo>
                      <a:pt x="151733" y="311944"/>
                    </a:lnTo>
                    <a:lnTo>
                      <a:pt x="152590" y="313658"/>
                    </a:lnTo>
                    <a:lnTo>
                      <a:pt x="153448" y="313658"/>
                    </a:lnTo>
                    <a:lnTo>
                      <a:pt x="155162" y="314515"/>
                    </a:lnTo>
                    <a:lnTo>
                      <a:pt x="156019" y="314515"/>
                    </a:lnTo>
                    <a:lnTo>
                      <a:pt x="156877" y="315373"/>
                    </a:lnTo>
                    <a:lnTo>
                      <a:pt x="156877" y="317087"/>
                    </a:lnTo>
                    <a:lnTo>
                      <a:pt x="156877" y="317944"/>
                    </a:lnTo>
                    <a:lnTo>
                      <a:pt x="157639" y="318802"/>
                    </a:lnTo>
                    <a:lnTo>
                      <a:pt x="158496" y="319659"/>
                    </a:lnTo>
                    <a:lnTo>
                      <a:pt x="161925" y="321373"/>
                    </a:lnTo>
                    <a:lnTo>
                      <a:pt x="166973" y="323850"/>
                    </a:lnTo>
                    <a:lnTo>
                      <a:pt x="169545" y="326422"/>
                    </a:lnTo>
                    <a:lnTo>
                      <a:pt x="171259" y="327279"/>
                    </a:lnTo>
                    <a:lnTo>
                      <a:pt x="172974" y="329851"/>
                    </a:lnTo>
                    <a:lnTo>
                      <a:pt x="173736" y="331565"/>
                    </a:lnTo>
                    <a:lnTo>
                      <a:pt x="173736" y="333185"/>
                    </a:lnTo>
                    <a:lnTo>
                      <a:pt x="173736" y="336613"/>
                    </a:lnTo>
                    <a:lnTo>
                      <a:pt x="173736" y="340042"/>
                    </a:lnTo>
                    <a:lnTo>
                      <a:pt x="172974" y="342614"/>
                    </a:lnTo>
                    <a:lnTo>
                      <a:pt x="172974" y="343471"/>
                    </a:lnTo>
                    <a:lnTo>
                      <a:pt x="172117" y="345948"/>
                    </a:lnTo>
                    <a:lnTo>
                      <a:pt x="172117" y="347663"/>
                    </a:lnTo>
                    <a:lnTo>
                      <a:pt x="173736" y="349377"/>
                    </a:lnTo>
                    <a:lnTo>
                      <a:pt x="179737" y="354521"/>
                    </a:lnTo>
                    <a:lnTo>
                      <a:pt x="179737" y="356140"/>
                    </a:lnTo>
                    <a:lnTo>
                      <a:pt x="179737" y="356140"/>
                    </a:lnTo>
                    <a:lnTo>
                      <a:pt x="180594" y="356997"/>
                    </a:lnTo>
                    <a:lnTo>
                      <a:pt x="181451" y="357854"/>
                    </a:lnTo>
                    <a:lnTo>
                      <a:pt x="183928" y="356140"/>
                    </a:lnTo>
                    <a:lnTo>
                      <a:pt x="187357" y="357854"/>
                    </a:lnTo>
                    <a:lnTo>
                      <a:pt x="189071" y="358711"/>
                    </a:lnTo>
                    <a:lnTo>
                      <a:pt x="190690" y="359569"/>
                    </a:lnTo>
                    <a:lnTo>
                      <a:pt x="195834" y="360426"/>
                    </a:lnTo>
                    <a:lnTo>
                      <a:pt x="196691" y="360426"/>
                    </a:lnTo>
                    <a:lnTo>
                      <a:pt x="197548" y="361283"/>
                    </a:lnTo>
                    <a:lnTo>
                      <a:pt x="198406" y="362140"/>
                    </a:lnTo>
                    <a:lnTo>
                      <a:pt x="199168" y="362998"/>
                    </a:lnTo>
                    <a:lnTo>
                      <a:pt x="200882" y="362998"/>
                    </a:lnTo>
                    <a:lnTo>
                      <a:pt x="202597" y="362998"/>
                    </a:lnTo>
                    <a:lnTo>
                      <a:pt x="206026" y="360426"/>
                    </a:lnTo>
                    <a:lnTo>
                      <a:pt x="206883" y="360426"/>
                    </a:lnTo>
                    <a:lnTo>
                      <a:pt x="207645" y="361283"/>
                    </a:lnTo>
                    <a:lnTo>
                      <a:pt x="206883" y="362140"/>
                    </a:lnTo>
                    <a:lnTo>
                      <a:pt x="205169" y="363855"/>
                    </a:lnTo>
                    <a:lnTo>
                      <a:pt x="205169" y="364712"/>
                    </a:lnTo>
                    <a:lnTo>
                      <a:pt x="206026" y="364712"/>
                    </a:lnTo>
                    <a:lnTo>
                      <a:pt x="208502" y="364712"/>
                    </a:lnTo>
                    <a:lnTo>
                      <a:pt x="209359" y="364712"/>
                    </a:lnTo>
                    <a:lnTo>
                      <a:pt x="211074" y="364712"/>
                    </a:lnTo>
                    <a:lnTo>
                      <a:pt x="211931" y="363855"/>
                    </a:lnTo>
                    <a:lnTo>
                      <a:pt x="213646" y="363855"/>
                    </a:lnTo>
                    <a:lnTo>
                      <a:pt x="216979" y="366427"/>
                    </a:lnTo>
                    <a:lnTo>
                      <a:pt x="221266" y="369761"/>
                    </a:lnTo>
                    <a:lnTo>
                      <a:pt x="222123" y="369761"/>
                    </a:lnTo>
                    <a:lnTo>
                      <a:pt x="221266" y="368903"/>
                    </a:lnTo>
                    <a:lnTo>
                      <a:pt x="219551" y="366427"/>
                    </a:lnTo>
                    <a:lnTo>
                      <a:pt x="219551" y="365569"/>
                    </a:lnTo>
                    <a:lnTo>
                      <a:pt x="220409" y="363855"/>
                    </a:lnTo>
                    <a:lnTo>
                      <a:pt x="222980" y="362140"/>
                    </a:lnTo>
                    <a:lnTo>
                      <a:pt x="226314" y="362140"/>
                    </a:lnTo>
                    <a:lnTo>
                      <a:pt x="228029" y="362140"/>
                    </a:lnTo>
                    <a:lnTo>
                      <a:pt x="230600" y="361283"/>
                    </a:lnTo>
                    <a:lnTo>
                      <a:pt x="233077" y="360426"/>
                    </a:lnTo>
                    <a:lnTo>
                      <a:pt x="242411" y="354521"/>
                    </a:lnTo>
                    <a:lnTo>
                      <a:pt x="244983" y="353663"/>
                    </a:lnTo>
                    <a:lnTo>
                      <a:pt x="245840" y="353663"/>
                    </a:lnTo>
                    <a:lnTo>
                      <a:pt x="246698" y="351949"/>
                    </a:lnTo>
                    <a:lnTo>
                      <a:pt x="247555" y="350234"/>
                    </a:lnTo>
                    <a:lnTo>
                      <a:pt x="247555" y="349377"/>
                    </a:lnTo>
                    <a:lnTo>
                      <a:pt x="247555" y="348520"/>
                    </a:lnTo>
                    <a:lnTo>
                      <a:pt x="246698" y="347663"/>
                    </a:lnTo>
                    <a:lnTo>
                      <a:pt x="245840" y="347663"/>
                    </a:lnTo>
                    <a:lnTo>
                      <a:pt x="244126" y="347663"/>
                    </a:lnTo>
                    <a:lnTo>
                      <a:pt x="242411" y="346805"/>
                    </a:lnTo>
                    <a:lnTo>
                      <a:pt x="241554" y="345948"/>
                    </a:lnTo>
                    <a:lnTo>
                      <a:pt x="239077" y="341757"/>
                    </a:lnTo>
                    <a:lnTo>
                      <a:pt x="239935" y="340900"/>
                    </a:lnTo>
                    <a:lnTo>
                      <a:pt x="241554" y="339185"/>
                    </a:lnTo>
                    <a:lnTo>
                      <a:pt x="242411" y="338328"/>
                    </a:lnTo>
                    <a:lnTo>
                      <a:pt x="242411" y="336613"/>
                    </a:lnTo>
                    <a:lnTo>
                      <a:pt x="241554" y="334042"/>
                    </a:lnTo>
                    <a:lnTo>
                      <a:pt x="240792" y="332423"/>
                    </a:lnTo>
                    <a:lnTo>
                      <a:pt x="239077" y="330708"/>
                    </a:lnTo>
                    <a:lnTo>
                      <a:pt x="239077" y="328994"/>
                    </a:lnTo>
                    <a:lnTo>
                      <a:pt x="239077" y="326422"/>
                    </a:lnTo>
                    <a:lnTo>
                      <a:pt x="238220" y="323850"/>
                    </a:lnTo>
                    <a:lnTo>
                      <a:pt x="235648" y="321373"/>
                    </a:lnTo>
                    <a:lnTo>
                      <a:pt x="234791" y="319659"/>
                    </a:lnTo>
                    <a:lnTo>
                      <a:pt x="235648" y="317087"/>
                    </a:lnTo>
                    <a:lnTo>
                      <a:pt x="237363" y="311086"/>
                    </a:lnTo>
                    <a:lnTo>
                      <a:pt x="239077" y="306896"/>
                    </a:lnTo>
                    <a:lnTo>
                      <a:pt x="239935" y="305181"/>
                    </a:lnTo>
                    <a:lnTo>
                      <a:pt x="240792" y="305181"/>
                    </a:lnTo>
                    <a:lnTo>
                      <a:pt x="242411" y="306038"/>
                    </a:lnTo>
                    <a:lnTo>
                      <a:pt x="242411" y="306038"/>
                    </a:lnTo>
                    <a:lnTo>
                      <a:pt x="244126" y="306896"/>
                    </a:lnTo>
                    <a:lnTo>
                      <a:pt x="244983" y="303467"/>
                    </a:lnTo>
                    <a:lnTo>
                      <a:pt x="244983" y="300895"/>
                    </a:lnTo>
                    <a:lnTo>
                      <a:pt x="244126" y="299275"/>
                    </a:lnTo>
                    <a:lnTo>
                      <a:pt x="243269" y="298418"/>
                    </a:lnTo>
                    <a:lnTo>
                      <a:pt x="242411" y="297561"/>
                    </a:lnTo>
                    <a:lnTo>
                      <a:pt x="241554" y="296704"/>
                    </a:lnTo>
                    <a:lnTo>
                      <a:pt x="239935" y="294132"/>
                    </a:lnTo>
                    <a:lnTo>
                      <a:pt x="239935" y="292417"/>
                    </a:lnTo>
                    <a:lnTo>
                      <a:pt x="240792" y="292417"/>
                    </a:lnTo>
                    <a:lnTo>
                      <a:pt x="241554" y="292417"/>
                    </a:lnTo>
                    <a:lnTo>
                      <a:pt x="243269" y="292417"/>
                    </a:lnTo>
                    <a:lnTo>
                      <a:pt x="244126" y="292417"/>
                    </a:lnTo>
                    <a:lnTo>
                      <a:pt x="244983" y="292417"/>
                    </a:lnTo>
                    <a:lnTo>
                      <a:pt x="245840" y="291560"/>
                    </a:lnTo>
                    <a:lnTo>
                      <a:pt x="246698" y="289846"/>
                    </a:lnTo>
                    <a:lnTo>
                      <a:pt x="246698" y="288988"/>
                    </a:lnTo>
                    <a:lnTo>
                      <a:pt x="244983" y="286512"/>
                    </a:lnTo>
                    <a:lnTo>
                      <a:pt x="245840" y="284798"/>
                    </a:lnTo>
                    <a:lnTo>
                      <a:pt x="246698" y="283940"/>
                    </a:lnTo>
                    <a:lnTo>
                      <a:pt x="252603" y="277082"/>
                    </a:lnTo>
                    <a:lnTo>
                      <a:pt x="256889" y="272891"/>
                    </a:lnTo>
                    <a:lnTo>
                      <a:pt x="259366" y="268605"/>
                    </a:lnTo>
                    <a:lnTo>
                      <a:pt x="261080" y="267748"/>
                    </a:lnTo>
                    <a:lnTo>
                      <a:pt x="262795" y="267748"/>
                    </a:lnTo>
                    <a:lnTo>
                      <a:pt x="263652" y="267748"/>
                    </a:lnTo>
                    <a:lnTo>
                      <a:pt x="268700" y="268605"/>
                    </a:lnTo>
                    <a:lnTo>
                      <a:pt x="270415" y="268605"/>
                    </a:lnTo>
                    <a:lnTo>
                      <a:pt x="272129" y="267748"/>
                    </a:lnTo>
                    <a:lnTo>
                      <a:pt x="275463" y="266033"/>
                    </a:lnTo>
                    <a:lnTo>
                      <a:pt x="280607" y="262700"/>
                    </a:lnTo>
                    <a:lnTo>
                      <a:pt x="288227" y="258413"/>
                    </a:lnTo>
                    <a:lnTo>
                      <a:pt x="293275" y="256699"/>
                    </a:lnTo>
                    <a:lnTo>
                      <a:pt x="299275" y="252508"/>
                    </a:lnTo>
                    <a:lnTo>
                      <a:pt x="300038" y="252508"/>
                    </a:lnTo>
                    <a:lnTo>
                      <a:pt x="301752" y="252508"/>
                    </a:lnTo>
                    <a:lnTo>
                      <a:pt x="306038" y="253365"/>
                    </a:lnTo>
                    <a:lnTo>
                      <a:pt x="308515" y="253365"/>
                    </a:lnTo>
                    <a:lnTo>
                      <a:pt x="309372" y="253365"/>
                    </a:lnTo>
                    <a:lnTo>
                      <a:pt x="310229" y="254222"/>
                    </a:lnTo>
                    <a:lnTo>
                      <a:pt x="311086" y="254984"/>
                    </a:lnTo>
                    <a:lnTo>
                      <a:pt x="311944" y="255842"/>
                    </a:lnTo>
                    <a:lnTo>
                      <a:pt x="312801" y="255842"/>
                    </a:lnTo>
                    <a:lnTo>
                      <a:pt x="314515" y="254984"/>
                    </a:lnTo>
                    <a:lnTo>
                      <a:pt x="315373" y="255842"/>
                    </a:lnTo>
                    <a:lnTo>
                      <a:pt x="316992" y="256699"/>
                    </a:lnTo>
                    <a:lnTo>
                      <a:pt x="319564" y="260128"/>
                    </a:lnTo>
                    <a:lnTo>
                      <a:pt x="322136" y="261842"/>
                    </a:lnTo>
                    <a:lnTo>
                      <a:pt x="322993" y="261842"/>
                    </a:lnTo>
                    <a:lnTo>
                      <a:pt x="325469" y="261842"/>
                    </a:lnTo>
                    <a:lnTo>
                      <a:pt x="327184" y="260985"/>
                    </a:lnTo>
                    <a:lnTo>
                      <a:pt x="332327" y="260985"/>
                    </a:lnTo>
                    <a:lnTo>
                      <a:pt x="334804" y="260985"/>
                    </a:lnTo>
                    <a:lnTo>
                      <a:pt x="336518" y="260985"/>
                    </a:lnTo>
                    <a:lnTo>
                      <a:pt x="337375" y="261842"/>
                    </a:lnTo>
                    <a:lnTo>
                      <a:pt x="339947" y="262700"/>
                    </a:lnTo>
                    <a:lnTo>
                      <a:pt x="341567" y="262700"/>
                    </a:lnTo>
                    <a:lnTo>
                      <a:pt x="343281" y="262700"/>
                    </a:lnTo>
                    <a:lnTo>
                      <a:pt x="347567" y="262700"/>
                    </a:lnTo>
                    <a:lnTo>
                      <a:pt x="350901" y="263557"/>
                    </a:lnTo>
                    <a:lnTo>
                      <a:pt x="353473" y="263557"/>
                    </a:lnTo>
                    <a:lnTo>
                      <a:pt x="355187" y="263557"/>
                    </a:lnTo>
                    <a:lnTo>
                      <a:pt x="356044" y="264414"/>
                    </a:lnTo>
                    <a:lnTo>
                      <a:pt x="358521" y="269462"/>
                    </a:lnTo>
                    <a:lnTo>
                      <a:pt x="359378" y="271177"/>
                    </a:lnTo>
                    <a:lnTo>
                      <a:pt x="361093" y="272891"/>
                    </a:lnTo>
                    <a:lnTo>
                      <a:pt x="363665" y="274606"/>
                    </a:lnTo>
                    <a:lnTo>
                      <a:pt x="370427" y="275463"/>
                    </a:lnTo>
                    <a:lnTo>
                      <a:pt x="372142" y="274606"/>
                    </a:lnTo>
                    <a:lnTo>
                      <a:pt x="373856" y="274606"/>
                    </a:lnTo>
                    <a:lnTo>
                      <a:pt x="377190" y="273748"/>
                    </a:lnTo>
                    <a:lnTo>
                      <a:pt x="378047" y="271177"/>
                    </a:lnTo>
                    <a:lnTo>
                      <a:pt x="377190" y="269462"/>
                    </a:lnTo>
                    <a:lnTo>
                      <a:pt x="377190" y="269462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46" name="Freeform: Shape 150">
                <a:extLst>
                  <a:ext uri="{FF2B5EF4-FFF2-40B4-BE49-F238E27FC236}">
                    <a16:creationId xmlns:a16="http://schemas.microsoft.com/office/drawing/2014/main" id="{BECB8DF9-A0AB-48CF-AC75-162AB487F207}"/>
                  </a:ext>
                </a:extLst>
              </p:cNvPr>
              <p:cNvSpPr/>
              <p:nvPr/>
            </p:nvSpPr>
            <p:spPr>
              <a:xfrm>
                <a:off x="5181123" y="2409254"/>
                <a:ext cx="342900" cy="400050"/>
              </a:xfrm>
              <a:custGeom>
                <a:avLst/>
                <a:gdLst>
                  <a:gd name="connsiteX0" fmla="*/ 343281 w 342900"/>
                  <a:gd name="connsiteY0" fmla="*/ 70009 h 400050"/>
                  <a:gd name="connsiteX1" fmla="*/ 343281 w 342900"/>
                  <a:gd name="connsiteY1" fmla="*/ 70009 h 400050"/>
                  <a:gd name="connsiteX2" fmla="*/ 342424 w 342900"/>
                  <a:gd name="connsiteY2" fmla="*/ 70009 h 400050"/>
                  <a:gd name="connsiteX3" fmla="*/ 338233 w 342900"/>
                  <a:gd name="connsiteY3" fmla="*/ 66675 h 400050"/>
                  <a:gd name="connsiteX4" fmla="*/ 334804 w 342900"/>
                  <a:gd name="connsiteY4" fmla="*/ 64103 h 400050"/>
                  <a:gd name="connsiteX5" fmla="*/ 333185 w 342900"/>
                  <a:gd name="connsiteY5" fmla="*/ 64103 h 400050"/>
                  <a:gd name="connsiteX6" fmla="*/ 332327 w 342900"/>
                  <a:gd name="connsiteY6" fmla="*/ 64960 h 400050"/>
                  <a:gd name="connsiteX7" fmla="*/ 330613 w 342900"/>
                  <a:gd name="connsiteY7" fmla="*/ 64960 h 400050"/>
                  <a:gd name="connsiteX8" fmla="*/ 329756 w 342900"/>
                  <a:gd name="connsiteY8" fmla="*/ 64960 h 400050"/>
                  <a:gd name="connsiteX9" fmla="*/ 327279 w 342900"/>
                  <a:gd name="connsiteY9" fmla="*/ 64960 h 400050"/>
                  <a:gd name="connsiteX10" fmla="*/ 326422 w 342900"/>
                  <a:gd name="connsiteY10" fmla="*/ 64960 h 400050"/>
                  <a:gd name="connsiteX11" fmla="*/ 326422 w 342900"/>
                  <a:gd name="connsiteY11" fmla="*/ 64103 h 400050"/>
                  <a:gd name="connsiteX12" fmla="*/ 328041 w 342900"/>
                  <a:gd name="connsiteY12" fmla="*/ 62389 h 400050"/>
                  <a:gd name="connsiteX13" fmla="*/ 328898 w 342900"/>
                  <a:gd name="connsiteY13" fmla="*/ 61627 h 400050"/>
                  <a:gd name="connsiteX14" fmla="*/ 328041 w 342900"/>
                  <a:gd name="connsiteY14" fmla="*/ 60769 h 400050"/>
                  <a:gd name="connsiteX15" fmla="*/ 327279 w 342900"/>
                  <a:gd name="connsiteY15" fmla="*/ 60769 h 400050"/>
                  <a:gd name="connsiteX16" fmla="*/ 323850 w 342900"/>
                  <a:gd name="connsiteY16" fmla="*/ 63246 h 400050"/>
                  <a:gd name="connsiteX17" fmla="*/ 322136 w 342900"/>
                  <a:gd name="connsiteY17" fmla="*/ 63246 h 400050"/>
                  <a:gd name="connsiteX18" fmla="*/ 320516 w 342900"/>
                  <a:gd name="connsiteY18" fmla="*/ 63246 h 400050"/>
                  <a:gd name="connsiteX19" fmla="*/ 319659 w 342900"/>
                  <a:gd name="connsiteY19" fmla="*/ 62389 h 400050"/>
                  <a:gd name="connsiteX20" fmla="*/ 318802 w 342900"/>
                  <a:gd name="connsiteY20" fmla="*/ 61627 h 400050"/>
                  <a:gd name="connsiteX21" fmla="*/ 317945 w 342900"/>
                  <a:gd name="connsiteY21" fmla="*/ 60769 h 400050"/>
                  <a:gd name="connsiteX22" fmla="*/ 317087 w 342900"/>
                  <a:gd name="connsiteY22" fmla="*/ 60769 h 400050"/>
                  <a:gd name="connsiteX23" fmla="*/ 312039 w 342900"/>
                  <a:gd name="connsiteY23" fmla="*/ 59912 h 400050"/>
                  <a:gd name="connsiteX24" fmla="*/ 310325 w 342900"/>
                  <a:gd name="connsiteY24" fmla="*/ 59055 h 400050"/>
                  <a:gd name="connsiteX25" fmla="*/ 308705 w 342900"/>
                  <a:gd name="connsiteY25" fmla="*/ 58198 h 400050"/>
                  <a:gd name="connsiteX26" fmla="*/ 305276 w 342900"/>
                  <a:gd name="connsiteY26" fmla="*/ 56578 h 400050"/>
                  <a:gd name="connsiteX27" fmla="*/ 302800 w 342900"/>
                  <a:gd name="connsiteY27" fmla="*/ 58198 h 400050"/>
                  <a:gd name="connsiteX28" fmla="*/ 301943 w 342900"/>
                  <a:gd name="connsiteY28" fmla="*/ 57340 h 400050"/>
                  <a:gd name="connsiteX29" fmla="*/ 301085 w 342900"/>
                  <a:gd name="connsiteY29" fmla="*/ 56578 h 400050"/>
                  <a:gd name="connsiteX30" fmla="*/ 301085 w 342900"/>
                  <a:gd name="connsiteY30" fmla="*/ 56578 h 400050"/>
                  <a:gd name="connsiteX31" fmla="*/ 301085 w 342900"/>
                  <a:gd name="connsiteY31" fmla="*/ 54864 h 400050"/>
                  <a:gd name="connsiteX32" fmla="*/ 295180 w 342900"/>
                  <a:gd name="connsiteY32" fmla="*/ 49816 h 400050"/>
                  <a:gd name="connsiteX33" fmla="*/ 293465 w 342900"/>
                  <a:gd name="connsiteY33" fmla="*/ 48101 h 400050"/>
                  <a:gd name="connsiteX34" fmla="*/ 293465 w 342900"/>
                  <a:gd name="connsiteY34" fmla="*/ 46387 h 400050"/>
                  <a:gd name="connsiteX35" fmla="*/ 294323 w 342900"/>
                  <a:gd name="connsiteY35" fmla="*/ 43910 h 400050"/>
                  <a:gd name="connsiteX36" fmla="*/ 294323 w 342900"/>
                  <a:gd name="connsiteY36" fmla="*/ 43053 h 400050"/>
                  <a:gd name="connsiteX37" fmla="*/ 295180 w 342900"/>
                  <a:gd name="connsiteY37" fmla="*/ 40481 h 400050"/>
                  <a:gd name="connsiteX38" fmla="*/ 295180 w 342900"/>
                  <a:gd name="connsiteY38" fmla="*/ 37147 h 400050"/>
                  <a:gd name="connsiteX39" fmla="*/ 295180 w 342900"/>
                  <a:gd name="connsiteY39" fmla="*/ 33814 h 400050"/>
                  <a:gd name="connsiteX40" fmla="*/ 295180 w 342900"/>
                  <a:gd name="connsiteY40" fmla="*/ 32099 h 400050"/>
                  <a:gd name="connsiteX41" fmla="*/ 294323 w 342900"/>
                  <a:gd name="connsiteY41" fmla="*/ 30385 h 400050"/>
                  <a:gd name="connsiteX42" fmla="*/ 292703 w 342900"/>
                  <a:gd name="connsiteY42" fmla="*/ 27908 h 400050"/>
                  <a:gd name="connsiteX43" fmla="*/ 290989 w 342900"/>
                  <a:gd name="connsiteY43" fmla="*/ 27051 h 400050"/>
                  <a:gd name="connsiteX44" fmla="*/ 288417 w 342900"/>
                  <a:gd name="connsiteY44" fmla="*/ 24479 h 400050"/>
                  <a:gd name="connsiteX45" fmla="*/ 283369 w 342900"/>
                  <a:gd name="connsiteY45" fmla="*/ 22003 h 400050"/>
                  <a:gd name="connsiteX46" fmla="*/ 280035 w 342900"/>
                  <a:gd name="connsiteY46" fmla="*/ 20288 h 400050"/>
                  <a:gd name="connsiteX47" fmla="*/ 279178 w 342900"/>
                  <a:gd name="connsiteY47" fmla="*/ 19431 h 400050"/>
                  <a:gd name="connsiteX48" fmla="*/ 278321 w 342900"/>
                  <a:gd name="connsiteY48" fmla="*/ 18574 h 400050"/>
                  <a:gd name="connsiteX49" fmla="*/ 278321 w 342900"/>
                  <a:gd name="connsiteY49" fmla="*/ 17717 h 400050"/>
                  <a:gd name="connsiteX50" fmla="*/ 278321 w 342900"/>
                  <a:gd name="connsiteY50" fmla="*/ 16097 h 400050"/>
                  <a:gd name="connsiteX51" fmla="*/ 277463 w 342900"/>
                  <a:gd name="connsiteY51" fmla="*/ 15240 h 400050"/>
                  <a:gd name="connsiteX52" fmla="*/ 276606 w 342900"/>
                  <a:gd name="connsiteY52" fmla="*/ 15240 h 400050"/>
                  <a:gd name="connsiteX53" fmla="*/ 274987 w 342900"/>
                  <a:gd name="connsiteY53" fmla="*/ 14383 h 400050"/>
                  <a:gd name="connsiteX54" fmla="*/ 274130 w 342900"/>
                  <a:gd name="connsiteY54" fmla="*/ 14383 h 400050"/>
                  <a:gd name="connsiteX55" fmla="*/ 273272 w 342900"/>
                  <a:gd name="connsiteY55" fmla="*/ 12668 h 400050"/>
                  <a:gd name="connsiteX56" fmla="*/ 272415 w 342900"/>
                  <a:gd name="connsiteY56" fmla="*/ 11811 h 400050"/>
                  <a:gd name="connsiteX57" fmla="*/ 272415 w 342900"/>
                  <a:gd name="connsiteY57" fmla="*/ 9334 h 400050"/>
                  <a:gd name="connsiteX58" fmla="*/ 271558 w 342900"/>
                  <a:gd name="connsiteY58" fmla="*/ 7620 h 400050"/>
                  <a:gd name="connsiteX59" fmla="*/ 269843 w 342900"/>
                  <a:gd name="connsiteY59" fmla="*/ 5905 h 400050"/>
                  <a:gd name="connsiteX60" fmla="*/ 268224 w 342900"/>
                  <a:gd name="connsiteY60" fmla="*/ 4286 h 400050"/>
                  <a:gd name="connsiteX61" fmla="*/ 266510 w 342900"/>
                  <a:gd name="connsiteY61" fmla="*/ 3429 h 400050"/>
                  <a:gd name="connsiteX62" fmla="*/ 264795 w 342900"/>
                  <a:gd name="connsiteY62" fmla="*/ 4286 h 400050"/>
                  <a:gd name="connsiteX63" fmla="*/ 263938 w 342900"/>
                  <a:gd name="connsiteY63" fmla="*/ 4286 h 400050"/>
                  <a:gd name="connsiteX64" fmla="*/ 262319 w 342900"/>
                  <a:gd name="connsiteY64" fmla="*/ 4286 h 400050"/>
                  <a:gd name="connsiteX65" fmla="*/ 260604 w 342900"/>
                  <a:gd name="connsiteY65" fmla="*/ 3429 h 400050"/>
                  <a:gd name="connsiteX66" fmla="*/ 259747 w 342900"/>
                  <a:gd name="connsiteY66" fmla="*/ 2572 h 400050"/>
                  <a:gd name="connsiteX67" fmla="*/ 258890 w 342900"/>
                  <a:gd name="connsiteY67" fmla="*/ 0 h 400050"/>
                  <a:gd name="connsiteX68" fmla="*/ 258890 w 342900"/>
                  <a:gd name="connsiteY68" fmla="*/ 0 h 400050"/>
                  <a:gd name="connsiteX69" fmla="*/ 258032 w 342900"/>
                  <a:gd name="connsiteY69" fmla="*/ 0 h 400050"/>
                  <a:gd name="connsiteX70" fmla="*/ 257270 w 342900"/>
                  <a:gd name="connsiteY70" fmla="*/ 0 h 400050"/>
                  <a:gd name="connsiteX71" fmla="*/ 256413 w 342900"/>
                  <a:gd name="connsiteY71" fmla="*/ 0 h 400050"/>
                  <a:gd name="connsiteX72" fmla="*/ 254699 w 342900"/>
                  <a:gd name="connsiteY72" fmla="*/ 1715 h 400050"/>
                  <a:gd name="connsiteX73" fmla="*/ 253841 w 342900"/>
                  <a:gd name="connsiteY73" fmla="*/ 2572 h 400050"/>
                  <a:gd name="connsiteX74" fmla="*/ 252984 w 342900"/>
                  <a:gd name="connsiteY74" fmla="*/ 2572 h 400050"/>
                  <a:gd name="connsiteX75" fmla="*/ 254699 w 342900"/>
                  <a:gd name="connsiteY75" fmla="*/ 4286 h 400050"/>
                  <a:gd name="connsiteX76" fmla="*/ 255556 w 342900"/>
                  <a:gd name="connsiteY76" fmla="*/ 5905 h 400050"/>
                  <a:gd name="connsiteX77" fmla="*/ 256413 w 342900"/>
                  <a:gd name="connsiteY77" fmla="*/ 8477 h 400050"/>
                  <a:gd name="connsiteX78" fmla="*/ 257270 w 342900"/>
                  <a:gd name="connsiteY78" fmla="*/ 9334 h 400050"/>
                  <a:gd name="connsiteX79" fmla="*/ 258032 w 342900"/>
                  <a:gd name="connsiteY79" fmla="*/ 10192 h 400050"/>
                  <a:gd name="connsiteX80" fmla="*/ 258890 w 342900"/>
                  <a:gd name="connsiteY80" fmla="*/ 10192 h 400050"/>
                  <a:gd name="connsiteX81" fmla="*/ 259747 w 342900"/>
                  <a:gd name="connsiteY81" fmla="*/ 11049 h 400050"/>
                  <a:gd name="connsiteX82" fmla="*/ 260604 w 342900"/>
                  <a:gd name="connsiteY82" fmla="*/ 11049 h 400050"/>
                  <a:gd name="connsiteX83" fmla="*/ 260604 w 342900"/>
                  <a:gd name="connsiteY83" fmla="*/ 11811 h 400050"/>
                  <a:gd name="connsiteX84" fmla="*/ 260604 w 342900"/>
                  <a:gd name="connsiteY84" fmla="*/ 12668 h 400050"/>
                  <a:gd name="connsiteX85" fmla="*/ 260604 w 342900"/>
                  <a:gd name="connsiteY85" fmla="*/ 13525 h 400050"/>
                  <a:gd name="connsiteX86" fmla="*/ 259747 w 342900"/>
                  <a:gd name="connsiteY86" fmla="*/ 15240 h 400050"/>
                  <a:gd name="connsiteX87" fmla="*/ 258032 w 342900"/>
                  <a:gd name="connsiteY87" fmla="*/ 17717 h 400050"/>
                  <a:gd name="connsiteX88" fmla="*/ 258032 w 342900"/>
                  <a:gd name="connsiteY88" fmla="*/ 19431 h 400050"/>
                  <a:gd name="connsiteX89" fmla="*/ 258032 w 342900"/>
                  <a:gd name="connsiteY89" fmla="*/ 20288 h 400050"/>
                  <a:gd name="connsiteX90" fmla="*/ 258890 w 342900"/>
                  <a:gd name="connsiteY90" fmla="*/ 22003 h 400050"/>
                  <a:gd name="connsiteX91" fmla="*/ 259747 w 342900"/>
                  <a:gd name="connsiteY91" fmla="*/ 22765 h 400050"/>
                  <a:gd name="connsiteX92" fmla="*/ 259747 w 342900"/>
                  <a:gd name="connsiteY92" fmla="*/ 23622 h 400050"/>
                  <a:gd name="connsiteX93" fmla="*/ 259747 w 342900"/>
                  <a:gd name="connsiteY93" fmla="*/ 25336 h 400050"/>
                  <a:gd name="connsiteX94" fmla="*/ 258890 w 342900"/>
                  <a:gd name="connsiteY94" fmla="*/ 27051 h 400050"/>
                  <a:gd name="connsiteX95" fmla="*/ 258890 w 342900"/>
                  <a:gd name="connsiteY95" fmla="*/ 28670 h 400050"/>
                  <a:gd name="connsiteX96" fmla="*/ 259747 w 342900"/>
                  <a:gd name="connsiteY96" fmla="*/ 32099 h 400050"/>
                  <a:gd name="connsiteX97" fmla="*/ 260604 w 342900"/>
                  <a:gd name="connsiteY97" fmla="*/ 32099 h 400050"/>
                  <a:gd name="connsiteX98" fmla="*/ 261461 w 342900"/>
                  <a:gd name="connsiteY98" fmla="*/ 32099 h 400050"/>
                  <a:gd name="connsiteX99" fmla="*/ 262319 w 342900"/>
                  <a:gd name="connsiteY99" fmla="*/ 31242 h 400050"/>
                  <a:gd name="connsiteX100" fmla="*/ 262319 w 342900"/>
                  <a:gd name="connsiteY100" fmla="*/ 31242 h 400050"/>
                  <a:gd name="connsiteX101" fmla="*/ 262319 w 342900"/>
                  <a:gd name="connsiteY101" fmla="*/ 32099 h 400050"/>
                  <a:gd name="connsiteX102" fmla="*/ 262319 w 342900"/>
                  <a:gd name="connsiteY102" fmla="*/ 32099 h 400050"/>
                  <a:gd name="connsiteX103" fmla="*/ 263176 w 342900"/>
                  <a:gd name="connsiteY103" fmla="*/ 32099 h 400050"/>
                  <a:gd name="connsiteX104" fmla="*/ 263176 w 342900"/>
                  <a:gd name="connsiteY104" fmla="*/ 36290 h 400050"/>
                  <a:gd name="connsiteX105" fmla="*/ 263938 w 342900"/>
                  <a:gd name="connsiteY105" fmla="*/ 37147 h 400050"/>
                  <a:gd name="connsiteX106" fmla="*/ 264795 w 342900"/>
                  <a:gd name="connsiteY106" fmla="*/ 37147 h 400050"/>
                  <a:gd name="connsiteX107" fmla="*/ 265652 w 342900"/>
                  <a:gd name="connsiteY107" fmla="*/ 37147 h 400050"/>
                  <a:gd name="connsiteX108" fmla="*/ 266510 w 342900"/>
                  <a:gd name="connsiteY108" fmla="*/ 38005 h 400050"/>
                  <a:gd name="connsiteX109" fmla="*/ 266510 w 342900"/>
                  <a:gd name="connsiteY109" fmla="*/ 38862 h 400050"/>
                  <a:gd name="connsiteX110" fmla="*/ 267367 w 342900"/>
                  <a:gd name="connsiteY110" fmla="*/ 40481 h 400050"/>
                  <a:gd name="connsiteX111" fmla="*/ 267367 w 342900"/>
                  <a:gd name="connsiteY111" fmla="*/ 41338 h 400050"/>
                  <a:gd name="connsiteX112" fmla="*/ 268224 w 342900"/>
                  <a:gd name="connsiteY112" fmla="*/ 42196 h 400050"/>
                  <a:gd name="connsiteX113" fmla="*/ 268224 w 342900"/>
                  <a:gd name="connsiteY113" fmla="*/ 43053 h 400050"/>
                  <a:gd name="connsiteX114" fmla="*/ 267367 w 342900"/>
                  <a:gd name="connsiteY114" fmla="*/ 47244 h 400050"/>
                  <a:gd name="connsiteX115" fmla="*/ 267367 w 342900"/>
                  <a:gd name="connsiteY115" fmla="*/ 48958 h 400050"/>
                  <a:gd name="connsiteX116" fmla="*/ 267367 w 342900"/>
                  <a:gd name="connsiteY116" fmla="*/ 50673 h 400050"/>
                  <a:gd name="connsiteX117" fmla="*/ 268224 w 342900"/>
                  <a:gd name="connsiteY117" fmla="*/ 51435 h 400050"/>
                  <a:gd name="connsiteX118" fmla="*/ 269081 w 342900"/>
                  <a:gd name="connsiteY118" fmla="*/ 52292 h 400050"/>
                  <a:gd name="connsiteX119" fmla="*/ 269081 w 342900"/>
                  <a:gd name="connsiteY119" fmla="*/ 53149 h 400050"/>
                  <a:gd name="connsiteX120" fmla="*/ 268224 w 342900"/>
                  <a:gd name="connsiteY120" fmla="*/ 54007 h 400050"/>
                  <a:gd name="connsiteX121" fmla="*/ 267367 w 342900"/>
                  <a:gd name="connsiteY121" fmla="*/ 54864 h 400050"/>
                  <a:gd name="connsiteX122" fmla="*/ 267367 w 342900"/>
                  <a:gd name="connsiteY122" fmla="*/ 55721 h 400050"/>
                  <a:gd name="connsiteX123" fmla="*/ 267367 w 342900"/>
                  <a:gd name="connsiteY123" fmla="*/ 56578 h 400050"/>
                  <a:gd name="connsiteX124" fmla="*/ 267367 w 342900"/>
                  <a:gd name="connsiteY124" fmla="*/ 60769 h 400050"/>
                  <a:gd name="connsiteX125" fmla="*/ 267367 w 342900"/>
                  <a:gd name="connsiteY125" fmla="*/ 62389 h 400050"/>
                  <a:gd name="connsiteX126" fmla="*/ 268224 w 342900"/>
                  <a:gd name="connsiteY126" fmla="*/ 66675 h 400050"/>
                  <a:gd name="connsiteX127" fmla="*/ 268224 w 342900"/>
                  <a:gd name="connsiteY127" fmla="*/ 68294 h 400050"/>
                  <a:gd name="connsiteX128" fmla="*/ 268224 w 342900"/>
                  <a:gd name="connsiteY128" fmla="*/ 69151 h 400050"/>
                  <a:gd name="connsiteX129" fmla="*/ 267367 w 342900"/>
                  <a:gd name="connsiteY129" fmla="*/ 70866 h 400050"/>
                  <a:gd name="connsiteX130" fmla="*/ 266510 w 342900"/>
                  <a:gd name="connsiteY130" fmla="*/ 72580 h 400050"/>
                  <a:gd name="connsiteX131" fmla="*/ 265652 w 342900"/>
                  <a:gd name="connsiteY131" fmla="*/ 72580 h 400050"/>
                  <a:gd name="connsiteX132" fmla="*/ 264795 w 342900"/>
                  <a:gd name="connsiteY132" fmla="*/ 72580 h 400050"/>
                  <a:gd name="connsiteX133" fmla="*/ 263176 w 342900"/>
                  <a:gd name="connsiteY133" fmla="*/ 70009 h 400050"/>
                  <a:gd name="connsiteX134" fmla="*/ 262319 w 342900"/>
                  <a:gd name="connsiteY134" fmla="*/ 66675 h 400050"/>
                  <a:gd name="connsiteX135" fmla="*/ 261461 w 342900"/>
                  <a:gd name="connsiteY135" fmla="*/ 64960 h 400050"/>
                  <a:gd name="connsiteX136" fmla="*/ 260604 w 342900"/>
                  <a:gd name="connsiteY136" fmla="*/ 64103 h 400050"/>
                  <a:gd name="connsiteX137" fmla="*/ 259747 w 342900"/>
                  <a:gd name="connsiteY137" fmla="*/ 64103 h 400050"/>
                  <a:gd name="connsiteX138" fmla="*/ 256413 w 342900"/>
                  <a:gd name="connsiteY138" fmla="*/ 64960 h 400050"/>
                  <a:gd name="connsiteX139" fmla="*/ 255556 w 342900"/>
                  <a:gd name="connsiteY139" fmla="*/ 64960 h 400050"/>
                  <a:gd name="connsiteX140" fmla="*/ 252984 w 342900"/>
                  <a:gd name="connsiteY140" fmla="*/ 63246 h 400050"/>
                  <a:gd name="connsiteX141" fmla="*/ 251365 w 342900"/>
                  <a:gd name="connsiteY141" fmla="*/ 63246 h 400050"/>
                  <a:gd name="connsiteX142" fmla="*/ 248793 w 342900"/>
                  <a:gd name="connsiteY142" fmla="*/ 64960 h 400050"/>
                  <a:gd name="connsiteX143" fmla="*/ 248793 w 342900"/>
                  <a:gd name="connsiteY143" fmla="*/ 65818 h 400050"/>
                  <a:gd name="connsiteX144" fmla="*/ 247936 w 342900"/>
                  <a:gd name="connsiteY144" fmla="*/ 65818 h 400050"/>
                  <a:gd name="connsiteX145" fmla="*/ 247936 w 342900"/>
                  <a:gd name="connsiteY145" fmla="*/ 70009 h 400050"/>
                  <a:gd name="connsiteX146" fmla="*/ 247936 w 342900"/>
                  <a:gd name="connsiteY146" fmla="*/ 70009 h 400050"/>
                  <a:gd name="connsiteX147" fmla="*/ 247936 w 342900"/>
                  <a:gd name="connsiteY147" fmla="*/ 70866 h 400050"/>
                  <a:gd name="connsiteX148" fmla="*/ 247936 w 342900"/>
                  <a:gd name="connsiteY148" fmla="*/ 70866 h 400050"/>
                  <a:gd name="connsiteX149" fmla="*/ 249650 w 342900"/>
                  <a:gd name="connsiteY149" fmla="*/ 71723 h 400050"/>
                  <a:gd name="connsiteX150" fmla="*/ 249650 w 342900"/>
                  <a:gd name="connsiteY150" fmla="*/ 71723 h 400050"/>
                  <a:gd name="connsiteX151" fmla="*/ 250508 w 342900"/>
                  <a:gd name="connsiteY151" fmla="*/ 72580 h 400050"/>
                  <a:gd name="connsiteX152" fmla="*/ 249650 w 342900"/>
                  <a:gd name="connsiteY152" fmla="*/ 72580 h 400050"/>
                  <a:gd name="connsiteX153" fmla="*/ 248793 w 342900"/>
                  <a:gd name="connsiteY153" fmla="*/ 73438 h 400050"/>
                  <a:gd name="connsiteX154" fmla="*/ 247079 w 342900"/>
                  <a:gd name="connsiteY154" fmla="*/ 75057 h 400050"/>
                  <a:gd name="connsiteX155" fmla="*/ 240411 w 342900"/>
                  <a:gd name="connsiteY155" fmla="*/ 80963 h 400050"/>
                  <a:gd name="connsiteX156" fmla="*/ 238697 w 342900"/>
                  <a:gd name="connsiteY156" fmla="*/ 80963 h 400050"/>
                  <a:gd name="connsiteX157" fmla="*/ 236982 w 342900"/>
                  <a:gd name="connsiteY157" fmla="*/ 82677 h 400050"/>
                  <a:gd name="connsiteX158" fmla="*/ 235268 w 342900"/>
                  <a:gd name="connsiteY158" fmla="*/ 83534 h 400050"/>
                  <a:gd name="connsiteX159" fmla="*/ 231077 w 342900"/>
                  <a:gd name="connsiteY159" fmla="*/ 85153 h 400050"/>
                  <a:gd name="connsiteX160" fmla="*/ 229362 w 342900"/>
                  <a:gd name="connsiteY160" fmla="*/ 86011 h 400050"/>
                  <a:gd name="connsiteX161" fmla="*/ 227743 w 342900"/>
                  <a:gd name="connsiteY161" fmla="*/ 86868 h 400050"/>
                  <a:gd name="connsiteX162" fmla="*/ 227743 w 342900"/>
                  <a:gd name="connsiteY162" fmla="*/ 88582 h 400050"/>
                  <a:gd name="connsiteX163" fmla="*/ 227743 w 342900"/>
                  <a:gd name="connsiteY163" fmla="*/ 89440 h 400050"/>
                  <a:gd name="connsiteX164" fmla="*/ 227743 w 342900"/>
                  <a:gd name="connsiteY164" fmla="*/ 90297 h 400050"/>
                  <a:gd name="connsiteX165" fmla="*/ 228600 w 342900"/>
                  <a:gd name="connsiteY165" fmla="*/ 90297 h 400050"/>
                  <a:gd name="connsiteX166" fmla="*/ 229362 w 342900"/>
                  <a:gd name="connsiteY166" fmla="*/ 90297 h 400050"/>
                  <a:gd name="connsiteX167" fmla="*/ 230219 w 342900"/>
                  <a:gd name="connsiteY167" fmla="*/ 90297 h 400050"/>
                  <a:gd name="connsiteX168" fmla="*/ 230219 w 342900"/>
                  <a:gd name="connsiteY168" fmla="*/ 89440 h 400050"/>
                  <a:gd name="connsiteX169" fmla="*/ 232791 w 342900"/>
                  <a:gd name="connsiteY169" fmla="*/ 86868 h 400050"/>
                  <a:gd name="connsiteX170" fmla="*/ 232791 w 342900"/>
                  <a:gd name="connsiteY170" fmla="*/ 86868 h 400050"/>
                  <a:gd name="connsiteX171" fmla="*/ 233648 w 342900"/>
                  <a:gd name="connsiteY171" fmla="*/ 86868 h 400050"/>
                  <a:gd name="connsiteX172" fmla="*/ 233648 w 342900"/>
                  <a:gd name="connsiteY172" fmla="*/ 86868 h 400050"/>
                  <a:gd name="connsiteX173" fmla="*/ 234506 w 342900"/>
                  <a:gd name="connsiteY173" fmla="*/ 86868 h 400050"/>
                  <a:gd name="connsiteX174" fmla="*/ 234506 w 342900"/>
                  <a:gd name="connsiteY174" fmla="*/ 87725 h 400050"/>
                  <a:gd name="connsiteX175" fmla="*/ 234506 w 342900"/>
                  <a:gd name="connsiteY175" fmla="*/ 87725 h 400050"/>
                  <a:gd name="connsiteX176" fmla="*/ 234506 w 342900"/>
                  <a:gd name="connsiteY176" fmla="*/ 88582 h 400050"/>
                  <a:gd name="connsiteX177" fmla="*/ 235268 w 342900"/>
                  <a:gd name="connsiteY177" fmla="*/ 89440 h 400050"/>
                  <a:gd name="connsiteX178" fmla="*/ 235268 w 342900"/>
                  <a:gd name="connsiteY178" fmla="*/ 90297 h 400050"/>
                  <a:gd name="connsiteX179" fmla="*/ 236125 w 342900"/>
                  <a:gd name="connsiteY179" fmla="*/ 90297 h 400050"/>
                  <a:gd name="connsiteX180" fmla="*/ 236125 w 342900"/>
                  <a:gd name="connsiteY180" fmla="*/ 91059 h 400050"/>
                  <a:gd name="connsiteX181" fmla="*/ 237839 w 342900"/>
                  <a:gd name="connsiteY181" fmla="*/ 91059 h 400050"/>
                  <a:gd name="connsiteX182" fmla="*/ 238697 w 342900"/>
                  <a:gd name="connsiteY182" fmla="*/ 91916 h 400050"/>
                  <a:gd name="connsiteX183" fmla="*/ 238697 w 342900"/>
                  <a:gd name="connsiteY183" fmla="*/ 91916 h 400050"/>
                  <a:gd name="connsiteX184" fmla="*/ 238697 w 342900"/>
                  <a:gd name="connsiteY184" fmla="*/ 92773 h 400050"/>
                  <a:gd name="connsiteX185" fmla="*/ 239554 w 342900"/>
                  <a:gd name="connsiteY185" fmla="*/ 92773 h 400050"/>
                  <a:gd name="connsiteX186" fmla="*/ 239554 w 342900"/>
                  <a:gd name="connsiteY186" fmla="*/ 93631 h 400050"/>
                  <a:gd name="connsiteX187" fmla="*/ 238697 w 342900"/>
                  <a:gd name="connsiteY187" fmla="*/ 95345 h 400050"/>
                  <a:gd name="connsiteX188" fmla="*/ 237839 w 342900"/>
                  <a:gd name="connsiteY188" fmla="*/ 96965 h 400050"/>
                  <a:gd name="connsiteX189" fmla="*/ 237839 w 342900"/>
                  <a:gd name="connsiteY189" fmla="*/ 97822 h 400050"/>
                  <a:gd name="connsiteX190" fmla="*/ 237839 w 342900"/>
                  <a:gd name="connsiteY190" fmla="*/ 99536 h 400050"/>
                  <a:gd name="connsiteX191" fmla="*/ 237839 w 342900"/>
                  <a:gd name="connsiteY191" fmla="*/ 100394 h 400050"/>
                  <a:gd name="connsiteX192" fmla="*/ 233648 w 342900"/>
                  <a:gd name="connsiteY192" fmla="*/ 102108 h 400050"/>
                  <a:gd name="connsiteX193" fmla="*/ 226886 w 342900"/>
                  <a:gd name="connsiteY193" fmla="*/ 107156 h 400050"/>
                  <a:gd name="connsiteX194" fmla="*/ 223457 w 342900"/>
                  <a:gd name="connsiteY194" fmla="*/ 107156 h 400050"/>
                  <a:gd name="connsiteX195" fmla="*/ 222695 w 342900"/>
                  <a:gd name="connsiteY195" fmla="*/ 106299 h 400050"/>
                  <a:gd name="connsiteX196" fmla="*/ 219266 w 342900"/>
                  <a:gd name="connsiteY196" fmla="*/ 106299 h 400050"/>
                  <a:gd name="connsiteX197" fmla="*/ 218408 w 342900"/>
                  <a:gd name="connsiteY197" fmla="*/ 105442 h 400050"/>
                  <a:gd name="connsiteX198" fmla="*/ 218408 w 342900"/>
                  <a:gd name="connsiteY198" fmla="*/ 104584 h 400050"/>
                  <a:gd name="connsiteX199" fmla="*/ 216789 w 342900"/>
                  <a:gd name="connsiteY199" fmla="*/ 102108 h 400050"/>
                  <a:gd name="connsiteX200" fmla="*/ 215932 w 342900"/>
                  <a:gd name="connsiteY200" fmla="*/ 100394 h 400050"/>
                  <a:gd name="connsiteX201" fmla="*/ 215075 w 342900"/>
                  <a:gd name="connsiteY201" fmla="*/ 95345 h 400050"/>
                  <a:gd name="connsiteX202" fmla="*/ 214217 w 342900"/>
                  <a:gd name="connsiteY202" fmla="*/ 95345 h 400050"/>
                  <a:gd name="connsiteX203" fmla="*/ 214217 w 342900"/>
                  <a:gd name="connsiteY203" fmla="*/ 94488 h 400050"/>
                  <a:gd name="connsiteX204" fmla="*/ 213360 w 342900"/>
                  <a:gd name="connsiteY204" fmla="*/ 94488 h 400050"/>
                  <a:gd name="connsiteX205" fmla="*/ 212503 w 342900"/>
                  <a:gd name="connsiteY205" fmla="*/ 94488 h 400050"/>
                  <a:gd name="connsiteX206" fmla="*/ 211646 w 342900"/>
                  <a:gd name="connsiteY206" fmla="*/ 95345 h 400050"/>
                  <a:gd name="connsiteX207" fmla="*/ 211646 w 342900"/>
                  <a:gd name="connsiteY207" fmla="*/ 96202 h 400050"/>
                  <a:gd name="connsiteX208" fmla="*/ 211646 w 342900"/>
                  <a:gd name="connsiteY208" fmla="*/ 96965 h 400050"/>
                  <a:gd name="connsiteX209" fmla="*/ 211646 w 342900"/>
                  <a:gd name="connsiteY209" fmla="*/ 97822 h 400050"/>
                  <a:gd name="connsiteX210" fmla="*/ 212503 w 342900"/>
                  <a:gd name="connsiteY210" fmla="*/ 98679 h 400050"/>
                  <a:gd name="connsiteX211" fmla="*/ 212503 w 342900"/>
                  <a:gd name="connsiteY211" fmla="*/ 99536 h 400050"/>
                  <a:gd name="connsiteX212" fmla="*/ 211646 w 342900"/>
                  <a:gd name="connsiteY212" fmla="*/ 99536 h 400050"/>
                  <a:gd name="connsiteX213" fmla="*/ 210884 w 342900"/>
                  <a:gd name="connsiteY213" fmla="*/ 102108 h 400050"/>
                  <a:gd name="connsiteX214" fmla="*/ 210884 w 342900"/>
                  <a:gd name="connsiteY214" fmla="*/ 102870 h 400050"/>
                  <a:gd name="connsiteX215" fmla="*/ 210026 w 342900"/>
                  <a:gd name="connsiteY215" fmla="*/ 102870 h 400050"/>
                  <a:gd name="connsiteX216" fmla="*/ 209169 w 342900"/>
                  <a:gd name="connsiteY216" fmla="*/ 102870 h 400050"/>
                  <a:gd name="connsiteX217" fmla="*/ 209169 w 342900"/>
                  <a:gd name="connsiteY217" fmla="*/ 102870 h 400050"/>
                  <a:gd name="connsiteX218" fmla="*/ 208312 w 342900"/>
                  <a:gd name="connsiteY218" fmla="*/ 102108 h 400050"/>
                  <a:gd name="connsiteX219" fmla="*/ 206597 w 342900"/>
                  <a:gd name="connsiteY219" fmla="*/ 100394 h 400050"/>
                  <a:gd name="connsiteX220" fmla="*/ 205740 w 342900"/>
                  <a:gd name="connsiteY220" fmla="*/ 100394 h 400050"/>
                  <a:gd name="connsiteX221" fmla="*/ 205740 w 342900"/>
                  <a:gd name="connsiteY221" fmla="*/ 100394 h 400050"/>
                  <a:gd name="connsiteX222" fmla="*/ 204978 w 342900"/>
                  <a:gd name="connsiteY222" fmla="*/ 100394 h 400050"/>
                  <a:gd name="connsiteX223" fmla="*/ 204978 w 342900"/>
                  <a:gd name="connsiteY223" fmla="*/ 101251 h 400050"/>
                  <a:gd name="connsiteX224" fmla="*/ 204978 w 342900"/>
                  <a:gd name="connsiteY224" fmla="*/ 102108 h 400050"/>
                  <a:gd name="connsiteX225" fmla="*/ 204978 w 342900"/>
                  <a:gd name="connsiteY225" fmla="*/ 102870 h 400050"/>
                  <a:gd name="connsiteX226" fmla="*/ 204978 w 342900"/>
                  <a:gd name="connsiteY226" fmla="*/ 103727 h 400050"/>
                  <a:gd name="connsiteX227" fmla="*/ 204121 w 342900"/>
                  <a:gd name="connsiteY227" fmla="*/ 104584 h 400050"/>
                  <a:gd name="connsiteX228" fmla="*/ 202406 w 342900"/>
                  <a:gd name="connsiteY228" fmla="*/ 104584 h 400050"/>
                  <a:gd name="connsiteX229" fmla="*/ 201549 w 342900"/>
                  <a:gd name="connsiteY229" fmla="*/ 104584 h 400050"/>
                  <a:gd name="connsiteX230" fmla="*/ 199835 w 342900"/>
                  <a:gd name="connsiteY230" fmla="*/ 104584 h 400050"/>
                  <a:gd name="connsiteX231" fmla="*/ 199073 w 342900"/>
                  <a:gd name="connsiteY231" fmla="*/ 103727 h 400050"/>
                  <a:gd name="connsiteX232" fmla="*/ 198215 w 342900"/>
                  <a:gd name="connsiteY232" fmla="*/ 103727 h 400050"/>
                  <a:gd name="connsiteX233" fmla="*/ 197358 w 342900"/>
                  <a:gd name="connsiteY233" fmla="*/ 102870 h 400050"/>
                  <a:gd name="connsiteX234" fmla="*/ 193929 w 342900"/>
                  <a:gd name="connsiteY234" fmla="*/ 100394 h 400050"/>
                  <a:gd name="connsiteX235" fmla="*/ 193167 w 342900"/>
                  <a:gd name="connsiteY235" fmla="*/ 100394 h 400050"/>
                  <a:gd name="connsiteX236" fmla="*/ 192310 w 342900"/>
                  <a:gd name="connsiteY236" fmla="*/ 100394 h 400050"/>
                  <a:gd name="connsiteX237" fmla="*/ 191453 w 342900"/>
                  <a:gd name="connsiteY237" fmla="*/ 101251 h 400050"/>
                  <a:gd name="connsiteX238" fmla="*/ 191453 w 342900"/>
                  <a:gd name="connsiteY238" fmla="*/ 102108 h 400050"/>
                  <a:gd name="connsiteX239" fmla="*/ 191453 w 342900"/>
                  <a:gd name="connsiteY239" fmla="*/ 102870 h 400050"/>
                  <a:gd name="connsiteX240" fmla="*/ 191453 w 342900"/>
                  <a:gd name="connsiteY240" fmla="*/ 103727 h 400050"/>
                  <a:gd name="connsiteX241" fmla="*/ 192310 w 342900"/>
                  <a:gd name="connsiteY241" fmla="*/ 104584 h 400050"/>
                  <a:gd name="connsiteX242" fmla="*/ 193167 w 342900"/>
                  <a:gd name="connsiteY242" fmla="*/ 104584 h 400050"/>
                  <a:gd name="connsiteX243" fmla="*/ 195644 w 342900"/>
                  <a:gd name="connsiteY243" fmla="*/ 106299 h 400050"/>
                  <a:gd name="connsiteX244" fmla="*/ 196501 w 342900"/>
                  <a:gd name="connsiteY244" fmla="*/ 106299 h 400050"/>
                  <a:gd name="connsiteX245" fmla="*/ 196501 w 342900"/>
                  <a:gd name="connsiteY245" fmla="*/ 107156 h 400050"/>
                  <a:gd name="connsiteX246" fmla="*/ 195644 w 342900"/>
                  <a:gd name="connsiteY246" fmla="*/ 107156 h 400050"/>
                  <a:gd name="connsiteX247" fmla="*/ 193929 w 342900"/>
                  <a:gd name="connsiteY247" fmla="*/ 107918 h 400050"/>
                  <a:gd name="connsiteX248" fmla="*/ 193167 w 342900"/>
                  <a:gd name="connsiteY248" fmla="*/ 107918 h 400050"/>
                  <a:gd name="connsiteX249" fmla="*/ 192310 w 342900"/>
                  <a:gd name="connsiteY249" fmla="*/ 108775 h 400050"/>
                  <a:gd name="connsiteX250" fmla="*/ 192310 w 342900"/>
                  <a:gd name="connsiteY250" fmla="*/ 109633 h 400050"/>
                  <a:gd name="connsiteX251" fmla="*/ 193167 w 342900"/>
                  <a:gd name="connsiteY251" fmla="*/ 109633 h 400050"/>
                  <a:gd name="connsiteX252" fmla="*/ 193167 w 342900"/>
                  <a:gd name="connsiteY252" fmla="*/ 110490 h 400050"/>
                  <a:gd name="connsiteX253" fmla="*/ 193167 w 342900"/>
                  <a:gd name="connsiteY253" fmla="*/ 111347 h 400050"/>
                  <a:gd name="connsiteX254" fmla="*/ 193167 w 342900"/>
                  <a:gd name="connsiteY254" fmla="*/ 111347 h 400050"/>
                  <a:gd name="connsiteX255" fmla="*/ 193167 w 342900"/>
                  <a:gd name="connsiteY255" fmla="*/ 112204 h 400050"/>
                  <a:gd name="connsiteX256" fmla="*/ 193167 w 342900"/>
                  <a:gd name="connsiteY256" fmla="*/ 113062 h 400050"/>
                  <a:gd name="connsiteX257" fmla="*/ 192310 w 342900"/>
                  <a:gd name="connsiteY257" fmla="*/ 113824 h 400050"/>
                  <a:gd name="connsiteX258" fmla="*/ 191453 w 342900"/>
                  <a:gd name="connsiteY258" fmla="*/ 115538 h 400050"/>
                  <a:gd name="connsiteX259" fmla="*/ 188881 w 342900"/>
                  <a:gd name="connsiteY259" fmla="*/ 121444 h 400050"/>
                  <a:gd name="connsiteX260" fmla="*/ 188024 w 342900"/>
                  <a:gd name="connsiteY260" fmla="*/ 124015 h 400050"/>
                  <a:gd name="connsiteX261" fmla="*/ 188024 w 342900"/>
                  <a:gd name="connsiteY261" fmla="*/ 124777 h 400050"/>
                  <a:gd name="connsiteX262" fmla="*/ 188024 w 342900"/>
                  <a:gd name="connsiteY262" fmla="*/ 126492 h 400050"/>
                  <a:gd name="connsiteX263" fmla="*/ 188881 w 342900"/>
                  <a:gd name="connsiteY263" fmla="*/ 127349 h 400050"/>
                  <a:gd name="connsiteX264" fmla="*/ 188881 w 342900"/>
                  <a:gd name="connsiteY264" fmla="*/ 128206 h 400050"/>
                  <a:gd name="connsiteX265" fmla="*/ 189738 w 342900"/>
                  <a:gd name="connsiteY265" fmla="*/ 129064 h 400050"/>
                  <a:gd name="connsiteX266" fmla="*/ 189738 w 342900"/>
                  <a:gd name="connsiteY266" fmla="*/ 130683 h 400050"/>
                  <a:gd name="connsiteX267" fmla="*/ 190595 w 342900"/>
                  <a:gd name="connsiteY267" fmla="*/ 131540 h 400050"/>
                  <a:gd name="connsiteX268" fmla="*/ 193167 w 342900"/>
                  <a:gd name="connsiteY268" fmla="*/ 132397 h 400050"/>
                  <a:gd name="connsiteX269" fmla="*/ 193929 w 342900"/>
                  <a:gd name="connsiteY269" fmla="*/ 133255 h 400050"/>
                  <a:gd name="connsiteX270" fmla="*/ 193929 w 342900"/>
                  <a:gd name="connsiteY270" fmla="*/ 134969 h 400050"/>
                  <a:gd name="connsiteX271" fmla="*/ 192310 w 342900"/>
                  <a:gd name="connsiteY271" fmla="*/ 135826 h 400050"/>
                  <a:gd name="connsiteX272" fmla="*/ 188881 w 342900"/>
                  <a:gd name="connsiteY272" fmla="*/ 137446 h 400050"/>
                  <a:gd name="connsiteX273" fmla="*/ 186404 w 342900"/>
                  <a:gd name="connsiteY273" fmla="*/ 139160 h 400050"/>
                  <a:gd name="connsiteX274" fmla="*/ 184690 w 342900"/>
                  <a:gd name="connsiteY274" fmla="*/ 140017 h 400050"/>
                  <a:gd name="connsiteX275" fmla="*/ 182975 w 342900"/>
                  <a:gd name="connsiteY275" fmla="*/ 140875 h 400050"/>
                  <a:gd name="connsiteX276" fmla="*/ 177927 w 342900"/>
                  <a:gd name="connsiteY276" fmla="*/ 142494 h 400050"/>
                  <a:gd name="connsiteX277" fmla="*/ 174593 w 342900"/>
                  <a:gd name="connsiteY277" fmla="*/ 147542 h 400050"/>
                  <a:gd name="connsiteX278" fmla="*/ 173736 w 342900"/>
                  <a:gd name="connsiteY278" fmla="*/ 148399 h 400050"/>
                  <a:gd name="connsiteX279" fmla="*/ 172022 w 342900"/>
                  <a:gd name="connsiteY279" fmla="*/ 149257 h 400050"/>
                  <a:gd name="connsiteX280" fmla="*/ 169545 w 342900"/>
                  <a:gd name="connsiteY280" fmla="*/ 148399 h 400050"/>
                  <a:gd name="connsiteX281" fmla="*/ 167831 w 342900"/>
                  <a:gd name="connsiteY281" fmla="*/ 149257 h 400050"/>
                  <a:gd name="connsiteX282" fmla="*/ 165259 w 342900"/>
                  <a:gd name="connsiteY282" fmla="*/ 150114 h 400050"/>
                  <a:gd name="connsiteX283" fmla="*/ 164497 w 342900"/>
                  <a:gd name="connsiteY283" fmla="*/ 150971 h 400050"/>
                  <a:gd name="connsiteX284" fmla="*/ 161925 w 342900"/>
                  <a:gd name="connsiteY284" fmla="*/ 150971 h 400050"/>
                  <a:gd name="connsiteX285" fmla="*/ 158591 w 342900"/>
                  <a:gd name="connsiteY285" fmla="*/ 150114 h 400050"/>
                  <a:gd name="connsiteX286" fmla="*/ 156020 w 342900"/>
                  <a:gd name="connsiteY286" fmla="*/ 149257 h 400050"/>
                  <a:gd name="connsiteX287" fmla="*/ 155162 w 342900"/>
                  <a:gd name="connsiteY287" fmla="*/ 148399 h 400050"/>
                  <a:gd name="connsiteX288" fmla="*/ 155162 w 342900"/>
                  <a:gd name="connsiteY288" fmla="*/ 147542 h 400050"/>
                  <a:gd name="connsiteX289" fmla="*/ 153448 w 342900"/>
                  <a:gd name="connsiteY289" fmla="*/ 144209 h 400050"/>
                  <a:gd name="connsiteX290" fmla="*/ 152686 w 342900"/>
                  <a:gd name="connsiteY290" fmla="*/ 142494 h 400050"/>
                  <a:gd name="connsiteX291" fmla="*/ 150114 w 342900"/>
                  <a:gd name="connsiteY291" fmla="*/ 140875 h 400050"/>
                  <a:gd name="connsiteX292" fmla="*/ 149257 w 342900"/>
                  <a:gd name="connsiteY292" fmla="*/ 140017 h 400050"/>
                  <a:gd name="connsiteX293" fmla="*/ 147542 w 342900"/>
                  <a:gd name="connsiteY293" fmla="*/ 140017 h 400050"/>
                  <a:gd name="connsiteX294" fmla="*/ 146780 w 342900"/>
                  <a:gd name="connsiteY294" fmla="*/ 139160 h 400050"/>
                  <a:gd name="connsiteX295" fmla="*/ 145066 w 342900"/>
                  <a:gd name="connsiteY295" fmla="*/ 139160 h 400050"/>
                  <a:gd name="connsiteX296" fmla="*/ 142494 w 342900"/>
                  <a:gd name="connsiteY296" fmla="*/ 140017 h 400050"/>
                  <a:gd name="connsiteX297" fmla="*/ 139160 w 342900"/>
                  <a:gd name="connsiteY297" fmla="*/ 141732 h 400050"/>
                  <a:gd name="connsiteX298" fmla="*/ 138303 w 342900"/>
                  <a:gd name="connsiteY298" fmla="*/ 142494 h 400050"/>
                  <a:gd name="connsiteX299" fmla="*/ 137446 w 342900"/>
                  <a:gd name="connsiteY299" fmla="*/ 144209 h 400050"/>
                  <a:gd name="connsiteX300" fmla="*/ 138303 w 342900"/>
                  <a:gd name="connsiteY300" fmla="*/ 145066 h 400050"/>
                  <a:gd name="connsiteX301" fmla="*/ 137446 w 342900"/>
                  <a:gd name="connsiteY301" fmla="*/ 145923 h 400050"/>
                  <a:gd name="connsiteX302" fmla="*/ 136589 w 342900"/>
                  <a:gd name="connsiteY302" fmla="*/ 146780 h 400050"/>
                  <a:gd name="connsiteX303" fmla="*/ 135731 w 342900"/>
                  <a:gd name="connsiteY303" fmla="*/ 147542 h 400050"/>
                  <a:gd name="connsiteX304" fmla="*/ 131540 w 342900"/>
                  <a:gd name="connsiteY304" fmla="*/ 146780 h 400050"/>
                  <a:gd name="connsiteX305" fmla="*/ 129064 w 342900"/>
                  <a:gd name="connsiteY305" fmla="*/ 146780 h 400050"/>
                  <a:gd name="connsiteX306" fmla="*/ 127349 w 342900"/>
                  <a:gd name="connsiteY306" fmla="*/ 147542 h 400050"/>
                  <a:gd name="connsiteX307" fmla="*/ 125635 w 342900"/>
                  <a:gd name="connsiteY307" fmla="*/ 147542 h 400050"/>
                  <a:gd name="connsiteX308" fmla="*/ 122301 w 342900"/>
                  <a:gd name="connsiteY308" fmla="*/ 146780 h 400050"/>
                  <a:gd name="connsiteX309" fmla="*/ 118872 w 342900"/>
                  <a:gd name="connsiteY309" fmla="*/ 145066 h 400050"/>
                  <a:gd name="connsiteX310" fmla="*/ 118110 w 342900"/>
                  <a:gd name="connsiteY310" fmla="*/ 145066 h 400050"/>
                  <a:gd name="connsiteX311" fmla="*/ 117253 w 342900"/>
                  <a:gd name="connsiteY311" fmla="*/ 145066 h 400050"/>
                  <a:gd name="connsiteX312" fmla="*/ 114681 w 342900"/>
                  <a:gd name="connsiteY312" fmla="*/ 145066 h 400050"/>
                  <a:gd name="connsiteX313" fmla="*/ 111347 w 342900"/>
                  <a:gd name="connsiteY313" fmla="*/ 143351 h 400050"/>
                  <a:gd name="connsiteX314" fmla="*/ 109633 w 342900"/>
                  <a:gd name="connsiteY314" fmla="*/ 142494 h 400050"/>
                  <a:gd name="connsiteX315" fmla="*/ 108776 w 342900"/>
                  <a:gd name="connsiteY315" fmla="*/ 141732 h 400050"/>
                  <a:gd name="connsiteX316" fmla="*/ 107918 w 342900"/>
                  <a:gd name="connsiteY316" fmla="*/ 142494 h 400050"/>
                  <a:gd name="connsiteX317" fmla="*/ 106299 w 342900"/>
                  <a:gd name="connsiteY317" fmla="*/ 145066 h 400050"/>
                  <a:gd name="connsiteX318" fmla="*/ 103727 w 342900"/>
                  <a:gd name="connsiteY318" fmla="*/ 148399 h 400050"/>
                  <a:gd name="connsiteX319" fmla="*/ 101156 w 342900"/>
                  <a:gd name="connsiteY319" fmla="*/ 152686 h 400050"/>
                  <a:gd name="connsiteX320" fmla="*/ 100394 w 342900"/>
                  <a:gd name="connsiteY320" fmla="*/ 154305 h 400050"/>
                  <a:gd name="connsiteX321" fmla="*/ 97822 w 342900"/>
                  <a:gd name="connsiteY321" fmla="*/ 156019 h 400050"/>
                  <a:gd name="connsiteX322" fmla="*/ 96965 w 342900"/>
                  <a:gd name="connsiteY322" fmla="*/ 157734 h 400050"/>
                  <a:gd name="connsiteX323" fmla="*/ 96965 w 342900"/>
                  <a:gd name="connsiteY323" fmla="*/ 158591 h 400050"/>
                  <a:gd name="connsiteX324" fmla="*/ 96965 w 342900"/>
                  <a:gd name="connsiteY324" fmla="*/ 159353 h 400050"/>
                  <a:gd name="connsiteX325" fmla="*/ 96965 w 342900"/>
                  <a:gd name="connsiteY325" fmla="*/ 160211 h 400050"/>
                  <a:gd name="connsiteX326" fmla="*/ 96107 w 342900"/>
                  <a:gd name="connsiteY326" fmla="*/ 161068 h 400050"/>
                  <a:gd name="connsiteX327" fmla="*/ 95250 w 342900"/>
                  <a:gd name="connsiteY327" fmla="*/ 160211 h 400050"/>
                  <a:gd name="connsiteX328" fmla="*/ 94488 w 342900"/>
                  <a:gd name="connsiteY328" fmla="*/ 160211 h 400050"/>
                  <a:gd name="connsiteX329" fmla="*/ 93631 w 342900"/>
                  <a:gd name="connsiteY329" fmla="*/ 161068 h 400050"/>
                  <a:gd name="connsiteX330" fmla="*/ 91916 w 342900"/>
                  <a:gd name="connsiteY330" fmla="*/ 164497 h 400050"/>
                  <a:gd name="connsiteX331" fmla="*/ 91059 w 342900"/>
                  <a:gd name="connsiteY331" fmla="*/ 165259 h 400050"/>
                  <a:gd name="connsiteX332" fmla="*/ 91059 w 342900"/>
                  <a:gd name="connsiteY332" fmla="*/ 166973 h 400050"/>
                  <a:gd name="connsiteX333" fmla="*/ 91059 w 342900"/>
                  <a:gd name="connsiteY333" fmla="*/ 167830 h 400050"/>
                  <a:gd name="connsiteX334" fmla="*/ 91916 w 342900"/>
                  <a:gd name="connsiteY334" fmla="*/ 168688 h 400050"/>
                  <a:gd name="connsiteX335" fmla="*/ 92774 w 342900"/>
                  <a:gd name="connsiteY335" fmla="*/ 169545 h 400050"/>
                  <a:gd name="connsiteX336" fmla="*/ 91916 w 342900"/>
                  <a:gd name="connsiteY336" fmla="*/ 171164 h 400050"/>
                  <a:gd name="connsiteX337" fmla="*/ 91059 w 342900"/>
                  <a:gd name="connsiteY337" fmla="*/ 172021 h 400050"/>
                  <a:gd name="connsiteX338" fmla="*/ 88583 w 342900"/>
                  <a:gd name="connsiteY338" fmla="*/ 172021 h 400050"/>
                  <a:gd name="connsiteX339" fmla="*/ 86011 w 342900"/>
                  <a:gd name="connsiteY339" fmla="*/ 173736 h 400050"/>
                  <a:gd name="connsiteX340" fmla="*/ 84296 w 342900"/>
                  <a:gd name="connsiteY340" fmla="*/ 172879 h 400050"/>
                  <a:gd name="connsiteX341" fmla="*/ 84296 w 342900"/>
                  <a:gd name="connsiteY341" fmla="*/ 170307 h 400050"/>
                  <a:gd name="connsiteX342" fmla="*/ 83439 w 342900"/>
                  <a:gd name="connsiteY342" fmla="*/ 169545 h 400050"/>
                  <a:gd name="connsiteX343" fmla="*/ 83439 w 342900"/>
                  <a:gd name="connsiteY343" fmla="*/ 167830 h 400050"/>
                  <a:gd name="connsiteX344" fmla="*/ 83439 w 342900"/>
                  <a:gd name="connsiteY344" fmla="*/ 167830 h 400050"/>
                  <a:gd name="connsiteX345" fmla="*/ 82677 w 342900"/>
                  <a:gd name="connsiteY345" fmla="*/ 166973 h 400050"/>
                  <a:gd name="connsiteX346" fmla="*/ 82677 w 342900"/>
                  <a:gd name="connsiteY346" fmla="*/ 166116 h 400050"/>
                  <a:gd name="connsiteX347" fmla="*/ 82677 w 342900"/>
                  <a:gd name="connsiteY347" fmla="*/ 166116 h 400050"/>
                  <a:gd name="connsiteX348" fmla="*/ 81820 w 342900"/>
                  <a:gd name="connsiteY348" fmla="*/ 164497 h 400050"/>
                  <a:gd name="connsiteX349" fmla="*/ 80105 w 342900"/>
                  <a:gd name="connsiteY349" fmla="*/ 163640 h 400050"/>
                  <a:gd name="connsiteX350" fmla="*/ 80105 w 342900"/>
                  <a:gd name="connsiteY350" fmla="*/ 162782 h 400050"/>
                  <a:gd name="connsiteX351" fmla="*/ 80105 w 342900"/>
                  <a:gd name="connsiteY351" fmla="*/ 162782 h 400050"/>
                  <a:gd name="connsiteX352" fmla="*/ 80105 w 342900"/>
                  <a:gd name="connsiteY352" fmla="*/ 161925 h 400050"/>
                  <a:gd name="connsiteX353" fmla="*/ 80105 w 342900"/>
                  <a:gd name="connsiteY353" fmla="*/ 161068 h 400050"/>
                  <a:gd name="connsiteX354" fmla="*/ 80105 w 342900"/>
                  <a:gd name="connsiteY354" fmla="*/ 161068 h 400050"/>
                  <a:gd name="connsiteX355" fmla="*/ 80105 w 342900"/>
                  <a:gd name="connsiteY355" fmla="*/ 160211 h 400050"/>
                  <a:gd name="connsiteX356" fmla="*/ 78391 w 342900"/>
                  <a:gd name="connsiteY356" fmla="*/ 158591 h 400050"/>
                  <a:gd name="connsiteX357" fmla="*/ 77533 w 342900"/>
                  <a:gd name="connsiteY357" fmla="*/ 157734 h 400050"/>
                  <a:gd name="connsiteX358" fmla="*/ 77533 w 342900"/>
                  <a:gd name="connsiteY358" fmla="*/ 157734 h 400050"/>
                  <a:gd name="connsiteX359" fmla="*/ 78391 w 342900"/>
                  <a:gd name="connsiteY359" fmla="*/ 156877 h 400050"/>
                  <a:gd name="connsiteX360" fmla="*/ 78391 w 342900"/>
                  <a:gd name="connsiteY360" fmla="*/ 156877 h 400050"/>
                  <a:gd name="connsiteX361" fmla="*/ 79248 w 342900"/>
                  <a:gd name="connsiteY361" fmla="*/ 156877 h 400050"/>
                  <a:gd name="connsiteX362" fmla="*/ 80963 w 342900"/>
                  <a:gd name="connsiteY362" fmla="*/ 156019 h 400050"/>
                  <a:gd name="connsiteX363" fmla="*/ 81820 w 342900"/>
                  <a:gd name="connsiteY363" fmla="*/ 155162 h 400050"/>
                  <a:gd name="connsiteX364" fmla="*/ 81820 w 342900"/>
                  <a:gd name="connsiteY364" fmla="*/ 155162 h 400050"/>
                  <a:gd name="connsiteX365" fmla="*/ 81820 w 342900"/>
                  <a:gd name="connsiteY365" fmla="*/ 154305 h 400050"/>
                  <a:gd name="connsiteX366" fmla="*/ 81820 w 342900"/>
                  <a:gd name="connsiteY366" fmla="*/ 153448 h 400050"/>
                  <a:gd name="connsiteX367" fmla="*/ 81820 w 342900"/>
                  <a:gd name="connsiteY367" fmla="*/ 151828 h 400050"/>
                  <a:gd name="connsiteX368" fmla="*/ 81820 w 342900"/>
                  <a:gd name="connsiteY368" fmla="*/ 150971 h 400050"/>
                  <a:gd name="connsiteX369" fmla="*/ 81820 w 342900"/>
                  <a:gd name="connsiteY369" fmla="*/ 150114 h 400050"/>
                  <a:gd name="connsiteX370" fmla="*/ 81820 w 342900"/>
                  <a:gd name="connsiteY370" fmla="*/ 150114 h 400050"/>
                  <a:gd name="connsiteX371" fmla="*/ 81820 w 342900"/>
                  <a:gd name="connsiteY371" fmla="*/ 150114 h 400050"/>
                  <a:gd name="connsiteX372" fmla="*/ 82677 w 342900"/>
                  <a:gd name="connsiteY372" fmla="*/ 150114 h 400050"/>
                  <a:gd name="connsiteX373" fmla="*/ 82677 w 342900"/>
                  <a:gd name="connsiteY373" fmla="*/ 150114 h 400050"/>
                  <a:gd name="connsiteX374" fmla="*/ 83439 w 342900"/>
                  <a:gd name="connsiteY374" fmla="*/ 150114 h 400050"/>
                  <a:gd name="connsiteX375" fmla="*/ 84296 w 342900"/>
                  <a:gd name="connsiteY375" fmla="*/ 150114 h 400050"/>
                  <a:gd name="connsiteX376" fmla="*/ 84296 w 342900"/>
                  <a:gd name="connsiteY376" fmla="*/ 150114 h 400050"/>
                  <a:gd name="connsiteX377" fmla="*/ 85154 w 342900"/>
                  <a:gd name="connsiteY377" fmla="*/ 150114 h 400050"/>
                  <a:gd name="connsiteX378" fmla="*/ 85154 w 342900"/>
                  <a:gd name="connsiteY378" fmla="*/ 150114 h 400050"/>
                  <a:gd name="connsiteX379" fmla="*/ 85154 w 342900"/>
                  <a:gd name="connsiteY379" fmla="*/ 149257 h 400050"/>
                  <a:gd name="connsiteX380" fmla="*/ 85154 w 342900"/>
                  <a:gd name="connsiteY380" fmla="*/ 148399 h 400050"/>
                  <a:gd name="connsiteX381" fmla="*/ 84296 w 342900"/>
                  <a:gd name="connsiteY381" fmla="*/ 147542 h 400050"/>
                  <a:gd name="connsiteX382" fmla="*/ 82677 w 342900"/>
                  <a:gd name="connsiteY382" fmla="*/ 145066 h 400050"/>
                  <a:gd name="connsiteX383" fmla="*/ 81820 w 342900"/>
                  <a:gd name="connsiteY383" fmla="*/ 143351 h 400050"/>
                  <a:gd name="connsiteX384" fmla="*/ 80963 w 342900"/>
                  <a:gd name="connsiteY384" fmla="*/ 142494 h 400050"/>
                  <a:gd name="connsiteX385" fmla="*/ 80963 w 342900"/>
                  <a:gd name="connsiteY385" fmla="*/ 141732 h 400050"/>
                  <a:gd name="connsiteX386" fmla="*/ 80963 w 342900"/>
                  <a:gd name="connsiteY386" fmla="*/ 140017 h 400050"/>
                  <a:gd name="connsiteX387" fmla="*/ 80105 w 342900"/>
                  <a:gd name="connsiteY387" fmla="*/ 139160 h 400050"/>
                  <a:gd name="connsiteX388" fmla="*/ 79248 w 342900"/>
                  <a:gd name="connsiteY388" fmla="*/ 139160 h 400050"/>
                  <a:gd name="connsiteX389" fmla="*/ 78391 w 342900"/>
                  <a:gd name="connsiteY389" fmla="*/ 139160 h 400050"/>
                  <a:gd name="connsiteX390" fmla="*/ 76772 w 342900"/>
                  <a:gd name="connsiteY390" fmla="*/ 140017 h 400050"/>
                  <a:gd name="connsiteX391" fmla="*/ 76772 w 342900"/>
                  <a:gd name="connsiteY391" fmla="*/ 140017 h 400050"/>
                  <a:gd name="connsiteX392" fmla="*/ 75914 w 342900"/>
                  <a:gd name="connsiteY392" fmla="*/ 140875 h 400050"/>
                  <a:gd name="connsiteX393" fmla="*/ 75914 w 342900"/>
                  <a:gd name="connsiteY393" fmla="*/ 140875 h 400050"/>
                  <a:gd name="connsiteX394" fmla="*/ 75914 w 342900"/>
                  <a:gd name="connsiteY394" fmla="*/ 144209 h 400050"/>
                  <a:gd name="connsiteX395" fmla="*/ 75057 w 342900"/>
                  <a:gd name="connsiteY395" fmla="*/ 144209 h 400050"/>
                  <a:gd name="connsiteX396" fmla="*/ 75057 w 342900"/>
                  <a:gd name="connsiteY396" fmla="*/ 144209 h 400050"/>
                  <a:gd name="connsiteX397" fmla="*/ 75057 w 342900"/>
                  <a:gd name="connsiteY397" fmla="*/ 144209 h 400050"/>
                  <a:gd name="connsiteX398" fmla="*/ 74200 w 342900"/>
                  <a:gd name="connsiteY398" fmla="*/ 143351 h 400050"/>
                  <a:gd name="connsiteX399" fmla="*/ 73343 w 342900"/>
                  <a:gd name="connsiteY399" fmla="*/ 142494 h 400050"/>
                  <a:gd name="connsiteX400" fmla="*/ 73343 w 342900"/>
                  <a:gd name="connsiteY400" fmla="*/ 141732 h 400050"/>
                  <a:gd name="connsiteX401" fmla="*/ 70866 w 342900"/>
                  <a:gd name="connsiteY401" fmla="*/ 140875 h 400050"/>
                  <a:gd name="connsiteX402" fmla="*/ 70009 w 342900"/>
                  <a:gd name="connsiteY402" fmla="*/ 140017 h 400050"/>
                  <a:gd name="connsiteX403" fmla="*/ 70009 w 342900"/>
                  <a:gd name="connsiteY403" fmla="*/ 139160 h 400050"/>
                  <a:gd name="connsiteX404" fmla="*/ 70009 w 342900"/>
                  <a:gd name="connsiteY404" fmla="*/ 136588 h 400050"/>
                  <a:gd name="connsiteX405" fmla="*/ 70009 w 342900"/>
                  <a:gd name="connsiteY405" fmla="*/ 136588 h 400050"/>
                  <a:gd name="connsiteX406" fmla="*/ 70009 w 342900"/>
                  <a:gd name="connsiteY406" fmla="*/ 135826 h 400050"/>
                  <a:gd name="connsiteX407" fmla="*/ 69152 w 342900"/>
                  <a:gd name="connsiteY407" fmla="*/ 134969 h 400050"/>
                  <a:gd name="connsiteX408" fmla="*/ 69152 w 342900"/>
                  <a:gd name="connsiteY408" fmla="*/ 134969 h 400050"/>
                  <a:gd name="connsiteX409" fmla="*/ 69152 w 342900"/>
                  <a:gd name="connsiteY409" fmla="*/ 134112 h 400050"/>
                  <a:gd name="connsiteX410" fmla="*/ 69152 w 342900"/>
                  <a:gd name="connsiteY410" fmla="*/ 134112 h 400050"/>
                  <a:gd name="connsiteX411" fmla="*/ 70009 w 342900"/>
                  <a:gd name="connsiteY411" fmla="*/ 133255 h 400050"/>
                  <a:gd name="connsiteX412" fmla="*/ 70009 w 342900"/>
                  <a:gd name="connsiteY412" fmla="*/ 133255 h 400050"/>
                  <a:gd name="connsiteX413" fmla="*/ 70866 w 342900"/>
                  <a:gd name="connsiteY413" fmla="*/ 132397 h 400050"/>
                  <a:gd name="connsiteX414" fmla="*/ 70866 w 342900"/>
                  <a:gd name="connsiteY414" fmla="*/ 131540 h 400050"/>
                  <a:gd name="connsiteX415" fmla="*/ 70866 w 342900"/>
                  <a:gd name="connsiteY415" fmla="*/ 130683 h 400050"/>
                  <a:gd name="connsiteX416" fmla="*/ 70866 w 342900"/>
                  <a:gd name="connsiteY416" fmla="*/ 129064 h 400050"/>
                  <a:gd name="connsiteX417" fmla="*/ 70866 w 342900"/>
                  <a:gd name="connsiteY417" fmla="*/ 128206 h 400050"/>
                  <a:gd name="connsiteX418" fmla="*/ 70009 w 342900"/>
                  <a:gd name="connsiteY418" fmla="*/ 127349 h 400050"/>
                  <a:gd name="connsiteX419" fmla="*/ 69152 w 342900"/>
                  <a:gd name="connsiteY419" fmla="*/ 127349 h 400050"/>
                  <a:gd name="connsiteX420" fmla="*/ 68294 w 342900"/>
                  <a:gd name="connsiteY420" fmla="*/ 127349 h 400050"/>
                  <a:gd name="connsiteX421" fmla="*/ 67437 w 342900"/>
                  <a:gd name="connsiteY421" fmla="*/ 128206 h 400050"/>
                  <a:gd name="connsiteX422" fmla="*/ 67437 w 342900"/>
                  <a:gd name="connsiteY422" fmla="*/ 129064 h 400050"/>
                  <a:gd name="connsiteX423" fmla="*/ 67437 w 342900"/>
                  <a:gd name="connsiteY423" fmla="*/ 129921 h 400050"/>
                  <a:gd name="connsiteX424" fmla="*/ 67437 w 342900"/>
                  <a:gd name="connsiteY424" fmla="*/ 130683 h 400050"/>
                  <a:gd name="connsiteX425" fmla="*/ 67437 w 342900"/>
                  <a:gd name="connsiteY425" fmla="*/ 131540 h 400050"/>
                  <a:gd name="connsiteX426" fmla="*/ 66580 w 342900"/>
                  <a:gd name="connsiteY426" fmla="*/ 131540 h 400050"/>
                  <a:gd name="connsiteX427" fmla="*/ 66580 w 342900"/>
                  <a:gd name="connsiteY427" fmla="*/ 132397 h 400050"/>
                  <a:gd name="connsiteX428" fmla="*/ 65818 w 342900"/>
                  <a:gd name="connsiteY428" fmla="*/ 132397 h 400050"/>
                  <a:gd name="connsiteX429" fmla="*/ 64103 w 342900"/>
                  <a:gd name="connsiteY429" fmla="*/ 132397 h 400050"/>
                  <a:gd name="connsiteX430" fmla="*/ 61532 w 342900"/>
                  <a:gd name="connsiteY430" fmla="*/ 134112 h 400050"/>
                  <a:gd name="connsiteX431" fmla="*/ 59912 w 342900"/>
                  <a:gd name="connsiteY431" fmla="*/ 134112 h 400050"/>
                  <a:gd name="connsiteX432" fmla="*/ 58198 w 342900"/>
                  <a:gd name="connsiteY432" fmla="*/ 134112 h 400050"/>
                  <a:gd name="connsiteX433" fmla="*/ 57341 w 342900"/>
                  <a:gd name="connsiteY433" fmla="*/ 133255 h 400050"/>
                  <a:gd name="connsiteX434" fmla="*/ 56483 w 342900"/>
                  <a:gd name="connsiteY434" fmla="*/ 133255 h 400050"/>
                  <a:gd name="connsiteX435" fmla="*/ 56483 w 342900"/>
                  <a:gd name="connsiteY435" fmla="*/ 132397 h 400050"/>
                  <a:gd name="connsiteX436" fmla="*/ 55626 w 342900"/>
                  <a:gd name="connsiteY436" fmla="*/ 131540 h 400050"/>
                  <a:gd name="connsiteX437" fmla="*/ 53150 w 342900"/>
                  <a:gd name="connsiteY437" fmla="*/ 129921 h 400050"/>
                  <a:gd name="connsiteX438" fmla="*/ 52292 w 342900"/>
                  <a:gd name="connsiteY438" fmla="*/ 129064 h 400050"/>
                  <a:gd name="connsiteX439" fmla="*/ 52292 w 342900"/>
                  <a:gd name="connsiteY439" fmla="*/ 129064 h 400050"/>
                  <a:gd name="connsiteX440" fmla="*/ 52292 w 342900"/>
                  <a:gd name="connsiteY440" fmla="*/ 128206 h 400050"/>
                  <a:gd name="connsiteX441" fmla="*/ 51435 w 342900"/>
                  <a:gd name="connsiteY441" fmla="*/ 126492 h 400050"/>
                  <a:gd name="connsiteX442" fmla="*/ 51435 w 342900"/>
                  <a:gd name="connsiteY442" fmla="*/ 125635 h 400050"/>
                  <a:gd name="connsiteX443" fmla="*/ 51435 w 342900"/>
                  <a:gd name="connsiteY443" fmla="*/ 125635 h 400050"/>
                  <a:gd name="connsiteX444" fmla="*/ 49721 w 342900"/>
                  <a:gd name="connsiteY444" fmla="*/ 124777 h 400050"/>
                  <a:gd name="connsiteX445" fmla="*/ 49721 w 342900"/>
                  <a:gd name="connsiteY445" fmla="*/ 124015 h 400050"/>
                  <a:gd name="connsiteX446" fmla="*/ 48101 w 342900"/>
                  <a:gd name="connsiteY446" fmla="*/ 124015 h 400050"/>
                  <a:gd name="connsiteX447" fmla="*/ 42958 w 342900"/>
                  <a:gd name="connsiteY447" fmla="*/ 123158 h 400050"/>
                  <a:gd name="connsiteX448" fmla="*/ 41339 w 342900"/>
                  <a:gd name="connsiteY448" fmla="*/ 122301 h 400050"/>
                  <a:gd name="connsiteX449" fmla="*/ 41339 w 342900"/>
                  <a:gd name="connsiteY449" fmla="*/ 122301 h 400050"/>
                  <a:gd name="connsiteX450" fmla="*/ 40481 w 342900"/>
                  <a:gd name="connsiteY450" fmla="*/ 121444 h 400050"/>
                  <a:gd name="connsiteX451" fmla="*/ 39624 w 342900"/>
                  <a:gd name="connsiteY451" fmla="*/ 120586 h 400050"/>
                  <a:gd name="connsiteX452" fmla="*/ 39624 w 342900"/>
                  <a:gd name="connsiteY452" fmla="*/ 119729 h 400050"/>
                  <a:gd name="connsiteX453" fmla="*/ 38767 w 342900"/>
                  <a:gd name="connsiteY453" fmla="*/ 119729 h 400050"/>
                  <a:gd name="connsiteX454" fmla="*/ 37910 w 342900"/>
                  <a:gd name="connsiteY454" fmla="*/ 119729 h 400050"/>
                  <a:gd name="connsiteX455" fmla="*/ 33719 w 342900"/>
                  <a:gd name="connsiteY455" fmla="*/ 121444 h 400050"/>
                  <a:gd name="connsiteX456" fmla="*/ 31147 w 342900"/>
                  <a:gd name="connsiteY456" fmla="*/ 121444 h 400050"/>
                  <a:gd name="connsiteX457" fmla="*/ 28670 w 342900"/>
                  <a:gd name="connsiteY457" fmla="*/ 121444 h 400050"/>
                  <a:gd name="connsiteX458" fmla="*/ 27813 w 342900"/>
                  <a:gd name="connsiteY458" fmla="*/ 121444 h 400050"/>
                  <a:gd name="connsiteX459" fmla="*/ 26956 w 342900"/>
                  <a:gd name="connsiteY459" fmla="*/ 122301 h 400050"/>
                  <a:gd name="connsiteX460" fmla="*/ 23622 w 342900"/>
                  <a:gd name="connsiteY460" fmla="*/ 124777 h 400050"/>
                  <a:gd name="connsiteX461" fmla="*/ 22765 w 342900"/>
                  <a:gd name="connsiteY461" fmla="*/ 124777 h 400050"/>
                  <a:gd name="connsiteX462" fmla="*/ 22765 w 342900"/>
                  <a:gd name="connsiteY462" fmla="*/ 125635 h 400050"/>
                  <a:gd name="connsiteX463" fmla="*/ 21908 w 342900"/>
                  <a:gd name="connsiteY463" fmla="*/ 127349 h 400050"/>
                  <a:gd name="connsiteX464" fmla="*/ 21050 w 342900"/>
                  <a:gd name="connsiteY464" fmla="*/ 128206 h 400050"/>
                  <a:gd name="connsiteX465" fmla="*/ 20193 w 342900"/>
                  <a:gd name="connsiteY465" fmla="*/ 129064 h 400050"/>
                  <a:gd name="connsiteX466" fmla="*/ 18574 w 342900"/>
                  <a:gd name="connsiteY466" fmla="*/ 129064 h 400050"/>
                  <a:gd name="connsiteX467" fmla="*/ 12668 w 342900"/>
                  <a:gd name="connsiteY467" fmla="*/ 126492 h 400050"/>
                  <a:gd name="connsiteX468" fmla="*/ 5906 w 342900"/>
                  <a:gd name="connsiteY468" fmla="*/ 124777 h 400050"/>
                  <a:gd name="connsiteX469" fmla="*/ 5906 w 342900"/>
                  <a:gd name="connsiteY469" fmla="*/ 129064 h 400050"/>
                  <a:gd name="connsiteX470" fmla="*/ 5906 w 342900"/>
                  <a:gd name="connsiteY470" fmla="*/ 129064 h 400050"/>
                  <a:gd name="connsiteX471" fmla="*/ 6763 w 342900"/>
                  <a:gd name="connsiteY471" fmla="*/ 130683 h 400050"/>
                  <a:gd name="connsiteX472" fmla="*/ 7620 w 342900"/>
                  <a:gd name="connsiteY472" fmla="*/ 131540 h 400050"/>
                  <a:gd name="connsiteX473" fmla="*/ 9239 w 342900"/>
                  <a:gd name="connsiteY473" fmla="*/ 132397 h 400050"/>
                  <a:gd name="connsiteX474" fmla="*/ 9239 w 342900"/>
                  <a:gd name="connsiteY474" fmla="*/ 133255 h 400050"/>
                  <a:gd name="connsiteX475" fmla="*/ 9239 w 342900"/>
                  <a:gd name="connsiteY475" fmla="*/ 134969 h 400050"/>
                  <a:gd name="connsiteX476" fmla="*/ 9239 w 342900"/>
                  <a:gd name="connsiteY476" fmla="*/ 135826 h 400050"/>
                  <a:gd name="connsiteX477" fmla="*/ 8382 w 342900"/>
                  <a:gd name="connsiteY477" fmla="*/ 136588 h 400050"/>
                  <a:gd name="connsiteX478" fmla="*/ 7620 w 342900"/>
                  <a:gd name="connsiteY478" fmla="*/ 137446 h 400050"/>
                  <a:gd name="connsiteX479" fmla="*/ 6763 w 342900"/>
                  <a:gd name="connsiteY479" fmla="*/ 138303 h 400050"/>
                  <a:gd name="connsiteX480" fmla="*/ 3334 w 342900"/>
                  <a:gd name="connsiteY480" fmla="*/ 140017 h 400050"/>
                  <a:gd name="connsiteX481" fmla="*/ 2477 w 342900"/>
                  <a:gd name="connsiteY481" fmla="*/ 140017 h 400050"/>
                  <a:gd name="connsiteX482" fmla="*/ 1715 w 342900"/>
                  <a:gd name="connsiteY482" fmla="*/ 140017 h 400050"/>
                  <a:gd name="connsiteX483" fmla="*/ 1715 w 342900"/>
                  <a:gd name="connsiteY483" fmla="*/ 140875 h 400050"/>
                  <a:gd name="connsiteX484" fmla="*/ 0 w 342900"/>
                  <a:gd name="connsiteY484" fmla="*/ 143351 h 400050"/>
                  <a:gd name="connsiteX485" fmla="*/ 0 w 342900"/>
                  <a:gd name="connsiteY485" fmla="*/ 145923 h 400050"/>
                  <a:gd name="connsiteX486" fmla="*/ 0 w 342900"/>
                  <a:gd name="connsiteY486" fmla="*/ 147542 h 400050"/>
                  <a:gd name="connsiteX487" fmla="*/ 0 w 342900"/>
                  <a:gd name="connsiteY487" fmla="*/ 149257 h 400050"/>
                  <a:gd name="connsiteX488" fmla="*/ 857 w 342900"/>
                  <a:gd name="connsiteY488" fmla="*/ 150114 h 400050"/>
                  <a:gd name="connsiteX489" fmla="*/ 1715 w 342900"/>
                  <a:gd name="connsiteY489" fmla="*/ 150971 h 400050"/>
                  <a:gd name="connsiteX490" fmla="*/ 2477 w 342900"/>
                  <a:gd name="connsiteY490" fmla="*/ 150971 h 400050"/>
                  <a:gd name="connsiteX491" fmla="*/ 4191 w 342900"/>
                  <a:gd name="connsiteY491" fmla="*/ 150971 h 400050"/>
                  <a:gd name="connsiteX492" fmla="*/ 5048 w 342900"/>
                  <a:gd name="connsiteY492" fmla="*/ 150971 h 400050"/>
                  <a:gd name="connsiteX493" fmla="*/ 5906 w 342900"/>
                  <a:gd name="connsiteY493" fmla="*/ 150971 h 400050"/>
                  <a:gd name="connsiteX494" fmla="*/ 6763 w 342900"/>
                  <a:gd name="connsiteY494" fmla="*/ 150114 h 400050"/>
                  <a:gd name="connsiteX495" fmla="*/ 7620 w 342900"/>
                  <a:gd name="connsiteY495" fmla="*/ 149257 h 400050"/>
                  <a:gd name="connsiteX496" fmla="*/ 8382 w 342900"/>
                  <a:gd name="connsiteY496" fmla="*/ 149257 h 400050"/>
                  <a:gd name="connsiteX497" fmla="*/ 9239 w 342900"/>
                  <a:gd name="connsiteY497" fmla="*/ 149257 h 400050"/>
                  <a:gd name="connsiteX498" fmla="*/ 10954 w 342900"/>
                  <a:gd name="connsiteY498" fmla="*/ 149257 h 400050"/>
                  <a:gd name="connsiteX499" fmla="*/ 10954 w 342900"/>
                  <a:gd name="connsiteY499" fmla="*/ 148399 h 400050"/>
                  <a:gd name="connsiteX500" fmla="*/ 11811 w 342900"/>
                  <a:gd name="connsiteY500" fmla="*/ 148399 h 400050"/>
                  <a:gd name="connsiteX501" fmla="*/ 12668 w 342900"/>
                  <a:gd name="connsiteY501" fmla="*/ 147542 h 400050"/>
                  <a:gd name="connsiteX502" fmla="*/ 12668 w 342900"/>
                  <a:gd name="connsiteY502" fmla="*/ 147542 h 400050"/>
                  <a:gd name="connsiteX503" fmla="*/ 13526 w 342900"/>
                  <a:gd name="connsiteY503" fmla="*/ 146780 h 400050"/>
                  <a:gd name="connsiteX504" fmla="*/ 14288 w 342900"/>
                  <a:gd name="connsiteY504" fmla="*/ 147542 h 400050"/>
                  <a:gd name="connsiteX505" fmla="*/ 14288 w 342900"/>
                  <a:gd name="connsiteY505" fmla="*/ 147542 h 400050"/>
                  <a:gd name="connsiteX506" fmla="*/ 15145 w 342900"/>
                  <a:gd name="connsiteY506" fmla="*/ 149257 h 400050"/>
                  <a:gd name="connsiteX507" fmla="*/ 16002 w 342900"/>
                  <a:gd name="connsiteY507" fmla="*/ 150971 h 400050"/>
                  <a:gd name="connsiteX508" fmla="*/ 15145 w 342900"/>
                  <a:gd name="connsiteY508" fmla="*/ 152686 h 400050"/>
                  <a:gd name="connsiteX509" fmla="*/ 13526 w 342900"/>
                  <a:gd name="connsiteY509" fmla="*/ 156877 h 400050"/>
                  <a:gd name="connsiteX510" fmla="*/ 13526 w 342900"/>
                  <a:gd name="connsiteY510" fmla="*/ 159353 h 400050"/>
                  <a:gd name="connsiteX511" fmla="*/ 12668 w 342900"/>
                  <a:gd name="connsiteY511" fmla="*/ 169545 h 400050"/>
                  <a:gd name="connsiteX512" fmla="*/ 12668 w 342900"/>
                  <a:gd name="connsiteY512" fmla="*/ 172021 h 400050"/>
                  <a:gd name="connsiteX513" fmla="*/ 13526 w 342900"/>
                  <a:gd name="connsiteY513" fmla="*/ 173736 h 400050"/>
                  <a:gd name="connsiteX514" fmla="*/ 15145 w 342900"/>
                  <a:gd name="connsiteY514" fmla="*/ 175450 h 400050"/>
                  <a:gd name="connsiteX515" fmla="*/ 16002 w 342900"/>
                  <a:gd name="connsiteY515" fmla="*/ 177070 h 400050"/>
                  <a:gd name="connsiteX516" fmla="*/ 16002 w 342900"/>
                  <a:gd name="connsiteY516" fmla="*/ 178784 h 400050"/>
                  <a:gd name="connsiteX517" fmla="*/ 16002 w 342900"/>
                  <a:gd name="connsiteY517" fmla="*/ 182118 h 400050"/>
                  <a:gd name="connsiteX518" fmla="*/ 16002 w 342900"/>
                  <a:gd name="connsiteY518" fmla="*/ 183832 h 400050"/>
                  <a:gd name="connsiteX519" fmla="*/ 15145 w 342900"/>
                  <a:gd name="connsiteY519" fmla="*/ 184690 h 400050"/>
                  <a:gd name="connsiteX520" fmla="*/ 14288 w 342900"/>
                  <a:gd name="connsiteY520" fmla="*/ 185547 h 400050"/>
                  <a:gd name="connsiteX521" fmla="*/ 13526 w 342900"/>
                  <a:gd name="connsiteY521" fmla="*/ 185547 h 400050"/>
                  <a:gd name="connsiteX522" fmla="*/ 10097 w 342900"/>
                  <a:gd name="connsiteY522" fmla="*/ 185547 h 400050"/>
                  <a:gd name="connsiteX523" fmla="*/ 9239 w 342900"/>
                  <a:gd name="connsiteY523" fmla="*/ 185547 h 400050"/>
                  <a:gd name="connsiteX524" fmla="*/ 8382 w 342900"/>
                  <a:gd name="connsiteY524" fmla="*/ 186404 h 400050"/>
                  <a:gd name="connsiteX525" fmla="*/ 8382 w 342900"/>
                  <a:gd name="connsiteY525" fmla="*/ 187166 h 400050"/>
                  <a:gd name="connsiteX526" fmla="*/ 8382 w 342900"/>
                  <a:gd name="connsiteY526" fmla="*/ 188023 h 400050"/>
                  <a:gd name="connsiteX527" fmla="*/ 8382 w 342900"/>
                  <a:gd name="connsiteY527" fmla="*/ 188881 h 400050"/>
                  <a:gd name="connsiteX528" fmla="*/ 9239 w 342900"/>
                  <a:gd name="connsiteY528" fmla="*/ 189738 h 400050"/>
                  <a:gd name="connsiteX529" fmla="*/ 10097 w 342900"/>
                  <a:gd name="connsiteY529" fmla="*/ 191452 h 400050"/>
                  <a:gd name="connsiteX530" fmla="*/ 10954 w 342900"/>
                  <a:gd name="connsiteY530" fmla="*/ 193072 h 400050"/>
                  <a:gd name="connsiteX531" fmla="*/ 10954 w 342900"/>
                  <a:gd name="connsiteY531" fmla="*/ 193929 h 400050"/>
                  <a:gd name="connsiteX532" fmla="*/ 12668 w 342900"/>
                  <a:gd name="connsiteY532" fmla="*/ 196501 h 400050"/>
                  <a:gd name="connsiteX533" fmla="*/ 13526 w 342900"/>
                  <a:gd name="connsiteY533" fmla="*/ 198215 h 400050"/>
                  <a:gd name="connsiteX534" fmla="*/ 15145 w 342900"/>
                  <a:gd name="connsiteY534" fmla="*/ 199834 h 400050"/>
                  <a:gd name="connsiteX535" fmla="*/ 15145 w 342900"/>
                  <a:gd name="connsiteY535" fmla="*/ 201549 h 400050"/>
                  <a:gd name="connsiteX536" fmla="*/ 16002 w 342900"/>
                  <a:gd name="connsiteY536" fmla="*/ 202406 h 400050"/>
                  <a:gd name="connsiteX537" fmla="*/ 17717 w 342900"/>
                  <a:gd name="connsiteY537" fmla="*/ 202406 h 400050"/>
                  <a:gd name="connsiteX538" fmla="*/ 18574 w 342900"/>
                  <a:gd name="connsiteY538" fmla="*/ 202406 h 400050"/>
                  <a:gd name="connsiteX539" fmla="*/ 19336 w 342900"/>
                  <a:gd name="connsiteY539" fmla="*/ 201549 h 400050"/>
                  <a:gd name="connsiteX540" fmla="*/ 19336 w 342900"/>
                  <a:gd name="connsiteY540" fmla="*/ 201549 h 400050"/>
                  <a:gd name="connsiteX541" fmla="*/ 19336 w 342900"/>
                  <a:gd name="connsiteY541" fmla="*/ 199834 h 400050"/>
                  <a:gd name="connsiteX542" fmla="*/ 20193 w 342900"/>
                  <a:gd name="connsiteY542" fmla="*/ 198977 h 400050"/>
                  <a:gd name="connsiteX543" fmla="*/ 20193 w 342900"/>
                  <a:gd name="connsiteY543" fmla="*/ 198215 h 400050"/>
                  <a:gd name="connsiteX544" fmla="*/ 21050 w 342900"/>
                  <a:gd name="connsiteY544" fmla="*/ 198215 h 400050"/>
                  <a:gd name="connsiteX545" fmla="*/ 21908 w 342900"/>
                  <a:gd name="connsiteY545" fmla="*/ 198215 h 400050"/>
                  <a:gd name="connsiteX546" fmla="*/ 23622 w 342900"/>
                  <a:gd name="connsiteY546" fmla="*/ 198215 h 400050"/>
                  <a:gd name="connsiteX547" fmla="*/ 26099 w 342900"/>
                  <a:gd name="connsiteY547" fmla="*/ 197358 h 400050"/>
                  <a:gd name="connsiteX548" fmla="*/ 26956 w 342900"/>
                  <a:gd name="connsiteY548" fmla="*/ 197358 h 400050"/>
                  <a:gd name="connsiteX549" fmla="*/ 31147 w 342900"/>
                  <a:gd name="connsiteY549" fmla="*/ 198215 h 400050"/>
                  <a:gd name="connsiteX550" fmla="*/ 32004 w 342900"/>
                  <a:gd name="connsiteY550" fmla="*/ 198215 h 400050"/>
                  <a:gd name="connsiteX551" fmla="*/ 33719 w 342900"/>
                  <a:gd name="connsiteY551" fmla="*/ 198215 h 400050"/>
                  <a:gd name="connsiteX552" fmla="*/ 34576 w 342900"/>
                  <a:gd name="connsiteY552" fmla="*/ 197358 h 400050"/>
                  <a:gd name="connsiteX553" fmla="*/ 35433 w 342900"/>
                  <a:gd name="connsiteY553" fmla="*/ 195644 h 400050"/>
                  <a:gd name="connsiteX554" fmla="*/ 37052 w 342900"/>
                  <a:gd name="connsiteY554" fmla="*/ 194786 h 400050"/>
                  <a:gd name="connsiteX555" fmla="*/ 37910 w 342900"/>
                  <a:gd name="connsiteY555" fmla="*/ 193929 h 400050"/>
                  <a:gd name="connsiteX556" fmla="*/ 39624 w 342900"/>
                  <a:gd name="connsiteY556" fmla="*/ 193072 h 400050"/>
                  <a:gd name="connsiteX557" fmla="*/ 40481 w 342900"/>
                  <a:gd name="connsiteY557" fmla="*/ 193072 h 400050"/>
                  <a:gd name="connsiteX558" fmla="*/ 41339 w 342900"/>
                  <a:gd name="connsiteY558" fmla="*/ 193072 h 400050"/>
                  <a:gd name="connsiteX559" fmla="*/ 42958 w 342900"/>
                  <a:gd name="connsiteY559" fmla="*/ 193929 h 400050"/>
                  <a:gd name="connsiteX560" fmla="*/ 43815 w 342900"/>
                  <a:gd name="connsiteY560" fmla="*/ 194786 h 400050"/>
                  <a:gd name="connsiteX561" fmla="*/ 46387 w 342900"/>
                  <a:gd name="connsiteY561" fmla="*/ 194786 h 400050"/>
                  <a:gd name="connsiteX562" fmla="*/ 47244 w 342900"/>
                  <a:gd name="connsiteY562" fmla="*/ 195644 h 400050"/>
                  <a:gd name="connsiteX563" fmla="*/ 48863 w 342900"/>
                  <a:gd name="connsiteY563" fmla="*/ 196501 h 400050"/>
                  <a:gd name="connsiteX564" fmla="*/ 50578 w 342900"/>
                  <a:gd name="connsiteY564" fmla="*/ 198215 h 400050"/>
                  <a:gd name="connsiteX565" fmla="*/ 51435 w 342900"/>
                  <a:gd name="connsiteY565" fmla="*/ 198977 h 400050"/>
                  <a:gd name="connsiteX566" fmla="*/ 51435 w 342900"/>
                  <a:gd name="connsiteY566" fmla="*/ 199834 h 400050"/>
                  <a:gd name="connsiteX567" fmla="*/ 52292 w 342900"/>
                  <a:gd name="connsiteY567" fmla="*/ 200692 h 400050"/>
                  <a:gd name="connsiteX568" fmla="*/ 53150 w 342900"/>
                  <a:gd name="connsiteY568" fmla="*/ 203263 h 400050"/>
                  <a:gd name="connsiteX569" fmla="*/ 54007 w 342900"/>
                  <a:gd name="connsiteY569" fmla="*/ 205740 h 400050"/>
                  <a:gd name="connsiteX570" fmla="*/ 54769 w 342900"/>
                  <a:gd name="connsiteY570" fmla="*/ 207454 h 400050"/>
                  <a:gd name="connsiteX571" fmla="*/ 55626 w 342900"/>
                  <a:gd name="connsiteY571" fmla="*/ 208312 h 400050"/>
                  <a:gd name="connsiteX572" fmla="*/ 56483 w 342900"/>
                  <a:gd name="connsiteY572" fmla="*/ 208312 h 400050"/>
                  <a:gd name="connsiteX573" fmla="*/ 57341 w 342900"/>
                  <a:gd name="connsiteY573" fmla="*/ 208312 h 400050"/>
                  <a:gd name="connsiteX574" fmla="*/ 58198 w 342900"/>
                  <a:gd name="connsiteY574" fmla="*/ 208312 h 400050"/>
                  <a:gd name="connsiteX575" fmla="*/ 59055 w 342900"/>
                  <a:gd name="connsiteY575" fmla="*/ 208312 h 400050"/>
                  <a:gd name="connsiteX576" fmla="*/ 60674 w 342900"/>
                  <a:gd name="connsiteY576" fmla="*/ 207454 h 400050"/>
                  <a:gd name="connsiteX577" fmla="*/ 62389 w 342900"/>
                  <a:gd name="connsiteY577" fmla="*/ 207454 h 400050"/>
                  <a:gd name="connsiteX578" fmla="*/ 63246 w 342900"/>
                  <a:gd name="connsiteY578" fmla="*/ 207454 h 400050"/>
                  <a:gd name="connsiteX579" fmla="*/ 64103 w 342900"/>
                  <a:gd name="connsiteY579" fmla="*/ 209169 h 400050"/>
                  <a:gd name="connsiteX580" fmla="*/ 64960 w 342900"/>
                  <a:gd name="connsiteY580" fmla="*/ 209931 h 400050"/>
                  <a:gd name="connsiteX581" fmla="*/ 65818 w 342900"/>
                  <a:gd name="connsiteY581" fmla="*/ 212503 h 400050"/>
                  <a:gd name="connsiteX582" fmla="*/ 66580 w 342900"/>
                  <a:gd name="connsiteY582" fmla="*/ 213360 h 400050"/>
                  <a:gd name="connsiteX583" fmla="*/ 67437 w 342900"/>
                  <a:gd name="connsiteY583" fmla="*/ 214217 h 400050"/>
                  <a:gd name="connsiteX584" fmla="*/ 69152 w 342900"/>
                  <a:gd name="connsiteY584" fmla="*/ 214217 h 400050"/>
                  <a:gd name="connsiteX585" fmla="*/ 70009 w 342900"/>
                  <a:gd name="connsiteY585" fmla="*/ 214217 h 400050"/>
                  <a:gd name="connsiteX586" fmla="*/ 70866 w 342900"/>
                  <a:gd name="connsiteY586" fmla="*/ 214217 h 400050"/>
                  <a:gd name="connsiteX587" fmla="*/ 72485 w 342900"/>
                  <a:gd name="connsiteY587" fmla="*/ 212503 h 400050"/>
                  <a:gd name="connsiteX588" fmla="*/ 73343 w 342900"/>
                  <a:gd name="connsiteY588" fmla="*/ 212503 h 400050"/>
                  <a:gd name="connsiteX589" fmla="*/ 75057 w 342900"/>
                  <a:gd name="connsiteY589" fmla="*/ 212503 h 400050"/>
                  <a:gd name="connsiteX590" fmla="*/ 76772 w 342900"/>
                  <a:gd name="connsiteY590" fmla="*/ 211646 h 400050"/>
                  <a:gd name="connsiteX591" fmla="*/ 77533 w 342900"/>
                  <a:gd name="connsiteY591" fmla="*/ 209931 h 400050"/>
                  <a:gd name="connsiteX592" fmla="*/ 79248 w 342900"/>
                  <a:gd name="connsiteY592" fmla="*/ 209931 h 400050"/>
                  <a:gd name="connsiteX593" fmla="*/ 80105 w 342900"/>
                  <a:gd name="connsiteY593" fmla="*/ 209931 h 400050"/>
                  <a:gd name="connsiteX594" fmla="*/ 80963 w 342900"/>
                  <a:gd name="connsiteY594" fmla="*/ 210788 h 400050"/>
                  <a:gd name="connsiteX595" fmla="*/ 82677 w 342900"/>
                  <a:gd name="connsiteY595" fmla="*/ 211646 h 400050"/>
                  <a:gd name="connsiteX596" fmla="*/ 84296 w 342900"/>
                  <a:gd name="connsiteY596" fmla="*/ 211646 h 400050"/>
                  <a:gd name="connsiteX597" fmla="*/ 86011 w 342900"/>
                  <a:gd name="connsiteY597" fmla="*/ 211646 h 400050"/>
                  <a:gd name="connsiteX598" fmla="*/ 87725 w 342900"/>
                  <a:gd name="connsiteY598" fmla="*/ 210788 h 400050"/>
                  <a:gd name="connsiteX599" fmla="*/ 88583 w 342900"/>
                  <a:gd name="connsiteY599" fmla="*/ 210788 h 400050"/>
                  <a:gd name="connsiteX600" fmla="*/ 88583 w 342900"/>
                  <a:gd name="connsiteY600" fmla="*/ 209931 h 400050"/>
                  <a:gd name="connsiteX601" fmla="*/ 88583 w 342900"/>
                  <a:gd name="connsiteY601" fmla="*/ 209169 h 400050"/>
                  <a:gd name="connsiteX602" fmla="*/ 89345 w 342900"/>
                  <a:gd name="connsiteY602" fmla="*/ 208312 h 400050"/>
                  <a:gd name="connsiteX603" fmla="*/ 89345 w 342900"/>
                  <a:gd name="connsiteY603" fmla="*/ 208312 h 400050"/>
                  <a:gd name="connsiteX604" fmla="*/ 93631 w 342900"/>
                  <a:gd name="connsiteY604" fmla="*/ 206597 h 400050"/>
                  <a:gd name="connsiteX605" fmla="*/ 94488 w 342900"/>
                  <a:gd name="connsiteY605" fmla="*/ 205740 h 400050"/>
                  <a:gd name="connsiteX606" fmla="*/ 95250 w 342900"/>
                  <a:gd name="connsiteY606" fmla="*/ 206597 h 400050"/>
                  <a:gd name="connsiteX607" fmla="*/ 95250 w 342900"/>
                  <a:gd name="connsiteY607" fmla="*/ 207454 h 400050"/>
                  <a:gd name="connsiteX608" fmla="*/ 95250 w 342900"/>
                  <a:gd name="connsiteY608" fmla="*/ 208312 h 400050"/>
                  <a:gd name="connsiteX609" fmla="*/ 94488 w 342900"/>
                  <a:gd name="connsiteY609" fmla="*/ 210788 h 400050"/>
                  <a:gd name="connsiteX610" fmla="*/ 94488 w 342900"/>
                  <a:gd name="connsiteY610" fmla="*/ 211646 h 400050"/>
                  <a:gd name="connsiteX611" fmla="*/ 94488 w 342900"/>
                  <a:gd name="connsiteY611" fmla="*/ 212503 h 400050"/>
                  <a:gd name="connsiteX612" fmla="*/ 95250 w 342900"/>
                  <a:gd name="connsiteY612" fmla="*/ 213360 h 400050"/>
                  <a:gd name="connsiteX613" fmla="*/ 96107 w 342900"/>
                  <a:gd name="connsiteY613" fmla="*/ 214217 h 400050"/>
                  <a:gd name="connsiteX614" fmla="*/ 96965 w 342900"/>
                  <a:gd name="connsiteY614" fmla="*/ 214217 h 400050"/>
                  <a:gd name="connsiteX615" fmla="*/ 96965 w 342900"/>
                  <a:gd name="connsiteY615" fmla="*/ 213360 h 400050"/>
                  <a:gd name="connsiteX616" fmla="*/ 97822 w 342900"/>
                  <a:gd name="connsiteY616" fmla="*/ 213360 h 400050"/>
                  <a:gd name="connsiteX617" fmla="*/ 99536 w 342900"/>
                  <a:gd name="connsiteY617" fmla="*/ 212503 h 400050"/>
                  <a:gd name="connsiteX618" fmla="*/ 101156 w 342900"/>
                  <a:gd name="connsiteY618" fmla="*/ 211646 h 400050"/>
                  <a:gd name="connsiteX619" fmla="*/ 102013 w 342900"/>
                  <a:gd name="connsiteY619" fmla="*/ 211646 h 400050"/>
                  <a:gd name="connsiteX620" fmla="*/ 102013 w 342900"/>
                  <a:gd name="connsiteY620" fmla="*/ 212503 h 400050"/>
                  <a:gd name="connsiteX621" fmla="*/ 102013 w 342900"/>
                  <a:gd name="connsiteY621" fmla="*/ 214217 h 400050"/>
                  <a:gd name="connsiteX622" fmla="*/ 103727 w 342900"/>
                  <a:gd name="connsiteY622" fmla="*/ 216694 h 400050"/>
                  <a:gd name="connsiteX623" fmla="*/ 103727 w 342900"/>
                  <a:gd name="connsiteY623" fmla="*/ 217551 h 400050"/>
                  <a:gd name="connsiteX624" fmla="*/ 103727 w 342900"/>
                  <a:gd name="connsiteY624" fmla="*/ 218408 h 400050"/>
                  <a:gd name="connsiteX625" fmla="*/ 103727 w 342900"/>
                  <a:gd name="connsiteY625" fmla="*/ 219265 h 400050"/>
                  <a:gd name="connsiteX626" fmla="*/ 103727 w 342900"/>
                  <a:gd name="connsiteY626" fmla="*/ 220123 h 400050"/>
                  <a:gd name="connsiteX627" fmla="*/ 103727 w 342900"/>
                  <a:gd name="connsiteY627" fmla="*/ 220123 h 400050"/>
                  <a:gd name="connsiteX628" fmla="*/ 102870 w 342900"/>
                  <a:gd name="connsiteY628" fmla="*/ 220123 h 400050"/>
                  <a:gd name="connsiteX629" fmla="*/ 101156 w 342900"/>
                  <a:gd name="connsiteY629" fmla="*/ 220980 h 400050"/>
                  <a:gd name="connsiteX630" fmla="*/ 101156 w 342900"/>
                  <a:gd name="connsiteY630" fmla="*/ 220980 h 400050"/>
                  <a:gd name="connsiteX631" fmla="*/ 100394 w 342900"/>
                  <a:gd name="connsiteY631" fmla="*/ 221742 h 400050"/>
                  <a:gd name="connsiteX632" fmla="*/ 100394 w 342900"/>
                  <a:gd name="connsiteY632" fmla="*/ 222599 h 400050"/>
                  <a:gd name="connsiteX633" fmla="*/ 100394 w 342900"/>
                  <a:gd name="connsiteY633" fmla="*/ 223456 h 400050"/>
                  <a:gd name="connsiteX634" fmla="*/ 101156 w 342900"/>
                  <a:gd name="connsiteY634" fmla="*/ 224314 h 400050"/>
                  <a:gd name="connsiteX635" fmla="*/ 102013 w 342900"/>
                  <a:gd name="connsiteY635" fmla="*/ 226028 h 400050"/>
                  <a:gd name="connsiteX636" fmla="*/ 102013 w 342900"/>
                  <a:gd name="connsiteY636" fmla="*/ 226886 h 400050"/>
                  <a:gd name="connsiteX637" fmla="*/ 102013 w 342900"/>
                  <a:gd name="connsiteY637" fmla="*/ 227647 h 400050"/>
                  <a:gd name="connsiteX638" fmla="*/ 102013 w 342900"/>
                  <a:gd name="connsiteY638" fmla="*/ 228505 h 400050"/>
                  <a:gd name="connsiteX639" fmla="*/ 102013 w 342900"/>
                  <a:gd name="connsiteY639" fmla="*/ 229362 h 400050"/>
                  <a:gd name="connsiteX640" fmla="*/ 102013 w 342900"/>
                  <a:gd name="connsiteY640" fmla="*/ 230219 h 400050"/>
                  <a:gd name="connsiteX641" fmla="*/ 102870 w 342900"/>
                  <a:gd name="connsiteY641" fmla="*/ 231934 h 400050"/>
                  <a:gd name="connsiteX642" fmla="*/ 103727 w 342900"/>
                  <a:gd name="connsiteY642" fmla="*/ 233553 h 400050"/>
                  <a:gd name="connsiteX643" fmla="*/ 105442 w 342900"/>
                  <a:gd name="connsiteY643" fmla="*/ 236125 h 400050"/>
                  <a:gd name="connsiteX644" fmla="*/ 108776 w 342900"/>
                  <a:gd name="connsiteY644" fmla="*/ 240316 h 400050"/>
                  <a:gd name="connsiteX645" fmla="*/ 109633 w 342900"/>
                  <a:gd name="connsiteY645" fmla="*/ 241173 h 400050"/>
                  <a:gd name="connsiteX646" fmla="*/ 113824 w 342900"/>
                  <a:gd name="connsiteY646" fmla="*/ 242888 h 400050"/>
                  <a:gd name="connsiteX647" fmla="*/ 114681 w 342900"/>
                  <a:gd name="connsiteY647" fmla="*/ 243745 h 400050"/>
                  <a:gd name="connsiteX648" fmla="*/ 115538 w 342900"/>
                  <a:gd name="connsiteY648" fmla="*/ 243745 h 400050"/>
                  <a:gd name="connsiteX649" fmla="*/ 115538 w 342900"/>
                  <a:gd name="connsiteY649" fmla="*/ 245364 h 400050"/>
                  <a:gd name="connsiteX650" fmla="*/ 116396 w 342900"/>
                  <a:gd name="connsiteY650" fmla="*/ 246221 h 400050"/>
                  <a:gd name="connsiteX651" fmla="*/ 116396 w 342900"/>
                  <a:gd name="connsiteY651" fmla="*/ 247936 h 400050"/>
                  <a:gd name="connsiteX652" fmla="*/ 115538 w 342900"/>
                  <a:gd name="connsiteY652" fmla="*/ 248793 h 400050"/>
                  <a:gd name="connsiteX653" fmla="*/ 114681 w 342900"/>
                  <a:gd name="connsiteY653" fmla="*/ 249555 h 400050"/>
                  <a:gd name="connsiteX654" fmla="*/ 112967 w 342900"/>
                  <a:gd name="connsiteY654" fmla="*/ 250412 h 400050"/>
                  <a:gd name="connsiteX655" fmla="*/ 112967 w 342900"/>
                  <a:gd name="connsiteY655" fmla="*/ 251269 h 400050"/>
                  <a:gd name="connsiteX656" fmla="*/ 112205 w 342900"/>
                  <a:gd name="connsiteY656" fmla="*/ 252127 h 400050"/>
                  <a:gd name="connsiteX657" fmla="*/ 112205 w 342900"/>
                  <a:gd name="connsiteY657" fmla="*/ 252984 h 400050"/>
                  <a:gd name="connsiteX658" fmla="*/ 112967 w 342900"/>
                  <a:gd name="connsiteY658" fmla="*/ 255461 h 400050"/>
                  <a:gd name="connsiteX659" fmla="*/ 113824 w 342900"/>
                  <a:gd name="connsiteY659" fmla="*/ 258890 h 400050"/>
                  <a:gd name="connsiteX660" fmla="*/ 114681 w 342900"/>
                  <a:gd name="connsiteY660" fmla="*/ 260604 h 400050"/>
                  <a:gd name="connsiteX661" fmla="*/ 116396 w 342900"/>
                  <a:gd name="connsiteY661" fmla="*/ 264795 h 400050"/>
                  <a:gd name="connsiteX662" fmla="*/ 117253 w 342900"/>
                  <a:gd name="connsiteY662" fmla="*/ 266509 h 400050"/>
                  <a:gd name="connsiteX663" fmla="*/ 116396 w 342900"/>
                  <a:gd name="connsiteY663" fmla="*/ 268129 h 400050"/>
                  <a:gd name="connsiteX664" fmla="*/ 117253 w 342900"/>
                  <a:gd name="connsiteY664" fmla="*/ 269843 h 400050"/>
                  <a:gd name="connsiteX665" fmla="*/ 119729 w 342900"/>
                  <a:gd name="connsiteY665" fmla="*/ 274034 h 400050"/>
                  <a:gd name="connsiteX666" fmla="*/ 123158 w 342900"/>
                  <a:gd name="connsiteY666" fmla="*/ 284988 h 400050"/>
                  <a:gd name="connsiteX667" fmla="*/ 124016 w 342900"/>
                  <a:gd name="connsiteY667" fmla="*/ 288417 h 400050"/>
                  <a:gd name="connsiteX668" fmla="*/ 125635 w 342900"/>
                  <a:gd name="connsiteY668" fmla="*/ 290894 h 400050"/>
                  <a:gd name="connsiteX669" fmla="*/ 127349 w 342900"/>
                  <a:gd name="connsiteY669" fmla="*/ 292608 h 400050"/>
                  <a:gd name="connsiteX670" fmla="*/ 130683 w 342900"/>
                  <a:gd name="connsiteY670" fmla="*/ 296799 h 400050"/>
                  <a:gd name="connsiteX671" fmla="*/ 131540 w 342900"/>
                  <a:gd name="connsiteY671" fmla="*/ 297656 h 400050"/>
                  <a:gd name="connsiteX672" fmla="*/ 131540 w 342900"/>
                  <a:gd name="connsiteY672" fmla="*/ 297656 h 400050"/>
                  <a:gd name="connsiteX673" fmla="*/ 133255 w 342900"/>
                  <a:gd name="connsiteY673" fmla="*/ 299371 h 400050"/>
                  <a:gd name="connsiteX674" fmla="*/ 135731 w 342900"/>
                  <a:gd name="connsiteY674" fmla="*/ 303562 h 400050"/>
                  <a:gd name="connsiteX675" fmla="*/ 140875 w 342900"/>
                  <a:gd name="connsiteY675" fmla="*/ 307753 h 400050"/>
                  <a:gd name="connsiteX676" fmla="*/ 142494 w 342900"/>
                  <a:gd name="connsiteY676" fmla="*/ 308610 h 400050"/>
                  <a:gd name="connsiteX677" fmla="*/ 144209 w 342900"/>
                  <a:gd name="connsiteY677" fmla="*/ 309467 h 400050"/>
                  <a:gd name="connsiteX678" fmla="*/ 144209 w 342900"/>
                  <a:gd name="connsiteY678" fmla="*/ 310324 h 400050"/>
                  <a:gd name="connsiteX679" fmla="*/ 143351 w 342900"/>
                  <a:gd name="connsiteY679" fmla="*/ 311182 h 400050"/>
                  <a:gd name="connsiteX680" fmla="*/ 143351 w 342900"/>
                  <a:gd name="connsiteY680" fmla="*/ 312801 h 400050"/>
                  <a:gd name="connsiteX681" fmla="*/ 144209 w 342900"/>
                  <a:gd name="connsiteY681" fmla="*/ 314515 h 400050"/>
                  <a:gd name="connsiteX682" fmla="*/ 145066 w 342900"/>
                  <a:gd name="connsiteY682" fmla="*/ 315373 h 400050"/>
                  <a:gd name="connsiteX683" fmla="*/ 145923 w 342900"/>
                  <a:gd name="connsiteY683" fmla="*/ 314515 h 400050"/>
                  <a:gd name="connsiteX684" fmla="*/ 146780 w 342900"/>
                  <a:gd name="connsiteY684" fmla="*/ 314515 h 400050"/>
                  <a:gd name="connsiteX685" fmla="*/ 147542 w 342900"/>
                  <a:gd name="connsiteY685" fmla="*/ 314515 h 400050"/>
                  <a:gd name="connsiteX686" fmla="*/ 148400 w 342900"/>
                  <a:gd name="connsiteY686" fmla="*/ 314515 h 400050"/>
                  <a:gd name="connsiteX687" fmla="*/ 150971 w 342900"/>
                  <a:gd name="connsiteY687" fmla="*/ 316230 h 400050"/>
                  <a:gd name="connsiteX688" fmla="*/ 153448 w 342900"/>
                  <a:gd name="connsiteY688" fmla="*/ 317087 h 400050"/>
                  <a:gd name="connsiteX689" fmla="*/ 155162 w 342900"/>
                  <a:gd name="connsiteY689" fmla="*/ 317849 h 400050"/>
                  <a:gd name="connsiteX690" fmla="*/ 156020 w 342900"/>
                  <a:gd name="connsiteY690" fmla="*/ 317849 h 400050"/>
                  <a:gd name="connsiteX691" fmla="*/ 159353 w 342900"/>
                  <a:gd name="connsiteY691" fmla="*/ 320421 h 400050"/>
                  <a:gd name="connsiteX692" fmla="*/ 164497 w 342900"/>
                  <a:gd name="connsiteY692" fmla="*/ 325469 h 400050"/>
                  <a:gd name="connsiteX693" fmla="*/ 172022 w 342900"/>
                  <a:gd name="connsiteY693" fmla="*/ 335566 h 400050"/>
                  <a:gd name="connsiteX694" fmla="*/ 172879 w 342900"/>
                  <a:gd name="connsiteY694" fmla="*/ 338138 h 400050"/>
                  <a:gd name="connsiteX695" fmla="*/ 173736 w 342900"/>
                  <a:gd name="connsiteY695" fmla="*/ 340614 h 400050"/>
                  <a:gd name="connsiteX696" fmla="*/ 174593 w 342900"/>
                  <a:gd name="connsiteY696" fmla="*/ 341471 h 400050"/>
                  <a:gd name="connsiteX697" fmla="*/ 175451 w 342900"/>
                  <a:gd name="connsiteY697" fmla="*/ 342328 h 400050"/>
                  <a:gd name="connsiteX698" fmla="*/ 176308 w 342900"/>
                  <a:gd name="connsiteY698" fmla="*/ 344043 h 400050"/>
                  <a:gd name="connsiteX699" fmla="*/ 177927 w 342900"/>
                  <a:gd name="connsiteY699" fmla="*/ 346519 h 400050"/>
                  <a:gd name="connsiteX700" fmla="*/ 177927 w 342900"/>
                  <a:gd name="connsiteY700" fmla="*/ 347377 h 400050"/>
                  <a:gd name="connsiteX701" fmla="*/ 177070 w 342900"/>
                  <a:gd name="connsiteY701" fmla="*/ 348234 h 400050"/>
                  <a:gd name="connsiteX702" fmla="*/ 175451 w 342900"/>
                  <a:gd name="connsiteY702" fmla="*/ 348234 h 400050"/>
                  <a:gd name="connsiteX703" fmla="*/ 174593 w 342900"/>
                  <a:gd name="connsiteY703" fmla="*/ 347377 h 400050"/>
                  <a:gd name="connsiteX704" fmla="*/ 172879 w 342900"/>
                  <a:gd name="connsiteY704" fmla="*/ 344900 h 400050"/>
                  <a:gd name="connsiteX705" fmla="*/ 172879 w 342900"/>
                  <a:gd name="connsiteY705" fmla="*/ 344900 h 400050"/>
                  <a:gd name="connsiteX706" fmla="*/ 172022 w 342900"/>
                  <a:gd name="connsiteY706" fmla="*/ 344900 h 400050"/>
                  <a:gd name="connsiteX707" fmla="*/ 171164 w 342900"/>
                  <a:gd name="connsiteY707" fmla="*/ 345757 h 400050"/>
                  <a:gd name="connsiteX708" fmla="*/ 169545 w 342900"/>
                  <a:gd name="connsiteY708" fmla="*/ 348234 h 400050"/>
                  <a:gd name="connsiteX709" fmla="*/ 168688 w 342900"/>
                  <a:gd name="connsiteY709" fmla="*/ 349091 h 400050"/>
                  <a:gd name="connsiteX710" fmla="*/ 167831 w 342900"/>
                  <a:gd name="connsiteY710" fmla="*/ 349091 h 400050"/>
                  <a:gd name="connsiteX711" fmla="*/ 166116 w 342900"/>
                  <a:gd name="connsiteY711" fmla="*/ 349948 h 400050"/>
                  <a:gd name="connsiteX712" fmla="*/ 164497 w 342900"/>
                  <a:gd name="connsiteY712" fmla="*/ 350806 h 400050"/>
                  <a:gd name="connsiteX713" fmla="*/ 163640 w 342900"/>
                  <a:gd name="connsiteY713" fmla="*/ 351663 h 400050"/>
                  <a:gd name="connsiteX714" fmla="*/ 162782 w 342900"/>
                  <a:gd name="connsiteY714" fmla="*/ 352425 h 400050"/>
                  <a:gd name="connsiteX715" fmla="*/ 162782 w 342900"/>
                  <a:gd name="connsiteY715" fmla="*/ 353282 h 400050"/>
                  <a:gd name="connsiteX716" fmla="*/ 162782 w 342900"/>
                  <a:gd name="connsiteY716" fmla="*/ 354140 h 400050"/>
                  <a:gd name="connsiteX717" fmla="*/ 163640 w 342900"/>
                  <a:gd name="connsiteY717" fmla="*/ 354997 h 400050"/>
                  <a:gd name="connsiteX718" fmla="*/ 166116 w 342900"/>
                  <a:gd name="connsiteY718" fmla="*/ 357473 h 400050"/>
                  <a:gd name="connsiteX719" fmla="*/ 166116 w 342900"/>
                  <a:gd name="connsiteY719" fmla="*/ 357473 h 400050"/>
                  <a:gd name="connsiteX720" fmla="*/ 166973 w 342900"/>
                  <a:gd name="connsiteY720" fmla="*/ 357473 h 400050"/>
                  <a:gd name="connsiteX721" fmla="*/ 167831 w 342900"/>
                  <a:gd name="connsiteY721" fmla="*/ 356711 h 400050"/>
                  <a:gd name="connsiteX722" fmla="*/ 168688 w 342900"/>
                  <a:gd name="connsiteY722" fmla="*/ 355854 h 400050"/>
                  <a:gd name="connsiteX723" fmla="*/ 168688 w 342900"/>
                  <a:gd name="connsiteY723" fmla="*/ 354997 h 400050"/>
                  <a:gd name="connsiteX724" fmla="*/ 169545 w 342900"/>
                  <a:gd name="connsiteY724" fmla="*/ 354997 h 400050"/>
                  <a:gd name="connsiteX725" fmla="*/ 170402 w 342900"/>
                  <a:gd name="connsiteY725" fmla="*/ 354140 h 400050"/>
                  <a:gd name="connsiteX726" fmla="*/ 171164 w 342900"/>
                  <a:gd name="connsiteY726" fmla="*/ 354997 h 400050"/>
                  <a:gd name="connsiteX727" fmla="*/ 172022 w 342900"/>
                  <a:gd name="connsiteY727" fmla="*/ 355854 h 400050"/>
                  <a:gd name="connsiteX728" fmla="*/ 172022 w 342900"/>
                  <a:gd name="connsiteY728" fmla="*/ 356711 h 400050"/>
                  <a:gd name="connsiteX729" fmla="*/ 172022 w 342900"/>
                  <a:gd name="connsiteY729" fmla="*/ 357473 h 400050"/>
                  <a:gd name="connsiteX730" fmla="*/ 170402 w 342900"/>
                  <a:gd name="connsiteY730" fmla="*/ 360045 h 400050"/>
                  <a:gd name="connsiteX731" fmla="*/ 167831 w 342900"/>
                  <a:gd name="connsiteY731" fmla="*/ 361759 h 400050"/>
                  <a:gd name="connsiteX732" fmla="*/ 167831 w 342900"/>
                  <a:gd name="connsiteY732" fmla="*/ 362617 h 400050"/>
                  <a:gd name="connsiteX733" fmla="*/ 166973 w 342900"/>
                  <a:gd name="connsiteY733" fmla="*/ 364236 h 400050"/>
                  <a:gd name="connsiteX734" fmla="*/ 166973 w 342900"/>
                  <a:gd name="connsiteY734" fmla="*/ 365093 h 400050"/>
                  <a:gd name="connsiteX735" fmla="*/ 166116 w 342900"/>
                  <a:gd name="connsiteY735" fmla="*/ 365950 h 400050"/>
                  <a:gd name="connsiteX736" fmla="*/ 166116 w 342900"/>
                  <a:gd name="connsiteY736" fmla="*/ 366808 h 400050"/>
                  <a:gd name="connsiteX737" fmla="*/ 165259 w 342900"/>
                  <a:gd name="connsiteY737" fmla="*/ 367665 h 400050"/>
                  <a:gd name="connsiteX738" fmla="*/ 165259 w 342900"/>
                  <a:gd name="connsiteY738" fmla="*/ 367665 h 400050"/>
                  <a:gd name="connsiteX739" fmla="*/ 165259 w 342900"/>
                  <a:gd name="connsiteY739" fmla="*/ 368522 h 400050"/>
                  <a:gd name="connsiteX740" fmla="*/ 166116 w 342900"/>
                  <a:gd name="connsiteY740" fmla="*/ 369284 h 400050"/>
                  <a:gd name="connsiteX741" fmla="*/ 166973 w 342900"/>
                  <a:gd name="connsiteY741" fmla="*/ 369284 h 400050"/>
                  <a:gd name="connsiteX742" fmla="*/ 166973 w 342900"/>
                  <a:gd name="connsiteY742" fmla="*/ 370999 h 400050"/>
                  <a:gd name="connsiteX743" fmla="*/ 166973 w 342900"/>
                  <a:gd name="connsiteY743" fmla="*/ 371856 h 400050"/>
                  <a:gd name="connsiteX744" fmla="*/ 166116 w 342900"/>
                  <a:gd name="connsiteY744" fmla="*/ 372713 h 400050"/>
                  <a:gd name="connsiteX745" fmla="*/ 166116 w 342900"/>
                  <a:gd name="connsiteY745" fmla="*/ 373571 h 400050"/>
                  <a:gd name="connsiteX746" fmla="*/ 165259 w 342900"/>
                  <a:gd name="connsiteY746" fmla="*/ 373571 h 400050"/>
                  <a:gd name="connsiteX747" fmla="*/ 164497 w 342900"/>
                  <a:gd name="connsiteY747" fmla="*/ 373571 h 400050"/>
                  <a:gd name="connsiteX748" fmla="*/ 161925 w 342900"/>
                  <a:gd name="connsiteY748" fmla="*/ 373571 h 400050"/>
                  <a:gd name="connsiteX749" fmla="*/ 161068 w 342900"/>
                  <a:gd name="connsiteY749" fmla="*/ 373571 h 400050"/>
                  <a:gd name="connsiteX750" fmla="*/ 161068 w 342900"/>
                  <a:gd name="connsiteY750" fmla="*/ 376047 h 400050"/>
                  <a:gd name="connsiteX751" fmla="*/ 161068 w 342900"/>
                  <a:gd name="connsiteY751" fmla="*/ 377761 h 400050"/>
                  <a:gd name="connsiteX752" fmla="*/ 164497 w 342900"/>
                  <a:gd name="connsiteY752" fmla="*/ 380238 h 400050"/>
                  <a:gd name="connsiteX753" fmla="*/ 165259 w 342900"/>
                  <a:gd name="connsiteY753" fmla="*/ 381095 h 400050"/>
                  <a:gd name="connsiteX754" fmla="*/ 166116 w 342900"/>
                  <a:gd name="connsiteY754" fmla="*/ 381953 h 400050"/>
                  <a:gd name="connsiteX755" fmla="*/ 166116 w 342900"/>
                  <a:gd name="connsiteY755" fmla="*/ 382810 h 400050"/>
                  <a:gd name="connsiteX756" fmla="*/ 166116 w 342900"/>
                  <a:gd name="connsiteY756" fmla="*/ 384524 h 400050"/>
                  <a:gd name="connsiteX757" fmla="*/ 166973 w 342900"/>
                  <a:gd name="connsiteY757" fmla="*/ 386144 h 400050"/>
                  <a:gd name="connsiteX758" fmla="*/ 167831 w 342900"/>
                  <a:gd name="connsiteY758" fmla="*/ 387001 h 400050"/>
                  <a:gd name="connsiteX759" fmla="*/ 168688 w 342900"/>
                  <a:gd name="connsiteY759" fmla="*/ 387858 h 400050"/>
                  <a:gd name="connsiteX760" fmla="*/ 178784 w 342900"/>
                  <a:gd name="connsiteY760" fmla="*/ 386144 h 400050"/>
                  <a:gd name="connsiteX761" fmla="*/ 182213 w 342900"/>
                  <a:gd name="connsiteY761" fmla="*/ 386144 h 400050"/>
                  <a:gd name="connsiteX762" fmla="*/ 184690 w 342900"/>
                  <a:gd name="connsiteY762" fmla="*/ 388715 h 400050"/>
                  <a:gd name="connsiteX763" fmla="*/ 188024 w 342900"/>
                  <a:gd name="connsiteY763" fmla="*/ 392049 h 400050"/>
                  <a:gd name="connsiteX764" fmla="*/ 192310 w 342900"/>
                  <a:gd name="connsiteY764" fmla="*/ 389572 h 400050"/>
                  <a:gd name="connsiteX765" fmla="*/ 192310 w 342900"/>
                  <a:gd name="connsiteY765" fmla="*/ 388715 h 400050"/>
                  <a:gd name="connsiteX766" fmla="*/ 192310 w 342900"/>
                  <a:gd name="connsiteY766" fmla="*/ 387858 h 400050"/>
                  <a:gd name="connsiteX767" fmla="*/ 192310 w 342900"/>
                  <a:gd name="connsiteY767" fmla="*/ 387001 h 400050"/>
                  <a:gd name="connsiteX768" fmla="*/ 191453 w 342900"/>
                  <a:gd name="connsiteY768" fmla="*/ 386144 h 400050"/>
                  <a:gd name="connsiteX769" fmla="*/ 191453 w 342900"/>
                  <a:gd name="connsiteY769" fmla="*/ 384524 h 400050"/>
                  <a:gd name="connsiteX770" fmla="*/ 191453 w 342900"/>
                  <a:gd name="connsiteY770" fmla="*/ 382810 h 400050"/>
                  <a:gd name="connsiteX771" fmla="*/ 191453 w 342900"/>
                  <a:gd name="connsiteY771" fmla="*/ 381953 h 400050"/>
                  <a:gd name="connsiteX772" fmla="*/ 190595 w 342900"/>
                  <a:gd name="connsiteY772" fmla="*/ 381953 h 400050"/>
                  <a:gd name="connsiteX773" fmla="*/ 188881 w 342900"/>
                  <a:gd name="connsiteY773" fmla="*/ 380238 h 400050"/>
                  <a:gd name="connsiteX774" fmla="*/ 188881 w 342900"/>
                  <a:gd name="connsiteY774" fmla="*/ 379476 h 400050"/>
                  <a:gd name="connsiteX775" fmla="*/ 188881 w 342900"/>
                  <a:gd name="connsiteY775" fmla="*/ 377761 h 400050"/>
                  <a:gd name="connsiteX776" fmla="*/ 188881 w 342900"/>
                  <a:gd name="connsiteY776" fmla="*/ 375190 h 400050"/>
                  <a:gd name="connsiteX777" fmla="*/ 188024 w 342900"/>
                  <a:gd name="connsiteY777" fmla="*/ 373571 h 400050"/>
                  <a:gd name="connsiteX778" fmla="*/ 187262 w 342900"/>
                  <a:gd name="connsiteY778" fmla="*/ 369284 h 400050"/>
                  <a:gd name="connsiteX779" fmla="*/ 186404 w 342900"/>
                  <a:gd name="connsiteY779" fmla="*/ 365950 h 400050"/>
                  <a:gd name="connsiteX780" fmla="*/ 186404 w 342900"/>
                  <a:gd name="connsiteY780" fmla="*/ 364236 h 400050"/>
                  <a:gd name="connsiteX781" fmla="*/ 186404 w 342900"/>
                  <a:gd name="connsiteY781" fmla="*/ 362617 h 400050"/>
                  <a:gd name="connsiteX782" fmla="*/ 186404 w 342900"/>
                  <a:gd name="connsiteY782" fmla="*/ 360902 h 400050"/>
                  <a:gd name="connsiteX783" fmla="*/ 187262 w 342900"/>
                  <a:gd name="connsiteY783" fmla="*/ 360045 h 400050"/>
                  <a:gd name="connsiteX784" fmla="*/ 187262 w 342900"/>
                  <a:gd name="connsiteY784" fmla="*/ 359188 h 400050"/>
                  <a:gd name="connsiteX785" fmla="*/ 188024 w 342900"/>
                  <a:gd name="connsiteY785" fmla="*/ 359188 h 400050"/>
                  <a:gd name="connsiteX786" fmla="*/ 188881 w 342900"/>
                  <a:gd name="connsiteY786" fmla="*/ 359188 h 400050"/>
                  <a:gd name="connsiteX787" fmla="*/ 188881 w 342900"/>
                  <a:gd name="connsiteY787" fmla="*/ 359188 h 400050"/>
                  <a:gd name="connsiteX788" fmla="*/ 191453 w 342900"/>
                  <a:gd name="connsiteY788" fmla="*/ 359188 h 400050"/>
                  <a:gd name="connsiteX789" fmla="*/ 192310 w 342900"/>
                  <a:gd name="connsiteY789" fmla="*/ 360045 h 400050"/>
                  <a:gd name="connsiteX790" fmla="*/ 193929 w 342900"/>
                  <a:gd name="connsiteY790" fmla="*/ 359188 h 400050"/>
                  <a:gd name="connsiteX791" fmla="*/ 193929 w 342900"/>
                  <a:gd name="connsiteY791" fmla="*/ 359188 h 400050"/>
                  <a:gd name="connsiteX792" fmla="*/ 195644 w 342900"/>
                  <a:gd name="connsiteY792" fmla="*/ 358330 h 400050"/>
                  <a:gd name="connsiteX793" fmla="*/ 195644 w 342900"/>
                  <a:gd name="connsiteY793" fmla="*/ 358330 h 400050"/>
                  <a:gd name="connsiteX794" fmla="*/ 196501 w 342900"/>
                  <a:gd name="connsiteY794" fmla="*/ 358330 h 400050"/>
                  <a:gd name="connsiteX795" fmla="*/ 198215 w 342900"/>
                  <a:gd name="connsiteY795" fmla="*/ 358330 h 400050"/>
                  <a:gd name="connsiteX796" fmla="*/ 202406 w 342900"/>
                  <a:gd name="connsiteY796" fmla="*/ 361759 h 400050"/>
                  <a:gd name="connsiteX797" fmla="*/ 204121 w 342900"/>
                  <a:gd name="connsiteY797" fmla="*/ 361759 h 400050"/>
                  <a:gd name="connsiteX798" fmla="*/ 205740 w 342900"/>
                  <a:gd name="connsiteY798" fmla="*/ 361759 h 400050"/>
                  <a:gd name="connsiteX799" fmla="*/ 206597 w 342900"/>
                  <a:gd name="connsiteY799" fmla="*/ 360045 h 400050"/>
                  <a:gd name="connsiteX800" fmla="*/ 206597 w 342900"/>
                  <a:gd name="connsiteY800" fmla="*/ 358330 h 400050"/>
                  <a:gd name="connsiteX801" fmla="*/ 206597 w 342900"/>
                  <a:gd name="connsiteY801" fmla="*/ 357473 h 400050"/>
                  <a:gd name="connsiteX802" fmla="*/ 205740 w 342900"/>
                  <a:gd name="connsiteY802" fmla="*/ 356711 h 400050"/>
                  <a:gd name="connsiteX803" fmla="*/ 204978 w 342900"/>
                  <a:gd name="connsiteY803" fmla="*/ 355854 h 400050"/>
                  <a:gd name="connsiteX804" fmla="*/ 203264 w 342900"/>
                  <a:gd name="connsiteY804" fmla="*/ 354997 h 400050"/>
                  <a:gd name="connsiteX805" fmla="*/ 202406 w 342900"/>
                  <a:gd name="connsiteY805" fmla="*/ 354997 h 400050"/>
                  <a:gd name="connsiteX806" fmla="*/ 202406 w 342900"/>
                  <a:gd name="connsiteY806" fmla="*/ 353282 h 400050"/>
                  <a:gd name="connsiteX807" fmla="*/ 203264 w 342900"/>
                  <a:gd name="connsiteY807" fmla="*/ 352425 h 400050"/>
                  <a:gd name="connsiteX808" fmla="*/ 203264 w 342900"/>
                  <a:gd name="connsiteY808" fmla="*/ 352425 h 400050"/>
                  <a:gd name="connsiteX809" fmla="*/ 205740 w 342900"/>
                  <a:gd name="connsiteY809" fmla="*/ 351663 h 400050"/>
                  <a:gd name="connsiteX810" fmla="*/ 205740 w 342900"/>
                  <a:gd name="connsiteY810" fmla="*/ 351663 h 400050"/>
                  <a:gd name="connsiteX811" fmla="*/ 206597 w 342900"/>
                  <a:gd name="connsiteY811" fmla="*/ 350806 h 400050"/>
                  <a:gd name="connsiteX812" fmla="*/ 205740 w 342900"/>
                  <a:gd name="connsiteY812" fmla="*/ 349948 h 400050"/>
                  <a:gd name="connsiteX813" fmla="*/ 204978 w 342900"/>
                  <a:gd name="connsiteY813" fmla="*/ 349091 h 400050"/>
                  <a:gd name="connsiteX814" fmla="*/ 203264 w 342900"/>
                  <a:gd name="connsiteY814" fmla="*/ 348234 h 400050"/>
                  <a:gd name="connsiteX815" fmla="*/ 202406 w 342900"/>
                  <a:gd name="connsiteY815" fmla="*/ 347377 h 400050"/>
                  <a:gd name="connsiteX816" fmla="*/ 201549 w 342900"/>
                  <a:gd name="connsiteY816" fmla="*/ 346519 h 400050"/>
                  <a:gd name="connsiteX817" fmla="*/ 201549 w 342900"/>
                  <a:gd name="connsiteY817" fmla="*/ 344043 h 400050"/>
                  <a:gd name="connsiteX818" fmla="*/ 202406 w 342900"/>
                  <a:gd name="connsiteY818" fmla="*/ 343186 h 400050"/>
                  <a:gd name="connsiteX819" fmla="*/ 203264 w 342900"/>
                  <a:gd name="connsiteY819" fmla="*/ 343186 h 400050"/>
                  <a:gd name="connsiteX820" fmla="*/ 204121 w 342900"/>
                  <a:gd name="connsiteY820" fmla="*/ 344043 h 400050"/>
                  <a:gd name="connsiteX821" fmla="*/ 205740 w 342900"/>
                  <a:gd name="connsiteY821" fmla="*/ 344043 h 400050"/>
                  <a:gd name="connsiteX822" fmla="*/ 205740 w 342900"/>
                  <a:gd name="connsiteY822" fmla="*/ 344900 h 400050"/>
                  <a:gd name="connsiteX823" fmla="*/ 206597 w 342900"/>
                  <a:gd name="connsiteY823" fmla="*/ 344900 h 400050"/>
                  <a:gd name="connsiteX824" fmla="*/ 206597 w 342900"/>
                  <a:gd name="connsiteY824" fmla="*/ 345757 h 400050"/>
                  <a:gd name="connsiteX825" fmla="*/ 207455 w 342900"/>
                  <a:gd name="connsiteY825" fmla="*/ 346519 h 400050"/>
                  <a:gd name="connsiteX826" fmla="*/ 207455 w 342900"/>
                  <a:gd name="connsiteY826" fmla="*/ 347377 h 400050"/>
                  <a:gd name="connsiteX827" fmla="*/ 208312 w 342900"/>
                  <a:gd name="connsiteY827" fmla="*/ 348234 h 400050"/>
                  <a:gd name="connsiteX828" fmla="*/ 208312 w 342900"/>
                  <a:gd name="connsiteY828" fmla="*/ 348234 h 400050"/>
                  <a:gd name="connsiteX829" fmla="*/ 209169 w 342900"/>
                  <a:gd name="connsiteY829" fmla="*/ 349091 h 400050"/>
                  <a:gd name="connsiteX830" fmla="*/ 214217 w 342900"/>
                  <a:gd name="connsiteY830" fmla="*/ 348234 h 400050"/>
                  <a:gd name="connsiteX831" fmla="*/ 216789 w 342900"/>
                  <a:gd name="connsiteY831" fmla="*/ 347377 h 400050"/>
                  <a:gd name="connsiteX832" fmla="*/ 217551 w 342900"/>
                  <a:gd name="connsiteY832" fmla="*/ 347377 h 400050"/>
                  <a:gd name="connsiteX833" fmla="*/ 218408 w 342900"/>
                  <a:gd name="connsiteY833" fmla="*/ 348234 h 400050"/>
                  <a:gd name="connsiteX834" fmla="*/ 221837 w 342900"/>
                  <a:gd name="connsiteY834" fmla="*/ 351663 h 400050"/>
                  <a:gd name="connsiteX835" fmla="*/ 221837 w 342900"/>
                  <a:gd name="connsiteY835" fmla="*/ 352425 h 400050"/>
                  <a:gd name="connsiteX836" fmla="*/ 221837 w 342900"/>
                  <a:gd name="connsiteY836" fmla="*/ 353282 h 400050"/>
                  <a:gd name="connsiteX837" fmla="*/ 221837 w 342900"/>
                  <a:gd name="connsiteY837" fmla="*/ 353282 h 400050"/>
                  <a:gd name="connsiteX838" fmla="*/ 220980 w 342900"/>
                  <a:gd name="connsiteY838" fmla="*/ 353282 h 400050"/>
                  <a:gd name="connsiteX839" fmla="*/ 220123 w 342900"/>
                  <a:gd name="connsiteY839" fmla="*/ 353282 h 400050"/>
                  <a:gd name="connsiteX840" fmla="*/ 218408 w 342900"/>
                  <a:gd name="connsiteY840" fmla="*/ 352425 h 400050"/>
                  <a:gd name="connsiteX841" fmla="*/ 217551 w 342900"/>
                  <a:gd name="connsiteY841" fmla="*/ 352425 h 400050"/>
                  <a:gd name="connsiteX842" fmla="*/ 217551 w 342900"/>
                  <a:gd name="connsiteY842" fmla="*/ 352425 h 400050"/>
                  <a:gd name="connsiteX843" fmla="*/ 217551 w 342900"/>
                  <a:gd name="connsiteY843" fmla="*/ 353282 h 400050"/>
                  <a:gd name="connsiteX844" fmla="*/ 217551 w 342900"/>
                  <a:gd name="connsiteY844" fmla="*/ 354140 h 400050"/>
                  <a:gd name="connsiteX845" fmla="*/ 217551 w 342900"/>
                  <a:gd name="connsiteY845" fmla="*/ 354997 h 400050"/>
                  <a:gd name="connsiteX846" fmla="*/ 220123 w 342900"/>
                  <a:gd name="connsiteY846" fmla="*/ 356711 h 400050"/>
                  <a:gd name="connsiteX847" fmla="*/ 220980 w 342900"/>
                  <a:gd name="connsiteY847" fmla="*/ 357473 h 400050"/>
                  <a:gd name="connsiteX848" fmla="*/ 220980 w 342900"/>
                  <a:gd name="connsiteY848" fmla="*/ 357473 h 400050"/>
                  <a:gd name="connsiteX849" fmla="*/ 220980 w 342900"/>
                  <a:gd name="connsiteY849" fmla="*/ 358330 h 400050"/>
                  <a:gd name="connsiteX850" fmla="*/ 220980 w 342900"/>
                  <a:gd name="connsiteY850" fmla="*/ 358330 h 400050"/>
                  <a:gd name="connsiteX851" fmla="*/ 218408 w 342900"/>
                  <a:gd name="connsiteY851" fmla="*/ 359188 h 400050"/>
                  <a:gd name="connsiteX852" fmla="*/ 217551 w 342900"/>
                  <a:gd name="connsiteY852" fmla="*/ 359188 h 400050"/>
                  <a:gd name="connsiteX853" fmla="*/ 217551 w 342900"/>
                  <a:gd name="connsiteY853" fmla="*/ 360045 h 400050"/>
                  <a:gd name="connsiteX854" fmla="*/ 218408 w 342900"/>
                  <a:gd name="connsiteY854" fmla="*/ 360902 h 400050"/>
                  <a:gd name="connsiteX855" fmla="*/ 222695 w 342900"/>
                  <a:gd name="connsiteY855" fmla="*/ 362617 h 400050"/>
                  <a:gd name="connsiteX856" fmla="*/ 223457 w 342900"/>
                  <a:gd name="connsiteY856" fmla="*/ 362617 h 400050"/>
                  <a:gd name="connsiteX857" fmla="*/ 225171 w 342900"/>
                  <a:gd name="connsiteY857" fmla="*/ 362617 h 400050"/>
                  <a:gd name="connsiteX858" fmla="*/ 226028 w 342900"/>
                  <a:gd name="connsiteY858" fmla="*/ 362617 h 400050"/>
                  <a:gd name="connsiteX859" fmla="*/ 226028 w 342900"/>
                  <a:gd name="connsiteY859" fmla="*/ 363379 h 400050"/>
                  <a:gd name="connsiteX860" fmla="*/ 226886 w 342900"/>
                  <a:gd name="connsiteY860" fmla="*/ 364236 h 400050"/>
                  <a:gd name="connsiteX861" fmla="*/ 227743 w 342900"/>
                  <a:gd name="connsiteY861" fmla="*/ 369284 h 400050"/>
                  <a:gd name="connsiteX862" fmla="*/ 227743 w 342900"/>
                  <a:gd name="connsiteY862" fmla="*/ 370142 h 400050"/>
                  <a:gd name="connsiteX863" fmla="*/ 228600 w 342900"/>
                  <a:gd name="connsiteY863" fmla="*/ 370999 h 400050"/>
                  <a:gd name="connsiteX864" fmla="*/ 229362 w 342900"/>
                  <a:gd name="connsiteY864" fmla="*/ 371856 h 400050"/>
                  <a:gd name="connsiteX865" fmla="*/ 230219 w 342900"/>
                  <a:gd name="connsiteY865" fmla="*/ 371856 h 400050"/>
                  <a:gd name="connsiteX866" fmla="*/ 231077 w 342900"/>
                  <a:gd name="connsiteY866" fmla="*/ 370999 h 400050"/>
                  <a:gd name="connsiteX867" fmla="*/ 232791 w 342900"/>
                  <a:gd name="connsiteY867" fmla="*/ 368522 h 400050"/>
                  <a:gd name="connsiteX868" fmla="*/ 233648 w 342900"/>
                  <a:gd name="connsiteY868" fmla="*/ 368522 h 400050"/>
                  <a:gd name="connsiteX869" fmla="*/ 233648 w 342900"/>
                  <a:gd name="connsiteY869" fmla="*/ 367665 h 400050"/>
                  <a:gd name="connsiteX870" fmla="*/ 235268 w 342900"/>
                  <a:gd name="connsiteY870" fmla="*/ 366808 h 400050"/>
                  <a:gd name="connsiteX871" fmla="*/ 236125 w 342900"/>
                  <a:gd name="connsiteY871" fmla="*/ 366808 h 400050"/>
                  <a:gd name="connsiteX872" fmla="*/ 238697 w 342900"/>
                  <a:gd name="connsiteY872" fmla="*/ 366808 h 400050"/>
                  <a:gd name="connsiteX873" fmla="*/ 240411 w 342900"/>
                  <a:gd name="connsiteY873" fmla="*/ 365950 h 400050"/>
                  <a:gd name="connsiteX874" fmla="*/ 241173 w 342900"/>
                  <a:gd name="connsiteY874" fmla="*/ 365950 h 400050"/>
                  <a:gd name="connsiteX875" fmla="*/ 241173 w 342900"/>
                  <a:gd name="connsiteY875" fmla="*/ 365093 h 400050"/>
                  <a:gd name="connsiteX876" fmla="*/ 241173 w 342900"/>
                  <a:gd name="connsiteY876" fmla="*/ 364236 h 400050"/>
                  <a:gd name="connsiteX877" fmla="*/ 240411 w 342900"/>
                  <a:gd name="connsiteY877" fmla="*/ 361759 h 400050"/>
                  <a:gd name="connsiteX878" fmla="*/ 239554 w 342900"/>
                  <a:gd name="connsiteY878" fmla="*/ 360902 h 400050"/>
                  <a:gd name="connsiteX879" fmla="*/ 239554 w 342900"/>
                  <a:gd name="connsiteY879" fmla="*/ 360045 h 400050"/>
                  <a:gd name="connsiteX880" fmla="*/ 239554 w 342900"/>
                  <a:gd name="connsiteY880" fmla="*/ 359188 h 400050"/>
                  <a:gd name="connsiteX881" fmla="*/ 239554 w 342900"/>
                  <a:gd name="connsiteY881" fmla="*/ 358330 h 400050"/>
                  <a:gd name="connsiteX882" fmla="*/ 239554 w 342900"/>
                  <a:gd name="connsiteY882" fmla="*/ 357473 h 400050"/>
                  <a:gd name="connsiteX883" fmla="*/ 240411 w 342900"/>
                  <a:gd name="connsiteY883" fmla="*/ 356711 h 400050"/>
                  <a:gd name="connsiteX884" fmla="*/ 241173 w 342900"/>
                  <a:gd name="connsiteY884" fmla="*/ 355854 h 400050"/>
                  <a:gd name="connsiteX885" fmla="*/ 242888 w 342900"/>
                  <a:gd name="connsiteY885" fmla="*/ 354997 h 400050"/>
                  <a:gd name="connsiteX886" fmla="*/ 243745 w 342900"/>
                  <a:gd name="connsiteY886" fmla="*/ 354140 h 400050"/>
                  <a:gd name="connsiteX887" fmla="*/ 245459 w 342900"/>
                  <a:gd name="connsiteY887" fmla="*/ 353282 h 400050"/>
                  <a:gd name="connsiteX888" fmla="*/ 245459 w 342900"/>
                  <a:gd name="connsiteY888" fmla="*/ 352425 h 400050"/>
                  <a:gd name="connsiteX889" fmla="*/ 247079 w 342900"/>
                  <a:gd name="connsiteY889" fmla="*/ 351663 h 400050"/>
                  <a:gd name="connsiteX890" fmla="*/ 248793 w 342900"/>
                  <a:gd name="connsiteY890" fmla="*/ 350806 h 400050"/>
                  <a:gd name="connsiteX891" fmla="*/ 249650 w 342900"/>
                  <a:gd name="connsiteY891" fmla="*/ 349948 h 400050"/>
                  <a:gd name="connsiteX892" fmla="*/ 252127 w 342900"/>
                  <a:gd name="connsiteY892" fmla="*/ 348234 h 400050"/>
                  <a:gd name="connsiteX893" fmla="*/ 254699 w 342900"/>
                  <a:gd name="connsiteY893" fmla="*/ 344900 h 400050"/>
                  <a:gd name="connsiteX894" fmla="*/ 255556 w 342900"/>
                  <a:gd name="connsiteY894" fmla="*/ 343186 h 400050"/>
                  <a:gd name="connsiteX895" fmla="*/ 256413 w 342900"/>
                  <a:gd name="connsiteY895" fmla="*/ 342328 h 400050"/>
                  <a:gd name="connsiteX896" fmla="*/ 257270 w 342900"/>
                  <a:gd name="connsiteY896" fmla="*/ 340614 h 400050"/>
                  <a:gd name="connsiteX897" fmla="*/ 259747 w 342900"/>
                  <a:gd name="connsiteY897" fmla="*/ 338995 h 400050"/>
                  <a:gd name="connsiteX898" fmla="*/ 260604 w 342900"/>
                  <a:gd name="connsiteY898" fmla="*/ 338995 h 400050"/>
                  <a:gd name="connsiteX899" fmla="*/ 261461 w 342900"/>
                  <a:gd name="connsiteY899" fmla="*/ 338995 h 400050"/>
                  <a:gd name="connsiteX900" fmla="*/ 262319 w 342900"/>
                  <a:gd name="connsiteY900" fmla="*/ 338995 h 400050"/>
                  <a:gd name="connsiteX901" fmla="*/ 263176 w 342900"/>
                  <a:gd name="connsiteY901" fmla="*/ 339852 h 400050"/>
                  <a:gd name="connsiteX902" fmla="*/ 263938 w 342900"/>
                  <a:gd name="connsiteY902" fmla="*/ 340614 h 400050"/>
                  <a:gd name="connsiteX903" fmla="*/ 263938 w 342900"/>
                  <a:gd name="connsiteY903" fmla="*/ 340614 h 400050"/>
                  <a:gd name="connsiteX904" fmla="*/ 265652 w 342900"/>
                  <a:gd name="connsiteY904" fmla="*/ 343186 h 400050"/>
                  <a:gd name="connsiteX905" fmla="*/ 266510 w 342900"/>
                  <a:gd name="connsiteY905" fmla="*/ 344043 h 400050"/>
                  <a:gd name="connsiteX906" fmla="*/ 270701 w 342900"/>
                  <a:gd name="connsiteY906" fmla="*/ 347377 h 400050"/>
                  <a:gd name="connsiteX907" fmla="*/ 271558 w 342900"/>
                  <a:gd name="connsiteY907" fmla="*/ 348234 h 400050"/>
                  <a:gd name="connsiteX908" fmla="*/ 272415 w 342900"/>
                  <a:gd name="connsiteY908" fmla="*/ 349948 h 400050"/>
                  <a:gd name="connsiteX909" fmla="*/ 272415 w 342900"/>
                  <a:gd name="connsiteY909" fmla="*/ 351663 h 400050"/>
                  <a:gd name="connsiteX910" fmla="*/ 272415 w 342900"/>
                  <a:gd name="connsiteY910" fmla="*/ 352425 h 400050"/>
                  <a:gd name="connsiteX911" fmla="*/ 269843 w 342900"/>
                  <a:gd name="connsiteY911" fmla="*/ 360045 h 400050"/>
                  <a:gd name="connsiteX912" fmla="*/ 269843 w 342900"/>
                  <a:gd name="connsiteY912" fmla="*/ 361759 h 400050"/>
                  <a:gd name="connsiteX913" fmla="*/ 269843 w 342900"/>
                  <a:gd name="connsiteY913" fmla="*/ 364236 h 400050"/>
                  <a:gd name="connsiteX914" fmla="*/ 270701 w 342900"/>
                  <a:gd name="connsiteY914" fmla="*/ 365950 h 400050"/>
                  <a:gd name="connsiteX915" fmla="*/ 271558 w 342900"/>
                  <a:gd name="connsiteY915" fmla="*/ 368522 h 400050"/>
                  <a:gd name="connsiteX916" fmla="*/ 271558 w 342900"/>
                  <a:gd name="connsiteY916" fmla="*/ 369284 h 400050"/>
                  <a:gd name="connsiteX917" fmla="*/ 271558 w 342900"/>
                  <a:gd name="connsiteY917" fmla="*/ 370142 h 400050"/>
                  <a:gd name="connsiteX918" fmla="*/ 271558 w 342900"/>
                  <a:gd name="connsiteY918" fmla="*/ 370999 h 400050"/>
                  <a:gd name="connsiteX919" fmla="*/ 271558 w 342900"/>
                  <a:gd name="connsiteY919" fmla="*/ 371856 h 400050"/>
                  <a:gd name="connsiteX920" fmla="*/ 271558 w 342900"/>
                  <a:gd name="connsiteY920" fmla="*/ 372713 h 400050"/>
                  <a:gd name="connsiteX921" fmla="*/ 271558 w 342900"/>
                  <a:gd name="connsiteY921" fmla="*/ 374332 h 400050"/>
                  <a:gd name="connsiteX922" fmla="*/ 272415 w 342900"/>
                  <a:gd name="connsiteY922" fmla="*/ 376047 h 400050"/>
                  <a:gd name="connsiteX923" fmla="*/ 272415 w 342900"/>
                  <a:gd name="connsiteY923" fmla="*/ 377761 h 400050"/>
                  <a:gd name="connsiteX924" fmla="*/ 272415 w 342900"/>
                  <a:gd name="connsiteY924" fmla="*/ 378619 h 400050"/>
                  <a:gd name="connsiteX925" fmla="*/ 272415 w 342900"/>
                  <a:gd name="connsiteY925" fmla="*/ 380238 h 400050"/>
                  <a:gd name="connsiteX926" fmla="*/ 272415 w 342900"/>
                  <a:gd name="connsiteY926" fmla="*/ 384524 h 400050"/>
                  <a:gd name="connsiteX927" fmla="*/ 272415 w 342900"/>
                  <a:gd name="connsiteY927" fmla="*/ 385382 h 400050"/>
                  <a:gd name="connsiteX928" fmla="*/ 272415 w 342900"/>
                  <a:gd name="connsiteY928" fmla="*/ 386144 h 400050"/>
                  <a:gd name="connsiteX929" fmla="*/ 271558 w 342900"/>
                  <a:gd name="connsiteY929" fmla="*/ 387001 h 400050"/>
                  <a:gd name="connsiteX930" fmla="*/ 269843 w 342900"/>
                  <a:gd name="connsiteY930" fmla="*/ 389572 h 400050"/>
                  <a:gd name="connsiteX931" fmla="*/ 269081 w 342900"/>
                  <a:gd name="connsiteY931" fmla="*/ 391287 h 400050"/>
                  <a:gd name="connsiteX932" fmla="*/ 268224 w 342900"/>
                  <a:gd name="connsiteY932" fmla="*/ 399669 h 400050"/>
                  <a:gd name="connsiteX933" fmla="*/ 268224 w 342900"/>
                  <a:gd name="connsiteY933" fmla="*/ 400526 h 400050"/>
                  <a:gd name="connsiteX934" fmla="*/ 268224 w 342900"/>
                  <a:gd name="connsiteY934" fmla="*/ 401384 h 400050"/>
                  <a:gd name="connsiteX935" fmla="*/ 269081 w 342900"/>
                  <a:gd name="connsiteY935" fmla="*/ 402241 h 400050"/>
                  <a:gd name="connsiteX936" fmla="*/ 269081 w 342900"/>
                  <a:gd name="connsiteY936" fmla="*/ 403003 h 400050"/>
                  <a:gd name="connsiteX937" fmla="*/ 269843 w 342900"/>
                  <a:gd name="connsiteY937" fmla="*/ 403860 h 400050"/>
                  <a:gd name="connsiteX938" fmla="*/ 269843 w 342900"/>
                  <a:gd name="connsiteY938" fmla="*/ 403860 h 400050"/>
                  <a:gd name="connsiteX939" fmla="*/ 269843 w 342900"/>
                  <a:gd name="connsiteY939" fmla="*/ 404717 h 400050"/>
                  <a:gd name="connsiteX940" fmla="*/ 267367 w 342900"/>
                  <a:gd name="connsiteY940" fmla="*/ 404717 h 400050"/>
                  <a:gd name="connsiteX941" fmla="*/ 267367 w 342900"/>
                  <a:gd name="connsiteY941" fmla="*/ 405574 h 400050"/>
                  <a:gd name="connsiteX942" fmla="*/ 266510 w 342900"/>
                  <a:gd name="connsiteY942" fmla="*/ 406432 h 400050"/>
                  <a:gd name="connsiteX943" fmla="*/ 266510 w 342900"/>
                  <a:gd name="connsiteY943" fmla="*/ 407289 h 400050"/>
                  <a:gd name="connsiteX944" fmla="*/ 267367 w 342900"/>
                  <a:gd name="connsiteY944" fmla="*/ 408146 h 400050"/>
                  <a:gd name="connsiteX945" fmla="*/ 267367 w 342900"/>
                  <a:gd name="connsiteY945" fmla="*/ 408146 h 400050"/>
                  <a:gd name="connsiteX946" fmla="*/ 269081 w 342900"/>
                  <a:gd name="connsiteY946" fmla="*/ 408908 h 400050"/>
                  <a:gd name="connsiteX947" fmla="*/ 272415 w 342900"/>
                  <a:gd name="connsiteY947" fmla="*/ 407289 h 400050"/>
                  <a:gd name="connsiteX948" fmla="*/ 275749 w 342900"/>
                  <a:gd name="connsiteY948" fmla="*/ 408146 h 400050"/>
                  <a:gd name="connsiteX949" fmla="*/ 276606 w 342900"/>
                  <a:gd name="connsiteY949" fmla="*/ 406432 h 400050"/>
                  <a:gd name="connsiteX950" fmla="*/ 278321 w 342900"/>
                  <a:gd name="connsiteY950" fmla="*/ 403003 h 400050"/>
                  <a:gd name="connsiteX951" fmla="*/ 279178 w 342900"/>
                  <a:gd name="connsiteY951" fmla="*/ 401384 h 400050"/>
                  <a:gd name="connsiteX952" fmla="*/ 280892 w 342900"/>
                  <a:gd name="connsiteY952" fmla="*/ 400526 h 400050"/>
                  <a:gd name="connsiteX953" fmla="*/ 286798 w 342900"/>
                  <a:gd name="connsiteY953" fmla="*/ 399669 h 400050"/>
                  <a:gd name="connsiteX954" fmla="*/ 287560 w 342900"/>
                  <a:gd name="connsiteY954" fmla="*/ 399669 h 400050"/>
                  <a:gd name="connsiteX955" fmla="*/ 286798 w 342900"/>
                  <a:gd name="connsiteY955" fmla="*/ 398812 h 400050"/>
                  <a:gd name="connsiteX956" fmla="*/ 285941 w 342900"/>
                  <a:gd name="connsiteY956" fmla="*/ 397955 h 400050"/>
                  <a:gd name="connsiteX957" fmla="*/ 283369 w 342900"/>
                  <a:gd name="connsiteY957" fmla="*/ 396335 h 400050"/>
                  <a:gd name="connsiteX958" fmla="*/ 282512 w 342900"/>
                  <a:gd name="connsiteY958" fmla="*/ 395478 h 400050"/>
                  <a:gd name="connsiteX959" fmla="*/ 282512 w 342900"/>
                  <a:gd name="connsiteY959" fmla="*/ 393763 h 400050"/>
                  <a:gd name="connsiteX960" fmla="*/ 283369 w 342900"/>
                  <a:gd name="connsiteY960" fmla="*/ 392049 h 400050"/>
                  <a:gd name="connsiteX961" fmla="*/ 284226 w 342900"/>
                  <a:gd name="connsiteY961" fmla="*/ 391287 h 400050"/>
                  <a:gd name="connsiteX962" fmla="*/ 285941 w 342900"/>
                  <a:gd name="connsiteY962" fmla="*/ 391287 h 400050"/>
                  <a:gd name="connsiteX963" fmla="*/ 289274 w 342900"/>
                  <a:gd name="connsiteY963" fmla="*/ 392906 h 400050"/>
                  <a:gd name="connsiteX964" fmla="*/ 291846 w 342900"/>
                  <a:gd name="connsiteY964" fmla="*/ 393763 h 400050"/>
                  <a:gd name="connsiteX965" fmla="*/ 293465 w 342900"/>
                  <a:gd name="connsiteY965" fmla="*/ 393763 h 400050"/>
                  <a:gd name="connsiteX966" fmla="*/ 294323 w 342900"/>
                  <a:gd name="connsiteY966" fmla="*/ 392906 h 400050"/>
                  <a:gd name="connsiteX967" fmla="*/ 296037 w 342900"/>
                  <a:gd name="connsiteY967" fmla="*/ 390430 h 400050"/>
                  <a:gd name="connsiteX968" fmla="*/ 296894 w 342900"/>
                  <a:gd name="connsiteY968" fmla="*/ 390430 h 400050"/>
                  <a:gd name="connsiteX969" fmla="*/ 297752 w 342900"/>
                  <a:gd name="connsiteY969" fmla="*/ 391287 h 400050"/>
                  <a:gd name="connsiteX970" fmla="*/ 297752 w 342900"/>
                  <a:gd name="connsiteY970" fmla="*/ 392049 h 400050"/>
                  <a:gd name="connsiteX971" fmla="*/ 298609 w 342900"/>
                  <a:gd name="connsiteY971" fmla="*/ 392906 h 400050"/>
                  <a:gd name="connsiteX972" fmla="*/ 299371 w 342900"/>
                  <a:gd name="connsiteY972" fmla="*/ 392906 h 400050"/>
                  <a:gd name="connsiteX973" fmla="*/ 300228 w 342900"/>
                  <a:gd name="connsiteY973" fmla="*/ 392049 h 400050"/>
                  <a:gd name="connsiteX974" fmla="*/ 300228 w 342900"/>
                  <a:gd name="connsiteY974" fmla="*/ 390430 h 400050"/>
                  <a:gd name="connsiteX975" fmla="*/ 301085 w 342900"/>
                  <a:gd name="connsiteY975" fmla="*/ 390430 h 400050"/>
                  <a:gd name="connsiteX976" fmla="*/ 301943 w 342900"/>
                  <a:gd name="connsiteY976" fmla="*/ 391287 h 400050"/>
                  <a:gd name="connsiteX977" fmla="*/ 302800 w 342900"/>
                  <a:gd name="connsiteY977" fmla="*/ 392049 h 400050"/>
                  <a:gd name="connsiteX978" fmla="*/ 303657 w 342900"/>
                  <a:gd name="connsiteY978" fmla="*/ 392906 h 400050"/>
                  <a:gd name="connsiteX979" fmla="*/ 304419 w 342900"/>
                  <a:gd name="connsiteY979" fmla="*/ 393763 h 400050"/>
                  <a:gd name="connsiteX980" fmla="*/ 304419 w 342900"/>
                  <a:gd name="connsiteY980" fmla="*/ 393763 h 400050"/>
                  <a:gd name="connsiteX981" fmla="*/ 305276 w 342900"/>
                  <a:gd name="connsiteY981" fmla="*/ 392906 h 400050"/>
                  <a:gd name="connsiteX982" fmla="*/ 306134 w 342900"/>
                  <a:gd name="connsiteY982" fmla="*/ 391287 h 400050"/>
                  <a:gd name="connsiteX983" fmla="*/ 309563 w 342900"/>
                  <a:gd name="connsiteY983" fmla="*/ 391287 h 400050"/>
                  <a:gd name="connsiteX984" fmla="*/ 312896 w 342900"/>
                  <a:gd name="connsiteY984" fmla="*/ 388715 h 400050"/>
                  <a:gd name="connsiteX985" fmla="*/ 312896 w 342900"/>
                  <a:gd name="connsiteY985" fmla="*/ 388715 h 400050"/>
                  <a:gd name="connsiteX986" fmla="*/ 313754 w 342900"/>
                  <a:gd name="connsiteY986" fmla="*/ 387858 h 400050"/>
                  <a:gd name="connsiteX987" fmla="*/ 314611 w 342900"/>
                  <a:gd name="connsiteY987" fmla="*/ 387858 h 400050"/>
                  <a:gd name="connsiteX988" fmla="*/ 315468 w 342900"/>
                  <a:gd name="connsiteY988" fmla="*/ 387858 h 400050"/>
                  <a:gd name="connsiteX989" fmla="*/ 316230 w 342900"/>
                  <a:gd name="connsiteY989" fmla="*/ 387001 h 400050"/>
                  <a:gd name="connsiteX990" fmla="*/ 317945 w 342900"/>
                  <a:gd name="connsiteY990" fmla="*/ 386144 h 400050"/>
                  <a:gd name="connsiteX991" fmla="*/ 321374 w 342900"/>
                  <a:gd name="connsiteY991" fmla="*/ 385382 h 400050"/>
                  <a:gd name="connsiteX992" fmla="*/ 322136 w 342900"/>
                  <a:gd name="connsiteY992" fmla="*/ 384524 h 400050"/>
                  <a:gd name="connsiteX993" fmla="*/ 325565 w 342900"/>
                  <a:gd name="connsiteY993" fmla="*/ 381953 h 400050"/>
                  <a:gd name="connsiteX994" fmla="*/ 326422 w 342900"/>
                  <a:gd name="connsiteY994" fmla="*/ 381095 h 400050"/>
                  <a:gd name="connsiteX995" fmla="*/ 328041 w 342900"/>
                  <a:gd name="connsiteY995" fmla="*/ 381953 h 400050"/>
                  <a:gd name="connsiteX996" fmla="*/ 328898 w 342900"/>
                  <a:gd name="connsiteY996" fmla="*/ 381953 h 400050"/>
                  <a:gd name="connsiteX997" fmla="*/ 330613 w 342900"/>
                  <a:gd name="connsiteY997" fmla="*/ 381953 h 400050"/>
                  <a:gd name="connsiteX998" fmla="*/ 331470 w 342900"/>
                  <a:gd name="connsiteY998" fmla="*/ 380238 h 400050"/>
                  <a:gd name="connsiteX999" fmla="*/ 332327 w 342900"/>
                  <a:gd name="connsiteY999" fmla="*/ 377761 h 400050"/>
                  <a:gd name="connsiteX1000" fmla="*/ 333185 w 342900"/>
                  <a:gd name="connsiteY1000" fmla="*/ 376904 h 400050"/>
                  <a:gd name="connsiteX1001" fmla="*/ 334804 w 342900"/>
                  <a:gd name="connsiteY1001" fmla="*/ 375190 h 400050"/>
                  <a:gd name="connsiteX1002" fmla="*/ 336518 w 342900"/>
                  <a:gd name="connsiteY1002" fmla="*/ 373571 h 400050"/>
                  <a:gd name="connsiteX1003" fmla="*/ 336518 w 342900"/>
                  <a:gd name="connsiteY1003" fmla="*/ 370999 h 400050"/>
                  <a:gd name="connsiteX1004" fmla="*/ 334804 w 342900"/>
                  <a:gd name="connsiteY1004" fmla="*/ 368522 h 400050"/>
                  <a:gd name="connsiteX1005" fmla="*/ 333947 w 342900"/>
                  <a:gd name="connsiteY1005" fmla="*/ 365093 h 400050"/>
                  <a:gd name="connsiteX1006" fmla="*/ 333185 w 342900"/>
                  <a:gd name="connsiteY1006" fmla="*/ 364236 h 400050"/>
                  <a:gd name="connsiteX1007" fmla="*/ 331470 w 342900"/>
                  <a:gd name="connsiteY1007" fmla="*/ 363379 h 400050"/>
                  <a:gd name="connsiteX1008" fmla="*/ 329756 w 342900"/>
                  <a:gd name="connsiteY1008" fmla="*/ 362617 h 400050"/>
                  <a:gd name="connsiteX1009" fmla="*/ 330613 w 342900"/>
                  <a:gd name="connsiteY1009" fmla="*/ 359188 h 400050"/>
                  <a:gd name="connsiteX1010" fmla="*/ 330613 w 342900"/>
                  <a:gd name="connsiteY1010" fmla="*/ 355854 h 400050"/>
                  <a:gd name="connsiteX1011" fmla="*/ 330613 w 342900"/>
                  <a:gd name="connsiteY1011" fmla="*/ 354140 h 400050"/>
                  <a:gd name="connsiteX1012" fmla="*/ 333947 w 342900"/>
                  <a:gd name="connsiteY1012" fmla="*/ 356711 h 400050"/>
                  <a:gd name="connsiteX1013" fmla="*/ 333185 w 342900"/>
                  <a:gd name="connsiteY1013" fmla="*/ 352425 h 400050"/>
                  <a:gd name="connsiteX1014" fmla="*/ 333185 w 342900"/>
                  <a:gd name="connsiteY1014" fmla="*/ 349091 h 400050"/>
                  <a:gd name="connsiteX1015" fmla="*/ 334804 w 342900"/>
                  <a:gd name="connsiteY1015" fmla="*/ 346519 h 400050"/>
                  <a:gd name="connsiteX1016" fmla="*/ 338233 w 342900"/>
                  <a:gd name="connsiteY1016" fmla="*/ 345757 h 400050"/>
                  <a:gd name="connsiteX1017" fmla="*/ 336518 w 342900"/>
                  <a:gd name="connsiteY1017" fmla="*/ 344043 h 400050"/>
                  <a:gd name="connsiteX1018" fmla="*/ 333947 w 342900"/>
                  <a:gd name="connsiteY1018" fmla="*/ 344043 h 400050"/>
                  <a:gd name="connsiteX1019" fmla="*/ 333185 w 342900"/>
                  <a:gd name="connsiteY1019" fmla="*/ 342328 h 400050"/>
                  <a:gd name="connsiteX1020" fmla="*/ 333947 w 342900"/>
                  <a:gd name="connsiteY1020" fmla="*/ 342328 h 400050"/>
                  <a:gd name="connsiteX1021" fmla="*/ 334804 w 342900"/>
                  <a:gd name="connsiteY1021" fmla="*/ 341471 h 400050"/>
                  <a:gd name="connsiteX1022" fmla="*/ 335661 w 342900"/>
                  <a:gd name="connsiteY1022" fmla="*/ 340614 h 400050"/>
                  <a:gd name="connsiteX1023" fmla="*/ 336518 w 342900"/>
                  <a:gd name="connsiteY1023" fmla="*/ 339852 h 400050"/>
                  <a:gd name="connsiteX1024" fmla="*/ 336518 w 342900"/>
                  <a:gd name="connsiteY1024" fmla="*/ 338995 h 400050"/>
                  <a:gd name="connsiteX1025" fmla="*/ 336518 w 342900"/>
                  <a:gd name="connsiteY1025" fmla="*/ 338138 h 400050"/>
                  <a:gd name="connsiteX1026" fmla="*/ 337376 w 342900"/>
                  <a:gd name="connsiteY1026" fmla="*/ 338138 h 400050"/>
                  <a:gd name="connsiteX1027" fmla="*/ 338233 w 342900"/>
                  <a:gd name="connsiteY1027" fmla="*/ 338138 h 400050"/>
                  <a:gd name="connsiteX1028" fmla="*/ 336518 w 342900"/>
                  <a:gd name="connsiteY1028" fmla="*/ 336423 h 400050"/>
                  <a:gd name="connsiteX1029" fmla="*/ 333947 w 342900"/>
                  <a:gd name="connsiteY1029" fmla="*/ 336423 h 400050"/>
                  <a:gd name="connsiteX1030" fmla="*/ 332327 w 342900"/>
                  <a:gd name="connsiteY1030" fmla="*/ 335566 h 400050"/>
                  <a:gd name="connsiteX1031" fmla="*/ 332327 w 342900"/>
                  <a:gd name="connsiteY1031" fmla="*/ 333946 h 400050"/>
                  <a:gd name="connsiteX1032" fmla="*/ 332327 w 342900"/>
                  <a:gd name="connsiteY1032" fmla="*/ 332232 h 400050"/>
                  <a:gd name="connsiteX1033" fmla="*/ 332327 w 342900"/>
                  <a:gd name="connsiteY1033" fmla="*/ 331375 h 400050"/>
                  <a:gd name="connsiteX1034" fmla="*/ 329756 w 342900"/>
                  <a:gd name="connsiteY1034" fmla="*/ 328898 h 400050"/>
                  <a:gd name="connsiteX1035" fmla="*/ 330613 w 342900"/>
                  <a:gd name="connsiteY1035" fmla="*/ 325469 h 400050"/>
                  <a:gd name="connsiteX1036" fmla="*/ 333185 w 342900"/>
                  <a:gd name="connsiteY1036" fmla="*/ 319564 h 400050"/>
                  <a:gd name="connsiteX1037" fmla="*/ 330613 w 342900"/>
                  <a:gd name="connsiteY1037" fmla="*/ 319564 h 400050"/>
                  <a:gd name="connsiteX1038" fmla="*/ 329756 w 342900"/>
                  <a:gd name="connsiteY1038" fmla="*/ 318707 h 400050"/>
                  <a:gd name="connsiteX1039" fmla="*/ 330613 w 342900"/>
                  <a:gd name="connsiteY1039" fmla="*/ 315373 h 400050"/>
                  <a:gd name="connsiteX1040" fmla="*/ 329756 w 342900"/>
                  <a:gd name="connsiteY1040" fmla="*/ 313658 h 400050"/>
                  <a:gd name="connsiteX1041" fmla="*/ 328898 w 342900"/>
                  <a:gd name="connsiteY1041" fmla="*/ 313658 h 400050"/>
                  <a:gd name="connsiteX1042" fmla="*/ 327279 w 342900"/>
                  <a:gd name="connsiteY1042" fmla="*/ 315373 h 400050"/>
                  <a:gd name="connsiteX1043" fmla="*/ 325565 w 342900"/>
                  <a:gd name="connsiteY1043" fmla="*/ 314515 h 400050"/>
                  <a:gd name="connsiteX1044" fmla="*/ 325565 w 342900"/>
                  <a:gd name="connsiteY1044" fmla="*/ 313658 h 400050"/>
                  <a:gd name="connsiteX1045" fmla="*/ 325565 w 342900"/>
                  <a:gd name="connsiteY1045" fmla="*/ 312801 h 400050"/>
                  <a:gd name="connsiteX1046" fmla="*/ 324707 w 342900"/>
                  <a:gd name="connsiteY1046" fmla="*/ 311944 h 400050"/>
                  <a:gd name="connsiteX1047" fmla="*/ 324707 w 342900"/>
                  <a:gd name="connsiteY1047" fmla="*/ 311182 h 400050"/>
                  <a:gd name="connsiteX1048" fmla="*/ 324707 w 342900"/>
                  <a:gd name="connsiteY1048" fmla="*/ 310324 h 400050"/>
                  <a:gd name="connsiteX1049" fmla="*/ 323850 w 342900"/>
                  <a:gd name="connsiteY1049" fmla="*/ 309467 h 400050"/>
                  <a:gd name="connsiteX1050" fmla="*/ 322993 w 342900"/>
                  <a:gd name="connsiteY1050" fmla="*/ 310324 h 400050"/>
                  <a:gd name="connsiteX1051" fmla="*/ 321374 w 342900"/>
                  <a:gd name="connsiteY1051" fmla="*/ 311182 h 400050"/>
                  <a:gd name="connsiteX1052" fmla="*/ 320516 w 342900"/>
                  <a:gd name="connsiteY1052" fmla="*/ 311182 h 400050"/>
                  <a:gd name="connsiteX1053" fmla="*/ 319659 w 342900"/>
                  <a:gd name="connsiteY1053" fmla="*/ 311182 h 400050"/>
                  <a:gd name="connsiteX1054" fmla="*/ 320516 w 342900"/>
                  <a:gd name="connsiteY1054" fmla="*/ 309467 h 400050"/>
                  <a:gd name="connsiteX1055" fmla="*/ 320516 w 342900"/>
                  <a:gd name="connsiteY1055" fmla="*/ 307753 h 400050"/>
                  <a:gd name="connsiteX1056" fmla="*/ 318802 w 342900"/>
                  <a:gd name="connsiteY1056" fmla="*/ 306896 h 400050"/>
                  <a:gd name="connsiteX1057" fmla="*/ 317087 w 342900"/>
                  <a:gd name="connsiteY1057" fmla="*/ 306896 h 400050"/>
                  <a:gd name="connsiteX1058" fmla="*/ 316230 w 342900"/>
                  <a:gd name="connsiteY1058" fmla="*/ 306134 h 400050"/>
                  <a:gd name="connsiteX1059" fmla="*/ 315468 w 342900"/>
                  <a:gd name="connsiteY1059" fmla="*/ 305276 h 400050"/>
                  <a:gd name="connsiteX1060" fmla="*/ 314611 w 342900"/>
                  <a:gd name="connsiteY1060" fmla="*/ 303562 h 400050"/>
                  <a:gd name="connsiteX1061" fmla="*/ 308705 w 342900"/>
                  <a:gd name="connsiteY1061" fmla="*/ 304419 h 400050"/>
                  <a:gd name="connsiteX1062" fmla="*/ 306991 w 342900"/>
                  <a:gd name="connsiteY1062" fmla="*/ 305276 h 400050"/>
                  <a:gd name="connsiteX1063" fmla="*/ 305276 w 342900"/>
                  <a:gd name="connsiteY1063" fmla="*/ 306134 h 400050"/>
                  <a:gd name="connsiteX1064" fmla="*/ 303657 w 342900"/>
                  <a:gd name="connsiteY1064" fmla="*/ 307753 h 400050"/>
                  <a:gd name="connsiteX1065" fmla="*/ 303657 w 342900"/>
                  <a:gd name="connsiteY1065" fmla="*/ 308610 h 400050"/>
                  <a:gd name="connsiteX1066" fmla="*/ 303657 w 342900"/>
                  <a:gd name="connsiteY1066" fmla="*/ 309467 h 400050"/>
                  <a:gd name="connsiteX1067" fmla="*/ 304419 w 342900"/>
                  <a:gd name="connsiteY1067" fmla="*/ 310324 h 400050"/>
                  <a:gd name="connsiteX1068" fmla="*/ 305276 w 342900"/>
                  <a:gd name="connsiteY1068" fmla="*/ 311182 h 400050"/>
                  <a:gd name="connsiteX1069" fmla="*/ 305276 w 342900"/>
                  <a:gd name="connsiteY1069" fmla="*/ 311944 h 400050"/>
                  <a:gd name="connsiteX1070" fmla="*/ 305276 w 342900"/>
                  <a:gd name="connsiteY1070" fmla="*/ 312801 h 400050"/>
                  <a:gd name="connsiteX1071" fmla="*/ 304419 w 342900"/>
                  <a:gd name="connsiteY1071" fmla="*/ 312801 h 400050"/>
                  <a:gd name="connsiteX1072" fmla="*/ 303657 w 342900"/>
                  <a:gd name="connsiteY1072" fmla="*/ 313658 h 400050"/>
                  <a:gd name="connsiteX1073" fmla="*/ 300228 w 342900"/>
                  <a:gd name="connsiteY1073" fmla="*/ 314515 h 400050"/>
                  <a:gd name="connsiteX1074" fmla="*/ 295180 w 342900"/>
                  <a:gd name="connsiteY1074" fmla="*/ 312801 h 400050"/>
                  <a:gd name="connsiteX1075" fmla="*/ 293465 w 342900"/>
                  <a:gd name="connsiteY1075" fmla="*/ 311182 h 400050"/>
                  <a:gd name="connsiteX1076" fmla="*/ 290989 w 342900"/>
                  <a:gd name="connsiteY1076" fmla="*/ 310324 h 400050"/>
                  <a:gd name="connsiteX1077" fmla="*/ 290132 w 342900"/>
                  <a:gd name="connsiteY1077" fmla="*/ 308610 h 400050"/>
                  <a:gd name="connsiteX1078" fmla="*/ 289274 w 342900"/>
                  <a:gd name="connsiteY1078" fmla="*/ 307753 h 400050"/>
                  <a:gd name="connsiteX1079" fmla="*/ 288417 w 342900"/>
                  <a:gd name="connsiteY1079" fmla="*/ 306896 h 400050"/>
                  <a:gd name="connsiteX1080" fmla="*/ 287560 w 342900"/>
                  <a:gd name="connsiteY1080" fmla="*/ 303562 h 400050"/>
                  <a:gd name="connsiteX1081" fmla="*/ 286798 w 342900"/>
                  <a:gd name="connsiteY1081" fmla="*/ 302705 h 400050"/>
                  <a:gd name="connsiteX1082" fmla="*/ 286798 w 342900"/>
                  <a:gd name="connsiteY1082" fmla="*/ 302705 h 400050"/>
                  <a:gd name="connsiteX1083" fmla="*/ 279178 w 342900"/>
                  <a:gd name="connsiteY1083" fmla="*/ 298513 h 400050"/>
                  <a:gd name="connsiteX1084" fmla="*/ 278321 w 342900"/>
                  <a:gd name="connsiteY1084" fmla="*/ 298513 h 400050"/>
                  <a:gd name="connsiteX1085" fmla="*/ 277463 w 342900"/>
                  <a:gd name="connsiteY1085" fmla="*/ 298513 h 400050"/>
                  <a:gd name="connsiteX1086" fmla="*/ 277463 w 342900"/>
                  <a:gd name="connsiteY1086" fmla="*/ 299371 h 400050"/>
                  <a:gd name="connsiteX1087" fmla="*/ 277463 w 342900"/>
                  <a:gd name="connsiteY1087" fmla="*/ 300990 h 400050"/>
                  <a:gd name="connsiteX1088" fmla="*/ 276606 w 342900"/>
                  <a:gd name="connsiteY1088" fmla="*/ 301847 h 400050"/>
                  <a:gd name="connsiteX1089" fmla="*/ 274987 w 342900"/>
                  <a:gd name="connsiteY1089" fmla="*/ 301847 h 400050"/>
                  <a:gd name="connsiteX1090" fmla="*/ 268224 w 342900"/>
                  <a:gd name="connsiteY1090" fmla="*/ 302705 h 400050"/>
                  <a:gd name="connsiteX1091" fmla="*/ 264795 w 342900"/>
                  <a:gd name="connsiteY1091" fmla="*/ 303562 h 400050"/>
                  <a:gd name="connsiteX1092" fmla="*/ 264795 w 342900"/>
                  <a:gd name="connsiteY1092" fmla="*/ 302705 h 400050"/>
                  <a:gd name="connsiteX1093" fmla="*/ 264795 w 342900"/>
                  <a:gd name="connsiteY1093" fmla="*/ 301847 h 400050"/>
                  <a:gd name="connsiteX1094" fmla="*/ 263938 w 342900"/>
                  <a:gd name="connsiteY1094" fmla="*/ 300990 h 400050"/>
                  <a:gd name="connsiteX1095" fmla="*/ 263938 w 342900"/>
                  <a:gd name="connsiteY1095" fmla="*/ 300228 h 400050"/>
                  <a:gd name="connsiteX1096" fmla="*/ 263176 w 342900"/>
                  <a:gd name="connsiteY1096" fmla="*/ 299371 h 400050"/>
                  <a:gd name="connsiteX1097" fmla="*/ 261461 w 342900"/>
                  <a:gd name="connsiteY1097" fmla="*/ 298513 h 400050"/>
                  <a:gd name="connsiteX1098" fmla="*/ 260604 w 342900"/>
                  <a:gd name="connsiteY1098" fmla="*/ 296799 h 400050"/>
                  <a:gd name="connsiteX1099" fmla="*/ 260604 w 342900"/>
                  <a:gd name="connsiteY1099" fmla="*/ 295942 h 400050"/>
                  <a:gd name="connsiteX1100" fmla="*/ 260604 w 342900"/>
                  <a:gd name="connsiteY1100" fmla="*/ 295084 h 400050"/>
                  <a:gd name="connsiteX1101" fmla="*/ 263176 w 342900"/>
                  <a:gd name="connsiteY1101" fmla="*/ 292608 h 400050"/>
                  <a:gd name="connsiteX1102" fmla="*/ 263938 w 342900"/>
                  <a:gd name="connsiteY1102" fmla="*/ 290894 h 400050"/>
                  <a:gd name="connsiteX1103" fmla="*/ 264795 w 342900"/>
                  <a:gd name="connsiteY1103" fmla="*/ 290036 h 400050"/>
                  <a:gd name="connsiteX1104" fmla="*/ 265652 w 342900"/>
                  <a:gd name="connsiteY1104" fmla="*/ 289274 h 400050"/>
                  <a:gd name="connsiteX1105" fmla="*/ 268224 w 342900"/>
                  <a:gd name="connsiteY1105" fmla="*/ 289274 h 400050"/>
                  <a:gd name="connsiteX1106" fmla="*/ 269081 w 342900"/>
                  <a:gd name="connsiteY1106" fmla="*/ 289274 h 400050"/>
                  <a:gd name="connsiteX1107" fmla="*/ 269081 w 342900"/>
                  <a:gd name="connsiteY1107" fmla="*/ 288417 h 400050"/>
                  <a:gd name="connsiteX1108" fmla="*/ 269843 w 342900"/>
                  <a:gd name="connsiteY1108" fmla="*/ 285845 h 400050"/>
                  <a:gd name="connsiteX1109" fmla="*/ 269843 w 342900"/>
                  <a:gd name="connsiteY1109" fmla="*/ 284988 h 400050"/>
                  <a:gd name="connsiteX1110" fmla="*/ 272415 w 342900"/>
                  <a:gd name="connsiteY1110" fmla="*/ 283369 h 400050"/>
                  <a:gd name="connsiteX1111" fmla="*/ 273272 w 342900"/>
                  <a:gd name="connsiteY1111" fmla="*/ 281654 h 400050"/>
                  <a:gd name="connsiteX1112" fmla="*/ 272415 w 342900"/>
                  <a:gd name="connsiteY1112" fmla="*/ 279940 h 400050"/>
                  <a:gd name="connsiteX1113" fmla="*/ 272415 w 342900"/>
                  <a:gd name="connsiteY1113" fmla="*/ 279082 h 400050"/>
                  <a:gd name="connsiteX1114" fmla="*/ 271558 w 342900"/>
                  <a:gd name="connsiteY1114" fmla="*/ 278225 h 400050"/>
                  <a:gd name="connsiteX1115" fmla="*/ 272415 w 342900"/>
                  <a:gd name="connsiteY1115" fmla="*/ 276606 h 400050"/>
                  <a:gd name="connsiteX1116" fmla="*/ 271558 w 342900"/>
                  <a:gd name="connsiteY1116" fmla="*/ 269843 h 400050"/>
                  <a:gd name="connsiteX1117" fmla="*/ 271558 w 342900"/>
                  <a:gd name="connsiteY1117" fmla="*/ 268129 h 400050"/>
                  <a:gd name="connsiteX1118" fmla="*/ 271558 w 342900"/>
                  <a:gd name="connsiteY1118" fmla="*/ 266509 h 400050"/>
                  <a:gd name="connsiteX1119" fmla="*/ 272415 w 342900"/>
                  <a:gd name="connsiteY1119" fmla="*/ 265652 h 400050"/>
                  <a:gd name="connsiteX1120" fmla="*/ 274130 w 342900"/>
                  <a:gd name="connsiteY1120" fmla="*/ 263938 h 400050"/>
                  <a:gd name="connsiteX1121" fmla="*/ 276606 w 342900"/>
                  <a:gd name="connsiteY1121" fmla="*/ 263080 h 400050"/>
                  <a:gd name="connsiteX1122" fmla="*/ 279178 w 342900"/>
                  <a:gd name="connsiteY1122" fmla="*/ 261366 h 400050"/>
                  <a:gd name="connsiteX1123" fmla="*/ 282512 w 342900"/>
                  <a:gd name="connsiteY1123" fmla="*/ 262223 h 400050"/>
                  <a:gd name="connsiteX1124" fmla="*/ 285083 w 342900"/>
                  <a:gd name="connsiteY1124" fmla="*/ 260604 h 400050"/>
                  <a:gd name="connsiteX1125" fmla="*/ 285083 w 342900"/>
                  <a:gd name="connsiteY1125" fmla="*/ 259747 h 400050"/>
                  <a:gd name="connsiteX1126" fmla="*/ 285941 w 342900"/>
                  <a:gd name="connsiteY1126" fmla="*/ 258032 h 400050"/>
                  <a:gd name="connsiteX1127" fmla="*/ 287560 w 342900"/>
                  <a:gd name="connsiteY1127" fmla="*/ 258032 h 400050"/>
                  <a:gd name="connsiteX1128" fmla="*/ 292703 w 342900"/>
                  <a:gd name="connsiteY1128" fmla="*/ 259747 h 400050"/>
                  <a:gd name="connsiteX1129" fmla="*/ 293465 w 342900"/>
                  <a:gd name="connsiteY1129" fmla="*/ 260604 h 400050"/>
                  <a:gd name="connsiteX1130" fmla="*/ 295180 w 342900"/>
                  <a:gd name="connsiteY1130" fmla="*/ 260604 h 400050"/>
                  <a:gd name="connsiteX1131" fmla="*/ 296037 w 342900"/>
                  <a:gd name="connsiteY1131" fmla="*/ 260604 h 400050"/>
                  <a:gd name="connsiteX1132" fmla="*/ 301085 w 342900"/>
                  <a:gd name="connsiteY1132" fmla="*/ 258890 h 400050"/>
                  <a:gd name="connsiteX1133" fmla="*/ 301943 w 342900"/>
                  <a:gd name="connsiteY1133" fmla="*/ 256318 h 400050"/>
                  <a:gd name="connsiteX1134" fmla="*/ 302800 w 342900"/>
                  <a:gd name="connsiteY1134" fmla="*/ 255461 h 400050"/>
                  <a:gd name="connsiteX1135" fmla="*/ 302800 w 342900"/>
                  <a:gd name="connsiteY1135" fmla="*/ 254698 h 400050"/>
                  <a:gd name="connsiteX1136" fmla="*/ 302800 w 342900"/>
                  <a:gd name="connsiteY1136" fmla="*/ 252984 h 400050"/>
                  <a:gd name="connsiteX1137" fmla="*/ 301943 w 342900"/>
                  <a:gd name="connsiteY1137" fmla="*/ 252127 h 400050"/>
                  <a:gd name="connsiteX1138" fmla="*/ 301085 w 342900"/>
                  <a:gd name="connsiteY1138" fmla="*/ 251269 h 400050"/>
                  <a:gd name="connsiteX1139" fmla="*/ 297752 w 342900"/>
                  <a:gd name="connsiteY1139" fmla="*/ 247936 h 400050"/>
                  <a:gd name="connsiteX1140" fmla="*/ 298609 w 342900"/>
                  <a:gd name="connsiteY1140" fmla="*/ 246221 h 400050"/>
                  <a:gd name="connsiteX1141" fmla="*/ 299371 w 342900"/>
                  <a:gd name="connsiteY1141" fmla="*/ 245364 h 400050"/>
                  <a:gd name="connsiteX1142" fmla="*/ 300228 w 342900"/>
                  <a:gd name="connsiteY1142" fmla="*/ 243745 h 400050"/>
                  <a:gd name="connsiteX1143" fmla="*/ 297752 w 342900"/>
                  <a:gd name="connsiteY1143" fmla="*/ 239459 h 400050"/>
                  <a:gd name="connsiteX1144" fmla="*/ 295180 w 342900"/>
                  <a:gd name="connsiteY1144" fmla="*/ 231076 h 400050"/>
                  <a:gd name="connsiteX1145" fmla="*/ 294323 w 342900"/>
                  <a:gd name="connsiteY1145" fmla="*/ 231076 h 400050"/>
                  <a:gd name="connsiteX1146" fmla="*/ 294323 w 342900"/>
                  <a:gd name="connsiteY1146" fmla="*/ 230219 h 400050"/>
                  <a:gd name="connsiteX1147" fmla="*/ 293465 w 342900"/>
                  <a:gd name="connsiteY1147" fmla="*/ 230219 h 400050"/>
                  <a:gd name="connsiteX1148" fmla="*/ 293465 w 342900"/>
                  <a:gd name="connsiteY1148" fmla="*/ 229362 h 400050"/>
                  <a:gd name="connsiteX1149" fmla="*/ 293465 w 342900"/>
                  <a:gd name="connsiteY1149" fmla="*/ 228505 h 400050"/>
                  <a:gd name="connsiteX1150" fmla="*/ 294323 w 342900"/>
                  <a:gd name="connsiteY1150" fmla="*/ 228505 h 400050"/>
                  <a:gd name="connsiteX1151" fmla="*/ 294323 w 342900"/>
                  <a:gd name="connsiteY1151" fmla="*/ 228505 h 400050"/>
                  <a:gd name="connsiteX1152" fmla="*/ 294323 w 342900"/>
                  <a:gd name="connsiteY1152" fmla="*/ 227647 h 400050"/>
                  <a:gd name="connsiteX1153" fmla="*/ 293465 w 342900"/>
                  <a:gd name="connsiteY1153" fmla="*/ 208312 h 400050"/>
                  <a:gd name="connsiteX1154" fmla="*/ 293465 w 342900"/>
                  <a:gd name="connsiteY1154" fmla="*/ 207454 h 400050"/>
                  <a:gd name="connsiteX1155" fmla="*/ 294323 w 342900"/>
                  <a:gd name="connsiteY1155" fmla="*/ 205740 h 400050"/>
                  <a:gd name="connsiteX1156" fmla="*/ 295180 w 342900"/>
                  <a:gd name="connsiteY1156" fmla="*/ 204121 h 400050"/>
                  <a:gd name="connsiteX1157" fmla="*/ 295180 w 342900"/>
                  <a:gd name="connsiteY1157" fmla="*/ 203263 h 400050"/>
                  <a:gd name="connsiteX1158" fmla="*/ 294323 w 342900"/>
                  <a:gd name="connsiteY1158" fmla="*/ 201549 h 400050"/>
                  <a:gd name="connsiteX1159" fmla="*/ 293465 w 342900"/>
                  <a:gd name="connsiteY1159" fmla="*/ 200692 h 400050"/>
                  <a:gd name="connsiteX1160" fmla="*/ 293465 w 342900"/>
                  <a:gd name="connsiteY1160" fmla="*/ 197358 h 400050"/>
                  <a:gd name="connsiteX1161" fmla="*/ 293465 w 342900"/>
                  <a:gd name="connsiteY1161" fmla="*/ 196501 h 400050"/>
                  <a:gd name="connsiteX1162" fmla="*/ 294323 w 342900"/>
                  <a:gd name="connsiteY1162" fmla="*/ 194786 h 400050"/>
                  <a:gd name="connsiteX1163" fmla="*/ 295180 w 342900"/>
                  <a:gd name="connsiteY1163" fmla="*/ 193929 h 400050"/>
                  <a:gd name="connsiteX1164" fmla="*/ 295180 w 342900"/>
                  <a:gd name="connsiteY1164" fmla="*/ 193072 h 400050"/>
                  <a:gd name="connsiteX1165" fmla="*/ 295180 w 342900"/>
                  <a:gd name="connsiteY1165" fmla="*/ 191452 h 400050"/>
                  <a:gd name="connsiteX1166" fmla="*/ 293465 w 342900"/>
                  <a:gd name="connsiteY1166" fmla="*/ 190595 h 400050"/>
                  <a:gd name="connsiteX1167" fmla="*/ 290132 w 342900"/>
                  <a:gd name="connsiteY1167" fmla="*/ 190595 h 400050"/>
                  <a:gd name="connsiteX1168" fmla="*/ 287560 w 342900"/>
                  <a:gd name="connsiteY1168" fmla="*/ 190595 h 400050"/>
                  <a:gd name="connsiteX1169" fmla="*/ 285941 w 342900"/>
                  <a:gd name="connsiteY1169" fmla="*/ 190595 h 400050"/>
                  <a:gd name="connsiteX1170" fmla="*/ 286798 w 342900"/>
                  <a:gd name="connsiteY1170" fmla="*/ 188881 h 400050"/>
                  <a:gd name="connsiteX1171" fmla="*/ 290132 w 342900"/>
                  <a:gd name="connsiteY1171" fmla="*/ 184690 h 400050"/>
                  <a:gd name="connsiteX1172" fmla="*/ 291846 w 342900"/>
                  <a:gd name="connsiteY1172" fmla="*/ 182975 h 400050"/>
                  <a:gd name="connsiteX1173" fmla="*/ 290132 w 342900"/>
                  <a:gd name="connsiteY1173" fmla="*/ 181356 h 400050"/>
                  <a:gd name="connsiteX1174" fmla="*/ 287560 w 342900"/>
                  <a:gd name="connsiteY1174" fmla="*/ 182118 h 400050"/>
                  <a:gd name="connsiteX1175" fmla="*/ 285941 w 342900"/>
                  <a:gd name="connsiteY1175" fmla="*/ 180499 h 400050"/>
                  <a:gd name="connsiteX1176" fmla="*/ 285941 w 342900"/>
                  <a:gd name="connsiteY1176" fmla="*/ 180499 h 400050"/>
                  <a:gd name="connsiteX1177" fmla="*/ 286798 w 342900"/>
                  <a:gd name="connsiteY1177" fmla="*/ 179642 h 400050"/>
                  <a:gd name="connsiteX1178" fmla="*/ 286798 w 342900"/>
                  <a:gd name="connsiteY1178" fmla="*/ 177070 h 400050"/>
                  <a:gd name="connsiteX1179" fmla="*/ 286798 w 342900"/>
                  <a:gd name="connsiteY1179" fmla="*/ 176213 h 400050"/>
                  <a:gd name="connsiteX1180" fmla="*/ 285083 w 342900"/>
                  <a:gd name="connsiteY1180" fmla="*/ 174593 h 400050"/>
                  <a:gd name="connsiteX1181" fmla="*/ 285083 w 342900"/>
                  <a:gd name="connsiteY1181" fmla="*/ 173736 h 400050"/>
                  <a:gd name="connsiteX1182" fmla="*/ 285941 w 342900"/>
                  <a:gd name="connsiteY1182" fmla="*/ 172021 h 400050"/>
                  <a:gd name="connsiteX1183" fmla="*/ 287560 w 342900"/>
                  <a:gd name="connsiteY1183" fmla="*/ 171164 h 400050"/>
                  <a:gd name="connsiteX1184" fmla="*/ 289274 w 342900"/>
                  <a:gd name="connsiteY1184" fmla="*/ 171164 h 400050"/>
                  <a:gd name="connsiteX1185" fmla="*/ 289274 w 342900"/>
                  <a:gd name="connsiteY1185" fmla="*/ 170307 h 400050"/>
                  <a:gd name="connsiteX1186" fmla="*/ 289274 w 342900"/>
                  <a:gd name="connsiteY1186" fmla="*/ 168688 h 400050"/>
                  <a:gd name="connsiteX1187" fmla="*/ 288417 w 342900"/>
                  <a:gd name="connsiteY1187" fmla="*/ 166973 h 400050"/>
                  <a:gd name="connsiteX1188" fmla="*/ 288417 w 342900"/>
                  <a:gd name="connsiteY1188" fmla="*/ 165259 h 400050"/>
                  <a:gd name="connsiteX1189" fmla="*/ 289274 w 342900"/>
                  <a:gd name="connsiteY1189" fmla="*/ 163640 h 400050"/>
                  <a:gd name="connsiteX1190" fmla="*/ 288417 w 342900"/>
                  <a:gd name="connsiteY1190" fmla="*/ 161068 h 400050"/>
                  <a:gd name="connsiteX1191" fmla="*/ 290989 w 342900"/>
                  <a:gd name="connsiteY1191" fmla="*/ 158591 h 400050"/>
                  <a:gd name="connsiteX1192" fmla="*/ 290132 w 342900"/>
                  <a:gd name="connsiteY1192" fmla="*/ 155162 h 400050"/>
                  <a:gd name="connsiteX1193" fmla="*/ 292703 w 342900"/>
                  <a:gd name="connsiteY1193" fmla="*/ 154305 h 400050"/>
                  <a:gd name="connsiteX1194" fmla="*/ 294323 w 342900"/>
                  <a:gd name="connsiteY1194" fmla="*/ 152686 h 400050"/>
                  <a:gd name="connsiteX1195" fmla="*/ 294323 w 342900"/>
                  <a:gd name="connsiteY1195" fmla="*/ 151828 h 400050"/>
                  <a:gd name="connsiteX1196" fmla="*/ 294323 w 342900"/>
                  <a:gd name="connsiteY1196" fmla="*/ 150971 h 400050"/>
                  <a:gd name="connsiteX1197" fmla="*/ 293465 w 342900"/>
                  <a:gd name="connsiteY1197" fmla="*/ 150114 h 400050"/>
                  <a:gd name="connsiteX1198" fmla="*/ 293465 w 342900"/>
                  <a:gd name="connsiteY1198" fmla="*/ 149257 h 400050"/>
                  <a:gd name="connsiteX1199" fmla="*/ 293465 w 342900"/>
                  <a:gd name="connsiteY1199" fmla="*/ 147542 h 400050"/>
                  <a:gd name="connsiteX1200" fmla="*/ 294323 w 342900"/>
                  <a:gd name="connsiteY1200" fmla="*/ 146780 h 400050"/>
                  <a:gd name="connsiteX1201" fmla="*/ 295180 w 342900"/>
                  <a:gd name="connsiteY1201" fmla="*/ 146780 h 400050"/>
                  <a:gd name="connsiteX1202" fmla="*/ 296037 w 342900"/>
                  <a:gd name="connsiteY1202" fmla="*/ 147542 h 400050"/>
                  <a:gd name="connsiteX1203" fmla="*/ 296894 w 342900"/>
                  <a:gd name="connsiteY1203" fmla="*/ 146780 h 400050"/>
                  <a:gd name="connsiteX1204" fmla="*/ 298609 w 342900"/>
                  <a:gd name="connsiteY1204" fmla="*/ 142494 h 400050"/>
                  <a:gd name="connsiteX1205" fmla="*/ 301943 w 342900"/>
                  <a:gd name="connsiteY1205" fmla="*/ 127349 h 400050"/>
                  <a:gd name="connsiteX1206" fmla="*/ 302800 w 342900"/>
                  <a:gd name="connsiteY1206" fmla="*/ 123158 h 400050"/>
                  <a:gd name="connsiteX1207" fmla="*/ 304419 w 342900"/>
                  <a:gd name="connsiteY1207" fmla="*/ 121444 h 400050"/>
                  <a:gd name="connsiteX1208" fmla="*/ 305276 w 342900"/>
                  <a:gd name="connsiteY1208" fmla="*/ 120586 h 400050"/>
                  <a:gd name="connsiteX1209" fmla="*/ 309563 w 342900"/>
                  <a:gd name="connsiteY1209" fmla="*/ 115538 h 400050"/>
                  <a:gd name="connsiteX1210" fmla="*/ 309563 w 342900"/>
                  <a:gd name="connsiteY1210" fmla="*/ 115538 h 400050"/>
                  <a:gd name="connsiteX1211" fmla="*/ 309563 w 342900"/>
                  <a:gd name="connsiteY1211" fmla="*/ 114681 h 400050"/>
                  <a:gd name="connsiteX1212" fmla="*/ 309563 w 342900"/>
                  <a:gd name="connsiteY1212" fmla="*/ 113824 h 400050"/>
                  <a:gd name="connsiteX1213" fmla="*/ 310325 w 342900"/>
                  <a:gd name="connsiteY1213" fmla="*/ 113062 h 400050"/>
                  <a:gd name="connsiteX1214" fmla="*/ 310325 w 342900"/>
                  <a:gd name="connsiteY1214" fmla="*/ 113062 h 400050"/>
                  <a:gd name="connsiteX1215" fmla="*/ 312039 w 342900"/>
                  <a:gd name="connsiteY1215" fmla="*/ 113062 h 400050"/>
                  <a:gd name="connsiteX1216" fmla="*/ 312039 w 342900"/>
                  <a:gd name="connsiteY1216" fmla="*/ 113062 h 400050"/>
                  <a:gd name="connsiteX1217" fmla="*/ 312896 w 342900"/>
                  <a:gd name="connsiteY1217" fmla="*/ 113062 h 400050"/>
                  <a:gd name="connsiteX1218" fmla="*/ 313754 w 342900"/>
                  <a:gd name="connsiteY1218" fmla="*/ 113062 h 400050"/>
                  <a:gd name="connsiteX1219" fmla="*/ 313754 w 342900"/>
                  <a:gd name="connsiteY1219" fmla="*/ 113062 h 400050"/>
                  <a:gd name="connsiteX1220" fmla="*/ 313754 w 342900"/>
                  <a:gd name="connsiteY1220" fmla="*/ 111347 h 400050"/>
                  <a:gd name="connsiteX1221" fmla="*/ 313754 w 342900"/>
                  <a:gd name="connsiteY1221" fmla="*/ 110490 h 400050"/>
                  <a:gd name="connsiteX1222" fmla="*/ 314611 w 342900"/>
                  <a:gd name="connsiteY1222" fmla="*/ 109633 h 400050"/>
                  <a:gd name="connsiteX1223" fmla="*/ 316230 w 342900"/>
                  <a:gd name="connsiteY1223" fmla="*/ 109633 h 400050"/>
                  <a:gd name="connsiteX1224" fmla="*/ 319659 w 342900"/>
                  <a:gd name="connsiteY1224" fmla="*/ 106299 h 400050"/>
                  <a:gd name="connsiteX1225" fmla="*/ 322993 w 342900"/>
                  <a:gd name="connsiteY1225" fmla="*/ 103727 h 400050"/>
                  <a:gd name="connsiteX1226" fmla="*/ 322993 w 342900"/>
                  <a:gd name="connsiteY1226" fmla="*/ 100394 h 400050"/>
                  <a:gd name="connsiteX1227" fmla="*/ 324707 w 342900"/>
                  <a:gd name="connsiteY1227" fmla="*/ 98679 h 400050"/>
                  <a:gd name="connsiteX1228" fmla="*/ 327279 w 342900"/>
                  <a:gd name="connsiteY1228" fmla="*/ 96202 h 400050"/>
                  <a:gd name="connsiteX1229" fmla="*/ 334804 w 342900"/>
                  <a:gd name="connsiteY1229" fmla="*/ 88582 h 400050"/>
                  <a:gd name="connsiteX1230" fmla="*/ 339090 w 342900"/>
                  <a:gd name="connsiteY1230" fmla="*/ 85153 h 400050"/>
                  <a:gd name="connsiteX1231" fmla="*/ 341567 w 342900"/>
                  <a:gd name="connsiteY1231" fmla="*/ 82677 h 400050"/>
                  <a:gd name="connsiteX1232" fmla="*/ 343281 w 342900"/>
                  <a:gd name="connsiteY1232" fmla="*/ 76771 h 400050"/>
                  <a:gd name="connsiteX1233" fmla="*/ 343281 w 342900"/>
                  <a:gd name="connsiteY1233" fmla="*/ 70866 h 400050"/>
                  <a:gd name="connsiteX1234" fmla="*/ 343281 w 342900"/>
                  <a:gd name="connsiteY1234" fmla="*/ 70009 h 400050"/>
                  <a:gd name="connsiteX1235" fmla="*/ 343281 w 342900"/>
                  <a:gd name="connsiteY1235" fmla="*/ 70009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</a:cxnLst>
                <a:rect l="l" t="t" r="r" b="b"/>
                <a:pathLst>
                  <a:path w="342900" h="400050">
                    <a:moveTo>
                      <a:pt x="343281" y="70009"/>
                    </a:moveTo>
                    <a:lnTo>
                      <a:pt x="343281" y="70009"/>
                    </a:lnTo>
                    <a:lnTo>
                      <a:pt x="342424" y="70009"/>
                    </a:lnTo>
                    <a:lnTo>
                      <a:pt x="338233" y="66675"/>
                    </a:lnTo>
                    <a:lnTo>
                      <a:pt x="334804" y="64103"/>
                    </a:lnTo>
                    <a:lnTo>
                      <a:pt x="333185" y="64103"/>
                    </a:lnTo>
                    <a:lnTo>
                      <a:pt x="332327" y="64960"/>
                    </a:lnTo>
                    <a:lnTo>
                      <a:pt x="330613" y="64960"/>
                    </a:lnTo>
                    <a:lnTo>
                      <a:pt x="329756" y="64960"/>
                    </a:lnTo>
                    <a:lnTo>
                      <a:pt x="327279" y="64960"/>
                    </a:lnTo>
                    <a:lnTo>
                      <a:pt x="326422" y="64960"/>
                    </a:lnTo>
                    <a:lnTo>
                      <a:pt x="326422" y="64103"/>
                    </a:lnTo>
                    <a:lnTo>
                      <a:pt x="328041" y="62389"/>
                    </a:lnTo>
                    <a:lnTo>
                      <a:pt x="328898" y="61627"/>
                    </a:lnTo>
                    <a:lnTo>
                      <a:pt x="328041" y="60769"/>
                    </a:lnTo>
                    <a:lnTo>
                      <a:pt x="327279" y="60769"/>
                    </a:lnTo>
                    <a:lnTo>
                      <a:pt x="323850" y="63246"/>
                    </a:lnTo>
                    <a:lnTo>
                      <a:pt x="322136" y="63246"/>
                    </a:lnTo>
                    <a:lnTo>
                      <a:pt x="320516" y="63246"/>
                    </a:lnTo>
                    <a:lnTo>
                      <a:pt x="319659" y="62389"/>
                    </a:lnTo>
                    <a:lnTo>
                      <a:pt x="318802" y="61627"/>
                    </a:lnTo>
                    <a:lnTo>
                      <a:pt x="317945" y="60769"/>
                    </a:lnTo>
                    <a:lnTo>
                      <a:pt x="317087" y="60769"/>
                    </a:lnTo>
                    <a:lnTo>
                      <a:pt x="312039" y="59912"/>
                    </a:lnTo>
                    <a:lnTo>
                      <a:pt x="310325" y="59055"/>
                    </a:lnTo>
                    <a:lnTo>
                      <a:pt x="308705" y="58198"/>
                    </a:lnTo>
                    <a:lnTo>
                      <a:pt x="305276" y="56578"/>
                    </a:lnTo>
                    <a:lnTo>
                      <a:pt x="302800" y="58198"/>
                    </a:lnTo>
                    <a:lnTo>
                      <a:pt x="301943" y="57340"/>
                    </a:lnTo>
                    <a:lnTo>
                      <a:pt x="301085" y="56578"/>
                    </a:lnTo>
                    <a:lnTo>
                      <a:pt x="301085" y="56578"/>
                    </a:lnTo>
                    <a:lnTo>
                      <a:pt x="301085" y="54864"/>
                    </a:lnTo>
                    <a:lnTo>
                      <a:pt x="295180" y="49816"/>
                    </a:lnTo>
                    <a:lnTo>
                      <a:pt x="293465" y="48101"/>
                    </a:lnTo>
                    <a:lnTo>
                      <a:pt x="293465" y="46387"/>
                    </a:lnTo>
                    <a:lnTo>
                      <a:pt x="294323" y="43910"/>
                    </a:lnTo>
                    <a:lnTo>
                      <a:pt x="294323" y="43053"/>
                    </a:lnTo>
                    <a:lnTo>
                      <a:pt x="295180" y="40481"/>
                    </a:lnTo>
                    <a:lnTo>
                      <a:pt x="295180" y="37147"/>
                    </a:lnTo>
                    <a:lnTo>
                      <a:pt x="295180" y="33814"/>
                    </a:lnTo>
                    <a:lnTo>
                      <a:pt x="295180" y="32099"/>
                    </a:lnTo>
                    <a:lnTo>
                      <a:pt x="294323" y="30385"/>
                    </a:lnTo>
                    <a:lnTo>
                      <a:pt x="292703" y="27908"/>
                    </a:lnTo>
                    <a:lnTo>
                      <a:pt x="290989" y="27051"/>
                    </a:lnTo>
                    <a:lnTo>
                      <a:pt x="288417" y="24479"/>
                    </a:lnTo>
                    <a:lnTo>
                      <a:pt x="283369" y="22003"/>
                    </a:lnTo>
                    <a:lnTo>
                      <a:pt x="280035" y="20288"/>
                    </a:lnTo>
                    <a:lnTo>
                      <a:pt x="279178" y="19431"/>
                    </a:lnTo>
                    <a:lnTo>
                      <a:pt x="278321" y="18574"/>
                    </a:lnTo>
                    <a:lnTo>
                      <a:pt x="278321" y="17717"/>
                    </a:lnTo>
                    <a:lnTo>
                      <a:pt x="278321" y="16097"/>
                    </a:lnTo>
                    <a:lnTo>
                      <a:pt x="277463" y="15240"/>
                    </a:lnTo>
                    <a:lnTo>
                      <a:pt x="276606" y="15240"/>
                    </a:lnTo>
                    <a:lnTo>
                      <a:pt x="274987" y="14383"/>
                    </a:lnTo>
                    <a:lnTo>
                      <a:pt x="274130" y="14383"/>
                    </a:lnTo>
                    <a:lnTo>
                      <a:pt x="273272" y="12668"/>
                    </a:lnTo>
                    <a:lnTo>
                      <a:pt x="272415" y="11811"/>
                    </a:lnTo>
                    <a:lnTo>
                      <a:pt x="272415" y="9334"/>
                    </a:lnTo>
                    <a:lnTo>
                      <a:pt x="271558" y="7620"/>
                    </a:lnTo>
                    <a:lnTo>
                      <a:pt x="269843" y="5905"/>
                    </a:lnTo>
                    <a:lnTo>
                      <a:pt x="268224" y="4286"/>
                    </a:lnTo>
                    <a:lnTo>
                      <a:pt x="266510" y="3429"/>
                    </a:lnTo>
                    <a:lnTo>
                      <a:pt x="264795" y="4286"/>
                    </a:lnTo>
                    <a:lnTo>
                      <a:pt x="263938" y="4286"/>
                    </a:lnTo>
                    <a:lnTo>
                      <a:pt x="262319" y="4286"/>
                    </a:lnTo>
                    <a:lnTo>
                      <a:pt x="260604" y="3429"/>
                    </a:lnTo>
                    <a:lnTo>
                      <a:pt x="259747" y="2572"/>
                    </a:lnTo>
                    <a:lnTo>
                      <a:pt x="258890" y="0"/>
                    </a:lnTo>
                    <a:lnTo>
                      <a:pt x="258890" y="0"/>
                    </a:lnTo>
                    <a:lnTo>
                      <a:pt x="258032" y="0"/>
                    </a:lnTo>
                    <a:lnTo>
                      <a:pt x="257270" y="0"/>
                    </a:lnTo>
                    <a:lnTo>
                      <a:pt x="256413" y="0"/>
                    </a:lnTo>
                    <a:lnTo>
                      <a:pt x="254699" y="1715"/>
                    </a:lnTo>
                    <a:lnTo>
                      <a:pt x="253841" y="2572"/>
                    </a:lnTo>
                    <a:lnTo>
                      <a:pt x="252984" y="2572"/>
                    </a:lnTo>
                    <a:lnTo>
                      <a:pt x="254699" y="4286"/>
                    </a:lnTo>
                    <a:lnTo>
                      <a:pt x="255556" y="5905"/>
                    </a:lnTo>
                    <a:lnTo>
                      <a:pt x="256413" y="8477"/>
                    </a:lnTo>
                    <a:lnTo>
                      <a:pt x="257270" y="9334"/>
                    </a:lnTo>
                    <a:lnTo>
                      <a:pt x="258032" y="10192"/>
                    </a:lnTo>
                    <a:lnTo>
                      <a:pt x="258890" y="10192"/>
                    </a:lnTo>
                    <a:lnTo>
                      <a:pt x="259747" y="11049"/>
                    </a:lnTo>
                    <a:lnTo>
                      <a:pt x="260604" y="11049"/>
                    </a:lnTo>
                    <a:lnTo>
                      <a:pt x="260604" y="11811"/>
                    </a:lnTo>
                    <a:lnTo>
                      <a:pt x="260604" y="12668"/>
                    </a:lnTo>
                    <a:lnTo>
                      <a:pt x="260604" y="13525"/>
                    </a:lnTo>
                    <a:lnTo>
                      <a:pt x="259747" y="15240"/>
                    </a:lnTo>
                    <a:lnTo>
                      <a:pt x="258032" y="17717"/>
                    </a:lnTo>
                    <a:lnTo>
                      <a:pt x="258032" y="19431"/>
                    </a:lnTo>
                    <a:lnTo>
                      <a:pt x="258032" y="20288"/>
                    </a:lnTo>
                    <a:lnTo>
                      <a:pt x="258890" y="22003"/>
                    </a:lnTo>
                    <a:lnTo>
                      <a:pt x="259747" y="22765"/>
                    </a:lnTo>
                    <a:lnTo>
                      <a:pt x="259747" y="23622"/>
                    </a:lnTo>
                    <a:lnTo>
                      <a:pt x="259747" y="25336"/>
                    </a:lnTo>
                    <a:lnTo>
                      <a:pt x="258890" y="27051"/>
                    </a:lnTo>
                    <a:lnTo>
                      <a:pt x="258890" y="28670"/>
                    </a:lnTo>
                    <a:lnTo>
                      <a:pt x="259747" y="32099"/>
                    </a:lnTo>
                    <a:lnTo>
                      <a:pt x="260604" y="32099"/>
                    </a:lnTo>
                    <a:lnTo>
                      <a:pt x="261461" y="32099"/>
                    </a:lnTo>
                    <a:lnTo>
                      <a:pt x="262319" y="31242"/>
                    </a:lnTo>
                    <a:lnTo>
                      <a:pt x="262319" y="31242"/>
                    </a:lnTo>
                    <a:lnTo>
                      <a:pt x="262319" y="32099"/>
                    </a:lnTo>
                    <a:lnTo>
                      <a:pt x="262319" y="32099"/>
                    </a:lnTo>
                    <a:lnTo>
                      <a:pt x="263176" y="32099"/>
                    </a:lnTo>
                    <a:lnTo>
                      <a:pt x="263176" y="36290"/>
                    </a:lnTo>
                    <a:lnTo>
                      <a:pt x="263938" y="37147"/>
                    </a:lnTo>
                    <a:lnTo>
                      <a:pt x="264795" y="37147"/>
                    </a:lnTo>
                    <a:lnTo>
                      <a:pt x="265652" y="37147"/>
                    </a:lnTo>
                    <a:lnTo>
                      <a:pt x="266510" y="38005"/>
                    </a:lnTo>
                    <a:lnTo>
                      <a:pt x="266510" y="38862"/>
                    </a:lnTo>
                    <a:lnTo>
                      <a:pt x="267367" y="40481"/>
                    </a:lnTo>
                    <a:lnTo>
                      <a:pt x="267367" y="41338"/>
                    </a:lnTo>
                    <a:lnTo>
                      <a:pt x="268224" y="42196"/>
                    </a:lnTo>
                    <a:lnTo>
                      <a:pt x="268224" y="43053"/>
                    </a:lnTo>
                    <a:lnTo>
                      <a:pt x="267367" y="47244"/>
                    </a:lnTo>
                    <a:lnTo>
                      <a:pt x="267367" y="48958"/>
                    </a:lnTo>
                    <a:lnTo>
                      <a:pt x="267367" y="50673"/>
                    </a:lnTo>
                    <a:lnTo>
                      <a:pt x="268224" y="51435"/>
                    </a:lnTo>
                    <a:lnTo>
                      <a:pt x="269081" y="52292"/>
                    </a:lnTo>
                    <a:lnTo>
                      <a:pt x="269081" y="53149"/>
                    </a:lnTo>
                    <a:lnTo>
                      <a:pt x="268224" y="54007"/>
                    </a:lnTo>
                    <a:lnTo>
                      <a:pt x="267367" y="54864"/>
                    </a:lnTo>
                    <a:lnTo>
                      <a:pt x="267367" y="55721"/>
                    </a:lnTo>
                    <a:lnTo>
                      <a:pt x="267367" y="56578"/>
                    </a:lnTo>
                    <a:lnTo>
                      <a:pt x="267367" y="60769"/>
                    </a:lnTo>
                    <a:lnTo>
                      <a:pt x="267367" y="62389"/>
                    </a:lnTo>
                    <a:lnTo>
                      <a:pt x="268224" y="66675"/>
                    </a:lnTo>
                    <a:lnTo>
                      <a:pt x="268224" y="68294"/>
                    </a:lnTo>
                    <a:lnTo>
                      <a:pt x="268224" y="69151"/>
                    </a:lnTo>
                    <a:lnTo>
                      <a:pt x="267367" y="70866"/>
                    </a:lnTo>
                    <a:lnTo>
                      <a:pt x="266510" y="72580"/>
                    </a:lnTo>
                    <a:lnTo>
                      <a:pt x="265652" y="72580"/>
                    </a:lnTo>
                    <a:lnTo>
                      <a:pt x="264795" y="72580"/>
                    </a:lnTo>
                    <a:lnTo>
                      <a:pt x="263176" y="70009"/>
                    </a:lnTo>
                    <a:lnTo>
                      <a:pt x="262319" y="66675"/>
                    </a:lnTo>
                    <a:lnTo>
                      <a:pt x="261461" y="64960"/>
                    </a:lnTo>
                    <a:lnTo>
                      <a:pt x="260604" y="64103"/>
                    </a:lnTo>
                    <a:lnTo>
                      <a:pt x="259747" y="64103"/>
                    </a:lnTo>
                    <a:lnTo>
                      <a:pt x="256413" y="64960"/>
                    </a:lnTo>
                    <a:lnTo>
                      <a:pt x="255556" y="64960"/>
                    </a:lnTo>
                    <a:lnTo>
                      <a:pt x="252984" y="63246"/>
                    </a:lnTo>
                    <a:lnTo>
                      <a:pt x="251365" y="63246"/>
                    </a:lnTo>
                    <a:lnTo>
                      <a:pt x="248793" y="64960"/>
                    </a:lnTo>
                    <a:lnTo>
                      <a:pt x="248793" y="65818"/>
                    </a:lnTo>
                    <a:lnTo>
                      <a:pt x="247936" y="65818"/>
                    </a:lnTo>
                    <a:lnTo>
                      <a:pt x="247936" y="70009"/>
                    </a:lnTo>
                    <a:lnTo>
                      <a:pt x="247936" y="70009"/>
                    </a:lnTo>
                    <a:lnTo>
                      <a:pt x="247936" y="70866"/>
                    </a:lnTo>
                    <a:lnTo>
                      <a:pt x="247936" y="70866"/>
                    </a:lnTo>
                    <a:lnTo>
                      <a:pt x="249650" y="71723"/>
                    </a:lnTo>
                    <a:lnTo>
                      <a:pt x="249650" y="71723"/>
                    </a:lnTo>
                    <a:lnTo>
                      <a:pt x="250508" y="72580"/>
                    </a:lnTo>
                    <a:lnTo>
                      <a:pt x="249650" y="72580"/>
                    </a:lnTo>
                    <a:lnTo>
                      <a:pt x="248793" y="73438"/>
                    </a:lnTo>
                    <a:lnTo>
                      <a:pt x="247079" y="75057"/>
                    </a:lnTo>
                    <a:lnTo>
                      <a:pt x="240411" y="80963"/>
                    </a:lnTo>
                    <a:lnTo>
                      <a:pt x="238697" y="80963"/>
                    </a:lnTo>
                    <a:lnTo>
                      <a:pt x="236982" y="82677"/>
                    </a:lnTo>
                    <a:lnTo>
                      <a:pt x="235268" y="83534"/>
                    </a:lnTo>
                    <a:lnTo>
                      <a:pt x="231077" y="85153"/>
                    </a:lnTo>
                    <a:lnTo>
                      <a:pt x="229362" y="86011"/>
                    </a:lnTo>
                    <a:lnTo>
                      <a:pt x="227743" y="86868"/>
                    </a:lnTo>
                    <a:lnTo>
                      <a:pt x="227743" y="88582"/>
                    </a:lnTo>
                    <a:lnTo>
                      <a:pt x="227743" y="89440"/>
                    </a:lnTo>
                    <a:lnTo>
                      <a:pt x="227743" y="90297"/>
                    </a:lnTo>
                    <a:lnTo>
                      <a:pt x="228600" y="90297"/>
                    </a:lnTo>
                    <a:lnTo>
                      <a:pt x="229362" y="90297"/>
                    </a:lnTo>
                    <a:lnTo>
                      <a:pt x="230219" y="90297"/>
                    </a:lnTo>
                    <a:lnTo>
                      <a:pt x="230219" y="89440"/>
                    </a:lnTo>
                    <a:lnTo>
                      <a:pt x="232791" y="86868"/>
                    </a:lnTo>
                    <a:lnTo>
                      <a:pt x="232791" y="86868"/>
                    </a:lnTo>
                    <a:lnTo>
                      <a:pt x="233648" y="86868"/>
                    </a:lnTo>
                    <a:lnTo>
                      <a:pt x="233648" y="86868"/>
                    </a:lnTo>
                    <a:lnTo>
                      <a:pt x="234506" y="86868"/>
                    </a:lnTo>
                    <a:lnTo>
                      <a:pt x="234506" y="87725"/>
                    </a:lnTo>
                    <a:lnTo>
                      <a:pt x="234506" y="87725"/>
                    </a:lnTo>
                    <a:lnTo>
                      <a:pt x="234506" y="88582"/>
                    </a:lnTo>
                    <a:lnTo>
                      <a:pt x="235268" y="89440"/>
                    </a:lnTo>
                    <a:lnTo>
                      <a:pt x="235268" y="90297"/>
                    </a:lnTo>
                    <a:lnTo>
                      <a:pt x="236125" y="90297"/>
                    </a:lnTo>
                    <a:lnTo>
                      <a:pt x="236125" y="91059"/>
                    </a:lnTo>
                    <a:lnTo>
                      <a:pt x="237839" y="91059"/>
                    </a:lnTo>
                    <a:lnTo>
                      <a:pt x="238697" y="91916"/>
                    </a:lnTo>
                    <a:lnTo>
                      <a:pt x="238697" y="91916"/>
                    </a:lnTo>
                    <a:lnTo>
                      <a:pt x="238697" y="92773"/>
                    </a:lnTo>
                    <a:lnTo>
                      <a:pt x="239554" y="92773"/>
                    </a:lnTo>
                    <a:lnTo>
                      <a:pt x="239554" y="93631"/>
                    </a:lnTo>
                    <a:lnTo>
                      <a:pt x="238697" y="95345"/>
                    </a:lnTo>
                    <a:lnTo>
                      <a:pt x="237839" y="96965"/>
                    </a:lnTo>
                    <a:lnTo>
                      <a:pt x="237839" y="97822"/>
                    </a:lnTo>
                    <a:lnTo>
                      <a:pt x="237839" y="99536"/>
                    </a:lnTo>
                    <a:lnTo>
                      <a:pt x="237839" y="100394"/>
                    </a:lnTo>
                    <a:lnTo>
                      <a:pt x="233648" y="102108"/>
                    </a:lnTo>
                    <a:lnTo>
                      <a:pt x="226886" y="107156"/>
                    </a:lnTo>
                    <a:lnTo>
                      <a:pt x="223457" y="107156"/>
                    </a:lnTo>
                    <a:lnTo>
                      <a:pt x="222695" y="106299"/>
                    </a:lnTo>
                    <a:lnTo>
                      <a:pt x="219266" y="106299"/>
                    </a:lnTo>
                    <a:lnTo>
                      <a:pt x="218408" y="105442"/>
                    </a:lnTo>
                    <a:lnTo>
                      <a:pt x="218408" y="104584"/>
                    </a:lnTo>
                    <a:lnTo>
                      <a:pt x="216789" y="102108"/>
                    </a:lnTo>
                    <a:lnTo>
                      <a:pt x="215932" y="100394"/>
                    </a:lnTo>
                    <a:lnTo>
                      <a:pt x="215075" y="95345"/>
                    </a:lnTo>
                    <a:lnTo>
                      <a:pt x="214217" y="95345"/>
                    </a:lnTo>
                    <a:lnTo>
                      <a:pt x="214217" y="94488"/>
                    </a:lnTo>
                    <a:lnTo>
                      <a:pt x="213360" y="94488"/>
                    </a:lnTo>
                    <a:lnTo>
                      <a:pt x="212503" y="94488"/>
                    </a:lnTo>
                    <a:lnTo>
                      <a:pt x="211646" y="95345"/>
                    </a:lnTo>
                    <a:lnTo>
                      <a:pt x="211646" y="96202"/>
                    </a:lnTo>
                    <a:lnTo>
                      <a:pt x="211646" y="96965"/>
                    </a:lnTo>
                    <a:lnTo>
                      <a:pt x="211646" y="97822"/>
                    </a:lnTo>
                    <a:lnTo>
                      <a:pt x="212503" y="98679"/>
                    </a:lnTo>
                    <a:lnTo>
                      <a:pt x="212503" y="99536"/>
                    </a:lnTo>
                    <a:lnTo>
                      <a:pt x="211646" y="99536"/>
                    </a:lnTo>
                    <a:lnTo>
                      <a:pt x="210884" y="102108"/>
                    </a:lnTo>
                    <a:lnTo>
                      <a:pt x="210884" y="102870"/>
                    </a:lnTo>
                    <a:lnTo>
                      <a:pt x="210026" y="102870"/>
                    </a:lnTo>
                    <a:lnTo>
                      <a:pt x="209169" y="102870"/>
                    </a:lnTo>
                    <a:lnTo>
                      <a:pt x="209169" y="102870"/>
                    </a:lnTo>
                    <a:lnTo>
                      <a:pt x="208312" y="102108"/>
                    </a:lnTo>
                    <a:lnTo>
                      <a:pt x="206597" y="100394"/>
                    </a:lnTo>
                    <a:lnTo>
                      <a:pt x="205740" y="100394"/>
                    </a:lnTo>
                    <a:lnTo>
                      <a:pt x="205740" y="100394"/>
                    </a:lnTo>
                    <a:lnTo>
                      <a:pt x="204978" y="100394"/>
                    </a:lnTo>
                    <a:lnTo>
                      <a:pt x="204978" y="101251"/>
                    </a:lnTo>
                    <a:lnTo>
                      <a:pt x="204978" y="102108"/>
                    </a:lnTo>
                    <a:lnTo>
                      <a:pt x="204978" y="102870"/>
                    </a:lnTo>
                    <a:lnTo>
                      <a:pt x="204978" y="103727"/>
                    </a:lnTo>
                    <a:lnTo>
                      <a:pt x="204121" y="104584"/>
                    </a:lnTo>
                    <a:lnTo>
                      <a:pt x="202406" y="104584"/>
                    </a:lnTo>
                    <a:lnTo>
                      <a:pt x="201549" y="104584"/>
                    </a:lnTo>
                    <a:lnTo>
                      <a:pt x="199835" y="104584"/>
                    </a:lnTo>
                    <a:lnTo>
                      <a:pt x="199073" y="103727"/>
                    </a:lnTo>
                    <a:lnTo>
                      <a:pt x="198215" y="103727"/>
                    </a:lnTo>
                    <a:lnTo>
                      <a:pt x="197358" y="102870"/>
                    </a:lnTo>
                    <a:lnTo>
                      <a:pt x="193929" y="100394"/>
                    </a:lnTo>
                    <a:lnTo>
                      <a:pt x="193167" y="100394"/>
                    </a:lnTo>
                    <a:lnTo>
                      <a:pt x="192310" y="100394"/>
                    </a:lnTo>
                    <a:lnTo>
                      <a:pt x="191453" y="101251"/>
                    </a:lnTo>
                    <a:lnTo>
                      <a:pt x="191453" y="102108"/>
                    </a:lnTo>
                    <a:lnTo>
                      <a:pt x="191453" y="102870"/>
                    </a:lnTo>
                    <a:lnTo>
                      <a:pt x="191453" y="103727"/>
                    </a:lnTo>
                    <a:lnTo>
                      <a:pt x="192310" y="104584"/>
                    </a:lnTo>
                    <a:lnTo>
                      <a:pt x="193167" y="104584"/>
                    </a:lnTo>
                    <a:lnTo>
                      <a:pt x="195644" y="106299"/>
                    </a:lnTo>
                    <a:lnTo>
                      <a:pt x="196501" y="106299"/>
                    </a:lnTo>
                    <a:lnTo>
                      <a:pt x="196501" y="107156"/>
                    </a:lnTo>
                    <a:lnTo>
                      <a:pt x="195644" y="107156"/>
                    </a:lnTo>
                    <a:lnTo>
                      <a:pt x="193929" y="107918"/>
                    </a:lnTo>
                    <a:lnTo>
                      <a:pt x="193167" y="107918"/>
                    </a:lnTo>
                    <a:lnTo>
                      <a:pt x="192310" y="108775"/>
                    </a:lnTo>
                    <a:lnTo>
                      <a:pt x="192310" y="109633"/>
                    </a:lnTo>
                    <a:lnTo>
                      <a:pt x="193167" y="109633"/>
                    </a:lnTo>
                    <a:lnTo>
                      <a:pt x="193167" y="110490"/>
                    </a:lnTo>
                    <a:lnTo>
                      <a:pt x="193167" y="111347"/>
                    </a:lnTo>
                    <a:lnTo>
                      <a:pt x="193167" y="111347"/>
                    </a:lnTo>
                    <a:lnTo>
                      <a:pt x="193167" y="112204"/>
                    </a:lnTo>
                    <a:lnTo>
                      <a:pt x="193167" y="113062"/>
                    </a:lnTo>
                    <a:lnTo>
                      <a:pt x="192310" y="113824"/>
                    </a:lnTo>
                    <a:lnTo>
                      <a:pt x="191453" y="115538"/>
                    </a:lnTo>
                    <a:lnTo>
                      <a:pt x="188881" y="121444"/>
                    </a:lnTo>
                    <a:lnTo>
                      <a:pt x="188024" y="124015"/>
                    </a:lnTo>
                    <a:lnTo>
                      <a:pt x="188024" y="124777"/>
                    </a:lnTo>
                    <a:lnTo>
                      <a:pt x="188024" y="126492"/>
                    </a:lnTo>
                    <a:lnTo>
                      <a:pt x="188881" y="127349"/>
                    </a:lnTo>
                    <a:lnTo>
                      <a:pt x="188881" y="128206"/>
                    </a:lnTo>
                    <a:lnTo>
                      <a:pt x="189738" y="129064"/>
                    </a:lnTo>
                    <a:lnTo>
                      <a:pt x="189738" y="130683"/>
                    </a:lnTo>
                    <a:lnTo>
                      <a:pt x="190595" y="131540"/>
                    </a:lnTo>
                    <a:lnTo>
                      <a:pt x="193167" y="132397"/>
                    </a:lnTo>
                    <a:lnTo>
                      <a:pt x="193929" y="133255"/>
                    </a:lnTo>
                    <a:lnTo>
                      <a:pt x="193929" y="134969"/>
                    </a:lnTo>
                    <a:lnTo>
                      <a:pt x="192310" y="135826"/>
                    </a:lnTo>
                    <a:lnTo>
                      <a:pt x="188881" y="137446"/>
                    </a:lnTo>
                    <a:lnTo>
                      <a:pt x="186404" y="139160"/>
                    </a:lnTo>
                    <a:lnTo>
                      <a:pt x="184690" y="140017"/>
                    </a:lnTo>
                    <a:lnTo>
                      <a:pt x="182975" y="140875"/>
                    </a:lnTo>
                    <a:lnTo>
                      <a:pt x="177927" y="142494"/>
                    </a:lnTo>
                    <a:lnTo>
                      <a:pt x="174593" y="147542"/>
                    </a:lnTo>
                    <a:lnTo>
                      <a:pt x="173736" y="148399"/>
                    </a:lnTo>
                    <a:lnTo>
                      <a:pt x="172022" y="149257"/>
                    </a:lnTo>
                    <a:lnTo>
                      <a:pt x="169545" y="148399"/>
                    </a:lnTo>
                    <a:lnTo>
                      <a:pt x="167831" y="149257"/>
                    </a:lnTo>
                    <a:lnTo>
                      <a:pt x="165259" y="150114"/>
                    </a:lnTo>
                    <a:lnTo>
                      <a:pt x="164497" y="150971"/>
                    </a:lnTo>
                    <a:lnTo>
                      <a:pt x="161925" y="150971"/>
                    </a:lnTo>
                    <a:lnTo>
                      <a:pt x="158591" y="150114"/>
                    </a:lnTo>
                    <a:lnTo>
                      <a:pt x="156020" y="149257"/>
                    </a:lnTo>
                    <a:lnTo>
                      <a:pt x="155162" y="148399"/>
                    </a:lnTo>
                    <a:lnTo>
                      <a:pt x="155162" y="147542"/>
                    </a:lnTo>
                    <a:lnTo>
                      <a:pt x="153448" y="144209"/>
                    </a:lnTo>
                    <a:lnTo>
                      <a:pt x="152686" y="142494"/>
                    </a:lnTo>
                    <a:lnTo>
                      <a:pt x="150114" y="140875"/>
                    </a:lnTo>
                    <a:lnTo>
                      <a:pt x="149257" y="140017"/>
                    </a:lnTo>
                    <a:lnTo>
                      <a:pt x="147542" y="140017"/>
                    </a:lnTo>
                    <a:lnTo>
                      <a:pt x="146780" y="139160"/>
                    </a:lnTo>
                    <a:lnTo>
                      <a:pt x="145066" y="139160"/>
                    </a:lnTo>
                    <a:lnTo>
                      <a:pt x="142494" y="140017"/>
                    </a:lnTo>
                    <a:lnTo>
                      <a:pt x="139160" y="141732"/>
                    </a:lnTo>
                    <a:lnTo>
                      <a:pt x="138303" y="142494"/>
                    </a:lnTo>
                    <a:lnTo>
                      <a:pt x="137446" y="144209"/>
                    </a:lnTo>
                    <a:lnTo>
                      <a:pt x="138303" y="145066"/>
                    </a:lnTo>
                    <a:lnTo>
                      <a:pt x="137446" y="145923"/>
                    </a:lnTo>
                    <a:lnTo>
                      <a:pt x="136589" y="146780"/>
                    </a:lnTo>
                    <a:lnTo>
                      <a:pt x="135731" y="147542"/>
                    </a:lnTo>
                    <a:lnTo>
                      <a:pt x="131540" y="146780"/>
                    </a:lnTo>
                    <a:lnTo>
                      <a:pt x="129064" y="146780"/>
                    </a:lnTo>
                    <a:lnTo>
                      <a:pt x="127349" y="147542"/>
                    </a:lnTo>
                    <a:lnTo>
                      <a:pt x="125635" y="147542"/>
                    </a:lnTo>
                    <a:lnTo>
                      <a:pt x="122301" y="146780"/>
                    </a:lnTo>
                    <a:lnTo>
                      <a:pt x="118872" y="145066"/>
                    </a:lnTo>
                    <a:lnTo>
                      <a:pt x="118110" y="145066"/>
                    </a:lnTo>
                    <a:lnTo>
                      <a:pt x="117253" y="145066"/>
                    </a:lnTo>
                    <a:lnTo>
                      <a:pt x="114681" y="145066"/>
                    </a:lnTo>
                    <a:lnTo>
                      <a:pt x="111347" y="143351"/>
                    </a:lnTo>
                    <a:lnTo>
                      <a:pt x="109633" y="142494"/>
                    </a:lnTo>
                    <a:lnTo>
                      <a:pt x="108776" y="141732"/>
                    </a:lnTo>
                    <a:lnTo>
                      <a:pt x="107918" y="142494"/>
                    </a:lnTo>
                    <a:lnTo>
                      <a:pt x="106299" y="145066"/>
                    </a:lnTo>
                    <a:lnTo>
                      <a:pt x="103727" y="148399"/>
                    </a:lnTo>
                    <a:lnTo>
                      <a:pt x="101156" y="152686"/>
                    </a:lnTo>
                    <a:lnTo>
                      <a:pt x="100394" y="154305"/>
                    </a:lnTo>
                    <a:lnTo>
                      <a:pt x="97822" y="156019"/>
                    </a:lnTo>
                    <a:lnTo>
                      <a:pt x="96965" y="157734"/>
                    </a:lnTo>
                    <a:lnTo>
                      <a:pt x="96965" y="158591"/>
                    </a:lnTo>
                    <a:lnTo>
                      <a:pt x="96965" y="159353"/>
                    </a:lnTo>
                    <a:lnTo>
                      <a:pt x="96965" y="160211"/>
                    </a:lnTo>
                    <a:lnTo>
                      <a:pt x="96107" y="161068"/>
                    </a:lnTo>
                    <a:lnTo>
                      <a:pt x="95250" y="160211"/>
                    </a:lnTo>
                    <a:lnTo>
                      <a:pt x="94488" y="160211"/>
                    </a:lnTo>
                    <a:lnTo>
                      <a:pt x="93631" y="161068"/>
                    </a:lnTo>
                    <a:lnTo>
                      <a:pt x="91916" y="164497"/>
                    </a:lnTo>
                    <a:lnTo>
                      <a:pt x="91059" y="165259"/>
                    </a:lnTo>
                    <a:lnTo>
                      <a:pt x="91059" y="166973"/>
                    </a:lnTo>
                    <a:lnTo>
                      <a:pt x="91059" y="167830"/>
                    </a:lnTo>
                    <a:lnTo>
                      <a:pt x="91916" y="168688"/>
                    </a:lnTo>
                    <a:lnTo>
                      <a:pt x="92774" y="169545"/>
                    </a:lnTo>
                    <a:lnTo>
                      <a:pt x="91916" y="171164"/>
                    </a:lnTo>
                    <a:lnTo>
                      <a:pt x="91059" y="172021"/>
                    </a:lnTo>
                    <a:lnTo>
                      <a:pt x="88583" y="172021"/>
                    </a:lnTo>
                    <a:lnTo>
                      <a:pt x="86011" y="173736"/>
                    </a:lnTo>
                    <a:lnTo>
                      <a:pt x="84296" y="172879"/>
                    </a:lnTo>
                    <a:lnTo>
                      <a:pt x="84296" y="170307"/>
                    </a:lnTo>
                    <a:lnTo>
                      <a:pt x="83439" y="169545"/>
                    </a:lnTo>
                    <a:lnTo>
                      <a:pt x="83439" y="167830"/>
                    </a:lnTo>
                    <a:lnTo>
                      <a:pt x="83439" y="167830"/>
                    </a:lnTo>
                    <a:lnTo>
                      <a:pt x="82677" y="166973"/>
                    </a:lnTo>
                    <a:lnTo>
                      <a:pt x="82677" y="166116"/>
                    </a:lnTo>
                    <a:lnTo>
                      <a:pt x="82677" y="166116"/>
                    </a:lnTo>
                    <a:lnTo>
                      <a:pt x="81820" y="164497"/>
                    </a:lnTo>
                    <a:lnTo>
                      <a:pt x="80105" y="163640"/>
                    </a:lnTo>
                    <a:lnTo>
                      <a:pt x="80105" y="162782"/>
                    </a:lnTo>
                    <a:lnTo>
                      <a:pt x="80105" y="162782"/>
                    </a:lnTo>
                    <a:lnTo>
                      <a:pt x="80105" y="161925"/>
                    </a:lnTo>
                    <a:lnTo>
                      <a:pt x="80105" y="161068"/>
                    </a:lnTo>
                    <a:lnTo>
                      <a:pt x="80105" y="161068"/>
                    </a:lnTo>
                    <a:lnTo>
                      <a:pt x="80105" y="160211"/>
                    </a:lnTo>
                    <a:lnTo>
                      <a:pt x="78391" y="158591"/>
                    </a:lnTo>
                    <a:lnTo>
                      <a:pt x="77533" y="157734"/>
                    </a:lnTo>
                    <a:lnTo>
                      <a:pt x="77533" y="157734"/>
                    </a:lnTo>
                    <a:lnTo>
                      <a:pt x="78391" y="156877"/>
                    </a:lnTo>
                    <a:lnTo>
                      <a:pt x="78391" y="156877"/>
                    </a:lnTo>
                    <a:lnTo>
                      <a:pt x="79248" y="156877"/>
                    </a:lnTo>
                    <a:lnTo>
                      <a:pt x="80963" y="156019"/>
                    </a:lnTo>
                    <a:lnTo>
                      <a:pt x="81820" y="155162"/>
                    </a:lnTo>
                    <a:lnTo>
                      <a:pt x="81820" y="155162"/>
                    </a:lnTo>
                    <a:lnTo>
                      <a:pt x="81820" y="154305"/>
                    </a:lnTo>
                    <a:lnTo>
                      <a:pt x="81820" y="153448"/>
                    </a:lnTo>
                    <a:lnTo>
                      <a:pt x="81820" y="151828"/>
                    </a:lnTo>
                    <a:lnTo>
                      <a:pt x="81820" y="150971"/>
                    </a:lnTo>
                    <a:lnTo>
                      <a:pt x="81820" y="150114"/>
                    </a:lnTo>
                    <a:lnTo>
                      <a:pt x="81820" y="150114"/>
                    </a:lnTo>
                    <a:lnTo>
                      <a:pt x="81820" y="150114"/>
                    </a:lnTo>
                    <a:lnTo>
                      <a:pt x="82677" y="150114"/>
                    </a:lnTo>
                    <a:lnTo>
                      <a:pt x="82677" y="150114"/>
                    </a:lnTo>
                    <a:lnTo>
                      <a:pt x="83439" y="150114"/>
                    </a:lnTo>
                    <a:lnTo>
                      <a:pt x="84296" y="150114"/>
                    </a:lnTo>
                    <a:lnTo>
                      <a:pt x="84296" y="150114"/>
                    </a:lnTo>
                    <a:lnTo>
                      <a:pt x="85154" y="150114"/>
                    </a:lnTo>
                    <a:lnTo>
                      <a:pt x="85154" y="150114"/>
                    </a:lnTo>
                    <a:lnTo>
                      <a:pt x="85154" y="149257"/>
                    </a:lnTo>
                    <a:lnTo>
                      <a:pt x="85154" y="148399"/>
                    </a:lnTo>
                    <a:lnTo>
                      <a:pt x="84296" y="147542"/>
                    </a:lnTo>
                    <a:lnTo>
                      <a:pt x="82677" y="145066"/>
                    </a:lnTo>
                    <a:lnTo>
                      <a:pt x="81820" y="143351"/>
                    </a:lnTo>
                    <a:lnTo>
                      <a:pt x="80963" y="142494"/>
                    </a:lnTo>
                    <a:lnTo>
                      <a:pt x="80963" y="141732"/>
                    </a:lnTo>
                    <a:lnTo>
                      <a:pt x="80963" y="140017"/>
                    </a:lnTo>
                    <a:lnTo>
                      <a:pt x="80105" y="139160"/>
                    </a:lnTo>
                    <a:lnTo>
                      <a:pt x="79248" y="139160"/>
                    </a:lnTo>
                    <a:lnTo>
                      <a:pt x="78391" y="139160"/>
                    </a:lnTo>
                    <a:lnTo>
                      <a:pt x="76772" y="140017"/>
                    </a:lnTo>
                    <a:lnTo>
                      <a:pt x="76772" y="140017"/>
                    </a:lnTo>
                    <a:lnTo>
                      <a:pt x="75914" y="140875"/>
                    </a:lnTo>
                    <a:lnTo>
                      <a:pt x="75914" y="140875"/>
                    </a:lnTo>
                    <a:lnTo>
                      <a:pt x="75914" y="144209"/>
                    </a:lnTo>
                    <a:lnTo>
                      <a:pt x="75057" y="144209"/>
                    </a:lnTo>
                    <a:lnTo>
                      <a:pt x="75057" y="144209"/>
                    </a:lnTo>
                    <a:lnTo>
                      <a:pt x="75057" y="144209"/>
                    </a:lnTo>
                    <a:lnTo>
                      <a:pt x="74200" y="143351"/>
                    </a:lnTo>
                    <a:lnTo>
                      <a:pt x="73343" y="142494"/>
                    </a:lnTo>
                    <a:lnTo>
                      <a:pt x="73343" y="141732"/>
                    </a:lnTo>
                    <a:lnTo>
                      <a:pt x="70866" y="140875"/>
                    </a:lnTo>
                    <a:lnTo>
                      <a:pt x="70009" y="140017"/>
                    </a:lnTo>
                    <a:lnTo>
                      <a:pt x="70009" y="139160"/>
                    </a:lnTo>
                    <a:lnTo>
                      <a:pt x="70009" y="136588"/>
                    </a:lnTo>
                    <a:lnTo>
                      <a:pt x="70009" y="136588"/>
                    </a:lnTo>
                    <a:lnTo>
                      <a:pt x="70009" y="135826"/>
                    </a:lnTo>
                    <a:lnTo>
                      <a:pt x="69152" y="134969"/>
                    </a:lnTo>
                    <a:lnTo>
                      <a:pt x="69152" y="134969"/>
                    </a:lnTo>
                    <a:lnTo>
                      <a:pt x="69152" y="134112"/>
                    </a:lnTo>
                    <a:lnTo>
                      <a:pt x="69152" y="134112"/>
                    </a:lnTo>
                    <a:lnTo>
                      <a:pt x="70009" y="133255"/>
                    </a:lnTo>
                    <a:lnTo>
                      <a:pt x="70009" y="133255"/>
                    </a:lnTo>
                    <a:lnTo>
                      <a:pt x="70866" y="132397"/>
                    </a:lnTo>
                    <a:lnTo>
                      <a:pt x="70866" y="131540"/>
                    </a:lnTo>
                    <a:lnTo>
                      <a:pt x="70866" y="130683"/>
                    </a:lnTo>
                    <a:lnTo>
                      <a:pt x="70866" y="129064"/>
                    </a:lnTo>
                    <a:lnTo>
                      <a:pt x="70866" y="128206"/>
                    </a:lnTo>
                    <a:lnTo>
                      <a:pt x="70009" y="127349"/>
                    </a:lnTo>
                    <a:lnTo>
                      <a:pt x="69152" y="127349"/>
                    </a:lnTo>
                    <a:lnTo>
                      <a:pt x="68294" y="127349"/>
                    </a:lnTo>
                    <a:lnTo>
                      <a:pt x="67437" y="128206"/>
                    </a:lnTo>
                    <a:lnTo>
                      <a:pt x="67437" y="129064"/>
                    </a:lnTo>
                    <a:lnTo>
                      <a:pt x="67437" y="129921"/>
                    </a:lnTo>
                    <a:lnTo>
                      <a:pt x="67437" y="130683"/>
                    </a:lnTo>
                    <a:lnTo>
                      <a:pt x="67437" y="131540"/>
                    </a:lnTo>
                    <a:lnTo>
                      <a:pt x="66580" y="131540"/>
                    </a:lnTo>
                    <a:lnTo>
                      <a:pt x="66580" y="132397"/>
                    </a:lnTo>
                    <a:lnTo>
                      <a:pt x="65818" y="132397"/>
                    </a:lnTo>
                    <a:lnTo>
                      <a:pt x="64103" y="132397"/>
                    </a:lnTo>
                    <a:lnTo>
                      <a:pt x="61532" y="134112"/>
                    </a:lnTo>
                    <a:lnTo>
                      <a:pt x="59912" y="134112"/>
                    </a:lnTo>
                    <a:lnTo>
                      <a:pt x="58198" y="134112"/>
                    </a:lnTo>
                    <a:lnTo>
                      <a:pt x="57341" y="133255"/>
                    </a:lnTo>
                    <a:lnTo>
                      <a:pt x="56483" y="133255"/>
                    </a:lnTo>
                    <a:lnTo>
                      <a:pt x="56483" y="132397"/>
                    </a:lnTo>
                    <a:lnTo>
                      <a:pt x="55626" y="131540"/>
                    </a:lnTo>
                    <a:lnTo>
                      <a:pt x="53150" y="129921"/>
                    </a:lnTo>
                    <a:lnTo>
                      <a:pt x="52292" y="129064"/>
                    </a:lnTo>
                    <a:lnTo>
                      <a:pt x="52292" y="129064"/>
                    </a:lnTo>
                    <a:lnTo>
                      <a:pt x="52292" y="128206"/>
                    </a:lnTo>
                    <a:lnTo>
                      <a:pt x="51435" y="126492"/>
                    </a:lnTo>
                    <a:lnTo>
                      <a:pt x="51435" y="125635"/>
                    </a:lnTo>
                    <a:lnTo>
                      <a:pt x="51435" y="125635"/>
                    </a:lnTo>
                    <a:lnTo>
                      <a:pt x="49721" y="124777"/>
                    </a:lnTo>
                    <a:lnTo>
                      <a:pt x="49721" y="124015"/>
                    </a:lnTo>
                    <a:lnTo>
                      <a:pt x="48101" y="124015"/>
                    </a:lnTo>
                    <a:lnTo>
                      <a:pt x="42958" y="123158"/>
                    </a:lnTo>
                    <a:lnTo>
                      <a:pt x="41339" y="122301"/>
                    </a:lnTo>
                    <a:lnTo>
                      <a:pt x="41339" y="122301"/>
                    </a:lnTo>
                    <a:lnTo>
                      <a:pt x="40481" y="121444"/>
                    </a:lnTo>
                    <a:lnTo>
                      <a:pt x="39624" y="120586"/>
                    </a:lnTo>
                    <a:lnTo>
                      <a:pt x="39624" y="119729"/>
                    </a:lnTo>
                    <a:lnTo>
                      <a:pt x="38767" y="119729"/>
                    </a:lnTo>
                    <a:lnTo>
                      <a:pt x="37910" y="119729"/>
                    </a:lnTo>
                    <a:lnTo>
                      <a:pt x="33719" y="121444"/>
                    </a:lnTo>
                    <a:lnTo>
                      <a:pt x="31147" y="121444"/>
                    </a:lnTo>
                    <a:lnTo>
                      <a:pt x="28670" y="121444"/>
                    </a:lnTo>
                    <a:lnTo>
                      <a:pt x="27813" y="121444"/>
                    </a:lnTo>
                    <a:lnTo>
                      <a:pt x="26956" y="122301"/>
                    </a:lnTo>
                    <a:lnTo>
                      <a:pt x="23622" y="124777"/>
                    </a:lnTo>
                    <a:lnTo>
                      <a:pt x="22765" y="124777"/>
                    </a:lnTo>
                    <a:lnTo>
                      <a:pt x="22765" y="125635"/>
                    </a:lnTo>
                    <a:lnTo>
                      <a:pt x="21908" y="127349"/>
                    </a:lnTo>
                    <a:lnTo>
                      <a:pt x="21050" y="128206"/>
                    </a:lnTo>
                    <a:lnTo>
                      <a:pt x="20193" y="129064"/>
                    </a:lnTo>
                    <a:lnTo>
                      <a:pt x="18574" y="129064"/>
                    </a:lnTo>
                    <a:lnTo>
                      <a:pt x="12668" y="126492"/>
                    </a:lnTo>
                    <a:lnTo>
                      <a:pt x="5906" y="124777"/>
                    </a:lnTo>
                    <a:lnTo>
                      <a:pt x="5906" y="129064"/>
                    </a:lnTo>
                    <a:lnTo>
                      <a:pt x="5906" y="129064"/>
                    </a:lnTo>
                    <a:lnTo>
                      <a:pt x="6763" y="130683"/>
                    </a:lnTo>
                    <a:lnTo>
                      <a:pt x="7620" y="131540"/>
                    </a:lnTo>
                    <a:lnTo>
                      <a:pt x="9239" y="132397"/>
                    </a:lnTo>
                    <a:lnTo>
                      <a:pt x="9239" y="133255"/>
                    </a:lnTo>
                    <a:lnTo>
                      <a:pt x="9239" y="134969"/>
                    </a:lnTo>
                    <a:lnTo>
                      <a:pt x="9239" y="135826"/>
                    </a:lnTo>
                    <a:lnTo>
                      <a:pt x="8382" y="136588"/>
                    </a:lnTo>
                    <a:lnTo>
                      <a:pt x="7620" y="137446"/>
                    </a:lnTo>
                    <a:lnTo>
                      <a:pt x="6763" y="138303"/>
                    </a:lnTo>
                    <a:lnTo>
                      <a:pt x="3334" y="140017"/>
                    </a:lnTo>
                    <a:lnTo>
                      <a:pt x="2477" y="140017"/>
                    </a:lnTo>
                    <a:lnTo>
                      <a:pt x="1715" y="140017"/>
                    </a:lnTo>
                    <a:lnTo>
                      <a:pt x="1715" y="140875"/>
                    </a:lnTo>
                    <a:lnTo>
                      <a:pt x="0" y="143351"/>
                    </a:lnTo>
                    <a:lnTo>
                      <a:pt x="0" y="145923"/>
                    </a:lnTo>
                    <a:lnTo>
                      <a:pt x="0" y="147542"/>
                    </a:lnTo>
                    <a:lnTo>
                      <a:pt x="0" y="149257"/>
                    </a:lnTo>
                    <a:lnTo>
                      <a:pt x="857" y="150114"/>
                    </a:lnTo>
                    <a:lnTo>
                      <a:pt x="1715" y="150971"/>
                    </a:lnTo>
                    <a:lnTo>
                      <a:pt x="2477" y="150971"/>
                    </a:lnTo>
                    <a:lnTo>
                      <a:pt x="4191" y="150971"/>
                    </a:lnTo>
                    <a:lnTo>
                      <a:pt x="5048" y="150971"/>
                    </a:lnTo>
                    <a:lnTo>
                      <a:pt x="5906" y="150971"/>
                    </a:lnTo>
                    <a:lnTo>
                      <a:pt x="6763" y="150114"/>
                    </a:lnTo>
                    <a:lnTo>
                      <a:pt x="7620" y="149257"/>
                    </a:lnTo>
                    <a:lnTo>
                      <a:pt x="8382" y="149257"/>
                    </a:lnTo>
                    <a:lnTo>
                      <a:pt x="9239" y="149257"/>
                    </a:lnTo>
                    <a:lnTo>
                      <a:pt x="10954" y="149257"/>
                    </a:lnTo>
                    <a:lnTo>
                      <a:pt x="10954" y="148399"/>
                    </a:lnTo>
                    <a:lnTo>
                      <a:pt x="11811" y="148399"/>
                    </a:lnTo>
                    <a:lnTo>
                      <a:pt x="12668" y="147542"/>
                    </a:lnTo>
                    <a:lnTo>
                      <a:pt x="12668" y="147542"/>
                    </a:lnTo>
                    <a:lnTo>
                      <a:pt x="13526" y="146780"/>
                    </a:lnTo>
                    <a:lnTo>
                      <a:pt x="14288" y="147542"/>
                    </a:lnTo>
                    <a:lnTo>
                      <a:pt x="14288" y="147542"/>
                    </a:lnTo>
                    <a:lnTo>
                      <a:pt x="15145" y="149257"/>
                    </a:lnTo>
                    <a:lnTo>
                      <a:pt x="16002" y="150971"/>
                    </a:lnTo>
                    <a:lnTo>
                      <a:pt x="15145" y="152686"/>
                    </a:lnTo>
                    <a:lnTo>
                      <a:pt x="13526" y="156877"/>
                    </a:lnTo>
                    <a:lnTo>
                      <a:pt x="13526" y="159353"/>
                    </a:lnTo>
                    <a:lnTo>
                      <a:pt x="12668" y="169545"/>
                    </a:lnTo>
                    <a:lnTo>
                      <a:pt x="12668" y="172021"/>
                    </a:lnTo>
                    <a:lnTo>
                      <a:pt x="13526" y="173736"/>
                    </a:lnTo>
                    <a:lnTo>
                      <a:pt x="15145" y="175450"/>
                    </a:lnTo>
                    <a:lnTo>
                      <a:pt x="16002" y="177070"/>
                    </a:lnTo>
                    <a:lnTo>
                      <a:pt x="16002" y="178784"/>
                    </a:lnTo>
                    <a:lnTo>
                      <a:pt x="16002" y="182118"/>
                    </a:lnTo>
                    <a:lnTo>
                      <a:pt x="16002" y="183832"/>
                    </a:lnTo>
                    <a:lnTo>
                      <a:pt x="15145" y="184690"/>
                    </a:lnTo>
                    <a:lnTo>
                      <a:pt x="14288" y="185547"/>
                    </a:lnTo>
                    <a:lnTo>
                      <a:pt x="13526" y="185547"/>
                    </a:lnTo>
                    <a:lnTo>
                      <a:pt x="10097" y="185547"/>
                    </a:lnTo>
                    <a:lnTo>
                      <a:pt x="9239" y="185547"/>
                    </a:lnTo>
                    <a:lnTo>
                      <a:pt x="8382" y="186404"/>
                    </a:lnTo>
                    <a:lnTo>
                      <a:pt x="8382" y="187166"/>
                    </a:lnTo>
                    <a:lnTo>
                      <a:pt x="8382" y="188023"/>
                    </a:lnTo>
                    <a:lnTo>
                      <a:pt x="8382" y="188881"/>
                    </a:lnTo>
                    <a:lnTo>
                      <a:pt x="9239" y="189738"/>
                    </a:lnTo>
                    <a:lnTo>
                      <a:pt x="10097" y="191452"/>
                    </a:lnTo>
                    <a:lnTo>
                      <a:pt x="10954" y="193072"/>
                    </a:lnTo>
                    <a:lnTo>
                      <a:pt x="10954" y="193929"/>
                    </a:lnTo>
                    <a:lnTo>
                      <a:pt x="12668" y="196501"/>
                    </a:lnTo>
                    <a:lnTo>
                      <a:pt x="13526" y="198215"/>
                    </a:lnTo>
                    <a:lnTo>
                      <a:pt x="15145" y="199834"/>
                    </a:lnTo>
                    <a:lnTo>
                      <a:pt x="15145" y="201549"/>
                    </a:lnTo>
                    <a:lnTo>
                      <a:pt x="16002" y="202406"/>
                    </a:lnTo>
                    <a:lnTo>
                      <a:pt x="17717" y="202406"/>
                    </a:lnTo>
                    <a:lnTo>
                      <a:pt x="18574" y="202406"/>
                    </a:lnTo>
                    <a:lnTo>
                      <a:pt x="19336" y="201549"/>
                    </a:lnTo>
                    <a:lnTo>
                      <a:pt x="19336" y="201549"/>
                    </a:lnTo>
                    <a:lnTo>
                      <a:pt x="19336" y="199834"/>
                    </a:lnTo>
                    <a:lnTo>
                      <a:pt x="20193" y="198977"/>
                    </a:lnTo>
                    <a:lnTo>
                      <a:pt x="20193" y="198215"/>
                    </a:lnTo>
                    <a:lnTo>
                      <a:pt x="21050" y="198215"/>
                    </a:lnTo>
                    <a:lnTo>
                      <a:pt x="21908" y="198215"/>
                    </a:lnTo>
                    <a:lnTo>
                      <a:pt x="23622" y="198215"/>
                    </a:lnTo>
                    <a:lnTo>
                      <a:pt x="26099" y="197358"/>
                    </a:lnTo>
                    <a:lnTo>
                      <a:pt x="26956" y="197358"/>
                    </a:lnTo>
                    <a:lnTo>
                      <a:pt x="31147" y="198215"/>
                    </a:lnTo>
                    <a:lnTo>
                      <a:pt x="32004" y="198215"/>
                    </a:lnTo>
                    <a:lnTo>
                      <a:pt x="33719" y="198215"/>
                    </a:lnTo>
                    <a:lnTo>
                      <a:pt x="34576" y="197358"/>
                    </a:lnTo>
                    <a:lnTo>
                      <a:pt x="35433" y="195644"/>
                    </a:lnTo>
                    <a:lnTo>
                      <a:pt x="37052" y="194786"/>
                    </a:lnTo>
                    <a:lnTo>
                      <a:pt x="37910" y="193929"/>
                    </a:lnTo>
                    <a:lnTo>
                      <a:pt x="39624" y="193072"/>
                    </a:lnTo>
                    <a:lnTo>
                      <a:pt x="40481" y="193072"/>
                    </a:lnTo>
                    <a:lnTo>
                      <a:pt x="41339" y="193072"/>
                    </a:lnTo>
                    <a:lnTo>
                      <a:pt x="42958" y="193929"/>
                    </a:lnTo>
                    <a:lnTo>
                      <a:pt x="43815" y="194786"/>
                    </a:lnTo>
                    <a:lnTo>
                      <a:pt x="46387" y="194786"/>
                    </a:lnTo>
                    <a:lnTo>
                      <a:pt x="47244" y="195644"/>
                    </a:lnTo>
                    <a:lnTo>
                      <a:pt x="48863" y="196501"/>
                    </a:lnTo>
                    <a:lnTo>
                      <a:pt x="50578" y="198215"/>
                    </a:lnTo>
                    <a:lnTo>
                      <a:pt x="51435" y="198977"/>
                    </a:lnTo>
                    <a:lnTo>
                      <a:pt x="51435" y="199834"/>
                    </a:lnTo>
                    <a:lnTo>
                      <a:pt x="52292" y="200692"/>
                    </a:lnTo>
                    <a:lnTo>
                      <a:pt x="53150" y="203263"/>
                    </a:lnTo>
                    <a:lnTo>
                      <a:pt x="54007" y="205740"/>
                    </a:lnTo>
                    <a:lnTo>
                      <a:pt x="54769" y="207454"/>
                    </a:lnTo>
                    <a:lnTo>
                      <a:pt x="55626" y="208312"/>
                    </a:lnTo>
                    <a:lnTo>
                      <a:pt x="56483" y="208312"/>
                    </a:lnTo>
                    <a:lnTo>
                      <a:pt x="57341" y="208312"/>
                    </a:lnTo>
                    <a:lnTo>
                      <a:pt x="58198" y="208312"/>
                    </a:lnTo>
                    <a:lnTo>
                      <a:pt x="59055" y="208312"/>
                    </a:lnTo>
                    <a:lnTo>
                      <a:pt x="60674" y="207454"/>
                    </a:lnTo>
                    <a:lnTo>
                      <a:pt x="62389" y="207454"/>
                    </a:lnTo>
                    <a:lnTo>
                      <a:pt x="63246" y="207454"/>
                    </a:lnTo>
                    <a:lnTo>
                      <a:pt x="64103" y="209169"/>
                    </a:lnTo>
                    <a:lnTo>
                      <a:pt x="64960" y="209931"/>
                    </a:lnTo>
                    <a:lnTo>
                      <a:pt x="65818" y="212503"/>
                    </a:lnTo>
                    <a:lnTo>
                      <a:pt x="66580" y="213360"/>
                    </a:lnTo>
                    <a:lnTo>
                      <a:pt x="67437" y="214217"/>
                    </a:lnTo>
                    <a:lnTo>
                      <a:pt x="69152" y="214217"/>
                    </a:lnTo>
                    <a:lnTo>
                      <a:pt x="70009" y="214217"/>
                    </a:lnTo>
                    <a:lnTo>
                      <a:pt x="70866" y="214217"/>
                    </a:lnTo>
                    <a:lnTo>
                      <a:pt x="72485" y="212503"/>
                    </a:lnTo>
                    <a:lnTo>
                      <a:pt x="73343" y="212503"/>
                    </a:lnTo>
                    <a:lnTo>
                      <a:pt x="75057" y="212503"/>
                    </a:lnTo>
                    <a:lnTo>
                      <a:pt x="76772" y="211646"/>
                    </a:lnTo>
                    <a:lnTo>
                      <a:pt x="77533" y="209931"/>
                    </a:lnTo>
                    <a:lnTo>
                      <a:pt x="79248" y="209931"/>
                    </a:lnTo>
                    <a:lnTo>
                      <a:pt x="80105" y="209931"/>
                    </a:lnTo>
                    <a:lnTo>
                      <a:pt x="80963" y="210788"/>
                    </a:lnTo>
                    <a:lnTo>
                      <a:pt x="82677" y="211646"/>
                    </a:lnTo>
                    <a:lnTo>
                      <a:pt x="84296" y="211646"/>
                    </a:lnTo>
                    <a:lnTo>
                      <a:pt x="86011" y="211646"/>
                    </a:lnTo>
                    <a:lnTo>
                      <a:pt x="87725" y="210788"/>
                    </a:lnTo>
                    <a:lnTo>
                      <a:pt x="88583" y="210788"/>
                    </a:lnTo>
                    <a:lnTo>
                      <a:pt x="88583" y="209931"/>
                    </a:lnTo>
                    <a:lnTo>
                      <a:pt x="88583" y="209169"/>
                    </a:lnTo>
                    <a:lnTo>
                      <a:pt x="89345" y="208312"/>
                    </a:lnTo>
                    <a:lnTo>
                      <a:pt x="89345" y="208312"/>
                    </a:lnTo>
                    <a:lnTo>
                      <a:pt x="93631" y="206597"/>
                    </a:lnTo>
                    <a:lnTo>
                      <a:pt x="94488" y="205740"/>
                    </a:lnTo>
                    <a:lnTo>
                      <a:pt x="95250" y="206597"/>
                    </a:lnTo>
                    <a:lnTo>
                      <a:pt x="95250" y="207454"/>
                    </a:lnTo>
                    <a:lnTo>
                      <a:pt x="95250" y="208312"/>
                    </a:lnTo>
                    <a:lnTo>
                      <a:pt x="94488" y="210788"/>
                    </a:lnTo>
                    <a:lnTo>
                      <a:pt x="94488" y="211646"/>
                    </a:lnTo>
                    <a:lnTo>
                      <a:pt x="94488" y="212503"/>
                    </a:lnTo>
                    <a:lnTo>
                      <a:pt x="95250" y="213360"/>
                    </a:lnTo>
                    <a:lnTo>
                      <a:pt x="96107" y="214217"/>
                    </a:lnTo>
                    <a:lnTo>
                      <a:pt x="96965" y="214217"/>
                    </a:lnTo>
                    <a:lnTo>
                      <a:pt x="96965" y="213360"/>
                    </a:lnTo>
                    <a:lnTo>
                      <a:pt x="97822" y="213360"/>
                    </a:lnTo>
                    <a:lnTo>
                      <a:pt x="99536" y="212503"/>
                    </a:lnTo>
                    <a:lnTo>
                      <a:pt x="101156" y="211646"/>
                    </a:lnTo>
                    <a:lnTo>
                      <a:pt x="102013" y="211646"/>
                    </a:lnTo>
                    <a:lnTo>
                      <a:pt x="102013" y="212503"/>
                    </a:lnTo>
                    <a:lnTo>
                      <a:pt x="102013" y="214217"/>
                    </a:lnTo>
                    <a:lnTo>
                      <a:pt x="103727" y="216694"/>
                    </a:lnTo>
                    <a:lnTo>
                      <a:pt x="103727" y="217551"/>
                    </a:lnTo>
                    <a:lnTo>
                      <a:pt x="103727" y="218408"/>
                    </a:lnTo>
                    <a:lnTo>
                      <a:pt x="103727" y="219265"/>
                    </a:lnTo>
                    <a:lnTo>
                      <a:pt x="103727" y="220123"/>
                    </a:lnTo>
                    <a:lnTo>
                      <a:pt x="103727" y="220123"/>
                    </a:lnTo>
                    <a:lnTo>
                      <a:pt x="102870" y="220123"/>
                    </a:lnTo>
                    <a:lnTo>
                      <a:pt x="101156" y="220980"/>
                    </a:lnTo>
                    <a:lnTo>
                      <a:pt x="101156" y="220980"/>
                    </a:lnTo>
                    <a:lnTo>
                      <a:pt x="100394" y="221742"/>
                    </a:lnTo>
                    <a:lnTo>
                      <a:pt x="100394" y="222599"/>
                    </a:lnTo>
                    <a:lnTo>
                      <a:pt x="100394" y="223456"/>
                    </a:lnTo>
                    <a:lnTo>
                      <a:pt x="101156" y="224314"/>
                    </a:lnTo>
                    <a:lnTo>
                      <a:pt x="102013" y="226028"/>
                    </a:lnTo>
                    <a:lnTo>
                      <a:pt x="102013" y="226886"/>
                    </a:lnTo>
                    <a:lnTo>
                      <a:pt x="102013" y="227647"/>
                    </a:lnTo>
                    <a:lnTo>
                      <a:pt x="102013" y="228505"/>
                    </a:lnTo>
                    <a:lnTo>
                      <a:pt x="102013" y="229362"/>
                    </a:lnTo>
                    <a:lnTo>
                      <a:pt x="102013" y="230219"/>
                    </a:lnTo>
                    <a:lnTo>
                      <a:pt x="102870" y="231934"/>
                    </a:lnTo>
                    <a:lnTo>
                      <a:pt x="103727" y="233553"/>
                    </a:lnTo>
                    <a:lnTo>
                      <a:pt x="105442" y="236125"/>
                    </a:lnTo>
                    <a:lnTo>
                      <a:pt x="108776" y="240316"/>
                    </a:lnTo>
                    <a:lnTo>
                      <a:pt x="109633" y="241173"/>
                    </a:lnTo>
                    <a:lnTo>
                      <a:pt x="113824" y="242888"/>
                    </a:lnTo>
                    <a:lnTo>
                      <a:pt x="114681" y="243745"/>
                    </a:lnTo>
                    <a:lnTo>
                      <a:pt x="115538" y="243745"/>
                    </a:lnTo>
                    <a:lnTo>
                      <a:pt x="115538" y="245364"/>
                    </a:lnTo>
                    <a:lnTo>
                      <a:pt x="116396" y="246221"/>
                    </a:lnTo>
                    <a:lnTo>
                      <a:pt x="116396" y="247936"/>
                    </a:lnTo>
                    <a:lnTo>
                      <a:pt x="115538" y="248793"/>
                    </a:lnTo>
                    <a:lnTo>
                      <a:pt x="114681" y="249555"/>
                    </a:lnTo>
                    <a:lnTo>
                      <a:pt x="112967" y="250412"/>
                    </a:lnTo>
                    <a:lnTo>
                      <a:pt x="112967" y="251269"/>
                    </a:lnTo>
                    <a:lnTo>
                      <a:pt x="112205" y="252127"/>
                    </a:lnTo>
                    <a:lnTo>
                      <a:pt x="112205" y="252984"/>
                    </a:lnTo>
                    <a:lnTo>
                      <a:pt x="112967" y="255461"/>
                    </a:lnTo>
                    <a:lnTo>
                      <a:pt x="113824" y="258890"/>
                    </a:lnTo>
                    <a:lnTo>
                      <a:pt x="114681" y="260604"/>
                    </a:lnTo>
                    <a:lnTo>
                      <a:pt x="116396" y="264795"/>
                    </a:lnTo>
                    <a:lnTo>
                      <a:pt x="117253" y="266509"/>
                    </a:lnTo>
                    <a:lnTo>
                      <a:pt x="116396" y="268129"/>
                    </a:lnTo>
                    <a:lnTo>
                      <a:pt x="117253" y="269843"/>
                    </a:lnTo>
                    <a:lnTo>
                      <a:pt x="119729" y="274034"/>
                    </a:lnTo>
                    <a:lnTo>
                      <a:pt x="123158" y="284988"/>
                    </a:lnTo>
                    <a:lnTo>
                      <a:pt x="124016" y="288417"/>
                    </a:lnTo>
                    <a:lnTo>
                      <a:pt x="125635" y="290894"/>
                    </a:lnTo>
                    <a:lnTo>
                      <a:pt x="127349" y="292608"/>
                    </a:lnTo>
                    <a:lnTo>
                      <a:pt x="130683" y="296799"/>
                    </a:lnTo>
                    <a:lnTo>
                      <a:pt x="131540" y="297656"/>
                    </a:lnTo>
                    <a:lnTo>
                      <a:pt x="131540" y="297656"/>
                    </a:lnTo>
                    <a:lnTo>
                      <a:pt x="133255" y="299371"/>
                    </a:lnTo>
                    <a:lnTo>
                      <a:pt x="135731" y="303562"/>
                    </a:lnTo>
                    <a:lnTo>
                      <a:pt x="140875" y="307753"/>
                    </a:lnTo>
                    <a:lnTo>
                      <a:pt x="142494" y="308610"/>
                    </a:lnTo>
                    <a:lnTo>
                      <a:pt x="144209" y="309467"/>
                    </a:lnTo>
                    <a:lnTo>
                      <a:pt x="144209" y="310324"/>
                    </a:lnTo>
                    <a:lnTo>
                      <a:pt x="143351" y="311182"/>
                    </a:lnTo>
                    <a:lnTo>
                      <a:pt x="143351" y="312801"/>
                    </a:lnTo>
                    <a:lnTo>
                      <a:pt x="144209" y="314515"/>
                    </a:lnTo>
                    <a:lnTo>
                      <a:pt x="145066" y="315373"/>
                    </a:lnTo>
                    <a:lnTo>
                      <a:pt x="145923" y="314515"/>
                    </a:lnTo>
                    <a:lnTo>
                      <a:pt x="146780" y="314515"/>
                    </a:lnTo>
                    <a:lnTo>
                      <a:pt x="147542" y="314515"/>
                    </a:lnTo>
                    <a:lnTo>
                      <a:pt x="148400" y="314515"/>
                    </a:lnTo>
                    <a:lnTo>
                      <a:pt x="150971" y="316230"/>
                    </a:lnTo>
                    <a:lnTo>
                      <a:pt x="153448" y="317087"/>
                    </a:lnTo>
                    <a:lnTo>
                      <a:pt x="155162" y="317849"/>
                    </a:lnTo>
                    <a:lnTo>
                      <a:pt x="156020" y="317849"/>
                    </a:lnTo>
                    <a:lnTo>
                      <a:pt x="159353" y="320421"/>
                    </a:lnTo>
                    <a:lnTo>
                      <a:pt x="164497" y="325469"/>
                    </a:lnTo>
                    <a:lnTo>
                      <a:pt x="172022" y="335566"/>
                    </a:lnTo>
                    <a:lnTo>
                      <a:pt x="172879" y="338138"/>
                    </a:lnTo>
                    <a:lnTo>
                      <a:pt x="173736" y="340614"/>
                    </a:lnTo>
                    <a:lnTo>
                      <a:pt x="174593" y="341471"/>
                    </a:lnTo>
                    <a:lnTo>
                      <a:pt x="175451" y="342328"/>
                    </a:lnTo>
                    <a:lnTo>
                      <a:pt x="176308" y="344043"/>
                    </a:lnTo>
                    <a:lnTo>
                      <a:pt x="177927" y="346519"/>
                    </a:lnTo>
                    <a:lnTo>
                      <a:pt x="177927" y="347377"/>
                    </a:lnTo>
                    <a:lnTo>
                      <a:pt x="177070" y="348234"/>
                    </a:lnTo>
                    <a:lnTo>
                      <a:pt x="175451" y="348234"/>
                    </a:lnTo>
                    <a:lnTo>
                      <a:pt x="174593" y="347377"/>
                    </a:lnTo>
                    <a:lnTo>
                      <a:pt x="172879" y="344900"/>
                    </a:lnTo>
                    <a:lnTo>
                      <a:pt x="172879" y="344900"/>
                    </a:lnTo>
                    <a:lnTo>
                      <a:pt x="172022" y="344900"/>
                    </a:lnTo>
                    <a:lnTo>
                      <a:pt x="171164" y="345757"/>
                    </a:lnTo>
                    <a:lnTo>
                      <a:pt x="169545" y="348234"/>
                    </a:lnTo>
                    <a:lnTo>
                      <a:pt x="168688" y="349091"/>
                    </a:lnTo>
                    <a:lnTo>
                      <a:pt x="167831" y="349091"/>
                    </a:lnTo>
                    <a:lnTo>
                      <a:pt x="166116" y="349948"/>
                    </a:lnTo>
                    <a:lnTo>
                      <a:pt x="164497" y="350806"/>
                    </a:lnTo>
                    <a:lnTo>
                      <a:pt x="163640" y="351663"/>
                    </a:lnTo>
                    <a:lnTo>
                      <a:pt x="162782" y="352425"/>
                    </a:lnTo>
                    <a:lnTo>
                      <a:pt x="162782" y="353282"/>
                    </a:lnTo>
                    <a:lnTo>
                      <a:pt x="162782" y="354140"/>
                    </a:lnTo>
                    <a:lnTo>
                      <a:pt x="163640" y="354997"/>
                    </a:lnTo>
                    <a:lnTo>
                      <a:pt x="166116" y="357473"/>
                    </a:lnTo>
                    <a:lnTo>
                      <a:pt x="166116" y="357473"/>
                    </a:lnTo>
                    <a:lnTo>
                      <a:pt x="166973" y="357473"/>
                    </a:lnTo>
                    <a:lnTo>
                      <a:pt x="167831" y="356711"/>
                    </a:lnTo>
                    <a:lnTo>
                      <a:pt x="168688" y="355854"/>
                    </a:lnTo>
                    <a:lnTo>
                      <a:pt x="168688" y="354997"/>
                    </a:lnTo>
                    <a:lnTo>
                      <a:pt x="169545" y="354997"/>
                    </a:lnTo>
                    <a:lnTo>
                      <a:pt x="170402" y="354140"/>
                    </a:lnTo>
                    <a:lnTo>
                      <a:pt x="171164" y="354997"/>
                    </a:lnTo>
                    <a:lnTo>
                      <a:pt x="172022" y="355854"/>
                    </a:lnTo>
                    <a:lnTo>
                      <a:pt x="172022" y="356711"/>
                    </a:lnTo>
                    <a:lnTo>
                      <a:pt x="172022" y="357473"/>
                    </a:lnTo>
                    <a:lnTo>
                      <a:pt x="170402" y="360045"/>
                    </a:lnTo>
                    <a:lnTo>
                      <a:pt x="167831" y="361759"/>
                    </a:lnTo>
                    <a:lnTo>
                      <a:pt x="167831" y="362617"/>
                    </a:lnTo>
                    <a:lnTo>
                      <a:pt x="166973" y="364236"/>
                    </a:lnTo>
                    <a:lnTo>
                      <a:pt x="166973" y="365093"/>
                    </a:lnTo>
                    <a:lnTo>
                      <a:pt x="166116" y="365950"/>
                    </a:lnTo>
                    <a:lnTo>
                      <a:pt x="166116" y="366808"/>
                    </a:lnTo>
                    <a:lnTo>
                      <a:pt x="165259" y="367665"/>
                    </a:lnTo>
                    <a:lnTo>
                      <a:pt x="165259" y="367665"/>
                    </a:lnTo>
                    <a:lnTo>
                      <a:pt x="165259" y="368522"/>
                    </a:lnTo>
                    <a:lnTo>
                      <a:pt x="166116" y="369284"/>
                    </a:lnTo>
                    <a:lnTo>
                      <a:pt x="166973" y="369284"/>
                    </a:lnTo>
                    <a:lnTo>
                      <a:pt x="166973" y="370999"/>
                    </a:lnTo>
                    <a:lnTo>
                      <a:pt x="166973" y="371856"/>
                    </a:lnTo>
                    <a:lnTo>
                      <a:pt x="166116" y="372713"/>
                    </a:lnTo>
                    <a:lnTo>
                      <a:pt x="166116" y="373571"/>
                    </a:lnTo>
                    <a:lnTo>
                      <a:pt x="165259" y="373571"/>
                    </a:lnTo>
                    <a:lnTo>
                      <a:pt x="164497" y="373571"/>
                    </a:lnTo>
                    <a:lnTo>
                      <a:pt x="161925" y="373571"/>
                    </a:lnTo>
                    <a:lnTo>
                      <a:pt x="161068" y="373571"/>
                    </a:lnTo>
                    <a:lnTo>
                      <a:pt x="161068" y="376047"/>
                    </a:lnTo>
                    <a:lnTo>
                      <a:pt x="161068" y="377761"/>
                    </a:lnTo>
                    <a:lnTo>
                      <a:pt x="164497" y="380238"/>
                    </a:lnTo>
                    <a:lnTo>
                      <a:pt x="165259" y="381095"/>
                    </a:lnTo>
                    <a:lnTo>
                      <a:pt x="166116" y="381953"/>
                    </a:lnTo>
                    <a:lnTo>
                      <a:pt x="166116" y="382810"/>
                    </a:lnTo>
                    <a:lnTo>
                      <a:pt x="166116" y="384524"/>
                    </a:lnTo>
                    <a:lnTo>
                      <a:pt x="166973" y="386144"/>
                    </a:lnTo>
                    <a:lnTo>
                      <a:pt x="167831" y="387001"/>
                    </a:lnTo>
                    <a:lnTo>
                      <a:pt x="168688" y="387858"/>
                    </a:lnTo>
                    <a:lnTo>
                      <a:pt x="178784" y="386144"/>
                    </a:lnTo>
                    <a:lnTo>
                      <a:pt x="182213" y="386144"/>
                    </a:lnTo>
                    <a:lnTo>
                      <a:pt x="184690" y="388715"/>
                    </a:lnTo>
                    <a:lnTo>
                      <a:pt x="188024" y="392049"/>
                    </a:lnTo>
                    <a:lnTo>
                      <a:pt x="192310" y="389572"/>
                    </a:lnTo>
                    <a:lnTo>
                      <a:pt x="192310" y="388715"/>
                    </a:lnTo>
                    <a:lnTo>
                      <a:pt x="192310" y="387858"/>
                    </a:lnTo>
                    <a:lnTo>
                      <a:pt x="192310" y="387001"/>
                    </a:lnTo>
                    <a:lnTo>
                      <a:pt x="191453" y="386144"/>
                    </a:lnTo>
                    <a:lnTo>
                      <a:pt x="191453" y="384524"/>
                    </a:lnTo>
                    <a:lnTo>
                      <a:pt x="191453" y="382810"/>
                    </a:lnTo>
                    <a:lnTo>
                      <a:pt x="191453" y="381953"/>
                    </a:lnTo>
                    <a:lnTo>
                      <a:pt x="190595" y="381953"/>
                    </a:lnTo>
                    <a:lnTo>
                      <a:pt x="188881" y="380238"/>
                    </a:lnTo>
                    <a:lnTo>
                      <a:pt x="188881" y="379476"/>
                    </a:lnTo>
                    <a:lnTo>
                      <a:pt x="188881" y="377761"/>
                    </a:lnTo>
                    <a:lnTo>
                      <a:pt x="188881" y="375190"/>
                    </a:lnTo>
                    <a:lnTo>
                      <a:pt x="188024" y="373571"/>
                    </a:lnTo>
                    <a:lnTo>
                      <a:pt x="187262" y="369284"/>
                    </a:lnTo>
                    <a:lnTo>
                      <a:pt x="186404" y="365950"/>
                    </a:lnTo>
                    <a:lnTo>
                      <a:pt x="186404" y="364236"/>
                    </a:lnTo>
                    <a:lnTo>
                      <a:pt x="186404" y="362617"/>
                    </a:lnTo>
                    <a:lnTo>
                      <a:pt x="186404" y="360902"/>
                    </a:lnTo>
                    <a:lnTo>
                      <a:pt x="187262" y="360045"/>
                    </a:lnTo>
                    <a:lnTo>
                      <a:pt x="187262" y="359188"/>
                    </a:lnTo>
                    <a:lnTo>
                      <a:pt x="188024" y="359188"/>
                    </a:lnTo>
                    <a:lnTo>
                      <a:pt x="188881" y="359188"/>
                    </a:lnTo>
                    <a:lnTo>
                      <a:pt x="188881" y="359188"/>
                    </a:lnTo>
                    <a:lnTo>
                      <a:pt x="191453" y="359188"/>
                    </a:lnTo>
                    <a:lnTo>
                      <a:pt x="192310" y="360045"/>
                    </a:lnTo>
                    <a:lnTo>
                      <a:pt x="193929" y="359188"/>
                    </a:lnTo>
                    <a:lnTo>
                      <a:pt x="193929" y="359188"/>
                    </a:lnTo>
                    <a:lnTo>
                      <a:pt x="195644" y="358330"/>
                    </a:lnTo>
                    <a:lnTo>
                      <a:pt x="195644" y="358330"/>
                    </a:lnTo>
                    <a:lnTo>
                      <a:pt x="196501" y="358330"/>
                    </a:lnTo>
                    <a:lnTo>
                      <a:pt x="198215" y="358330"/>
                    </a:lnTo>
                    <a:lnTo>
                      <a:pt x="202406" y="361759"/>
                    </a:lnTo>
                    <a:lnTo>
                      <a:pt x="204121" y="361759"/>
                    </a:lnTo>
                    <a:lnTo>
                      <a:pt x="205740" y="361759"/>
                    </a:lnTo>
                    <a:lnTo>
                      <a:pt x="206597" y="360045"/>
                    </a:lnTo>
                    <a:lnTo>
                      <a:pt x="206597" y="358330"/>
                    </a:lnTo>
                    <a:lnTo>
                      <a:pt x="206597" y="357473"/>
                    </a:lnTo>
                    <a:lnTo>
                      <a:pt x="205740" y="356711"/>
                    </a:lnTo>
                    <a:lnTo>
                      <a:pt x="204978" y="355854"/>
                    </a:lnTo>
                    <a:lnTo>
                      <a:pt x="203264" y="354997"/>
                    </a:lnTo>
                    <a:lnTo>
                      <a:pt x="202406" y="354997"/>
                    </a:lnTo>
                    <a:lnTo>
                      <a:pt x="202406" y="353282"/>
                    </a:lnTo>
                    <a:lnTo>
                      <a:pt x="203264" y="352425"/>
                    </a:lnTo>
                    <a:lnTo>
                      <a:pt x="203264" y="352425"/>
                    </a:lnTo>
                    <a:lnTo>
                      <a:pt x="205740" y="351663"/>
                    </a:lnTo>
                    <a:lnTo>
                      <a:pt x="205740" y="351663"/>
                    </a:lnTo>
                    <a:lnTo>
                      <a:pt x="206597" y="350806"/>
                    </a:lnTo>
                    <a:lnTo>
                      <a:pt x="205740" y="349948"/>
                    </a:lnTo>
                    <a:lnTo>
                      <a:pt x="204978" y="349091"/>
                    </a:lnTo>
                    <a:lnTo>
                      <a:pt x="203264" y="348234"/>
                    </a:lnTo>
                    <a:lnTo>
                      <a:pt x="202406" y="347377"/>
                    </a:lnTo>
                    <a:lnTo>
                      <a:pt x="201549" y="346519"/>
                    </a:lnTo>
                    <a:lnTo>
                      <a:pt x="201549" y="344043"/>
                    </a:lnTo>
                    <a:lnTo>
                      <a:pt x="202406" y="343186"/>
                    </a:lnTo>
                    <a:lnTo>
                      <a:pt x="203264" y="343186"/>
                    </a:lnTo>
                    <a:lnTo>
                      <a:pt x="204121" y="344043"/>
                    </a:lnTo>
                    <a:lnTo>
                      <a:pt x="205740" y="344043"/>
                    </a:lnTo>
                    <a:lnTo>
                      <a:pt x="205740" y="344900"/>
                    </a:lnTo>
                    <a:lnTo>
                      <a:pt x="206597" y="344900"/>
                    </a:lnTo>
                    <a:lnTo>
                      <a:pt x="206597" y="345757"/>
                    </a:lnTo>
                    <a:lnTo>
                      <a:pt x="207455" y="346519"/>
                    </a:lnTo>
                    <a:lnTo>
                      <a:pt x="207455" y="347377"/>
                    </a:lnTo>
                    <a:lnTo>
                      <a:pt x="208312" y="348234"/>
                    </a:lnTo>
                    <a:lnTo>
                      <a:pt x="208312" y="348234"/>
                    </a:lnTo>
                    <a:lnTo>
                      <a:pt x="209169" y="349091"/>
                    </a:lnTo>
                    <a:lnTo>
                      <a:pt x="214217" y="348234"/>
                    </a:lnTo>
                    <a:lnTo>
                      <a:pt x="216789" y="347377"/>
                    </a:lnTo>
                    <a:lnTo>
                      <a:pt x="217551" y="347377"/>
                    </a:lnTo>
                    <a:lnTo>
                      <a:pt x="218408" y="348234"/>
                    </a:lnTo>
                    <a:lnTo>
                      <a:pt x="221837" y="351663"/>
                    </a:lnTo>
                    <a:lnTo>
                      <a:pt x="221837" y="352425"/>
                    </a:lnTo>
                    <a:lnTo>
                      <a:pt x="221837" y="353282"/>
                    </a:lnTo>
                    <a:lnTo>
                      <a:pt x="221837" y="353282"/>
                    </a:lnTo>
                    <a:lnTo>
                      <a:pt x="220980" y="353282"/>
                    </a:lnTo>
                    <a:lnTo>
                      <a:pt x="220123" y="353282"/>
                    </a:lnTo>
                    <a:lnTo>
                      <a:pt x="218408" y="352425"/>
                    </a:lnTo>
                    <a:lnTo>
                      <a:pt x="217551" y="352425"/>
                    </a:lnTo>
                    <a:lnTo>
                      <a:pt x="217551" y="352425"/>
                    </a:lnTo>
                    <a:lnTo>
                      <a:pt x="217551" y="353282"/>
                    </a:lnTo>
                    <a:lnTo>
                      <a:pt x="217551" y="354140"/>
                    </a:lnTo>
                    <a:lnTo>
                      <a:pt x="217551" y="354997"/>
                    </a:lnTo>
                    <a:lnTo>
                      <a:pt x="220123" y="356711"/>
                    </a:lnTo>
                    <a:lnTo>
                      <a:pt x="220980" y="357473"/>
                    </a:lnTo>
                    <a:lnTo>
                      <a:pt x="220980" y="357473"/>
                    </a:lnTo>
                    <a:lnTo>
                      <a:pt x="220980" y="358330"/>
                    </a:lnTo>
                    <a:lnTo>
                      <a:pt x="220980" y="358330"/>
                    </a:lnTo>
                    <a:lnTo>
                      <a:pt x="218408" y="359188"/>
                    </a:lnTo>
                    <a:lnTo>
                      <a:pt x="217551" y="359188"/>
                    </a:lnTo>
                    <a:lnTo>
                      <a:pt x="217551" y="360045"/>
                    </a:lnTo>
                    <a:lnTo>
                      <a:pt x="218408" y="360902"/>
                    </a:lnTo>
                    <a:lnTo>
                      <a:pt x="222695" y="362617"/>
                    </a:lnTo>
                    <a:lnTo>
                      <a:pt x="223457" y="362617"/>
                    </a:lnTo>
                    <a:lnTo>
                      <a:pt x="225171" y="362617"/>
                    </a:lnTo>
                    <a:lnTo>
                      <a:pt x="226028" y="362617"/>
                    </a:lnTo>
                    <a:lnTo>
                      <a:pt x="226028" y="363379"/>
                    </a:lnTo>
                    <a:lnTo>
                      <a:pt x="226886" y="364236"/>
                    </a:lnTo>
                    <a:lnTo>
                      <a:pt x="227743" y="369284"/>
                    </a:lnTo>
                    <a:lnTo>
                      <a:pt x="227743" y="370142"/>
                    </a:lnTo>
                    <a:lnTo>
                      <a:pt x="228600" y="370999"/>
                    </a:lnTo>
                    <a:lnTo>
                      <a:pt x="229362" y="371856"/>
                    </a:lnTo>
                    <a:lnTo>
                      <a:pt x="230219" y="371856"/>
                    </a:lnTo>
                    <a:lnTo>
                      <a:pt x="231077" y="370999"/>
                    </a:lnTo>
                    <a:lnTo>
                      <a:pt x="232791" y="368522"/>
                    </a:lnTo>
                    <a:lnTo>
                      <a:pt x="233648" y="368522"/>
                    </a:lnTo>
                    <a:lnTo>
                      <a:pt x="233648" y="367665"/>
                    </a:lnTo>
                    <a:lnTo>
                      <a:pt x="235268" y="366808"/>
                    </a:lnTo>
                    <a:lnTo>
                      <a:pt x="236125" y="366808"/>
                    </a:lnTo>
                    <a:lnTo>
                      <a:pt x="238697" y="366808"/>
                    </a:lnTo>
                    <a:lnTo>
                      <a:pt x="240411" y="365950"/>
                    </a:lnTo>
                    <a:lnTo>
                      <a:pt x="241173" y="365950"/>
                    </a:lnTo>
                    <a:lnTo>
                      <a:pt x="241173" y="365093"/>
                    </a:lnTo>
                    <a:lnTo>
                      <a:pt x="241173" y="364236"/>
                    </a:lnTo>
                    <a:lnTo>
                      <a:pt x="240411" y="361759"/>
                    </a:lnTo>
                    <a:lnTo>
                      <a:pt x="239554" y="360902"/>
                    </a:lnTo>
                    <a:lnTo>
                      <a:pt x="239554" y="360045"/>
                    </a:lnTo>
                    <a:lnTo>
                      <a:pt x="239554" y="359188"/>
                    </a:lnTo>
                    <a:lnTo>
                      <a:pt x="239554" y="358330"/>
                    </a:lnTo>
                    <a:lnTo>
                      <a:pt x="239554" y="357473"/>
                    </a:lnTo>
                    <a:lnTo>
                      <a:pt x="240411" y="356711"/>
                    </a:lnTo>
                    <a:lnTo>
                      <a:pt x="241173" y="355854"/>
                    </a:lnTo>
                    <a:lnTo>
                      <a:pt x="242888" y="354997"/>
                    </a:lnTo>
                    <a:lnTo>
                      <a:pt x="243745" y="354140"/>
                    </a:lnTo>
                    <a:lnTo>
                      <a:pt x="245459" y="353282"/>
                    </a:lnTo>
                    <a:lnTo>
                      <a:pt x="245459" y="352425"/>
                    </a:lnTo>
                    <a:lnTo>
                      <a:pt x="247079" y="351663"/>
                    </a:lnTo>
                    <a:lnTo>
                      <a:pt x="248793" y="350806"/>
                    </a:lnTo>
                    <a:lnTo>
                      <a:pt x="249650" y="349948"/>
                    </a:lnTo>
                    <a:lnTo>
                      <a:pt x="252127" y="348234"/>
                    </a:lnTo>
                    <a:lnTo>
                      <a:pt x="254699" y="344900"/>
                    </a:lnTo>
                    <a:lnTo>
                      <a:pt x="255556" y="343186"/>
                    </a:lnTo>
                    <a:lnTo>
                      <a:pt x="256413" y="342328"/>
                    </a:lnTo>
                    <a:lnTo>
                      <a:pt x="257270" y="340614"/>
                    </a:lnTo>
                    <a:lnTo>
                      <a:pt x="259747" y="338995"/>
                    </a:lnTo>
                    <a:lnTo>
                      <a:pt x="260604" y="338995"/>
                    </a:lnTo>
                    <a:lnTo>
                      <a:pt x="261461" y="338995"/>
                    </a:lnTo>
                    <a:lnTo>
                      <a:pt x="262319" y="338995"/>
                    </a:lnTo>
                    <a:lnTo>
                      <a:pt x="263176" y="339852"/>
                    </a:lnTo>
                    <a:lnTo>
                      <a:pt x="263938" y="340614"/>
                    </a:lnTo>
                    <a:lnTo>
                      <a:pt x="263938" y="340614"/>
                    </a:lnTo>
                    <a:lnTo>
                      <a:pt x="265652" y="343186"/>
                    </a:lnTo>
                    <a:lnTo>
                      <a:pt x="266510" y="344043"/>
                    </a:lnTo>
                    <a:lnTo>
                      <a:pt x="270701" y="347377"/>
                    </a:lnTo>
                    <a:lnTo>
                      <a:pt x="271558" y="348234"/>
                    </a:lnTo>
                    <a:lnTo>
                      <a:pt x="272415" y="349948"/>
                    </a:lnTo>
                    <a:lnTo>
                      <a:pt x="272415" y="351663"/>
                    </a:lnTo>
                    <a:lnTo>
                      <a:pt x="272415" y="352425"/>
                    </a:lnTo>
                    <a:lnTo>
                      <a:pt x="269843" y="360045"/>
                    </a:lnTo>
                    <a:lnTo>
                      <a:pt x="269843" y="361759"/>
                    </a:lnTo>
                    <a:lnTo>
                      <a:pt x="269843" y="364236"/>
                    </a:lnTo>
                    <a:lnTo>
                      <a:pt x="270701" y="365950"/>
                    </a:lnTo>
                    <a:lnTo>
                      <a:pt x="271558" y="368522"/>
                    </a:lnTo>
                    <a:lnTo>
                      <a:pt x="271558" y="369284"/>
                    </a:lnTo>
                    <a:lnTo>
                      <a:pt x="271558" y="370142"/>
                    </a:lnTo>
                    <a:lnTo>
                      <a:pt x="271558" y="370999"/>
                    </a:lnTo>
                    <a:lnTo>
                      <a:pt x="271558" y="371856"/>
                    </a:lnTo>
                    <a:lnTo>
                      <a:pt x="271558" y="372713"/>
                    </a:lnTo>
                    <a:lnTo>
                      <a:pt x="271558" y="374332"/>
                    </a:lnTo>
                    <a:lnTo>
                      <a:pt x="272415" y="376047"/>
                    </a:lnTo>
                    <a:lnTo>
                      <a:pt x="272415" y="377761"/>
                    </a:lnTo>
                    <a:lnTo>
                      <a:pt x="272415" y="378619"/>
                    </a:lnTo>
                    <a:lnTo>
                      <a:pt x="272415" y="380238"/>
                    </a:lnTo>
                    <a:lnTo>
                      <a:pt x="272415" y="384524"/>
                    </a:lnTo>
                    <a:lnTo>
                      <a:pt x="272415" y="385382"/>
                    </a:lnTo>
                    <a:lnTo>
                      <a:pt x="272415" y="386144"/>
                    </a:lnTo>
                    <a:lnTo>
                      <a:pt x="271558" y="387001"/>
                    </a:lnTo>
                    <a:lnTo>
                      <a:pt x="269843" y="389572"/>
                    </a:lnTo>
                    <a:lnTo>
                      <a:pt x="269081" y="391287"/>
                    </a:lnTo>
                    <a:lnTo>
                      <a:pt x="268224" y="399669"/>
                    </a:lnTo>
                    <a:lnTo>
                      <a:pt x="268224" y="400526"/>
                    </a:lnTo>
                    <a:lnTo>
                      <a:pt x="268224" y="401384"/>
                    </a:lnTo>
                    <a:lnTo>
                      <a:pt x="269081" y="402241"/>
                    </a:lnTo>
                    <a:lnTo>
                      <a:pt x="269081" y="403003"/>
                    </a:lnTo>
                    <a:lnTo>
                      <a:pt x="269843" y="403860"/>
                    </a:lnTo>
                    <a:lnTo>
                      <a:pt x="269843" y="403860"/>
                    </a:lnTo>
                    <a:lnTo>
                      <a:pt x="269843" y="404717"/>
                    </a:lnTo>
                    <a:lnTo>
                      <a:pt x="267367" y="404717"/>
                    </a:lnTo>
                    <a:lnTo>
                      <a:pt x="267367" y="405574"/>
                    </a:lnTo>
                    <a:lnTo>
                      <a:pt x="266510" y="406432"/>
                    </a:lnTo>
                    <a:lnTo>
                      <a:pt x="266510" y="407289"/>
                    </a:lnTo>
                    <a:lnTo>
                      <a:pt x="267367" y="408146"/>
                    </a:lnTo>
                    <a:lnTo>
                      <a:pt x="267367" y="408146"/>
                    </a:lnTo>
                    <a:lnTo>
                      <a:pt x="269081" y="408908"/>
                    </a:lnTo>
                    <a:lnTo>
                      <a:pt x="272415" y="407289"/>
                    </a:lnTo>
                    <a:lnTo>
                      <a:pt x="275749" y="408146"/>
                    </a:lnTo>
                    <a:lnTo>
                      <a:pt x="276606" y="406432"/>
                    </a:lnTo>
                    <a:lnTo>
                      <a:pt x="278321" y="403003"/>
                    </a:lnTo>
                    <a:lnTo>
                      <a:pt x="279178" y="401384"/>
                    </a:lnTo>
                    <a:lnTo>
                      <a:pt x="280892" y="400526"/>
                    </a:lnTo>
                    <a:lnTo>
                      <a:pt x="286798" y="399669"/>
                    </a:lnTo>
                    <a:lnTo>
                      <a:pt x="287560" y="399669"/>
                    </a:lnTo>
                    <a:lnTo>
                      <a:pt x="286798" y="398812"/>
                    </a:lnTo>
                    <a:lnTo>
                      <a:pt x="285941" y="397955"/>
                    </a:lnTo>
                    <a:lnTo>
                      <a:pt x="283369" y="396335"/>
                    </a:lnTo>
                    <a:lnTo>
                      <a:pt x="282512" y="395478"/>
                    </a:lnTo>
                    <a:lnTo>
                      <a:pt x="282512" y="393763"/>
                    </a:lnTo>
                    <a:lnTo>
                      <a:pt x="283369" y="392049"/>
                    </a:lnTo>
                    <a:lnTo>
                      <a:pt x="284226" y="391287"/>
                    </a:lnTo>
                    <a:lnTo>
                      <a:pt x="285941" y="391287"/>
                    </a:lnTo>
                    <a:lnTo>
                      <a:pt x="289274" y="392906"/>
                    </a:lnTo>
                    <a:lnTo>
                      <a:pt x="291846" y="393763"/>
                    </a:lnTo>
                    <a:lnTo>
                      <a:pt x="293465" y="393763"/>
                    </a:lnTo>
                    <a:lnTo>
                      <a:pt x="294323" y="392906"/>
                    </a:lnTo>
                    <a:lnTo>
                      <a:pt x="296037" y="390430"/>
                    </a:lnTo>
                    <a:lnTo>
                      <a:pt x="296894" y="390430"/>
                    </a:lnTo>
                    <a:lnTo>
                      <a:pt x="297752" y="391287"/>
                    </a:lnTo>
                    <a:lnTo>
                      <a:pt x="297752" y="392049"/>
                    </a:lnTo>
                    <a:lnTo>
                      <a:pt x="298609" y="392906"/>
                    </a:lnTo>
                    <a:lnTo>
                      <a:pt x="299371" y="392906"/>
                    </a:lnTo>
                    <a:lnTo>
                      <a:pt x="300228" y="392049"/>
                    </a:lnTo>
                    <a:lnTo>
                      <a:pt x="300228" y="390430"/>
                    </a:lnTo>
                    <a:lnTo>
                      <a:pt x="301085" y="390430"/>
                    </a:lnTo>
                    <a:lnTo>
                      <a:pt x="301943" y="391287"/>
                    </a:lnTo>
                    <a:lnTo>
                      <a:pt x="302800" y="392049"/>
                    </a:lnTo>
                    <a:lnTo>
                      <a:pt x="303657" y="392906"/>
                    </a:lnTo>
                    <a:lnTo>
                      <a:pt x="304419" y="393763"/>
                    </a:lnTo>
                    <a:lnTo>
                      <a:pt x="304419" y="393763"/>
                    </a:lnTo>
                    <a:lnTo>
                      <a:pt x="305276" y="392906"/>
                    </a:lnTo>
                    <a:lnTo>
                      <a:pt x="306134" y="391287"/>
                    </a:lnTo>
                    <a:lnTo>
                      <a:pt x="309563" y="391287"/>
                    </a:lnTo>
                    <a:lnTo>
                      <a:pt x="312896" y="388715"/>
                    </a:lnTo>
                    <a:lnTo>
                      <a:pt x="312896" y="388715"/>
                    </a:lnTo>
                    <a:lnTo>
                      <a:pt x="313754" y="387858"/>
                    </a:lnTo>
                    <a:lnTo>
                      <a:pt x="314611" y="387858"/>
                    </a:lnTo>
                    <a:lnTo>
                      <a:pt x="315468" y="387858"/>
                    </a:lnTo>
                    <a:lnTo>
                      <a:pt x="316230" y="387001"/>
                    </a:lnTo>
                    <a:lnTo>
                      <a:pt x="317945" y="386144"/>
                    </a:lnTo>
                    <a:lnTo>
                      <a:pt x="321374" y="385382"/>
                    </a:lnTo>
                    <a:lnTo>
                      <a:pt x="322136" y="384524"/>
                    </a:lnTo>
                    <a:lnTo>
                      <a:pt x="325565" y="381953"/>
                    </a:lnTo>
                    <a:lnTo>
                      <a:pt x="326422" y="381095"/>
                    </a:lnTo>
                    <a:lnTo>
                      <a:pt x="328041" y="381953"/>
                    </a:lnTo>
                    <a:lnTo>
                      <a:pt x="328898" y="381953"/>
                    </a:lnTo>
                    <a:lnTo>
                      <a:pt x="330613" y="381953"/>
                    </a:lnTo>
                    <a:lnTo>
                      <a:pt x="331470" y="380238"/>
                    </a:lnTo>
                    <a:lnTo>
                      <a:pt x="332327" y="377761"/>
                    </a:lnTo>
                    <a:lnTo>
                      <a:pt x="333185" y="376904"/>
                    </a:lnTo>
                    <a:lnTo>
                      <a:pt x="334804" y="375190"/>
                    </a:lnTo>
                    <a:lnTo>
                      <a:pt x="336518" y="373571"/>
                    </a:lnTo>
                    <a:lnTo>
                      <a:pt x="336518" y="370999"/>
                    </a:lnTo>
                    <a:lnTo>
                      <a:pt x="334804" y="368522"/>
                    </a:lnTo>
                    <a:lnTo>
                      <a:pt x="333947" y="365093"/>
                    </a:lnTo>
                    <a:lnTo>
                      <a:pt x="333185" y="364236"/>
                    </a:lnTo>
                    <a:lnTo>
                      <a:pt x="331470" y="363379"/>
                    </a:lnTo>
                    <a:lnTo>
                      <a:pt x="329756" y="362617"/>
                    </a:lnTo>
                    <a:lnTo>
                      <a:pt x="330613" y="359188"/>
                    </a:lnTo>
                    <a:lnTo>
                      <a:pt x="330613" y="355854"/>
                    </a:lnTo>
                    <a:lnTo>
                      <a:pt x="330613" y="354140"/>
                    </a:lnTo>
                    <a:lnTo>
                      <a:pt x="333947" y="356711"/>
                    </a:lnTo>
                    <a:lnTo>
                      <a:pt x="333185" y="352425"/>
                    </a:lnTo>
                    <a:lnTo>
                      <a:pt x="333185" y="349091"/>
                    </a:lnTo>
                    <a:lnTo>
                      <a:pt x="334804" y="346519"/>
                    </a:lnTo>
                    <a:lnTo>
                      <a:pt x="338233" y="345757"/>
                    </a:lnTo>
                    <a:lnTo>
                      <a:pt x="336518" y="344043"/>
                    </a:lnTo>
                    <a:lnTo>
                      <a:pt x="333947" y="344043"/>
                    </a:lnTo>
                    <a:lnTo>
                      <a:pt x="333185" y="342328"/>
                    </a:lnTo>
                    <a:lnTo>
                      <a:pt x="333947" y="342328"/>
                    </a:lnTo>
                    <a:lnTo>
                      <a:pt x="334804" y="341471"/>
                    </a:lnTo>
                    <a:lnTo>
                      <a:pt x="335661" y="340614"/>
                    </a:lnTo>
                    <a:lnTo>
                      <a:pt x="336518" y="339852"/>
                    </a:lnTo>
                    <a:lnTo>
                      <a:pt x="336518" y="338995"/>
                    </a:lnTo>
                    <a:lnTo>
                      <a:pt x="336518" y="338138"/>
                    </a:lnTo>
                    <a:lnTo>
                      <a:pt x="337376" y="338138"/>
                    </a:lnTo>
                    <a:lnTo>
                      <a:pt x="338233" y="338138"/>
                    </a:lnTo>
                    <a:lnTo>
                      <a:pt x="336518" y="336423"/>
                    </a:lnTo>
                    <a:lnTo>
                      <a:pt x="333947" y="336423"/>
                    </a:lnTo>
                    <a:lnTo>
                      <a:pt x="332327" y="335566"/>
                    </a:lnTo>
                    <a:lnTo>
                      <a:pt x="332327" y="333946"/>
                    </a:lnTo>
                    <a:lnTo>
                      <a:pt x="332327" y="332232"/>
                    </a:lnTo>
                    <a:lnTo>
                      <a:pt x="332327" y="331375"/>
                    </a:lnTo>
                    <a:lnTo>
                      <a:pt x="329756" y="328898"/>
                    </a:lnTo>
                    <a:lnTo>
                      <a:pt x="330613" y="325469"/>
                    </a:lnTo>
                    <a:lnTo>
                      <a:pt x="333185" y="319564"/>
                    </a:lnTo>
                    <a:lnTo>
                      <a:pt x="330613" y="319564"/>
                    </a:lnTo>
                    <a:lnTo>
                      <a:pt x="329756" y="318707"/>
                    </a:lnTo>
                    <a:lnTo>
                      <a:pt x="330613" y="315373"/>
                    </a:lnTo>
                    <a:lnTo>
                      <a:pt x="329756" y="313658"/>
                    </a:lnTo>
                    <a:lnTo>
                      <a:pt x="328898" y="313658"/>
                    </a:lnTo>
                    <a:lnTo>
                      <a:pt x="327279" y="315373"/>
                    </a:lnTo>
                    <a:lnTo>
                      <a:pt x="325565" y="314515"/>
                    </a:lnTo>
                    <a:lnTo>
                      <a:pt x="325565" y="313658"/>
                    </a:lnTo>
                    <a:lnTo>
                      <a:pt x="325565" y="312801"/>
                    </a:lnTo>
                    <a:lnTo>
                      <a:pt x="324707" y="311944"/>
                    </a:lnTo>
                    <a:lnTo>
                      <a:pt x="324707" y="311182"/>
                    </a:lnTo>
                    <a:lnTo>
                      <a:pt x="324707" y="310324"/>
                    </a:lnTo>
                    <a:lnTo>
                      <a:pt x="323850" y="309467"/>
                    </a:lnTo>
                    <a:lnTo>
                      <a:pt x="322993" y="310324"/>
                    </a:lnTo>
                    <a:lnTo>
                      <a:pt x="321374" y="311182"/>
                    </a:lnTo>
                    <a:lnTo>
                      <a:pt x="320516" y="311182"/>
                    </a:lnTo>
                    <a:lnTo>
                      <a:pt x="319659" y="311182"/>
                    </a:lnTo>
                    <a:lnTo>
                      <a:pt x="320516" y="309467"/>
                    </a:lnTo>
                    <a:lnTo>
                      <a:pt x="320516" y="307753"/>
                    </a:lnTo>
                    <a:lnTo>
                      <a:pt x="318802" y="306896"/>
                    </a:lnTo>
                    <a:lnTo>
                      <a:pt x="317087" y="306896"/>
                    </a:lnTo>
                    <a:lnTo>
                      <a:pt x="316230" y="306134"/>
                    </a:lnTo>
                    <a:lnTo>
                      <a:pt x="315468" y="305276"/>
                    </a:lnTo>
                    <a:lnTo>
                      <a:pt x="314611" y="303562"/>
                    </a:lnTo>
                    <a:lnTo>
                      <a:pt x="308705" y="304419"/>
                    </a:lnTo>
                    <a:lnTo>
                      <a:pt x="306991" y="305276"/>
                    </a:lnTo>
                    <a:lnTo>
                      <a:pt x="305276" y="306134"/>
                    </a:lnTo>
                    <a:lnTo>
                      <a:pt x="303657" y="307753"/>
                    </a:lnTo>
                    <a:lnTo>
                      <a:pt x="303657" y="308610"/>
                    </a:lnTo>
                    <a:lnTo>
                      <a:pt x="303657" y="309467"/>
                    </a:lnTo>
                    <a:lnTo>
                      <a:pt x="304419" y="310324"/>
                    </a:lnTo>
                    <a:lnTo>
                      <a:pt x="305276" y="311182"/>
                    </a:lnTo>
                    <a:lnTo>
                      <a:pt x="305276" y="311944"/>
                    </a:lnTo>
                    <a:lnTo>
                      <a:pt x="305276" y="312801"/>
                    </a:lnTo>
                    <a:lnTo>
                      <a:pt x="304419" y="312801"/>
                    </a:lnTo>
                    <a:lnTo>
                      <a:pt x="303657" y="313658"/>
                    </a:lnTo>
                    <a:lnTo>
                      <a:pt x="300228" y="314515"/>
                    </a:lnTo>
                    <a:lnTo>
                      <a:pt x="295180" y="312801"/>
                    </a:lnTo>
                    <a:lnTo>
                      <a:pt x="293465" y="311182"/>
                    </a:lnTo>
                    <a:lnTo>
                      <a:pt x="290989" y="310324"/>
                    </a:lnTo>
                    <a:lnTo>
                      <a:pt x="290132" y="308610"/>
                    </a:lnTo>
                    <a:lnTo>
                      <a:pt x="289274" y="307753"/>
                    </a:lnTo>
                    <a:lnTo>
                      <a:pt x="288417" y="306896"/>
                    </a:lnTo>
                    <a:lnTo>
                      <a:pt x="287560" y="303562"/>
                    </a:lnTo>
                    <a:lnTo>
                      <a:pt x="286798" y="302705"/>
                    </a:lnTo>
                    <a:lnTo>
                      <a:pt x="286798" y="302705"/>
                    </a:lnTo>
                    <a:lnTo>
                      <a:pt x="279178" y="298513"/>
                    </a:lnTo>
                    <a:lnTo>
                      <a:pt x="278321" y="298513"/>
                    </a:lnTo>
                    <a:lnTo>
                      <a:pt x="277463" y="298513"/>
                    </a:lnTo>
                    <a:lnTo>
                      <a:pt x="277463" y="299371"/>
                    </a:lnTo>
                    <a:lnTo>
                      <a:pt x="277463" y="300990"/>
                    </a:lnTo>
                    <a:lnTo>
                      <a:pt x="276606" y="301847"/>
                    </a:lnTo>
                    <a:lnTo>
                      <a:pt x="274987" y="301847"/>
                    </a:lnTo>
                    <a:lnTo>
                      <a:pt x="268224" y="302705"/>
                    </a:lnTo>
                    <a:lnTo>
                      <a:pt x="264795" y="303562"/>
                    </a:lnTo>
                    <a:lnTo>
                      <a:pt x="264795" y="302705"/>
                    </a:lnTo>
                    <a:lnTo>
                      <a:pt x="264795" y="301847"/>
                    </a:lnTo>
                    <a:lnTo>
                      <a:pt x="263938" y="300990"/>
                    </a:lnTo>
                    <a:lnTo>
                      <a:pt x="263938" y="300228"/>
                    </a:lnTo>
                    <a:lnTo>
                      <a:pt x="263176" y="299371"/>
                    </a:lnTo>
                    <a:lnTo>
                      <a:pt x="261461" y="298513"/>
                    </a:lnTo>
                    <a:lnTo>
                      <a:pt x="260604" y="296799"/>
                    </a:lnTo>
                    <a:lnTo>
                      <a:pt x="260604" y="295942"/>
                    </a:lnTo>
                    <a:lnTo>
                      <a:pt x="260604" y="295084"/>
                    </a:lnTo>
                    <a:lnTo>
                      <a:pt x="263176" y="292608"/>
                    </a:lnTo>
                    <a:lnTo>
                      <a:pt x="263938" y="290894"/>
                    </a:lnTo>
                    <a:lnTo>
                      <a:pt x="264795" y="290036"/>
                    </a:lnTo>
                    <a:lnTo>
                      <a:pt x="265652" y="289274"/>
                    </a:lnTo>
                    <a:lnTo>
                      <a:pt x="268224" y="289274"/>
                    </a:lnTo>
                    <a:lnTo>
                      <a:pt x="269081" y="289274"/>
                    </a:lnTo>
                    <a:lnTo>
                      <a:pt x="269081" y="288417"/>
                    </a:lnTo>
                    <a:lnTo>
                      <a:pt x="269843" y="285845"/>
                    </a:lnTo>
                    <a:lnTo>
                      <a:pt x="269843" y="284988"/>
                    </a:lnTo>
                    <a:lnTo>
                      <a:pt x="272415" y="283369"/>
                    </a:lnTo>
                    <a:lnTo>
                      <a:pt x="273272" y="281654"/>
                    </a:lnTo>
                    <a:lnTo>
                      <a:pt x="272415" y="279940"/>
                    </a:lnTo>
                    <a:lnTo>
                      <a:pt x="272415" y="279082"/>
                    </a:lnTo>
                    <a:lnTo>
                      <a:pt x="271558" y="278225"/>
                    </a:lnTo>
                    <a:lnTo>
                      <a:pt x="272415" y="276606"/>
                    </a:lnTo>
                    <a:lnTo>
                      <a:pt x="271558" y="269843"/>
                    </a:lnTo>
                    <a:lnTo>
                      <a:pt x="271558" y="268129"/>
                    </a:lnTo>
                    <a:lnTo>
                      <a:pt x="271558" y="266509"/>
                    </a:lnTo>
                    <a:lnTo>
                      <a:pt x="272415" y="265652"/>
                    </a:lnTo>
                    <a:lnTo>
                      <a:pt x="274130" y="263938"/>
                    </a:lnTo>
                    <a:lnTo>
                      <a:pt x="276606" y="263080"/>
                    </a:lnTo>
                    <a:lnTo>
                      <a:pt x="279178" y="261366"/>
                    </a:lnTo>
                    <a:lnTo>
                      <a:pt x="282512" y="262223"/>
                    </a:lnTo>
                    <a:lnTo>
                      <a:pt x="285083" y="260604"/>
                    </a:lnTo>
                    <a:lnTo>
                      <a:pt x="285083" y="259747"/>
                    </a:lnTo>
                    <a:lnTo>
                      <a:pt x="285941" y="258032"/>
                    </a:lnTo>
                    <a:lnTo>
                      <a:pt x="287560" y="258032"/>
                    </a:lnTo>
                    <a:lnTo>
                      <a:pt x="292703" y="259747"/>
                    </a:lnTo>
                    <a:lnTo>
                      <a:pt x="293465" y="260604"/>
                    </a:lnTo>
                    <a:lnTo>
                      <a:pt x="295180" y="260604"/>
                    </a:lnTo>
                    <a:lnTo>
                      <a:pt x="296037" y="260604"/>
                    </a:lnTo>
                    <a:lnTo>
                      <a:pt x="301085" y="258890"/>
                    </a:lnTo>
                    <a:lnTo>
                      <a:pt x="301943" y="256318"/>
                    </a:lnTo>
                    <a:lnTo>
                      <a:pt x="302800" y="255461"/>
                    </a:lnTo>
                    <a:lnTo>
                      <a:pt x="302800" y="254698"/>
                    </a:lnTo>
                    <a:lnTo>
                      <a:pt x="302800" y="252984"/>
                    </a:lnTo>
                    <a:lnTo>
                      <a:pt x="301943" y="252127"/>
                    </a:lnTo>
                    <a:lnTo>
                      <a:pt x="301085" y="251269"/>
                    </a:lnTo>
                    <a:lnTo>
                      <a:pt x="297752" y="247936"/>
                    </a:lnTo>
                    <a:lnTo>
                      <a:pt x="298609" y="246221"/>
                    </a:lnTo>
                    <a:lnTo>
                      <a:pt x="299371" y="245364"/>
                    </a:lnTo>
                    <a:lnTo>
                      <a:pt x="300228" y="243745"/>
                    </a:lnTo>
                    <a:lnTo>
                      <a:pt x="297752" y="239459"/>
                    </a:lnTo>
                    <a:lnTo>
                      <a:pt x="295180" y="231076"/>
                    </a:lnTo>
                    <a:lnTo>
                      <a:pt x="294323" y="231076"/>
                    </a:lnTo>
                    <a:lnTo>
                      <a:pt x="294323" y="230219"/>
                    </a:lnTo>
                    <a:lnTo>
                      <a:pt x="293465" y="230219"/>
                    </a:lnTo>
                    <a:lnTo>
                      <a:pt x="293465" y="229362"/>
                    </a:lnTo>
                    <a:lnTo>
                      <a:pt x="293465" y="228505"/>
                    </a:lnTo>
                    <a:lnTo>
                      <a:pt x="294323" y="228505"/>
                    </a:lnTo>
                    <a:lnTo>
                      <a:pt x="294323" y="228505"/>
                    </a:lnTo>
                    <a:lnTo>
                      <a:pt x="294323" y="227647"/>
                    </a:lnTo>
                    <a:lnTo>
                      <a:pt x="293465" y="208312"/>
                    </a:lnTo>
                    <a:lnTo>
                      <a:pt x="293465" y="207454"/>
                    </a:lnTo>
                    <a:lnTo>
                      <a:pt x="294323" y="205740"/>
                    </a:lnTo>
                    <a:lnTo>
                      <a:pt x="295180" y="204121"/>
                    </a:lnTo>
                    <a:lnTo>
                      <a:pt x="295180" y="203263"/>
                    </a:lnTo>
                    <a:lnTo>
                      <a:pt x="294323" y="201549"/>
                    </a:lnTo>
                    <a:lnTo>
                      <a:pt x="293465" y="200692"/>
                    </a:lnTo>
                    <a:lnTo>
                      <a:pt x="293465" y="197358"/>
                    </a:lnTo>
                    <a:lnTo>
                      <a:pt x="293465" y="196501"/>
                    </a:lnTo>
                    <a:lnTo>
                      <a:pt x="294323" y="194786"/>
                    </a:lnTo>
                    <a:lnTo>
                      <a:pt x="295180" y="193929"/>
                    </a:lnTo>
                    <a:lnTo>
                      <a:pt x="295180" y="193072"/>
                    </a:lnTo>
                    <a:lnTo>
                      <a:pt x="295180" y="191452"/>
                    </a:lnTo>
                    <a:lnTo>
                      <a:pt x="293465" y="190595"/>
                    </a:lnTo>
                    <a:lnTo>
                      <a:pt x="290132" y="190595"/>
                    </a:lnTo>
                    <a:lnTo>
                      <a:pt x="287560" y="190595"/>
                    </a:lnTo>
                    <a:lnTo>
                      <a:pt x="285941" y="190595"/>
                    </a:lnTo>
                    <a:lnTo>
                      <a:pt x="286798" y="188881"/>
                    </a:lnTo>
                    <a:lnTo>
                      <a:pt x="290132" y="184690"/>
                    </a:lnTo>
                    <a:lnTo>
                      <a:pt x="291846" y="182975"/>
                    </a:lnTo>
                    <a:lnTo>
                      <a:pt x="290132" y="181356"/>
                    </a:lnTo>
                    <a:lnTo>
                      <a:pt x="287560" y="182118"/>
                    </a:lnTo>
                    <a:lnTo>
                      <a:pt x="285941" y="180499"/>
                    </a:lnTo>
                    <a:lnTo>
                      <a:pt x="285941" y="180499"/>
                    </a:lnTo>
                    <a:lnTo>
                      <a:pt x="286798" y="179642"/>
                    </a:lnTo>
                    <a:lnTo>
                      <a:pt x="286798" y="177070"/>
                    </a:lnTo>
                    <a:lnTo>
                      <a:pt x="286798" y="176213"/>
                    </a:lnTo>
                    <a:lnTo>
                      <a:pt x="285083" y="174593"/>
                    </a:lnTo>
                    <a:lnTo>
                      <a:pt x="285083" y="173736"/>
                    </a:lnTo>
                    <a:lnTo>
                      <a:pt x="285941" y="172021"/>
                    </a:lnTo>
                    <a:lnTo>
                      <a:pt x="287560" y="171164"/>
                    </a:lnTo>
                    <a:lnTo>
                      <a:pt x="289274" y="171164"/>
                    </a:lnTo>
                    <a:lnTo>
                      <a:pt x="289274" y="170307"/>
                    </a:lnTo>
                    <a:lnTo>
                      <a:pt x="289274" y="168688"/>
                    </a:lnTo>
                    <a:lnTo>
                      <a:pt x="288417" y="166973"/>
                    </a:lnTo>
                    <a:lnTo>
                      <a:pt x="288417" y="165259"/>
                    </a:lnTo>
                    <a:lnTo>
                      <a:pt x="289274" y="163640"/>
                    </a:lnTo>
                    <a:lnTo>
                      <a:pt x="288417" y="161068"/>
                    </a:lnTo>
                    <a:lnTo>
                      <a:pt x="290989" y="158591"/>
                    </a:lnTo>
                    <a:lnTo>
                      <a:pt x="290132" y="155162"/>
                    </a:lnTo>
                    <a:lnTo>
                      <a:pt x="292703" y="154305"/>
                    </a:lnTo>
                    <a:lnTo>
                      <a:pt x="294323" y="152686"/>
                    </a:lnTo>
                    <a:lnTo>
                      <a:pt x="294323" y="151828"/>
                    </a:lnTo>
                    <a:lnTo>
                      <a:pt x="294323" y="150971"/>
                    </a:lnTo>
                    <a:lnTo>
                      <a:pt x="293465" y="150114"/>
                    </a:lnTo>
                    <a:lnTo>
                      <a:pt x="293465" y="149257"/>
                    </a:lnTo>
                    <a:lnTo>
                      <a:pt x="293465" y="147542"/>
                    </a:lnTo>
                    <a:lnTo>
                      <a:pt x="294323" y="146780"/>
                    </a:lnTo>
                    <a:lnTo>
                      <a:pt x="295180" y="146780"/>
                    </a:lnTo>
                    <a:lnTo>
                      <a:pt x="296037" y="147542"/>
                    </a:lnTo>
                    <a:lnTo>
                      <a:pt x="296894" y="146780"/>
                    </a:lnTo>
                    <a:lnTo>
                      <a:pt x="298609" y="142494"/>
                    </a:lnTo>
                    <a:lnTo>
                      <a:pt x="301943" y="127349"/>
                    </a:lnTo>
                    <a:lnTo>
                      <a:pt x="302800" y="123158"/>
                    </a:lnTo>
                    <a:lnTo>
                      <a:pt x="304419" y="121444"/>
                    </a:lnTo>
                    <a:lnTo>
                      <a:pt x="305276" y="120586"/>
                    </a:lnTo>
                    <a:lnTo>
                      <a:pt x="309563" y="115538"/>
                    </a:lnTo>
                    <a:lnTo>
                      <a:pt x="309563" y="115538"/>
                    </a:lnTo>
                    <a:lnTo>
                      <a:pt x="309563" y="114681"/>
                    </a:lnTo>
                    <a:lnTo>
                      <a:pt x="309563" y="113824"/>
                    </a:lnTo>
                    <a:lnTo>
                      <a:pt x="310325" y="113062"/>
                    </a:lnTo>
                    <a:lnTo>
                      <a:pt x="310325" y="113062"/>
                    </a:lnTo>
                    <a:lnTo>
                      <a:pt x="312039" y="113062"/>
                    </a:lnTo>
                    <a:lnTo>
                      <a:pt x="312039" y="113062"/>
                    </a:lnTo>
                    <a:lnTo>
                      <a:pt x="312896" y="113062"/>
                    </a:lnTo>
                    <a:lnTo>
                      <a:pt x="313754" y="113062"/>
                    </a:lnTo>
                    <a:lnTo>
                      <a:pt x="313754" y="113062"/>
                    </a:lnTo>
                    <a:lnTo>
                      <a:pt x="313754" y="111347"/>
                    </a:lnTo>
                    <a:lnTo>
                      <a:pt x="313754" y="110490"/>
                    </a:lnTo>
                    <a:lnTo>
                      <a:pt x="314611" y="109633"/>
                    </a:lnTo>
                    <a:lnTo>
                      <a:pt x="316230" y="109633"/>
                    </a:lnTo>
                    <a:lnTo>
                      <a:pt x="319659" y="106299"/>
                    </a:lnTo>
                    <a:lnTo>
                      <a:pt x="322993" y="103727"/>
                    </a:lnTo>
                    <a:lnTo>
                      <a:pt x="322993" y="100394"/>
                    </a:lnTo>
                    <a:lnTo>
                      <a:pt x="324707" y="98679"/>
                    </a:lnTo>
                    <a:lnTo>
                      <a:pt x="327279" y="96202"/>
                    </a:lnTo>
                    <a:lnTo>
                      <a:pt x="334804" y="88582"/>
                    </a:lnTo>
                    <a:lnTo>
                      <a:pt x="339090" y="85153"/>
                    </a:lnTo>
                    <a:lnTo>
                      <a:pt x="341567" y="82677"/>
                    </a:lnTo>
                    <a:lnTo>
                      <a:pt x="343281" y="76771"/>
                    </a:lnTo>
                    <a:lnTo>
                      <a:pt x="343281" y="70866"/>
                    </a:lnTo>
                    <a:lnTo>
                      <a:pt x="343281" y="70009"/>
                    </a:lnTo>
                    <a:lnTo>
                      <a:pt x="343281" y="70009"/>
                    </a:lnTo>
                    <a:close/>
                  </a:path>
                </a:pathLst>
              </a:custGeom>
              <a:solidFill>
                <a:srgbClr val="00A039"/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47" name="Freeform: Shape 151">
                <a:extLst>
                  <a:ext uri="{FF2B5EF4-FFF2-40B4-BE49-F238E27FC236}">
                    <a16:creationId xmlns:a16="http://schemas.microsoft.com/office/drawing/2014/main" id="{E6000680-9F0C-483F-87BE-0072D8A4E248}"/>
                  </a:ext>
                </a:extLst>
              </p:cNvPr>
              <p:cNvSpPr/>
              <p:nvPr/>
            </p:nvSpPr>
            <p:spPr>
              <a:xfrm>
                <a:off x="4481512" y="3183636"/>
                <a:ext cx="695325" cy="552450"/>
              </a:xfrm>
              <a:custGeom>
                <a:avLst/>
                <a:gdLst>
                  <a:gd name="connsiteX0" fmla="*/ 698754 w 695325"/>
                  <a:gd name="connsiteY0" fmla="*/ 225171 h 552450"/>
                  <a:gd name="connsiteX1" fmla="*/ 695325 w 695325"/>
                  <a:gd name="connsiteY1" fmla="*/ 220980 h 552450"/>
                  <a:gd name="connsiteX2" fmla="*/ 693611 w 695325"/>
                  <a:gd name="connsiteY2" fmla="*/ 220123 h 552450"/>
                  <a:gd name="connsiteX3" fmla="*/ 692849 w 695325"/>
                  <a:gd name="connsiteY3" fmla="*/ 220123 h 552450"/>
                  <a:gd name="connsiteX4" fmla="*/ 691991 w 695325"/>
                  <a:gd name="connsiteY4" fmla="*/ 220980 h 552450"/>
                  <a:gd name="connsiteX5" fmla="*/ 691134 w 695325"/>
                  <a:gd name="connsiteY5" fmla="*/ 220980 h 552450"/>
                  <a:gd name="connsiteX6" fmla="*/ 690277 w 695325"/>
                  <a:gd name="connsiteY6" fmla="*/ 220980 h 552450"/>
                  <a:gd name="connsiteX7" fmla="*/ 689420 w 695325"/>
                  <a:gd name="connsiteY7" fmla="*/ 220980 h 552450"/>
                  <a:gd name="connsiteX8" fmla="*/ 688562 w 695325"/>
                  <a:gd name="connsiteY8" fmla="*/ 220980 h 552450"/>
                  <a:gd name="connsiteX9" fmla="*/ 688562 w 695325"/>
                  <a:gd name="connsiteY9" fmla="*/ 219265 h 552450"/>
                  <a:gd name="connsiteX10" fmla="*/ 687705 w 695325"/>
                  <a:gd name="connsiteY10" fmla="*/ 217551 h 552450"/>
                  <a:gd name="connsiteX11" fmla="*/ 685990 w 695325"/>
                  <a:gd name="connsiteY11" fmla="*/ 207359 h 552450"/>
                  <a:gd name="connsiteX12" fmla="*/ 684276 w 695325"/>
                  <a:gd name="connsiteY12" fmla="*/ 201359 h 552450"/>
                  <a:gd name="connsiteX13" fmla="*/ 683419 w 695325"/>
                  <a:gd name="connsiteY13" fmla="*/ 198882 h 552450"/>
                  <a:gd name="connsiteX14" fmla="*/ 682657 w 695325"/>
                  <a:gd name="connsiteY14" fmla="*/ 197167 h 552450"/>
                  <a:gd name="connsiteX15" fmla="*/ 681800 w 695325"/>
                  <a:gd name="connsiteY15" fmla="*/ 197167 h 552450"/>
                  <a:gd name="connsiteX16" fmla="*/ 680942 w 695325"/>
                  <a:gd name="connsiteY16" fmla="*/ 196310 h 552450"/>
                  <a:gd name="connsiteX17" fmla="*/ 679228 w 695325"/>
                  <a:gd name="connsiteY17" fmla="*/ 195453 h 552450"/>
                  <a:gd name="connsiteX18" fmla="*/ 678371 w 695325"/>
                  <a:gd name="connsiteY18" fmla="*/ 195453 h 552450"/>
                  <a:gd name="connsiteX19" fmla="*/ 676656 w 695325"/>
                  <a:gd name="connsiteY19" fmla="*/ 191167 h 552450"/>
                  <a:gd name="connsiteX20" fmla="*/ 675799 w 695325"/>
                  <a:gd name="connsiteY20" fmla="*/ 190309 h 552450"/>
                  <a:gd name="connsiteX21" fmla="*/ 674942 w 695325"/>
                  <a:gd name="connsiteY21" fmla="*/ 188690 h 552450"/>
                  <a:gd name="connsiteX22" fmla="*/ 674084 w 695325"/>
                  <a:gd name="connsiteY22" fmla="*/ 186976 h 552450"/>
                  <a:gd name="connsiteX23" fmla="*/ 670751 w 695325"/>
                  <a:gd name="connsiteY23" fmla="*/ 185261 h 552450"/>
                  <a:gd name="connsiteX24" fmla="*/ 669893 w 695325"/>
                  <a:gd name="connsiteY24" fmla="*/ 184404 h 552450"/>
                  <a:gd name="connsiteX25" fmla="*/ 669036 w 695325"/>
                  <a:gd name="connsiteY25" fmla="*/ 184404 h 552450"/>
                  <a:gd name="connsiteX26" fmla="*/ 667322 w 695325"/>
                  <a:gd name="connsiteY26" fmla="*/ 186118 h 552450"/>
                  <a:gd name="connsiteX27" fmla="*/ 666464 w 695325"/>
                  <a:gd name="connsiteY27" fmla="*/ 186118 h 552450"/>
                  <a:gd name="connsiteX28" fmla="*/ 665607 w 695325"/>
                  <a:gd name="connsiteY28" fmla="*/ 186976 h 552450"/>
                  <a:gd name="connsiteX29" fmla="*/ 664750 w 695325"/>
                  <a:gd name="connsiteY29" fmla="*/ 186976 h 552450"/>
                  <a:gd name="connsiteX30" fmla="*/ 663131 w 695325"/>
                  <a:gd name="connsiteY30" fmla="*/ 186118 h 552450"/>
                  <a:gd name="connsiteX31" fmla="*/ 661416 w 695325"/>
                  <a:gd name="connsiteY31" fmla="*/ 185261 h 552450"/>
                  <a:gd name="connsiteX32" fmla="*/ 660559 w 695325"/>
                  <a:gd name="connsiteY32" fmla="*/ 182689 h 552450"/>
                  <a:gd name="connsiteX33" fmla="*/ 659702 w 695325"/>
                  <a:gd name="connsiteY33" fmla="*/ 180975 h 552450"/>
                  <a:gd name="connsiteX34" fmla="*/ 659702 w 695325"/>
                  <a:gd name="connsiteY34" fmla="*/ 179260 h 552450"/>
                  <a:gd name="connsiteX35" fmla="*/ 660559 w 695325"/>
                  <a:gd name="connsiteY35" fmla="*/ 177641 h 552450"/>
                  <a:gd name="connsiteX36" fmla="*/ 659702 w 695325"/>
                  <a:gd name="connsiteY36" fmla="*/ 175927 h 552450"/>
                  <a:gd name="connsiteX37" fmla="*/ 658844 w 695325"/>
                  <a:gd name="connsiteY37" fmla="*/ 174212 h 552450"/>
                  <a:gd name="connsiteX38" fmla="*/ 657987 w 695325"/>
                  <a:gd name="connsiteY38" fmla="*/ 173355 h 552450"/>
                  <a:gd name="connsiteX39" fmla="*/ 652082 w 695325"/>
                  <a:gd name="connsiteY39" fmla="*/ 169926 h 552450"/>
                  <a:gd name="connsiteX40" fmla="*/ 647795 w 695325"/>
                  <a:gd name="connsiteY40" fmla="*/ 165735 h 552450"/>
                  <a:gd name="connsiteX41" fmla="*/ 643604 w 695325"/>
                  <a:gd name="connsiteY41" fmla="*/ 162306 h 552450"/>
                  <a:gd name="connsiteX42" fmla="*/ 642747 w 695325"/>
                  <a:gd name="connsiteY42" fmla="*/ 162306 h 552450"/>
                  <a:gd name="connsiteX43" fmla="*/ 641890 w 695325"/>
                  <a:gd name="connsiteY43" fmla="*/ 162306 h 552450"/>
                  <a:gd name="connsiteX44" fmla="*/ 641033 w 695325"/>
                  <a:gd name="connsiteY44" fmla="*/ 163163 h 552450"/>
                  <a:gd name="connsiteX45" fmla="*/ 641033 w 695325"/>
                  <a:gd name="connsiteY45" fmla="*/ 164021 h 552450"/>
                  <a:gd name="connsiteX46" fmla="*/ 640175 w 695325"/>
                  <a:gd name="connsiteY46" fmla="*/ 164878 h 552450"/>
                  <a:gd name="connsiteX47" fmla="*/ 640175 w 695325"/>
                  <a:gd name="connsiteY47" fmla="*/ 164878 h 552450"/>
                  <a:gd name="connsiteX48" fmla="*/ 639318 w 695325"/>
                  <a:gd name="connsiteY48" fmla="*/ 164878 h 552450"/>
                  <a:gd name="connsiteX49" fmla="*/ 638461 w 695325"/>
                  <a:gd name="connsiteY49" fmla="*/ 165735 h 552450"/>
                  <a:gd name="connsiteX50" fmla="*/ 637604 w 695325"/>
                  <a:gd name="connsiteY50" fmla="*/ 165735 h 552450"/>
                  <a:gd name="connsiteX51" fmla="*/ 636746 w 695325"/>
                  <a:gd name="connsiteY51" fmla="*/ 165735 h 552450"/>
                  <a:gd name="connsiteX52" fmla="*/ 635889 w 695325"/>
                  <a:gd name="connsiteY52" fmla="*/ 164878 h 552450"/>
                  <a:gd name="connsiteX53" fmla="*/ 632555 w 695325"/>
                  <a:gd name="connsiteY53" fmla="*/ 161449 h 552450"/>
                  <a:gd name="connsiteX54" fmla="*/ 628269 w 695325"/>
                  <a:gd name="connsiteY54" fmla="*/ 154686 h 552450"/>
                  <a:gd name="connsiteX55" fmla="*/ 627412 w 695325"/>
                  <a:gd name="connsiteY55" fmla="*/ 153829 h 552450"/>
                  <a:gd name="connsiteX56" fmla="*/ 626555 w 695325"/>
                  <a:gd name="connsiteY56" fmla="*/ 152971 h 552450"/>
                  <a:gd name="connsiteX57" fmla="*/ 624840 w 695325"/>
                  <a:gd name="connsiteY57" fmla="*/ 152971 h 552450"/>
                  <a:gd name="connsiteX58" fmla="*/ 616363 w 695325"/>
                  <a:gd name="connsiteY58" fmla="*/ 156305 h 552450"/>
                  <a:gd name="connsiteX59" fmla="*/ 614648 w 695325"/>
                  <a:gd name="connsiteY59" fmla="*/ 155543 h 552450"/>
                  <a:gd name="connsiteX60" fmla="*/ 612172 w 695325"/>
                  <a:gd name="connsiteY60" fmla="*/ 153829 h 552450"/>
                  <a:gd name="connsiteX61" fmla="*/ 611315 w 695325"/>
                  <a:gd name="connsiteY61" fmla="*/ 152971 h 552450"/>
                  <a:gd name="connsiteX62" fmla="*/ 607028 w 695325"/>
                  <a:gd name="connsiteY62" fmla="*/ 152971 h 552450"/>
                  <a:gd name="connsiteX63" fmla="*/ 606171 w 695325"/>
                  <a:gd name="connsiteY63" fmla="*/ 151257 h 552450"/>
                  <a:gd name="connsiteX64" fmla="*/ 607028 w 695325"/>
                  <a:gd name="connsiteY64" fmla="*/ 148685 h 552450"/>
                  <a:gd name="connsiteX65" fmla="*/ 607886 w 695325"/>
                  <a:gd name="connsiteY65" fmla="*/ 146971 h 552450"/>
                  <a:gd name="connsiteX66" fmla="*/ 607028 w 695325"/>
                  <a:gd name="connsiteY66" fmla="*/ 146113 h 552450"/>
                  <a:gd name="connsiteX67" fmla="*/ 606171 w 695325"/>
                  <a:gd name="connsiteY67" fmla="*/ 144494 h 552450"/>
                  <a:gd name="connsiteX68" fmla="*/ 606171 w 695325"/>
                  <a:gd name="connsiteY68" fmla="*/ 142780 h 552450"/>
                  <a:gd name="connsiteX69" fmla="*/ 606171 w 695325"/>
                  <a:gd name="connsiteY69" fmla="*/ 140208 h 552450"/>
                  <a:gd name="connsiteX70" fmla="*/ 606171 w 695325"/>
                  <a:gd name="connsiteY70" fmla="*/ 138493 h 552450"/>
                  <a:gd name="connsiteX71" fmla="*/ 606171 w 695325"/>
                  <a:gd name="connsiteY71" fmla="*/ 135922 h 552450"/>
                  <a:gd name="connsiteX72" fmla="*/ 606171 w 695325"/>
                  <a:gd name="connsiteY72" fmla="*/ 133445 h 552450"/>
                  <a:gd name="connsiteX73" fmla="*/ 603695 w 695325"/>
                  <a:gd name="connsiteY73" fmla="*/ 130873 h 552450"/>
                  <a:gd name="connsiteX74" fmla="*/ 601980 w 695325"/>
                  <a:gd name="connsiteY74" fmla="*/ 130016 h 552450"/>
                  <a:gd name="connsiteX75" fmla="*/ 600266 w 695325"/>
                  <a:gd name="connsiteY75" fmla="*/ 129159 h 552450"/>
                  <a:gd name="connsiteX76" fmla="*/ 599408 w 695325"/>
                  <a:gd name="connsiteY76" fmla="*/ 130016 h 552450"/>
                  <a:gd name="connsiteX77" fmla="*/ 596837 w 695325"/>
                  <a:gd name="connsiteY77" fmla="*/ 132588 h 552450"/>
                  <a:gd name="connsiteX78" fmla="*/ 595979 w 695325"/>
                  <a:gd name="connsiteY78" fmla="*/ 133445 h 552450"/>
                  <a:gd name="connsiteX79" fmla="*/ 594360 w 695325"/>
                  <a:gd name="connsiteY79" fmla="*/ 133445 h 552450"/>
                  <a:gd name="connsiteX80" fmla="*/ 593503 w 695325"/>
                  <a:gd name="connsiteY80" fmla="*/ 133445 h 552450"/>
                  <a:gd name="connsiteX81" fmla="*/ 592646 w 695325"/>
                  <a:gd name="connsiteY81" fmla="*/ 132588 h 552450"/>
                  <a:gd name="connsiteX82" fmla="*/ 592646 w 695325"/>
                  <a:gd name="connsiteY82" fmla="*/ 131731 h 552450"/>
                  <a:gd name="connsiteX83" fmla="*/ 593503 w 695325"/>
                  <a:gd name="connsiteY83" fmla="*/ 130016 h 552450"/>
                  <a:gd name="connsiteX84" fmla="*/ 593503 w 695325"/>
                  <a:gd name="connsiteY84" fmla="*/ 126587 h 552450"/>
                  <a:gd name="connsiteX85" fmla="*/ 593503 w 695325"/>
                  <a:gd name="connsiteY85" fmla="*/ 124873 h 552450"/>
                  <a:gd name="connsiteX86" fmla="*/ 593503 w 695325"/>
                  <a:gd name="connsiteY86" fmla="*/ 124015 h 552450"/>
                  <a:gd name="connsiteX87" fmla="*/ 594360 w 695325"/>
                  <a:gd name="connsiteY87" fmla="*/ 123158 h 552450"/>
                  <a:gd name="connsiteX88" fmla="*/ 594360 w 695325"/>
                  <a:gd name="connsiteY88" fmla="*/ 122396 h 552450"/>
                  <a:gd name="connsiteX89" fmla="*/ 593503 w 695325"/>
                  <a:gd name="connsiteY89" fmla="*/ 121539 h 552450"/>
                  <a:gd name="connsiteX90" fmla="*/ 592646 w 695325"/>
                  <a:gd name="connsiteY90" fmla="*/ 120682 h 552450"/>
                  <a:gd name="connsiteX91" fmla="*/ 591788 w 695325"/>
                  <a:gd name="connsiteY91" fmla="*/ 120682 h 552450"/>
                  <a:gd name="connsiteX92" fmla="*/ 589217 w 695325"/>
                  <a:gd name="connsiteY92" fmla="*/ 119825 h 552450"/>
                  <a:gd name="connsiteX93" fmla="*/ 587502 w 695325"/>
                  <a:gd name="connsiteY93" fmla="*/ 118967 h 552450"/>
                  <a:gd name="connsiteX94" fmla="*/ 586645 w 695325"/>
                  <a:gd name="connsiteY94" fmla="*/ 118110 h 552450"/>
                  <a:gd name="connsiteX95" fmla="*/ 585788 w 695325"/>
                  <a:gd name="connsiteY95" fmla="*/ 116396 h 552450"/>
                  <a:gd name="connsiteX96" fmla="*/ 584930 w 695325"/>
                  <a:gd name="connsiteY96" fmla="*/ 114681 h 552450"/>
                  <a:gd name="connsiteX97" fmla="*/ 584168 w 695325"/>
                  <a:gd name="connsiteY97" fmla="*/ 112967 h 552450"/>
                  <a:gd name="connsiteX98" fmla="*/ 583311 w 695325"/>
                  <a:gd name="connsiteY98" fmla="*/ 112109 h 552450"/>
                  <a:gd name="connsiteX99" fmla="*/ 582454 w 695325"/>
                  <a:gd name="connsiteY99" fmla="*/ 111347 h 552450"/>
                  <a:gd name="connsiteX100" fmla="*/ 581597 w 695325"/>
                  <a:gd name="connsiteY100" fmla="*/ 111347 h 552450"/>
                  <a:gd name="connsiteX101" fmla="*/ 577310 w 695325"/>
                  <a:gd name="connsiteY101" fmla="*/ 111347 h 552450"/>
                  <a:gd name="connsiteX102" fmla="*/ 577310 w 695325"/>
                  <a:gd name="connsiteY102" fmla="*/ 111347 h 552450"/>
                  <a:gd name="connsiteX103" fmla="*/ 577310 w 695325"/>
                  <a:gd name="connsiteY103" fmla="*/ 110490 h 552450"/>
                  <a:gd name="connsiteX104" fmla="*/ 578168 w 695325"/>
                  <a:gd name="connsiteY104" fmla="*/ 105346 h 552450"/>
                  <a:gd name="connsiteX105" fmla="*/ 578168 w 695325"/>
                  <a:gd name="connsiteY105" fmla="*/ 103632 h 552450"/>
                  <a:gd name="connsiteX106" fmla="*/ 578168 w 695325"/>
                  <a:gd name="connsiteY106" fmla="*/ 100298 h 552450"/>
                  <a:gd name="connsiteX107" fmla="*/ 578168 w 695325"/>
                  <a:gd name="connsiteY107" fmla="*/ 98584 h 552450"/>
                  <a:gd name="connsiteX108" fmla="*/ 578168 w 695325"/>
                  <a:gd name="connsiteY108" fmla="*/ 97726 h 552450"/>
                  <a:gd name="connsiteX109" fmla="*/ 579025 w 695325"/>
                  <a:gd name="connsiteY109" fmla="*/ 96869 h 552450"/>
                  <a:gd name="connsiteX110" fmla="*/ 580739 w 695325"/>
                  <a:gd name="connsiteY110" fmla="*/ 95155 h 552450"/>
                  <a:gd name="connsiteX111" fmla="*/ 582454 w 695325"/>
                  <a:gd name="connsiteY111" fmla="*/ 94297 h 552450"/>
                  <a:gd name="connsiteX112" fmla="*/ 584168 w 695325"/>
                  <a:gd name="connsiteY112" fmla="*/ 93440 h 552450"/>
                  <a:gd name="connsiteX113" fmla="*/ 584930 w 695325"/>
                  <a:gd name="connsiteY113" fmla="*/ 92583 h 552450"/>
                  <a:gd name="connsiteX114" fmla="*/ 584168 w 695325"/>
                  <a:gd name="connsiteY114" fmla="*/ 89249 h 552450"/>
                  <a:gd name="connsiteX115" fmla="*/ 582454 w 695325"/>
                  <a:gd name="connsiteY115" fmla="*/ 87535 h 552450"/>
                  <a:gd name="connsiteX116" fmla="*/ 581597 w 695325"/>
                  <a:gd name="connsiteY116" fmla="*/ 85820 h 552450"/>
                  <a:gd name="connsiteX117" fmla="*/ 581597 w 695325"/>
                  <a:gd name="connsiteY117" fmla="*/ 84963 h 552450"/>
                  <a:gd name="connsiteX118" fmla="*/ 581597 w 695325"/>
                  <a:gd name="connsiteY118" fmla="*/ 84963 h 552450"/>
                  <a:gd name="connsiteX119" fmla="*/ 581597 w 695325"/>
                  <a:gd name="connsiteY119" fmla="*/ 82391 h 552450"/>
                  <a:gd name="connsiteX120" fmla="*/ 581597 w 695325"/>
                  <a:gd name="connsiteY120" fmla="*/ 80677 h 552450"/>
                  <a:gd name="connsiteX121" fmla="*/ 580739 w 695325"/>
                  <a:gd name="connsiteY121" fmla="*/ 78962 h 552450"/>
                  <a:gd name="connsiteX122" fmla="*/ 577310 w 695325"/>
                  <a:gd name="connsiteY122" fmla="*/ 73057 h 552450"/>
                  <a:gd name="connsiteX123" fmla="*/ 576453 w 695325"/>
                  <a:gd name="connsiteY123" fmla="*/ 72200 h 552450"/>
                  <a:gd name="connsiteX124" fmla="*/ 574834 w 695325"/>
                  <a:gd name="connsiteY124" fmla="*/ 73057 h 552450"/>
                  <a:gd name="connsiteX125" fmla="*/ 574834 w 695325"/>
                  <a:gd name="connsiteY125" fmla="*/ 74771 h 552450"/>
                  <a:gd name="connsiteX126" fmla="*/ 573119 w 695325"/>
                  <a:gd name="connsiteY126" fmla="*/ 77343 h 552450"/>
                  <a:gd name="connsiteX127" fmla="*/ 572262 w 695325"/>
                  <a:gd name="connsiteY127" fmla="*/ 78962 h 552450"/>
                  <a:gd name="connsiteX128" fmla="*/ 571405 w 695325"/>
                  <a:gd name="connsiteY128" fmla="*/ 79819 h 552450"/>
                  <a:gd name="connsiteX129" fmla="*/ 570548 w 695325"/>
                  <a:gd name="connsiteY129" fmla="*/ 80677 h 552450"/>
                  <a:gd name="connsiteX130" fmla="*/ 566261 w 695325"/>
                  <a:gd name="connsiteY130" fmla="*/ 84106 h 552450"/>
                  <a:gd name="connsiteX131" fmla="*/ 564642 w 695325"/>
                  <a:gd name="connsiteY131" fmla="*/ 83248 h 552450"/>
                  <a:gd name="connsiteX132" fmla="*/ 562928 w 695325"/>
                  <a:gd name="connsiteY132" fmla="*/ 82391 h 552450"/>
                  <a:gd name="connsiteX133" fmla="*/ 560356 w 695325"/>
                  <a:gd name="connsiteY133" fmla="*/ 78962 h 552450"/>
                  <a:gd name="connsiteX134" fmla="*/ 560356 w 695325"/>
                  <a:gd name="connsiteY134" fmla="*/ 78200 h 552450"/>
                  <a:gd name="connsiteX135" fmla="*/ 559499 w 695325"/>
                  <a:gd name="connsiteY135" fmla="*/ 76486 h 552450"/>
                  <a:gd name="connsiteX136" fmla="*/ 559499 w 695325"/>
                  <a:gd name="connsiteY136" fmla="*/ 75628 h 552450"/>
                  <a:gd name="connsiteX137" fmla="*/ 558641 w 695325"/>
                  <a:gd name="connsiteY137" fmla="*/ 74771 h 552450"/>
                  <a:gd name="connsiteX138" fmla="*/ 556070 w 695325"/>
                  <a:gd name="connsiteY138" fmla="*/ 73057 h 552450"/>
                  <a:gd name="connsiteX139" fmla="*/ 556070 w 695325"/>
                  <a:gd name="connsiteY139" fmla="*/ 72200 h 552450"/>
                  <a:gd name="connsiteX140" fmla="*/ 554450 w 695325"/>
                  <a:gd name="connsiteY140" fmla="*/ 70485 h 552450"/>
                  <a:gd name="connsiteX141" fmla="*/ 552736 w 695325"/>
                  <a:gd name="connsiteY141" fmla="*/ 69628 h 552450"/>
                  <a:gd name="connsiteX142" fmla="*/ 551021 w 695325"/>
                  <a:gd name="connsiteY142" fmla="*/ 68771 h 552450"/>
                  <a:gd name="connsiteX143" fmla="*/ 549307 w 695325"/>
                  <a:gd name="connsiteY143" fmla="*/ 67151 h 552450"/>
                  <a:gd name="connsiteX144" fmla="*/ 549307 w 695325"/>
                  <a:gd name="connsiteY144" fmla="*/ 66294 h 552450"/>
                  <a:gd name="connsiteX145" fmla="*/ 548450 w 695325"/>
                  <a:gd name="connsiteY145" fmla="*/ 63722 h 552450"/>
                  <a:gd name="connsiteX146" fmla="*/ 546735 w 695325"/>
                  <a:gd name="connsiteY146" fmla="*/ 61150 h 552450"/>
                  <a:gd name="connsiteX147" fmla="*/ 545878 w 695325"/>
                  <a:gd name="connsiteY147" fmla="*/ 59436 h 552450"/>
                  <a:gd name="connsiteX148" fmla="*/ 546735 w 695325"/>
                  <a:gd name="connsiteY148" fmla="*/ 57721 h 552450"/>
                  <a:gd name="connsiteX149" fmla="*/ 549307 w 695325"/>
                  <a:gd name="connsiteY149" fmla="*/ 50101 h 552450"/>
                  <a:gd name="connsiteX150" fmla="*/ 550164 w 695325"/>
                  <a:gd name="connsiteY150" fmla="*/ 49244 h 552450"/>
                  <a:gd name="connsiteX151" fmla="*/ 551021 w 695325"/>
                  <a:gd name="connsiteY151" fmla="*/ 48387 h 552450"/>
                  <a:gd name="connsiteX152" fmla="*/ 551879 w 695325"/>
                  <a:gd name="connsiteY152" fmla="*/ 47530 h 552450"/>
                  <a:gd name="connsiteX153" fmla="*/ 552736 w 695325"/>
                  <a:gd name="connsiteY153" fmla="*/ 46672 h 552450"/>
                  <a:gd name="connsiteX154" fmla="*/ 552736 w 695325"/>
                  <a:gd name="connsiteY154" fmla="*/ 45815 h 552450"/>
                  <a:gd name="connsiteX155" fmla="*/ 552736 w 695325"/>
                  <a:gd name="connsiteY155" fmla="*/ 45053 h 552450"/>
                  <a:gd name="connsiteX156" fmla="*/ 553593 w 695325"/>
                  <a:gd name="connsiteY156" fmla="*/ 45053 h 552450"/>
                  <a:gd name="connsiteX157" fmla="*/ 554450 w 695325"/>
                  <a:gd name="connsiteY157" fmla="*/ 45053 h 552450"/>
                  <a:gd name="connsiteX158" fmla="*/ 556070 w 695325"/>
                  <a:gd name="connsiteY158" fmla="*/ 45053 h 552450"/>
                  <a:gd name="connsiteX159" fmla="*/ 557784 w 695325"/>
                  <a:gd name="connsiteY159" fmla="*/ 45053 h 552450"/>
                  <a:gd name="connsiteX160" fmla="*/ 558641 w 695325"/>
                  <a:gd name="connsiteY160" fmla="*/ 45053 h 552450"/>
                  <a:gd name="connsiteX161" fmla="*/ 559499 w 695325"/>
                  <a:gd name="connsiteY161" fmla="*/ 44196 h 552450"/>
                  <a:gd name="connsiteX162" fmla="*/ 560356 w 695325"/>
                  <a:gd name="connsiteY162" fmla="*/ 43339 h 552450"/>
                  <a:gd name="connsiteX163" fmla="*/ 561213 w 695325"/>
                  <a:gd name="connsiteY163" fmla="*/ 42481 h 552450"/>
                  <a:gd name="connsiteX164" fmla="*/ 561213 w 695325"/>
                  <a:gd name="connsiteY164" fmla="*/ 40767 h 552450"/>
                  <a:gd name="connsiteX165" fmla="*/ 561213 w 695325"/>
                  <a:gd name="connsiteY165" fmla="*/ 39910 h 552450"/>
                  <a:gd name="connsiteX166" fmla="*/ 561213 w 695325"/>
                  <a:gd name="connsiteY166" fmla="*/ 39052 h 552450"/>
                  <a:gd name="connsiteX167" fmla="*/ 560356 w 695325"/>
                  <a:gd name="connsiteY167" fmla="*/ 38195 h 552450"/>
                  <a:gd name="connsiteX168" fmla="*/ 559499 w 695325"/>
                  <a:gd name="connsiteY168" fmla="*/ 38195 h 552450"/>
                  <a:gd name="connsiteX169" fmla="*/ 558641 w 695325"/>
                  <a:gd name="connsiteY169" fmla="*/ 39052 h 552450"/>
                  <a:gd name="connsiteX170" fmla="*/ 557784 w 695325"/>
                  <a:gd name="connsiteY170" fmla="*/ 39910 h 552450"/>
                  <a:gd name="connsiteX171" fmla="*/ 556927 w 695325"/>
                  <a:gd name="connsiteY171" fmla="*/ 39910 h 552450"/>
                  <a:gd name="connsiteX172" fmla="*/ 556070 w 695325"/>
                  <a:gd name="connsiteY172" fmla="*/ 39910 h 552450"/>
                  <a:gd name="connsiteX173" fmla="*/ 550164 w 695325"/>
                  <a:gd name="connsiteY173" fmla="*/ 38195 h 552450"/>
                  <a:gd name="connsiteX174" fmla="*/ 549307 w 695325"/>
                  <a:gd name="connsiteY174" fmla="*/ 37338 h 552450"/>
                  <a:gd name="connsiteX175" fmla="*/ 548450 w 695325"/>
                  <a:gd name="connsiteY175" fmla="*/ 36481 h 552450"/>
                  <a:gd name="connsiteX176" fmla="*/ 547592 w 695325"/>
                  <a:gd name="connsiteY176" fmla="*/ 35623 h 552450"/>
                  <a:gd name="connsiteX177" fmla="*/ 547592 w 695325"/>
                  <a:gd name="connsiteY177" fmla="*/ 35623 h 552450"/>
                  <a:gd name="connsiteX178" fmla="*/ 547592 w 695325"/>
                  <a:gd name="connsiteY178" fmla="*/ 34766 h 552450"/>
                  <a:gd name="connsiteX179" fmla="*/ 548450 w 695325"/>
                  <a:gd name="connsiteY179" fmla="*/ 32290 h 552450"/>
                  <a:gd name="connsiteX180" fmla="*/ 548450 w 695325"/>
                  <a:gd name="connsiteY180" fmla="*/ 29718 h 552450"/>
                  <a:gd name="connsiteX181" fmla="*/ 548450 w 695325"/>
                  <a:gd name="connsiteY181" fmla="*/ 27146 h 552450"/>
                  <a:gd name="connsiteX182" fmla="*/ 548450 w 695325"/>
                  <a:gd name="connsiteY182" fmla="*/ 26289 h 552450"/>
                  <a:gd name="connsiteX183" fmla="*/ 548450 w 695325"/>
                  <a:gd name="connsiteY183" fmla="*/ 25432 h 552450"/>
                  <a:gd name="connsiteX184" fmla="*/ 548450 w 695325"/>
                  <a:gd name="connsiteY184" fmla="*/ 24575 h 552450"/>
                  <a:gd name="connsiteX185" fmla="*/ 548450 w 695325"/>
                  <a:gd name="connsiteY185" fmla="*/ 24575 h 552450"/>
                  <a:gd name="connsiteX186" fmla="*/ 547592 w 695325"/>
                  <a:gd name="connsiteY186" fmla="*/ 24575 h 552450"/>
                  <a:gd name="connsiteX187" fmla="*/ 546735 w 695325"/>
                  <a:gd name="connsiteY187" fmla="*/ 23717 h 552450"/>
                  <a:gd name="connsiteX188" fmla="*/ 545116 w 695325"/>
                  <a:gd name="connsiteY188" fmla="*/ 24575 h 552450"/>
                  <a:gd name="connsiteX189" fmla="*/ 540830 w 695325"/>
                  <a:gd name="connsiteY189" fmla="*/ 25432 h 552450"/>
                  <a:gd name="connsiteX190" fmla="*/ 539115 w 695325"/>
                  <a:gd name="connsiteY190" fmla="*/ 25432 h 552450"/>
                  <a:gd name="connsiteX191" fmla="*/ 538258 w 695325"/>
                  <a:gd name="connsiteY191" fmla="*/ 25432 h 552450"/>
                  <a:gd name="connsiteX192" fmla="*/ 537401 w 695325"/>
                  <a:gd name="connsiteY192" fmla="*/ 26289 h 552450"/>
                  <a:gd name="connsiteX193" fmla="*/ 537401 w 695325"/>
                  <a:gd name="connsiteY193" fmla="*/ 26289 h 552450"/>
                  <a:gd name="connsiteX194" fmla="*/ 535781 w 695325"/>
                  <a:gd name="connsiteY194" fmla="*/ 27146 h 552450"/>
                  <a:gd name="connsiteX195" fmla="*/ 535781 w 695325"/>
                  <a:gd name="connsiteY195" fmla="*/ 28861 h 552450"/>
                  <a:gd name="connsiteX196" fmla="*/ 534924 w 695325"/>
                  <a:gd name="connsiteY196" fmla="*/ 29718 h 552450"/>
                  <a:gd name="connsiteX197" fmla="*/ 534924 w 695325"/>
                  <a:gd name="connsiteY197" fmla="*/ 30575 h 552450"/>
                  <a:gd name="connsiteX198" fmla="*/ 534924 w 695325"/>
                  <a:gd name="connsiteY198" fmla="*/ 30575 h 552450"/>
                  <a:gd name="connsiteX199" fmla="*/ 534924 w 695325"/>
                  <a:gd name="connsiteY199" fmla="*/ 32290 h 552450"/>
                  <a:gd name="connsiteX200" fmla="*/ 534924 w 695325"/>
                  <a:gd name="connsiteY200" fmla="*/ 33147 h 552450"/>
                  <a:gd name="connsiteX201" fmla="*/ 534067 w 695325"/>
                  <a:gd name="connsiteY201" fmla="*/ 34004 h 552450"/>
                  <a:gd name="connsiteX202" fmla="*/ 534067 w 695325"/>
                  <a:gd name="connsiteY202" fmla="*/ 34766 h 552450"/>
                  <a:gd name="connsiteX203" fmla="*/ 534067 w 695325"/>
                  <a:gd name="connsiteY203" fmla="*/ 34766 h 552450"/>
                  <a:gd name="connsiteX204" fmla="*/ 533210 w 695325"/>
                  <a:gd name="connsiteY204" fmla="*/ 35623 h 552450"/>
                  <a:gd name="connsiteX205" fmla="*/ 533210 w 695325"/>
                  <a:gd name="connsiteY205" fmla="*/ 35623 h 552450"/>
                  <a:gd name="connsiteX206" fmla="*/ 533210 w 695325"/>
                  <a:gd name="connsiteY206" fmla="*/ 37338 h 552450"/>
                  <a:gd name="connsiteX207" fmla="*/ 533210 w 695325"/>
                  <a:gd name="connsiteY207" fmla="*/ 37338 h 552450"/>
                  <a:gd name="connsiteX208" fmla="*/ 533210 w 695325"/>
                  <a:gd name="connsiteY208" fmla="*/ 38195 h 552450"/>
                  <a:gd name="connsiteX209" fmla="*/ 532352 w 695325"/>
                  <a:gd name="connsiteY209" fmla="*/ 39052 h 552450"/>
                  <a:gd name="connsiteX210" fmla="*/ 532352 w 695325"/>
                  <a:gd name="connsiteY210" fmla="*/ 39910 h 552450"/>
                  <a:gd name="connsiteX211" fmla="*/ 528923 w 695325"/>
                  <a:gd name="connsiteY211" fmla="*/ 41624 h 552450"/>
                  <a:gd name="connsiteX212" fmla="*/ 528066 w 695325"/>
                  <a:gd name="connsiteY212" fmla="*/ 42481 h 552450"/>
                  <a:gd name="connsiteX213" fmla="*/ 526352 w 695325"/>
                  <a:gd name="connsiteY213" fmla="*/ 41624 h 552450"/>
                  <a:gd name="connsiteX214" fmla="*/ 522161 w 695325"/>
                  <a:gd name="connsiteY214" fmla="*/ 40767 h 552450"/>
                  <a:gd name="connsiteX215" fmla="*/ 519589 w 695325"/>
                  <a:gd name="connsiteY215" fmla="*/ 39910 h 552450"/>
                  <a:gd name="connsiteX216" fmla="*/ 515398 w 695325"/>
                  <a:gd name="connsiteY216" fmla="*/ 39910 h 552450"/>
                  <a:gd name="connsiteX217" fmla="*/ 509397 w 695325"/>
                  <a:gd name="connsiteY217" fmla="*/ 39910 h 552450"/>
                  <a:gd name="connsiteX218" fmla="*/ 508540 w 695325"/>
                  <a:gd name="connsiteY218" fmla="*/ 39052 h 552450"/>
                  <a:gd name="connsiteX219" fmla="*/ 506825 w 695325"/>
                  <a:gd name="connsiteY219" fmla="*/ 38195 h 552450"/>
                  <a:gd name="connsiteX220" fmla="*/ 505206 w 695325"/>
                  <a:gd name="connsiteY220" fmla="*/ 37338 h 552450"/>
                  <a:gd name="connsiteX221" fmla="*/ 504349 w 695325"/>
                  <a:gd name="connsiteY221" fmla="*/ 36481 h 552450"/>
                  <a:gd name="connsiteX222" fmla="*/ 503492 w 695325"/>
                  <a:gd name="connsiteY222" fmla="*/ 35623 h 552450"/>
                  <a:gd name="connsiteX223" fmla="*/ 501777 w 695325"/>
                  <a:gd name="connsiteY223" fmla="*/ 31432 h 552450"/>
                  <a:gd name="connsiteX224" fmla="*/ 501777 w 695325"/>
                  <a:gd name="connsiteY224" fmla="*/ 30575 h 552450"/>
                  <a:gd name="connsiteX225" fmla="*/ 500920 w 695325"/>
                  <a:gd name="connsiteY225" fmla="*/ 29718 h 552450"/>
                  <a:gd name="connsiteX226" fmla="*/ 500063 w 695325"/>
                  <a:gd name="connsiteY226" fmla="*/ 28861 h 552450"/>
                  <a:gd name="connsiteX227" fmla="*/ 499205 w 695325"/>
                  <a:gd name="connsiteY227" fmla="*/ 28861 h 552450"/>
                  <a:gd name="connsiteX228" fmla="*/ 496634 w 695325"/>
                  <a:gd name="connsiteY228" fmla="*/ 28861 h 552450"/>
                  <a:gd name="connsiteX229" fmla="*/ 495014 w 695325"/>
                  <a:gd name="connsiteY229" fmla="*/ 28003 h 552450"/>
                  <a:gd name="connsiteX230" fmla="*/ 493300 w 695325"/>
                  <a:gd name="connsiteY230" fmla="*/ 27146 h 552450"/>
                  <a:gd name="connsiteX231" fmla="*/ 488156 w 695325"/>
                  <a:gd name="connsiteY231" fmla="*/ 24575 h 552450"/>
                  <a:gd name="connsiteX232" fmla="*/ 487299 w 695325"/>
                  <a:gd name="connsiteY232" fmla="*/ 23717 h 552450"/>
                  <a:gd name="connsiteX233" fmla="*/ 484823 w 695325"/>
                  <a:gd name="connsiteY233" fmla="*/ 23717 h 552450"/>
                  <a:gd name="connsiteX234" fmla="*/ 483965 w 695325"/>
                  <a:gd name="connsiteY234" fmla="*/ 23717 h 552450"/>
                  <a:gd name="connsiteX235" fmla="*/ 483108 w 695325"/>
                  <a:gd name="connsiteY235" fmla="*/ 24575 h 552450"/>
                  <a:gd name="connsiteX236" fmla="*/ 483108 w 695325"/>
                  <a:gd name="connsiteY236" fmla="*/ 24575 h 552450"/>
                  <a:gd name="connsiteX237" fmla="*/ 483108 w 695325"/>
                  <a:gd name="connsiteY237" fmla="*/ 25432 h 552450"/>
                  <a:gd name="connsiteX238" fmla="*/ 482251 w 695325"/>
                  <a:gd name="connsiteY238" fmla="*/ 25432 h 552450"/>
                  <a:gd name="connsiteX239" fmla="*/ 480536 w 695325"/>
                  <a:gd name="connsiteY239" fmla="*/ 32290 h 552450"/>
                  <a:gd name="connsiteX240" fmla="*/ 480536 w 695325"/>
                  <a:gd name="connsiteY240" fmla="*/ 32290 h 552450"/>
                  <a:gd name="connsiteX241" fmla="*/ 479679 w 695325"/>
                  <a:gd name="connsiteY241" fmla="*/ 33147 h 552450"/>
                  <a:gd name="connsiteX242" fmla="*/ 479679 w 695325"/>
                  <a:gd name="connsiteY242" fmla="*/ 33147 h 552450"/>
                  <a:gd name="connsiteX243" fmla="*/ 478822 w 695325"/>
                  <a:gd name="connsiteY243" fmla="*/ 34004 h 552450"/>
                  <a:gd name="connsiteX244" fmla="*/ 478822 w 695325"/>
                  <a:gd name="connsiteY244" fmla="*/ 34004 h 552450"/>
                  <a:gd name="connsiteX245" fmla="*/ 477965 w 695325"/>
                  <a:gd name="connsiteY245" fmla="*/ 34004 h 552450"/>
                  <a:gd name="connsiteX246" fmla="*/ 477107 w 695325"/>
                  <a:gd name="connsiteY246" fmla="*/ 33147 h 552450"/>
                  <a:gd name="connsiteX247" fmla="*/ 475488 w 695325"/>
                  <a:gd name="connsiteY247" fmla="*/ 31432 h 552450"/>
                  <a:gd name="connsiteX248" fmla="*/ 474631 w 695325"/>
                  <a:gd name="connsiteY248" fmla="*/ 29718 h 552450"/>
                  <a:gd name="connsiteX249" fmla="*/ 473774 w 695325"/>
                  <a:gd name="connsiteY249" fmla="*/ 27146 h 552450"/>
                  <a:gd name="connsiteX250" fmla="*/ 473774 w 695325"/>
                  <a:gd name="connsiteY250" fmla="*/ 26289 h 552450"/>
                  <a:gd name="connsiteX251" fmla="*/ 473774 w 695325"/>
                  <a:gd name="connsiteY251" fmla="*/ 25432 h 552450"/>
                  <a:gd name="connsiteX252" fmla="*/ 473774 w 695325"/>
                  <a:gd name="connsiteY252" fmla="*/ 25432 h 552450"/>
                  <a:gd name="connsiteX253" fmla="*/ 473774 w 695325"/>
                  <a:gd name="connsiteY253" fmla="*/ 23717 h 552450"/>
                  <a:gd name="connsiteX254" fmla="*/ 473774 w 695325"/>
                  <a:gd name="connsiteY254" fmla="*/ 22955 h 552450"/>
                  <a:gd name="connsiteX255" fmla="*/ 472916 w 695325"/>
                  <a:gd name="connsiteY255" fmla="*/ 22098 h 552450"/>
                  <a:gd name="connsiteX256" fmla="*/ 471202 w 695325"/>
                  <a:gd name="connsiteY256" fmla="*/ 22098 h 552450"/>
                  <a:gd name="connsiteX257" fmla="*/ 469487 w 695325"/>
                  <a:gd name="connsiteY257" fmla="*/ 22098 h 552450"/>
                  <a:gd name="connsiteX258" fmla="*/ 468630 w 695325"/>
                  <a:gd name="connsiteY258" fmla="*/ 22955 h 552450"/>
                  <a:gd name="connsiteX259" fmla="*/ 466916 w 695325"/>
                  <a:gd name="connsiteY259" fmla="*/ 22955 h 552450"/>
                  <a:gd name="connsiteX260" fmla="*/ 466154 w 695325"/>
                  <a:gd name="connsiteY260" fmla="*/ 22098 h 552450"/>
                  <a:gd name="connsiteX261" fmla="*/ 466154 w 695325"/>
                  <a:gd name="connsiteY261" fmla="*/ 21241 h 552450"/>
                  <a:gd name="connsiteX262" fmla="*/ 465296 w 695325"/>
                  <a:gd name="connsiteY262" fmla="*/ 20383 h 552450"/>
                  <a:gd name="connsiteX263" fmla="*/ 465296 w 695325"/>
                  <a:gd name="connsiteY263" fmla="*/ 19526 h 552450"/>
                  <a:gd name="connsiteX264" fmla="*/ 464439 w 695325"/>
                  <a:gd name="connsiteY264" fmla="*/ 18669 h 552450"/>
                  <a:gd name="connsiteX265" fmla="*/ 463582 w 695325"/>
                  <a:gd name="connsiteY265" fmla="*/ 18669 h 552450"/>
                  <a:gd name="connsiteX266" fmla="*/ 461867 w 695325"/>
                  <a:gd name="connsiteY266" fmla="*/ 17812 h 552450"/>
                  <a:gd name="connsiteX267" fmla="*/ 460153 w 695325"/>
                  <a:gd name="connsiteY267" fmla="*/ 17812 h 552450"/>
                  <a:gd name="connsiteX268" fmla="*/ 459296 w 695325"/>
                  <a:gd name="connsiteY268" fmla="*/ 17812 h 552450"/>
                  <a:gd name="connsiteX269" fmla="*/ 457581 w 695325"/>
                  <a:gd name="connsiteY269" fmla="*/ 16954 h 552450"/>
                  <a:gd name="connsiteX270" fmla="*/ 455105 w 695325"/>
                  <a:gd name="connsiteY270" fmla="*/ 15240 h 552450"/>
                  <a:gd name="connsiteX271" fmla="*/ 454247 w 695325"/>
                  <a:gd name="connsiteY271" fmla="*/ 13525 h 552450"/>
                  <a:gd name="connsiteX272" fmla="*/ 454247 w 695325"/>
                  <a:gd name="connsiteY272" fmla="*/ 12668 h 552450"/>
                  <a:gd name="connsiteX273" fmla="*/ 455105 w 695325"/>
                  <a:gd name="connsiteY273" fmla="*/ 12668 h 552450"/>
                  <a:gd name="connsiteX274" fmla="*/ 455105 w 695325"/>
                  <a:gd name="connsiteY274" fmla="*/ 11906 h 552450"/>
                  <a:gd name="connsiteX275" fmla="*/ 455962 w 695325"/>
                  <a:gd name="connsiteY275" fmla="*/ 11906 h 552450"/>
                  <a:gd name="connsiteX276" fmla="*/ 461010 w 695325"/>
                  <a:gd name="connsiteY276" fmla="*/ 11906 h 552450"/>
                  <a:gd name="connsiteX277" fmla="*/ 462725 w 695325"/>
                  <a:gd name="connsiteY277" fmla="*/ 11049 h 552450"/>
                  <a:gd name="connsiteX278" fmla="*/ 463582 w 695325"/>
                  <a:gd name="connsiteY278" fmla="*/ 11049 h 552450"/>
                  <a:gd name="connsiteX279" fmla="*/ 463582 w 695325"/>
                  <a:gd name="connsiteY279" fmla="*/ 10192 h 552450"/>
                  <a:gd name="connsiteX280" fmla="*/ 464439 w 695325"/>
                  <a:gd name="connsiteY280" fmla="*/ 10192 h 552450"/>
                  <a:gd name="connsiteX281" fmla="*/ 463582 w 695325"/>
                  <a:gd name="connsiteY281" fmla="*/ 8477 h 552450"/>
                  <a:gd name="connsiteX282" fmla="*/ 463582 w 695325"/>
                  <a:gd name="connsiteY282" fmla="*/ 7620 h 552450"/>
                  <a:gd name="connsiteX283" fmla="*/ 462725 w 695325"/>
                  <a:gd name="connsiteY283" fmla="*/ 7620 h 552450"/>
                  <a:gd name="connsiteX284" fmla="*/ 460153 w 695325"/>
                  <a:gd name="connsiteY284" fmla="*/ 7620 h 552450"/>
                  <a:gd name="connsiteX285" fmla="*/ 456819 w 695325"/>
                  <a:gd name="connsiteY285" fmla="*/ 8477 h 552450"/>
                  <a:gd name="connsiteX286" fmla="*/ 449961 w 695325"/>
                  <a:gd name="connsiteY286" fmla="*/ 9334 h 552450"/>
                  <a:gd name="connsiteX287" fmla="*/ 446627 w 695325"/>
                  <a:gd name="connsiteY287" fmla="*/ 9334 h 552450"/>
                  <a:gd name="connsiteX288" fmla="*/ 438055 w 695325"/>
                  <a:gd name="connsiteY288" fmla="*/ 5905 h 552450"/>
                  <a:gd name="connsiteX289" fmla="*/ 436436 w 695325"/>
                  <a:gd name="connsiteY289" fmla="*/ 4191 h 552450"/>
                  <a:gd name="connsiteX290" fmla="*/ 434721 w 695325"/>
                  <a:gd name="connsiteY290" fmla="*/ 1619 h 552450"/>
                  <a:gd name="connsiteX291" fmla="*/ 433864 w 695325"/>
                  <a:gd name="connsiteY291" fmla="*/ 857 h 552450"/>
                  <a:gd name="connsiteX292" fmla="*/ 433007 w 695325"/>
                  <a:gd name="connsiteY292" fmla="*/ 0 h 552450"/>
                  <a:gd name="connsiteX293" fmla="*/ 430435 w 695325"/>
                  <a:gd name="connsiteY293" fmla="*/ 0 h 552450"/>
                  <a:gd name="connsiteX294" fmla="*/ 425387 w 695325"/>
                  <a:gd name="connsiteY294" fmla="*/ 1619 h 552450"/>
                  <a:gd name="connsiteX295" fmla="*/ 424529 w 695325"/>
                  <a:gd name="connsiteY295" fmla="*/ 1619 h 552450"/>
                  <a:gd name="connsiteX296" fmla="*/ 424529 w 695325"/>
                  <a:gd name="connsiteY296" fmla="*/ 2476 h 552450"/>
                  <a:gd name="connsiteX297" fmla="*/ 422815 w 695325"/>
                  <a:gd name="connsiteY297" fmla="*/ 4191 h 552450"/>
                  <a:gd name="connsiteX298" fmla="*/ 421100 w 695325"/>
                  <a:gd name="connsiteY298" fmla="*/ 5048 h 552450"/>
                  <a:gd name="connsiteX299" fmla="*/ 419386 w 695325"/>
                  <a:gd name="connsiteY299" fmla="*/ 5905 h 552450"/>
                  <a:gd name="connsiteX300" fmla="*/ 418529 w 695325"/>
                  <a:gd name="connsiteY300" fmla="*/ 5905 h 552450"/>
                  <a:gd name="connsiteX301" fmla="*/ 416052 w 695325"/>
                  <a:gd name="connsiteY301" fmla="*/ 5048 h 552450"/>
                  <a:gd name="connsiteX302" fmla="*/ 415195 w 695325"/>
                  <a:gd name="connsiteY302" fmla="*/ 5048 h 552450"/>
                  <a:gd name="connsiteX303" fmla="*/ 414338 w 695325"/>
                  <a:gd name="connsiteY303" fmla="*/ 3334 h 552450"/>
                  <a:gd name="connsiteX304" fmla="*/ 413480 w 695325"/>
                  <a:gd name="connsiteY304" fmla="*/ 2476 h 552450"/>
                  <a:gd name="connsiteX305" fmla="*/ 412623 w 695325"/>
                  <a:gd name="connsiteY305" fmla="*/ 2476 h 552450"/>
                  <a:gd name="connsiteX306" fmla="*/ 410909 w 695325"/>
                  <a:gd name="connsiteY306" fmla="*/ 2476 h 552450"/>
                  <a:gd name="connsiteX307" fmla="*/ 409194 w 695325"/>
                  <a:gd name="connsiteY307" fmla="*/ 3334 h 552450"/>
                  <a:gd name="connsiteX308" fmla="*/ 408337 w 695325"/>
                  <a:gd name="connsiteY308" fmla="*/ 4191 h 552450"/>
                  <a:gd name="connsiteX309" fmla="*/ 408337 w 695325"/>
                  <a:gd name="connsiteY309" fmla="*/ 5048 h 552450"/>
                  <a:gd name="connsiteX310" fmla="*/ 408337 w 695325"/>
                  <a:gd name="connsiteY310" fmla="*/ 5905 h 552450"/>
                  <a:gd name="connsiteX311" fmla="*/ 408337 w 695325"/>
                  <a:gd name="connsiteY311" fmla="*/ 7620 h 552450"/>
                  <a:gd name="connsiteX312" fmla="*/ 408337 w 695325"/>
                  <a:gd name="connsiteY312" fmla="*/ 8477 h 552450"/>
                  <a:gd name="connsiteX313" fmla="*/ 407575 w 695325"/>
                  <a:gd name="connsiteY313" fmla="*/ 8477 h 552450"/>
                  <a:gd name="connsiteX314" fmla="*/ 405860 w 695325"/>
                  <a:gd name="connsiteY314" fmla="*/ 8477 h 552450"/>
                  <a:gd name="connsiteX315" fmla="*/ 403289 w 695325"/>
                  <a:gd name="connsiteY315" fmla="*/ 7620 h 552450"/>
                  <a:gd name="connsiteX316" fmla="*/ 402431 w 695325"/>
                  <a:gd name="connsiteY316" fmla="*/ 6763 h 552450"/>
                  <a:gd name="connsiteX317" fmla="*/ 401574 w 695325"/>
                  <a:gd name="connsiteY317" fmla="*/ 5905 h 552450"/>
                  <a:gd name="connsiteX318" fmla="*/ 401574 w 695325"/>
                  <a:gd name="connsiteY318" fmla="*/ 4191 h 552450"/>
                  <a:gd name="connsiteX319" fmla="*/ 400717 w 695325"/>
                  <a:gd name="connsiteY319" fmla="*/ 3334 h 552450"/>
                  <a:gd name="connsiteX320" fmla="*/ 399002 w 695325"/>
                  <a:gd name="connsiteY320" fmla="*/ 3334 h 552450"/>
                  <a:gd name="connsiteX321" fmla="*/ 388811 w 695325"/>
                  <a:gd name="connsiteY321" fmla="*/ 5905 h 552450"/>
                  <a:gd name="connsiteX322" fmla="*/ 387191 w 695325"/>
                  <a:gd name="connsiteY322" fmla="*/ 5905 h 552450"/>
                  <a:gd name="connsiteX323" fmla="*/ 385477 w 695325"/>
                  <a:gd name="connsiteY323" fmla="*/ 5048 h 552450"/>
                  <a:gd name="connsiteX324" fmla="*/ 383762 w 695325"/>
                  <a:gd name="connsiteY324" fmla="*/ 5048 h 552450"/>
                  <a:gd name="connsiteX325" fmla="*/ 382048 w 695325"/>
                  <a:gd name="connsiteY325" fmla="*/ 3334 h 552450"/>
                  <a:gd name="connsiteX326" fmla="*/ 379476 w 695325"/>
                  <a:gd name="connsiteY326" fmla="*/ 2476 h 552450"/>
                  <a:gd name="connsiteX327" fmla="*/ 377000 w 695325"/>
                  <a:gd name="connsiteY327" fmla="*/ 2476 h 552450"/>
                  <a:gd name="connsiteX328" fmla="*/ 368522 w 695325"/>
                  <a:gd name="connsiteY328" fmla="*/ 2476 h 552450"/>
                  <a:gd name="connsiteX329" fmla="*/ 365950 w 695325"/>
                  <a:gd name="connsiteY329" fmla="*/ 3334 h 552450"/>
                  <a:gd name="connsiteX330" fmla="*/ 365093 w 695325"/>
                  <a:gd name="connsiteY330" fmla="*/ 3334 h 552450"/>
                  <a:gd name="connsiteX331" fmla="*/ 361664 w 695325"/>
                  <a:gd name="connsiteY331" fmla="*/ 5905 h 552450"/>
                  <a:gd name="connsiteX332" fmla="*/ 359950 w 695325"/>
                  <a:gd name="connsiteY332" fmla="*/ 7620 h 552450"/>
                  <a:gd name="connsiteX333" fmla="*/ 358331 w 695325"/>
                  <a:gd name="connsiteY333" fmla="*/ 7620 h 552450"/>
                  <a:gd name="connsiteX334" fmla="*/ 355759 w 695325"/>
                  <a:gd name="connsiteY334" fmla="*/ 6763 h 552450"/>
                  <a:gd name="connsiteX335" fmla="*/ 354044 w 695325"/>
                  <a:gd name="connsiteY335" fmla="*/ 5905 h 552450"/>
                  <a:gd name="connsiteX336" fmla="*/ 352330 w 695325"/>
                  <a:gd name="connsiteY336" fmla="*/ 5048 h 552450"/>
                  <a:gd name="connsiteX337" fmla="*/ 348996 w 695325"/>
                  <a:gd name="connsiteY337" fmla="*/ 5905 h 552450"/>
                  <a:gd name="connsiteX338" fmla="*/ 347282 w 695325"/>
                  <a:gd name="connsiteY338" fmla="*/ 6763 h 552450"/>
                  <a:gd name="connsiteX339" fmla="*/ 345567 w 695325"/>
                  <a:gd name="connsiteY339" fmla="*/ 7620 h 552450"/>
                  <a:gd name="connsiteX340" fmla="*/ 343853 w 695325"/>
                  <a:gd name="connsiteY340" fmla="*/ 8477 h 552450"/>
                  <a:gd name="connsiteX341" fmla="*/ 342138 w 695325"/>
                  <a:gd name="connsiteY341" fmla="*/ 8477 h 552450"/>
                  <a:gd name="connsiteX342" fmla="*/ 341281 w 695325"/>
                  <a:gd name="connsiteY342" fmla="*/ 8477 h 552450"/>
                  <a:gd name="connsiteX343" fmla="*/ 331089 w 695325"/>
                  <a:gd name="connsiteY343" fmla="*/ 5905 h 552450"/>
                  <a:gd name="connsiteX344" fmla="*/ 326041 w 695325"/>
                  <a:gd name="connsiteY344" fmla="*/ 2476 h 552450"/>
                  <a:gd name="connsiteX345" fmla="*/ 322612 w 695325"/>
                  <a:gd name="connsiteY345" fmla="*/ 1619 h 552450"/>
                  <a:gd name="connsiteX346" fmla="*/ 323469 w 695325"/>
                  <a:gd name="connsiteY346" fmla="*/ 3334 h 552450"/>
                  <a:gd name="connsiteX347" fmla="*/ 320897 w 695325"/>
                  <a:gd name="connsiteY347" fmla="*/ 4191 h 552450"/>
                  <a:gd name="connsiteX348" fmla="*/ 314135 w 695325"/>
                  <a:gd name="connsiteY348" fmla="*/ 8477 h 552450"/>
                  <a:gd name="connsiteX349" fmla="*/ 312420 w 695325"/>
                  <a:gd name="connsiteY349" fmla="*/ 11049 h 552450"/>
                  <a:gd name="connsiteX350" fmla="*/ 311563 w 695325"/>
                  <a:gd name="connsiteY350" fmla="*/ 15240 h 552450"/>
                  <a:gd name="connsiteX351" fmla="*/ 311563 w 695325"/>
                  <a:gd name="connsiteY351" fmla="*/ 18669 h 552450"/>
                  <a:gd name="connsiteX352" fmla="*/ 314135 w 695325"/>
                  <a:gd name="connsiteY352" fmla="*/ 20383 h 552450"/>
                  <a:gd name="connsiteX353" fmla="*/ 314135 w 695325"/>
                  <a:gd name="connsiteY353" fmla="*/ 21241 h 552450"/>
                  <a:gd name="connsiteX354" fmla="*/ 314135 w 695325"/>
                  <a:gd name="connsiteY354" fmla="*/ 22098 h 552450"/>
                  <a:gd name="connsiteX355" fmla="*/ 314135 w 695325"/>
                  <a:gd name="connsiteY355" fmla="*/ 22955 h 552450"/>
                  <a:gd name="connsiteX356" fmla="*/ 314135 w 695325"/>
                  <a:gd name="connsiteY356" fmla="*/ 23717 h 552450"/>
                  <a:gd name="connsiteX357" fmla="*/ 313277 w 695325"/>
                  <a:gd name="connsiteY357" fmla="*/ 25432 h 552450"/>
                  <a:gd name="connsiteX358" fmla="*/ 313277 w 695325"/>
                  <a:gd name="connsiteY358" fmla="*/ 26289 h 552450"/>
                  <a:gd name="connsiteX359" fmla="*/ 313277 w 695325"/>
                  <a:gd name="connsiteY359" fmla="*/ 28003 h 552450"/>
                  <a:gd name="connsiteX360" fmla="*/ 313277 w 695325"/>
                  <a:gd name="connsiteY360" fmla="*/ 28861 h 552450"/>
                  <a:gd name="connsiteX361" fmla="*/ 314135 w 695325"/>
                  <a:gd name="connsiteY361" fmla="*/ 29718 h 552450"/>
                  <a:gd name="connsiteX362" fmla="*/ 316706 w 695325"/>
                  <a:gd name="connsiteY362" fmla="*/ 30575 h 552450"/>
                  <a:gd name="connsiteX363" fmla="*/ 320897 w 695325"/>
                  <a:gd name="connsiteY363" fmla="*/ 31432 h 552450"/>
                  <a:gd name="connsiteX364" fmla="*/ 324326 w 695325"/>
                  <a:gd name="connsiteY364" fmla="*/ 33147 h 552450"/>
                  <a:gd name="connsiteX365" fmla="*/ 325184 w 695325"/>
                  <a:gd name="connsiteY365" fmla="*/ 35623 h 552450"/>
                  <a:gd name="connsiteX366" fmla="*/ 324326 w 695325"/>
                  <a:gd name="connsiteY366" fmla="*/ 37338 h 552450"/>
                  <a:gd name="connsiteX367" fmla="*/ 319278 w 695325"/>
                  <a:gd name="connsiteY367" fmla="*/ 39052 h 552450"/>
                  <a:gd name="connsiteX368" fmla="*/ 317564 w 695325"/>
                  <a:gd name="connsiteY368" fmla="*/ 39910 h 552450"/>
                  <a:gd name="connsiteX369" fmla="*/ 317564 w 695325"/>
                  <a:gd name="connsiteY369" fmla="*/ 41624 h 552450"/>
                  <a:gd name="connsiteX370" fmla="*/ 315849 w 695325"/>
                  <a:gd name="connsiteY370" fmla="*/ 42481 h 552450"/>
                  <a:gd name="connsiteX371" fmla="*/ 314135 w 695325"/>
                  <a:gd name="connsiteY371" fmla="*/ 42481 h 552450"/>
                  <a:gd name="connsiteX372" fmla="*/ 311563 w 695325"/>
                  <a:gd name="connsiteY372" fmla="*/ 41624 h 552450"/>
                  <a:gd name="connsiteX373" fmla="*/ 309848 w 695325"/>
                  <a:gd name="connsiteY373" fmla="*/ 41624 h 552450"/>
                  <a:gd name="connsiteX374" fmla="*/ 307372 w 695325"/>
                  <a:gd name="connsiteY374" fmla="*/ 41624 h 552450"/>
                  <a:gd name="connsiteX375" fmla="*/ 300514 w 695325"/>
                  <a:gd name="connsiteY375" fmla="*/ 46672 h 552450"/>
                  <a:gd name="connsiteX376" fmla="*/ 298895 w 695325"/>
                  <a:gd name="connsiteY376" fmla="*/ 48387 h 552450"/>
                  <a:gd name="connsiteX377" fmla="*/ 299752 w 695325"/>
                  <a:gd name="connsiteY377" fmla="*/ 50959 h 552450"/>
                  <a:gd name="connsiteX378" fmla="*/ 300514 w 695325"/>
                  <a:gd name="connsiteY378" fmla="*/ 52673 h 552450"/>
                  <a:gd name="connsiteX379" fmla="*/ 299752 w 695325"/>
                  <a:gd name="connsiteY379" fmla="*/ 53530 h 552450"/>
                  <a:gd name="connsiteX380" fmla="*/ 298037 w 695325"/>
                  <a:gd name="connsiteY380" fmla="*/ 54388 h 552450"/>
                  <a:gd name="connsiteX381" fmla="*/ 295466 w 695325"/>
                  <a:gd name="connsiteY381" fmla="*/ 55245 h 552450"/>
                  <a:gd name="connsiteX382" fmla="*/ 292037 w 695325"/>
                  <a:gd name="connsiteY382" fmla="*/ 56864 h 552450"/>
                  <a:gd name="connsiteX383" fmla="*/ 289560 w 695325"/>
                  <a:gd name="connsiteY383" fmla="*/ 57721 h 552450"/>
                  <a:gd name="connsiteX384" fmla="*/ 274225 w 695325"/>
                  <a:gd name="connsiteY384" fmla="*/ 56102 h 552450"/>
                  <a:gd name="connsiteX385" fmla="*/ 270796 w 695325"/>
                  <a:gd name="connsiteY385" fmla="*/ 54388 h 552450"/>
                  <a:gd name="connsiteX386" fmla="*/ 268319 w 695325"/>
                  <a:gd name="connsiteY386" fmla="*/ 52673 h 552450"/>
                  <a:gd name="connsiteX387" fmla="*/ 268319 w 695325"/>
                  <a:gd name="connsiteY387" fmla="*/ 50959 h 552450"/>
                  <a:gd name="connsiteX388" fmla="*/ 267462 w 695325"/>
                  <a:gd name="connsiteY388" fmla="*/ 45815 h 552450"/>
                  <a:gd name="connsiteX389" fmla="*/ 265748 w 695325"/>
                  <a:gd name="connsiteY389" fmla="*/ 41624 h 552450"/>
                  <a:gd name="connsiteX390" fmla="*/ 266605 w 695325"/>
                  <a:gd name="connsiteY390" fmla="*/ 40767 h 552450"/>
                  <a:gd name="connsiteX391" fmla="*/ 266605 w 695325"/>
                  <a:gd name="connsiteY391" fmla="*/ 39910 h 552450"/>
                  <a:gd name="connsiteX392" fmla="*/ 269177 w 695325"/>
                  <a:gd name="connsiteY392" fmla="*/ 38195 h 552450"/>
                  <a:gd name="connsiteX393" fmla="*/ 269177 w 695325"/>
                  <a:gd name="connsiteY393" fmla="*/ 37338 h 552450"/>
                  <a:gd name="connsiteX394" fmla="*/ 268319 w 695325"/>
                  <a:gd name="connsiteY394" fmla="*/ 34766 h 552450"/>
                  <a:gd name="connsiteX395" fmla="*/ 263176 w 695325"/>
                  <a:gd name="connsiteY395" fmla="*/ 34004 h 552450"/>
                  <a:gd name="connsiteX396" fmla="*/ 252127 w 695325"/>
                  <a:gd name="connsiteY396" fmla="*/ 37338 h 552450"/>
                  <a:gd name="connsiteX397" fmla="*/ 247079 w 695325"/>
                  <a:gd name="connsiteY397" fmla="*/ 40767 h 552450"/>
                  <a:gd name="connsiteX398" fmla="*/ 244507 w 695325"/>
                  <a:gd name="connsiteY398" fmla="*/ 41624 h 552450"/>
                  <a:gd name="connsiteX399" fmla="*/ 238601 w 695325"/>
                  <a:gd name="connsiteY399" fmla="*/ 41624 h 552450"/>
                  <a:gd name="connsiteX400" fmla="*/ 236887 w 695325"/>
                  <a:gd name="connsiteY400" fmla="*/ 42481 h 552450"/>
                  <a:gd name="connsiteX401" fmla="*/ 232601 w 695325"/>
                  <a:gd name="connsiteY401" fmla="*/ 45815 h 552450"/>
                  <a:gd name="connsiteX402" fmla="*/ 230124 w 695325"/>
                  <a:gd name="connsiteY402" fmla="*/ 45815 h 552450"/>
                  <a:gd name="connsiteX403" fmla="*/ 228410 w 695325"/>
                  <a:gd name="connsiteY403" fmla="*/ 45815 h 552450"/>
                  <a:gd name="connsiteX404" fmla="*/ 221552 w 695325"/>
                  <a:gd name="connsiteY404" fmla="*/ 48387 h 552450"/>
                  <a:gd name="connsiteX405" fmla="*/ 218218 w 695325"/>
                  <a:gd name="connsiteY405" fmla="*/ 48387 h 552450"/>
                  <a:gd name="connsiteX406" fmla="*/ 216503 w 695325"/>
                  <a:gd name="connsiteY406" fmla="*/ 49244 h 552450"/>
                  <a:gd name="connsiteX407" fmla="*/ 215646 w 695325"/>
                  <a:gd name="connsiteY407" fmla="*/ 51816 h 552450"/>
                  <a:gd name="connsiteX408" fmla="*/ 213074 w 695325"/>
                  <a:gd name="connsiteY408" fmla="*/ 58579 h 552450"/>
                  <a:gd name="connsiteX409" fmla="*/ 211360 w 695325"/>
                  <a:gd name="connsiteY409" fmla="*/ 61150 h 552450"/>
                  <a:gd name="connsiteX410" fmla="*/ 208026 w 695325"/>
                  <a:gd name="connsiteY410" fmla="*/ 64579 h 552450"/>
                  <a:gd name="connsiteX411" fmla="*/ 202883 w 695325"/>
                  <a:gd name="connsiteY411" fmla="*/ 65437 h 552450"/>
                  <a:gd name="connsiteX412" fmla="*/ 180023 w 695325"/>
                  <a:gd name="connsiteY412" fmla="*/ 66294 h 552450"/>
                  <a:gd name="connsiteX413" fmla="*/ 174022 w 695325"/>
                  <a:gd name="connsiteY413" fmla="*/ 65437 h 552450"/>
                  <a:gd name="connsiteX414" fmla="*/ 169831 w 695325"/>
                  <a:gd name="connsiteY414" fmla="*/ 62865 h 552450"/>
                  <a:gd name="connsiteX415" fmla="*/ 160496 w 695325"/>
                  <a:gd name="connsiteY415" fmla="*/ 53530 h 552450"/>
                  <a:gd name="connsiteX416" fmla="*/ 157925 w 695325"/>
                  <a:gd name="connsiteY416" fmla="*/ 51816 h 552450"/>
                  <a:gd name="connsiteX417" fmla="*/ 126492 w 695325"/>
                  <a:gd name="connsiteY417" fmla="*/ 50959 h 552450"/>
                  <a:gd name="connsiteX418" fmla="*/ 118015 w 695325"/>
                  <a:gd name="connsiteY418" fmla="*/ 54388 h 552450"/>
                  <a:gd name="connsiteX419" fmla="*/ 113728 w 695325"/>
                  <a:gd name="connsiteY419" fmla="*/ 55245 h 552450"/>
                  <a:gd name="connsiteX420" fmla="*/ 111252 w 695325"/>
                  <a:gd name="connsiteY420" fmla="*/ 54388 h 552450"/>
                  <a:gd name="connsiteX421" fmla="*/ 105251 w 695325"/>
                  <a:gd name="connsiteY421" fmla="*/ 51816 h 552450"/>
                  <a:gd name="connsiteX422" fmla="*/ 102775 w 695325"/>
                  <a:gd name="connsiteY422" fmla="*/ 50959 h 552450"/>
                  <a:gd name="connsiteX423" fmla="*/ 100203 w 695325"/>
                  <a:gd name="connsiteY423" fmla="*/ 50959 h 552450"/>
                  <a:gd name="connsiteX424" fmla="*/ 95917 w 695325"/>
                  <a:gd name="connsiteY424" fmla="*/ 53530 h 552450"/>
                  <a:gd name="connsiteX425" fmla="*/ 93345 w 695325"/>
                  <a:gd name="connsiteY425" fmla="*/ 54388 h 552450"/>
                  <a:gd name="connsiteX426" fmla="*/ 90869 w 695325"/>
                  <a:gd name="connsiteY426" fmla="*/ 54388 h 552450"/>
                  <a:gd name="connsiteX427" fmla="*/ 89154 w 695325"/>
                  <a:gd name="connsiteY427" fmla="*/ 52673 h 552450"/>
                  <a:gd name="connsiteX428" fmla="*/ 87440 w 695325"/>
                  <a:gd name="connsiteY428" fmla="*/ 49244 h 552450"/>
                  <a:gd name="connsiteX429" fmla="*/ 86582 w 695325"/>
                  <a:gd name="connsiteY429" fmla="*/ 48387 h 552450"/>
                  <a:gd name="connsiteX430" fmla="*/ 85725 w 695325"/>
                  <a:gd name="connsiteY430" fmla="*/ 47530 h 552450"/>
                  <a:gd name="connsiteX431" fmla="*/ 84868 w 695325"/>
                  <a:gd name="connsiteY431" fmla="*/ 46672 h 552450"/>
                  <a:gd name="connsiteX432" fmla="*/ 83249 w 695325"/>
                  <a:gd name="connsiteY432" fmla="*/ 46672 h 552450"/>
                  <a:gd name="connsiteX433" fmla="*/ 82391 w 695325"/>
                  <a:gd name="connsiteY433" fmla="*/ 47530 h 552450"/>
                  <a:gd name="connsiteX434" fmla="*/ 82391 w 695325"/>
                  <a:gd name="connsiteY434" fmla="*/ 48387 h 552450"/>
                  <a:gd name="connsiteX435" fmla="*/ 81534 w 695325"/>
                  <a:gd name="connsiteY435" fmla="*/ 50101 h 552450"/>
                  <a:gd name="connsiteX436" fmla="*/ 78105 w 695325"/>
                  <a:gd name="connsiteY436" fmla="*/ 56102 h 552450"/>
                  <a:gd name="connsiteX437" fmla="*/ 77248 w 695325"/>
                  <a:gd name="connsiteY437" fmla="*/ 56864 h 552450"/>
                  <a:gd name="connsiteX438" fmla="*/ 75533 w 695325"/>
                  <a:gd name="connsiteY438" fmla="*/ 55245 h 552450"/>
                  <a:gd name="connsiteX439" fmla="*/ 74676 w 695325"/>
                  <a:gd name="connsiteY439" fmla="*/ 48387 h 552450"/>
                  <a:gd name="connsiteX440" fmla="*/ 73057 w 695325"/>
                  <a:gd name="connsiteY440" fmla="*/ 45815 h 552450"/>
                  <a:gd name="connsiteX441" fmla="*/ 67056 w 695325"/>
                  <a:gd name="connsiteY441" fmla="*/ 45815 h 552450"/>
                  <a:gd name="connsiteX442" fmla="*/ 64484 w 695325"/>
                  <a:gd name="connsiteY442" fmla="*/ 50959 h 552450"/>
                  <a:gd name="connsiteX443" fmla="*/ 64484 w 695325"/>
                  <a:gd name="connsiteY443" fmla="*/ 60293 h 552450"/>
                  <a:gd name="connsiteX444" fmla="*/ 64484 w 695325"/>
                  <a:gd name="connsiteY444" fmla="*/ 73057 h 552450"/>
                  <a:gd name="connsiteX445" fmla="*/ 64484 w 695325"/>
                  <a:gd name="connsiteY445" fmla="*/ 90011 h 552450"/>
                  <a:gd name="connsiteX446" fmla="*/ 56007 w 695325"/>
                  <a:gd name="connsiteY446" fmla="*/ 90011 h 552450"/>
                  <a:gd name="connsiteX447" fmla="*/ 44958 w 695325"/>
                  <a:gd name="connsiteY447" fmla="*/ 90011 h 552450"/>
                  <a:gd name="connsiteX448" fmla="*/ 32290 w 695325"/>
                  <a:gd name="connsiteY448" fmla="*/ 89249 h 552450"/>
                  <a:gd name="connsiteX449" fmla="*/ 27146 w 695325"/>
                  <a:gd name="connsiteY449" fmla="*/ 90011 h 552450"/>
                  <a:gd name="connsiteX450" fmla="*/ 23813 w 695325"/>
                  <a:gd name="connsiteY450" fmla="*/ 92583 h 552450"/>
                  <a:gd name="connsiteX451" fmla="*/ 23813 w 695325"/>
                  <a:gd name="connsiteY451" fmla="*/ 91726 h 552450"/>
                  <a:gd name="connsiteX452" fmla="*/ 23813 w 695325"/>
                  <a:gd name="connsiteY452" fmla="*/ 90868 h 552450"/>
                  <a:gd name="connsiteX453" fmla="*/ 22955 w 695325"/>
                  <a:gd name="connsiteY453" fmla="*/ 90011 h 552450"/>
                  <a:gd name="connsiteX454" fmla="*/ 22955 w 695325"/>
                  <a:gd name="connsiteY454" fmla="*/ 89249 h 552450"/>
                  <a:gd name="connsiteX455" fmla="*/ 21241 w 695325"/>
                  <a:gd name="connsiteY455" fmla="*/ 90011 h 552450"/>
                  <a:gd name="connsiteX456" fmla="*/ 21241 w 695325"/>
                  <a:gd name="connsiteY456" fmla="*/ 90868 h 552450"/>
                  <a:gd name="connsiteX457" fmla="*/ 21241 w 695325"/>
                  <a:gd name="connsiteY457" fmla="*/ 91726 h 552450"/>
                  <a:gd name="connsiteX458" fmla="*/ 21241 w 695325"/>
                  <a:gd name="connsiteY458" fmla="*/ 92583 h 552450"/>
                  <a:gd name="connsiteX459" fmla="*/ 20384 w 695325"/>
                  <a:gd name="connsiteY459" fmla="*/ 94297 h 552450"/>
                  <a:gd name="connsiteX460" fmla="*/ 19526 w 695325"/>
                  <a:gd name="connsiteY460" fmla="*/ 96012 h 552450"/>
                  <a:gd name="connsiteX461" fmla="*/ 17812 w 695325"/>
                  <a:gd name="connsiteY461" fmla="*/ 96012 h 552450"/>
                  <a:gd name="connsiteX462" fmla="*/ 16097 w 695325"/>
                  <a:gd name="connsiteY462" fmla="*/ 96012 h 552450"/>
                  <a:gd name="connsiteX463" fmla="*/ 15240 w 695325"/>
                  <a:gd name="connsiteY463" fmla="*/ 94297 h 552450"/>
                  <a:gd name="connsiteX464" fmla="*/ 15240 w 695325"/>
                  <a:gd name="connsiteY464" fmla="*/ 93440 h 552450"/>
                  <a:gd name="connsiteX465" fmla="*/ 15240 w 695325"/>
                  <a:gd name="connsiteY465" fmla="*/ 93440 h 552450"/>
                  <a:gd name="connsiteX466" fmla="*/ 13621 w 695325"/>
                  <a:gd name="connsiteY466" fmla="*/ 93440 h 552450"/>
                  <a:gd name="connsiteX467" fmla="*/ 12764 w 695325"/>
                  <a:gd name="connsiteY467" fmla="*/ 94297 h 552450"/>
                  <a:gd name="connsiteX468" fmla="*/ 12764 w 695325"/>
                  <a:gd name="connsiteY468" fmla="*/ 95155 h 552450"/>
                  <a:gd name="connsiteX469" fmla="*/ 12764 w 695325"/>
                  <a:gd name="connsiteY469" fmla="*/ 96012 h 552450"/>
                  <a:gd name="connsiteX470" fmla="*/ 12764 w 695325"/>
                  <a:gd name="connsiteY470" fmla="*/ 96869 h 552450"/>
                  <a:gd name="connsiteX471" fmla="*/ 12764 w 695325"/>
                  <a:gd name="connsiteY471" fmla="*/ 96869 h 552450"/>
                  <a:gd name="connsiteX472" fmla="*/ 13621 w 695325"/>
                  <a:gd name="connsiteY472" fmla="*/ 97726 h 552450"/>
                  <a:gd name="connsiteX473" fmla="*/ 13621 w 695325"/>
                  <a:gd name="connsiteY473" fmla="*/ 97726 h 552450"/>
                  <a:gd name="connsiteX474" fmla="*/ 12764 w 695325"/>
                  <a:gd name="connsiteY474" fmla="*/ 98584 h 552450"/>
                  <a:gd name="connsiteX475" fmla="*/ 12764 w 695325"/>
                  <a:gd name="connsiteY475" fmla="*/ 98584 h 552450"/>
                  <a:gd name="connsiteX476" fmla="*/ 11906 w 695325"/>
                  <a:gd name="connsiteY476" fmla="*/ 98584 h 552450"/>
                  <a:gd name="connsiteX477" fmla="*/ 11049 w 695325"/>
                  <a:gd name="connsiteY477" fmla="*/ 98584 h 552450"/>
                  <a:gd name="connsiteX478" fmla="*/ 10192 w 695325"/>
                  <a:gd name="connsiteY478" fmla="*/ 98584 h 552450"/>
                  <a:gd name="connsiteX479" fmla="*/ 8477 w 695325"/>
                  <a:gd name="connsiteY479" fmla="*/ 99441 h 552450"/>
                  <a:gd name="connsiteX480" fmla="*/ 7620 w 695325"/>
                  <a:gd name="connsiteY480" fmla="*/ 100298 h 552450"/>
                  <a:gd name="connsiteX481" fmla="*/ 5048 w 695325"/>
                  <a:gd name="connsiteY481" fmla="*/ 104489 h 552450"/>
                  <a:gd name="connsiteX482" fmla="*/ 5048 w 695325"/>
                  <a:gd name="connsiteY482" fmla="*/ 104489 h 552450"/>
                  <a:gd name="connsiteX483" fmla="*/ 5048 w 695325"/>
                  <a:gd name="connsiteY483" fmla="*/ 104489 h 552450"/>
                  <a:gd name="connsiteX484" fmla="*/ 5048 w 695325"/>
                  <a:gd name="connsiteY484" fmla="*/ 105346 h 552450"/>
                  <a:gd name="connsiteX485" fmla="*/ 4286 w 695325"/>
                  <a:gd name="connsiteY485" fmla="*/ 106204 h 552450"/>
                  <a:gd name="connsiteX486" fmla="*/ 4286 w 695325"/>
                  <a:gd name="connsiteY486" fmla="*/ 109633 h 552450"/>
                  <a:gd name="connsiteX487" fmla="*/ 3429 w 695325"/>
                  <a:gd name="connsiteY487" fmla="*/ 112967 h 552450"/>
                  <a:gd name="connsiteX488" fmla="*/ 2572 w 695325"/>
                  <a:gd name="connsiteY488" fmla="*/ 114681 h 552450"/>
                  <a:gd name="connsiteX489" fmla="*/ 3429 w 695325"/>
                  <a:gd name="connsiteY489" fmla="*/ 116396 h 552450"/>
                  <a:gd name="connsiteX490" fmla="*/ 4286 w 695325"/>
                  <a:gd name="connsiteY490" fmla="*/ 115538 h 552450"/>
                  <a:gd name="connsiteX491" fmla="*/ 6763 w 695325"/>
                  <a:gd name="connsiteY491" fmla="*/ 112967 h 552450"/>
                  <a:gd name="connsiteX492" fmla="*/ 6763 w 695325"/>
                  <a:gd name="connsiteY492" fmla="*/ 115538 h 552450"/>
                  <a:gd name="connsiteX493" fmla="*/ 5906 w 695325"/>
                  <a:gd name="connsiteY493" fmla="*/ 118110 h 552450"/>
                  <a:gd name="connsiteX494" fmla="*/ 6763 w 695325"/>
                  <a:gd name="connsiteY494" fmla="*/ 119825 h 552450"/>
                  <a:gd name="connsiteX495" fmla="*/ 7620 w 695325"/>
                  <a:gd name="connsiteY495" fmla="*/ 122396 h 552450"/>
                  <a:gd name="connsiteX496" fmla="*/ 9335 w 695325"/>
                  <a:gd name="connsiteY496" fmla="*/ 124015 h 552450"/>
                  <a:gd name="connsiteX497" fmla="*/ 11049 w 695325"/>
                  <a:gd name="connsiteY497" fmla="*/ 124873 h 552450"/>
                  <a:gd name="connsiteX498" fmla="*/ 13621 w 695325"/>
                  <a:gd name="connsiteY498" fmla="*/ 124873 h 552450"/>
                  <a:gd name="connsiteX499" fmla="*/ 15240 w 695325"/>
                  <a:gd name="connsiteY499" fmla="*/ 123158 h 552450"/>
                  <a:gd name="connsiteX500" fmla="*/ 15240 w 695325"/>
                  <a:gd name="connsiteY500" fmla="*/ 125730 h 552450"/>
                  <a:gd name="connsiteX501" fmla="*/ 13621 w 695325"/>
                  <a:gd name="connsiteY501" fmla="*/ 126587 h 552450"/>
                  <a:gd name="connsiteX502" fmla="*/ 11906 w 695325"/>
                  <a:gd name="connsiteY502" fmla="*/ 126587 h 552450"/>
                  <a:gd name="connsiteX503" fmla="*/ 10192 w 695325"/>
                  <a:gd name="connsiteY503" fmla="*/ 128302 h 552450"/>
                  <a:gd name="connsiteX504" fmla="*/ 8477 w 695325"/>
                  <a:gd name="connsiteY504" fmla="*/ 126587 h 552450"/>
                  <a:gd name="connsiteX505" fmla="*/ 7620 w 695325"/>
                  <a:gd name="connsiteY505" fmla="*/ 125730 h 552450"/>
                  <a:gd name="connsiteX506" fmla="*/ 6763 w 695325"/>
                  <a:gd name="connsiteY506" fmla="*/ 126587 h 552450"/>
                  <a:gd name="connsiteX507" fmla="*/ 5048 w 695325"/>
                  <a:gd name="connsiteY507" fmla="*/ 127444 h 552450"/>
                  <a:gd name="connsiteX508" fmla="*/ 5048 w 695325"/>
                  <a:gd name="connsiteY508" fmla="*/ 128302 h 552450"/>
                  <a:gd name="connsiteX509" fmla="*/ 4286 w 695325"/>
                  <a:gd name="connsiteY509" fmla="*/ 130016 h 552450"/>
                  <a:gd name="connsiteX510" fmla="*/ 4286 w 695325"/>
                  <a:gd name="connsiteY510" fmla="*/ 130016 h 552450"/>
                  <a:gd name="connsiteX511" fmla="*/ 1715 w 695325"/>
                  <a:gd name="connsiteY511" fmla="*/ 130016 h 552450"/>
                  <a:gd name="connsiteX512" fmla="*/ 1715 w 695325"/>
                  <a:gd name="connsiteY512" fmla="*/ 130016 h 552450"/>
                  <a:gd name="connsiteX513" fmla="*/ 0 w 695325"/>
                  <a:gd name="connsiteY513" fmla="*/ 132588 h 552450"/>
                  <a:gd name="connsiteX514" fmla="*/ 1715 w 695325"/>
                  <a:gd name="connsiteY514" fmla="*/ 133445 h 552450"/>
                  <a:gd name="connsiteX515" fmla="*/ 5048 w 695325"/>
                  <a:gd name="connsiteY515" fmla="*/ 134207 h 552450"/>
                  <a:gd name="connsiteX516" fmla="*/ 10192 w 695325"/>
                  <a:gd name="connsiteY516" fmla="*/ 135064 h 552450"/>
                  <a:gd name="connsiteX517" fmla="*/ 16955 w 695325"/>
                  <a:gd name="connsiteY517" fmla="*/ 135064 h 552450"/>
                  <a:gd name="connsiteX518" fmla="*/ 18669 w 695325"/>
                  <a:gd name="connsiteY518" fmla="*/ 135064 h 552450"/>
                  <a:gd name="connsiteX519" fmla="*/ 19526 w 695325"/>
                  <a:gd name="connsiteY519" fmla="*/ 135064 h 552450"/>
                  <a:gd name="connsiteX520" fmla="*/ 20384 w 695325"/>
                  <a:gd name="connsiteY520" fmla="*/ 135064 h 552450"/>
                  <a:gd name="connsiteX521" fmla="*/ 22955 w 695325"/>
                  <a:gd name="connsiteY521" fmla="*/ 134207 h 552450"/>
                  <a:gd name="connsiteX522" fmla="*/ 22955 w 695325"/>
                  <a:gd name="connsiteY522" fmla="*/ 133445 h 552450"/>
                  <a:gd name="connsiteX523" fmla="*/ 23813 w 695325"/>
                  <a:gd name="connsiteY523" fmla="*/ 132588 h 552450"/>
                  <a:gd name="connsiteX524" fmla="*/ 23813 w 695325"/>
                  <a:gd name="connsiteY524" fmla="*/ 131731 h 552450"/>
                  <a:gd name="connsiteX525" fmla="*/ 22955 w 695325"/>
                  <a:gd name="connsiteY525" fmla="*/ 130873 h 552450"/>
                  <a:gd name="connsiteX526" fmla="*/ 29718 w 695325"/>
                  <a:gd name="connsiteY526" fmla="*/ 121539 h 552450"/>
                  <a:gd name="connsiteX527" fmla="*/ 31433 w 695325"/>
                  <a:gd name="connsiteY527" fmla="*/ 119825 h 552450"/>
                  <a:gd name="connsiteX528" fmla="*/ 34766 w 695325"/>
                  <a:gd name="connsiteY528" fmla="*/ 118967 h 552450"/>
                  <a:gd name="connsiteX529" fmla="*/ 36481 w 695325"/>
                  <a:gd name="connsiteY529" fmla="*/ 117253 h 552450"/>
                  <a:gd name="connsiteX530" fmla="*/ 40767 w 695325"/>
                  <a:gd name="connsiteY530" fmla="*/ 116396 h 552450"/>
                  <a:gd name="connsiteX531" fmla="*/ 42482 w 695325"/>
                  <a:gd name="connsiteY531" fmla="*/ 115538 h 552450"/>
                  <a:gd name="connsiteX532" fmla="*/ 44196 w 695325"/>
                  <a:gd name="connsiteY532" fmla="*/ 114681 h 552450"/>
                  <a:gd name="connsiteX533" fmla="*/ 45815 w 695325"/>
                  <a:gd name="connsiteY533" fmla="*/ 113824 h 552450"/>
                  <a:gd name="connsiteX534" fmla="*/ 49244 w 695325"/>
                  <a:gd name="connsiteY534" fmla="*/ 112109 h 552450"/>
                  <a:gd name="connsiteX535" fmla="*/ 50959 w 695325"/>
                  <a:gd name="connsiteY535" fmla="*/ 112109 h 552450"/>
                  <a:gd name="connsiteX536" fmla="*/ 51816 w 695325"/>
                  <a:gd name="connsiteY536" fmla="*/ 110490 h 552450"/>
                  <a:gd name="connsiteX537" fmla="*/ 53531 w 695325"/>
                  <a:gd name="connsiteY537" fmla="*/ 107061 h 552450"/>
                  <a:gd name="connsiteX538" fmla="*/ 54293 w 695325"/>
                  <a:gd name="connsiteY538" fmla="*/ 105346 h 552450"/>
                  <a:gd name="connsiteX539" fmla="*/ 56864 w 695325"/>
                  <a:gd name="connsiteY539" fmla="*/ 105346 h 552450"/>
                  <a:gd name="connsiteX540" fmla="*/ 61151 w 695325"/>
                  <a:gd name="connsiteY540" fmla="*/ 105346 h 552450"/>
                  <a:gd name="connsiteX541" fmla="*/ 63722 w 695325"/>
                  <a:gd name="connsiteY541" fmla="*/ 104489 h 552450"/>
                  <a:gd name="connsiteX542" fmla="*/ 66199 w 695325"/>
                  <a:gd name="connsiteY542" fmla="*/ 103632 h 552450"/>
                  <a:gd name="connsiteX543" fmla="*/ 69628 w 695325"/>
                  <a:gd name="connsiteY543" fmla="*/ 100298 h 552450"/>
                  <a:gd name="connsiteX544" fmla="*/ 70485 w 695325"/>
                  <a:gd name="connsiteY544" fmla="*/ 101060 h 552450"/>
                  <a:gd name="connsiteX545" fmla="*/ 73819 w 695325"/>
                  <a:gd name="connsiteY545" fmla="*/ 99441 h 552450"/>
                  <a:gd name="connsiteX546" fmla="*/ 75533 w 695325"/>
                  <a:gd name="connsiteY546" fmla="*/ 100298 h 552450"/>
                  <a:gd name="connsiteX547" fmla="*/ 69628 w 695325"/>
                  <a:gd name="connsiteY547" fmla="*/ 104489 h 552450"/>
                  <a:gd name="connsiteX548" fmla="*/ 67913 w 695325"/>
                  <a:gd name="connsiteY548" fmla="*/ 105346 h 552450"/>
                  <a:gd name="connsiteX549" fmla="*/ 67056 w 695325"/>
                  <a:gd name="connsiteY549" fmla="*/ 105346 h 552450"/>
                  <a:gd name="connsiteX550" fmla="*/ 64484 w 695325"/>
                  <a:gd name="connsiteY550" fmla="*/ 107061 h 552450"/>
                  <a:gd name="connsiteX551" fmla="*/ 63722 w 695325"/>
                  <a:gd name="connsiteY551" fmla="*/ 107918 h 552450"/>
                  <a:gd name="connsiteX552" fmla="*/ 59436 w 695325"/>
                  <a:gd name="connsiteY552" fmla="*/ 107918 h 552450"/>
                  <a:gd name="connsiteX553" fmla="*/ 58579 w 695325"/>
                  <a:gd name="connsiteY553" fmla="*/ 107918 h 552450"/>
                  <a:gd name="connsiteX554" fmla="*/ 56864 w 695325"/>
                  <a:gd name="connsiteY554" fmla="*/ 109633 h 552450"/>
                  <a:gd name="connsiteX555" fmla="*/ 55150 w 695325"/>
                  <a:gd name="connsiteY555" fmla="*/ 114681 h 552450"/>
                  <a:gd name="connsiteX556" fmla="*/ 50959 w 695325"/>
                  <a:gd name="connsiteY556" fmla="*/ 115538 h 552450"/>
                  <a:gd name="connsiteX557" fmla="*/ 49244 w 695325"/>
                  <a:gd name="connsiteY557" fmla="*/ 117253 h 552450"/>
                  <a:gd name="connsiteX558" fmla="*/ 45815 w 695325"/>
                  <a:gd name="connsiteY558" fmla="*/ 120682 h 552450"/>
                  <a:gd name="connsiteX559" fmla="*/ 44196 w 695325"/>
                  <a:gd name="connsiteY559" fmla="*/ 123158 h 552450"/>
                  <a:gd name="connsiteX560" fmla="*/ 43339 w 695325"/>
                  <a:gd name="connsiteY560" fmla="*/ 124015 h 552450"/>
                  <a:gd name="connsiteX561" fmla="*/ 42482 w 695325"/>
                  <a:gd name="connsiteY561" fmla="*/ 124873 h 552450"/>
                  <a:gd name="connsiteX562" fmla="*/ 40767 w 695325"/>
                  <a:gd name="connsiteY562" fmla="*/ 124873 h 552450"/>
                  <a:gd name="connsiteX563" fmla="*/ 39053 w 695325"/>
                  <a:gd name="connsiteY563" fmla="*/ 125730 h 552450"/>
                  <a:gd name="connsiteX564" fmla="*/ 36481 w 695325"/>
                  <a:gd name="connsiteY564" fmla="*/ 126587 h 552450"/>
                  <a:gd name="connsiteX565" fmla="*/ 36481 w 695325"/>
                  <a:gd name="connsiteY565" fmla="*/ 127444 h 552450"/>
                  <a:gd name="connsiteX566" fmla="*/ 36481 w 695325"/>
                  <a:gd name="connsiteY566" fmla="*/ 129159 h 552450"/>
                  <a:gd name="connsiteX567" fmla="*/ 37338 w 695325"/>
                  <a:gd name="connsiteY567" fmla="*/ 129159 h 552450"/>
                  <a:gd name="connsiteX568" fmla="*/ 38195 w 695325"/>
                  <a:gd name="connsiteY568" fmla="*/ 129159 h 552450"/>
                  <a:gd name="connsiteX569" fmla="*/ 39053 w 695325"/>
                  <a:gd name="connsiteY569" fmla="*/ 129159 h 552450"/>
                  <a:gd name="connsiteX570" fmla="*/ 39053 w 695325"/>
                  <a:gd name="connsiteY570" fmla="*/ 131731 h 552450"/>
                  <a:gd name="connsiteX571" fmla="*/ 36481 w 695325"/>
                  <a:gd name="connsiteY571" fmla="*/ 131731 h 552450"/>
                  <a:gd name="connsiteX572" fmla="*/ 31433 w 695325"/>
                  <a:gd name="connsiteY572" fmla="*/ 130016 h 552450"/>
                  <a:gd name="connsiteX573" fmla="*/ 29718 w 695325"/>
                  <a:gd name="connsiteY573" fmla="*/ 130873 h 552450"/>
                  <a:gd name="connsiteX574" fmla="*/ 29718 w 695325"/>
                  <a:gd name="connsiteY574" fmla="*/ 134207 h 552450"/>
                  <a:gd name="connsiteX575" fmla="*/ 29718 w 695325"/>
                  <a:gd name="connsiteY575" fmla="*/ 140208 h 552450"/>
                  <a:gd name="connsiteX576" fmla="*/ 29718 w 695325"/>
                  <a:gd name="connsiteY576" fmla="*/ 144494 h 552450"/>
                  <a:gd name="connsiteX577" fmla="*/ 29718 w 695325"/>
                  <a:gd name="connsiteY577" fmla="*/ 146113 h 552450"/>
                  <a:gd name="connsiteX578" fmla="*/ 32290 w 695325"/>
                  <a:gd name="connsiteY578" fmla="*/ 146113 h 552450"/>
                  <a:gd name="connsiteX579" fmla="*/ 34004 w 695325"/>
                  <a:gd name="connsiteY579" fmla="*/ 145256 h 552450"/>
                  <a:gd name="connsiteX580" fmla="*/ 34004 w 695325"/>
                  <a:gd name="connsiteY580" fmla="*/ 143637 h 552450"/>
                  <a:gd name="connsiteX581" fmla="*/ 33147 w 695325"/>
                  <a:gd name="connsiteY581" fmla="*/ 141922 h 552450"/>
                  <a:gd name="connsiteX582" fmla="*/ 33147 w 695325"/>
                  <a:gd name="connsiteY582" fmla="*/ 140208 h 552450"/>
                  <a:gd name="connsiteX583" fmla="*/ 34004 w 695325"/>
                  <a:gd name="connsiteY583" fmla="*/ 141065 h 552450"/>
                  <a:gd name="connsiteX584" fmla="*/ 34766 w 695325"/>
                  <a:gd name="connsiteY584" fmla="*/ 142780 h 552450"/>
                  <a:gd name="connsiteX585" fmla="*/ 35624 w 695325"/>
                  <a:gd name="connsiteY585" fmla="*/ 143637 h 552450"/>
                  <a:gd name="connsiteX586" fmla="*/ 36481 w 695325"/>
                  <a:gd name="connsiteY586" fmla="*/ 143637 h 552450"/>
                  <a:gd name="connsiteX587" fmla="*/ 37338 w 695325"/>
                  <a:gd name="connsiteY587" fmla="*/ 142780 h 552450"/>
                  <a:gd name="connsiteX588" fmla="*/ 38195 w 695325"/>
                  <a:gd name="connsiteY588" fmla="*/ 142780 h 552450"/>
                  <a:gd name="connsiteX589" fmla="*/ 38195 w 695325"/>
                  <a:gd name="connsiteY589" fmla="*/ 144494 h 552450"/>
                  <a:gd name="connsiteX590" fmla="*/ 36481 w 695325"/>
                  <a:gd name="connsiteY590" fmla="*/ 145256 h 552450"/>
                  <a:gd name="connsiteX591" fmla="*/ 34004 w 695325"/>
                  <a:gd name="connsiteY591" fmla="*/ 146971 h 552450"/>
                  <a:gd name="connsiteX592" fmla="*/ 32290 w 695325"/>
                  <a:gd name="connsiteY592" fmla="*/ 149542 h 552450"/>
                  <a:gd name="connsiteX593" fmla="*/ 31433 w 695325"/>
                  <a:gd name="connsiteY593" fmla="*/ 152114 h 552450"/>
                  <a:gd name="connsiteX594" fmla="*/ 32290 w 695325"/>
                  <a:gd name="connsiteY594" fmla="*/ 153829 h 552450"/>
                  <a:gd name="connsiteX595" fmla="*/ 33147 w 695325"/>
                  <a:gd name="connsiteY595" fmla="*/ 153829 h 552450"/>
                  <a:gd name="connsiteX596" fmla="*/ 34766 w 695325"/>
                  <a:gd name="connsiteY596" fmla="*/ 152971 h 552450"/>
                  <a:gd name="connsiteX597" fmla="*/ 36481 w 695325"/>
                  <a:gd name="connsiteY597" fmla="*/ 152114 h 552450"/>
                  <a:gd name="connsiteX598" fmla="*/ 35624 w 695325"/>
                  <a:gd name="connsiteY598" fmla="*/ 153829 h 552450"/>
                  <a:gd name="connsiteX599" fmla="*/ 35624 w 695325"/>
                  <a:gd name="connsiteY599" fmla="*/ 155543 h 552450"/>
                  <a:gd name="connsiteX600" fmla="*/ 35624 w 695325"/>
                  <a:gd name="connsiteY600" fmla="*/ 156305 h 552450"/>
                  <a:gd name="connsiteX601" fmla="*/ 37338 w 695325"/>
                  <a:gd name="connsiteY601" fmla="*/ 157163 h 552450"/>
                  <a:gd name="connsiteX602" fmla="*/ 39053 w 695325"/>
                  <a:gd name="connsiteY602" fmla="*/ 156305 h 552450"/>
                  <a:gd name="connsiteX603" fmla="*/ 39053 w 695325"/>
                  <a:gd name="connsiteY603" fmla="*/ 155543 h 552450"/>
                  <a:gd name="connsiteX604" fmla="*/ 39910 w 695325"/>
                  <a:gd name="connsiteY604" fmla="*/ 154686 h 552450"/>
                  <a:gd name="connsiteX605" fmla="*/ 41624 w 695325"/>
                  <a:gd name="connsiteY605" fmla="*/ 155543 h 552450"/>
                  <a:gd name="connsiteX606" fmla="*/ 42482 w 695325"/>
                  <a:gd name="connsiteY606" fmla="*/ 154686 h 552450"/>
                  <a:gd name="connsiteX607" fmla="*/ 43339 w 695325"/>
                  <a:gd name="connsiteY607" fmla="*/ 154686 h 552450"/>
                  <a:gd name="connsiteX608" fmla="*/ 44196 w 695325"/>
                  <a:gd name="connsiteY608" fmla="*/ 155543 h 552450"/>
                  <a:gd name="connsiteX609" fmla="*/ 44196 w 695325"/>
                  <a:gd name="connsiteY609" fmla="*/ 156305 h 552450"/>
                  <a:gd name="connsiteX610" fmla="*/ 43339 w 695325"/>
                  <a:gd name="connsiteY610" fmla="*/ 156305 h 552450"/>
                  <a:gd name="connsiteX611" fmla="*/ 42482 w 695325"/>
                  <a:gd name="connsiteY611" fmla="*/ 157163 h 552450"/>
                  <a:gd name="connsiteX612" fmla="*/ 41624 w 695325"/>
                  <a:gd name="connsiteY612" fmla="*/ 158020 h 552450"/>
                  <a:gd name="connsiteX613" fmla="*/ 41624 w 695325"/>
                  <a:gd name="connsiteY613" fmla="*/ 158877 h 552450"/>
                  <a:gd name="connsiteX614" fmla="*/ 41624 w 695325"/>
                  <a:gd name="connsiteY614" fmla="*/ 160592 h 552450"/>
                  <a:gd name="connsiteX615" fmla="*/ 42482 w 695325"/>
                  <a:gd name="connsiteY615" fmla="*/ 161449 h 552450"/>
                  <a:gd name="connsiteX616" fmla="*/ 43339 w 695325"/>
                  <a:gd name="connsiteY616" fmla="*/ 162306 h 552450"/>
                  <a:gd name="connsiteX617" fmla="*/ 44196 w 695325"/>
                  <a:gd name="connsiteY617" fmla="*/ 163163 h 552450"/>
                  <a:gd name="connsiteX618" fmla="*/ 44958 w 695325"/>
                  <a:gd name="connsiteY618" fmla="*/ 162306 h 552450"/>
                  <a:gd name="connsiteX619" fmla="*/ 44958 w 695325"/>
                  <a:gd name="connsiteY619" fmla="*/ 162306 h 552450"/>
                  <a:gd name="connsiteX620" fmla="*/ 45815 w 695325"/>
                  <a:gd name="connsiteY620" fmla="*/ 162306 h 552450"/>
                  <a:gd name="connsiteX621" fmla="*/ 46673 w 695325"/>
                  <a:gd name="connsiteY621" fmla="*/ 162306 h 552450"/>
                  <a:gd name="connsiteX622" fmla="*/ 46673 w 695325"/>
                  <a:gd name="connsiteY622" fmla="*/ 162306 h 552450"/>
                  <a:gd name="connsiteX623" fmla="*/ 47530 w 695325"/>
                  <a:gd name="connsiteY623" fmla="*/ 163163 h 552450"/>
                  <a:gd name="connsiteX624" fmla="*/ 47530 w 695325"/>
                  <a:gd name="connsiteY624" fmla="*/ 164021 h 552450"/>
                  <a:gd name="connsiteX625" fmla="*/ 48387 w 695325"/>
                  <a:gd name="connsiteY625" fmla="*/ 164878 h 552450"/>
                  <a:gd name="connsiteX626" fmla="*/ 50102 w 695325"/>
                  <a:gd name="connsiteY626" fmla="*/ 164878 h 552450"/>
                  <a:gd name="connsiteX627" fmla="*/ 50959 w 695325"/>
                  <a:gd name="connsiteY627" fmla="*/ 165735 h 552450"/>
                  <a:gd name="connsiteX628" fmla="*/ 51816 w 695325"/>
                  <a:gd name="connsiteY628" fmla="*/ 166592 h 552450"/>
                  <a:gd name="connsiteX629" fmla="*/ 50959 w 695325"/>
                  <a:gd name="connsiteY629" fmla="*/ 167354 h 552450"/>
                  <a:gd name="connsiteX630" fmla="*/ 47530 w 695325"/>
                  <a:gd name="connsiteY630" fmla="*/ 167354 h 552450"/>
                  <a:gd name="connsiteX631" fmla="*/ 46673 w 695325"/>
                  <a:gd name="connsiteY631" fmla="*/ 168211 h 552450"/>
                  <a:gd name="connsiteX632" fmla="*/ 44196 w 695325"/>
                  <a:gd name="connsiteY632" fmla="*/ 172498 h 552450"/>
                  <a:gd name="connsiteX633" fmla="*/ 45815 w 695325"/>
                  <a:gd name="connsiteY633" fmla="*/ 174212 h 552450"/>
                  <a:gd name="connsiteX634" fmla="*/ 48387 w 695325"/>
                  <a:gd name="connsiteY634" fmla="*/ 175069 h 552450"/>
                  <a:gd name="connsiteX635" fmla="*/ 51816 w 695325"/>
                  <a:gd name="connsiteY635" fmla="*/ 174212 h 552450"/>
                  <a:gd name="connsiteX636" fmla="*/ 53531 w 695325"/>
                  <a:gd name="connsiteY636" fmla="*/ 173355 h 552450"/>
                  <a:gd name="connsiteX637" fmla="*/ 53531 w 695325"/>
                  <a:gd name="connsiteY637" fmla="*/ 175069 h 552450"/>
                  <a:gd name="connsiteX638" fmla="*/ 53531 w 695325"/>
                  <a:gd name="connsiteY638" fmla="*/ 175927 h 552450"/>
                  <a:gd name="connsiteX639" fmla="*/ 51816 w 695325"/>
                  <a:gd name="connsiteY639" fmla="*/ 178403 h 552450"/>
                  <a:gd name="connsiteX640" fmla="*/ 50959 w 695325"/>
                  <a:gd name="connsiteY640" fmla="*/ 177641 h 552450"/>
                  <a:gd name="connsiteX641" fmla="*/ 50102 w 695325"/>
                  <a:gd name="connsiteY641" fmla="*/ 176784 h 552450"/>
                  <a:gd name="connsiteX642" fmla="*/ 50959 w 695325"/>
                  <a:gd name="connsiteY642" fmla="*/ 178403 h 552450"/>
                  <a:gd name="connsiteX643" fmla="*/ 51816 w 695325"/>
                  <a:gd name="connsiteY643" fmla="*/ 180975 h 552450"/>
                  <a:gd name="connsiteX644" fmla="*/ 53531 w 695325"/>
                  <a:gd name="connsiteY644" fmla="*/ 182689 h 552450"/>
                  <a:gd name="connsiteX645" fmla="*/ 56864 w 695325"/>
                  <a:gd name="connsiteY645" fmla="*/ 184404 h 552450"/>
                  <a:gd name="connsiteX646" fmla="*/ 56864 w 695325"/>
                  <a:gd name="connsiteY646" fmla="*/ 185261 h 552450"/>
                  <a:gd name="connsiteX647" fmla="*/ 56864 w 695325"/>
                  <a:gd name="connsiteY647" fmla="*/ 186118 h 552450"/>
                  <a:gd name="connsiteX648" fmla="*/ 56864 w 695325"/>
                  <a:gd name="connsiteY648" fmla="*/ 186976 h 552450"/>
                  <a:gd name="connsiteX649" fmla="*/ 57722 w 695325"/>
                  <a:gd name="connsiteY649" fmla="*/ 186976 h 552450"/>
                  <a:gd name="connsiteX650" fmla="*/ 61151 w 695325"/>
                  <a:gd name="connsiteY650" fmla="*/ 190309 h 552450"/>
                  <a:gd name="connsiteX651" fmla="*/ 80677 w 695325"/>
                  <a:gd name="connsiteY651" fmla="*/ 203073 h 552450"/>
                  <a:gd name="connsiteX652" fmla="*/ 99346 w 695325"/>
                  <a:gd name="connsiteY652" fmla="*/ 211550 h 552450"/>
                  <a:gd name="connsiteX653" fmla="*/ 110395 w 695325"/>
                  <a:gd name="connsiteY653" fmla="*/ 219265 h 552450"/>
                  <a:gd name="connsiteX654" fmla="*/ 117158 w 695325"/>
                  <a:gd name="connsiteY654" fmla="*/ 223456 h 552450"/>
                  <a:gd name="connsiteX655" fmla="*/ 121444 w 695325"/>
                  <a:gd name="connsiteY655" fmla="*/ 224314 h 552450"/>
                  <a:gd name="connsiteX656" fmla="*/ 132493 w 695325"/>
                  <a:gd name="connsiteY656" fmla="*/ 226028 h 552450"/>
                  <a:gd name="connsiteX657" fmla="*/ 136684 w 695325"/>
                  <a:gd name="connsiteY657" fmla="*/ 227743 h 552450"/>
                  <a:gd name="connsiteX658" fmla="*/ 140113 w 695325"/>
                  <a:gd name="connsiteY658" fmla="*/ 227743 h 552450"/>
                  <a:gd name="connsiteX659" fmla="*/ 141827 w 695325"/>
                  <a:gd name="connsiteY659" fmla="*/ 229457 h 552450"/>
                  <a:gd name="connsiteX660" fmla="*/ 147733 w 695325"/>
                  <a:gd name="connsiteY660" fmla="*/ 230314 h 552450"/>
                  <a:gd name="connsiteX661" fmla="*/ 147733 w 695325"/>
                  <a:gd name="connsiteY661" fmla="*/ 230314 h 552450"/>
                  <a:gd name="connsiteX662" fmla="*/ 148590 w 695325"/>
                  <a:gd name="connsiteY662" fmla="*/ 231172 h 552450"/>
                  <a:gd name="connsiteX663" fmla="*/ 149447 w 695325"/>
                  <a:gd name="connsiteY663" fmla="*/ 231172 h 552450"/>
                  <a:gd name="connsiteX664" fmla="*/ 150305 w 695325"/>
                  <a:gd name="connsiteY664" fmla="*/ 232029 h 552450"/>
                  <a:gd name="connsiteX665" fmla="*/ 152019 w 695325"/>
                  <a:gd name="connsiteY665" fmla="*/ 232029 h 552450"/>
                  <a:gd name="connsiteX666" fmla="*/ 155353 w 695325"/>
                  <a:gd name="connsiteY666" fmla="*/ 232029 h 552450"/>
                  <a:gd name="connsiteX667" fmla="*/ 157067 w 695325"/>
                  <a:gd name="connsiteY667" fmla="*/ 232029 h 552450"/>
                  <a:gd name="connsiteX668" fmla="*/ 158782 w 695325"/>
                  <a:gd name="connsiteY668" fmla="*/ 233648 h 552450"/>
                  <a:gd name="connsiteX669" fmla="*/ 159639 w 695325"/>
                  <a:gd name="connsiteY669" fmla="*/ 234505 h 552450"/>
                  <a:gd name="connsiteX670" fmla="*/ 167259 w 695325"/>
                  <a:gd name="connsiteY670" fmla="*/ 234505 h 552450"/>
                  <a:gd name="connsiteX671" fmla="*/ 172307 w 695325"/>
                  <a:gd name="connsiteY671" fmla="*/ 235363 h 552450"/>
                  <a:gd name="connsiteX672" fmla="*/ 174022 w 695325"/>
                  <a:gd name="connsiteY672" fmla="*/ 236220 h 552450"/>
                  <a:gd name="connsiteX673" fmla="*/ 175736 w 695325"/>
                  <a:gd name="connsiteY673" fmla="*/ 235363 h 552450"/>
                  <a:gd name="connsiteX674" fmla="*/ 179165 w 695325"/>
                  <a:gd name="connsiteY674" fmla="*/ 228600 h 552450"/>
                  <a:gd name="connsiteX675" fmla="*/ 181737 w 695325"/>
                  <a:gd name="connsiteY675" fmla="*/ 226028 h 552450"/>
                  <a:gd name="connsiteX676" fmla="*/ 184214 w 695325"/>
                  <a:gd name="connsiteY676" fmla="*/ 224314 h 552450"/>
                  <a:gd name="connsiteX677" fmla="*/ 187643 w 695325"/>
                  <a:gd name="connsiteY677" fmla="*/ 222599 h 552450"/>
                  <a:gd name="connsiteX678" fmla="*/ 189357 w 695325"/>
                  <a:gd name="connsiteY678" fmla="*/ 221837 h 552450"/>
                  <a:gd name="connsiteX679" fmla="*/ 192691 w 695325"/>
                  <a:gd name="connsiteY679" fmla="*/ 221837 h 552450"/>
                  <a:gd name="connsiteX680" fmla="*/ 199549 w 695325"/>
                  <a:gd name="connsiteY680" fmla="*/ 219265 h 552450"/>
                  <a:gd name="connsiteX681" fmla="*/ 205454 w 695325"/>
                  <a:gd name="connsiteY681" fmla="*/ 218408 h 552450"/>
                  <a:gd name="connsiteX682" fmla="*/ 212217 w 695325"/>
                  <a:gd name="connsiteY682" fmla="*/ 215836 h 552450"/>
                  <a:gd name="connsiteX683" fmla="*/ 219075 w 695325"/>
                  <a:gd name="connsiteY683" fmla="*/ 214979 h 552450"/>
                  <a:gd name="connsiteX684" fmla="*/ 220790 w 695325"/>
                  <a:gd name="connsiteY684" fmla="*/ 214122 h 552450"/>
                  <a:gd name="connsiteX685" fmla="*/ 220790 w 695325"/>
                  <a:gd name="connsiteY685" fmla="*/ 212407 h 552450"/>
                  <a:gd name="connsiteX686" fmla="*/ 219075 w 695325"/>
                  <a:gd name="connsiteY686" fmla="*/ 211550 h 552450"/>
                  <a:gd name="connsiteX687" fmla="*/ 218218 w 695325"/>
                  <a:gd name="connsiteY687" fmla="*/ 210788 h 552450"/>
                  <a:gd name="connsiteX688" fmla="*/ 219932 w 695325"/>
                  <a:gd name="connsiteY688" fmla="*/ 206502 h 552450"/>
                  <a:gd name="connsiteX689" fmla="*/ 219932 w 695325"/>
                  <a:gd name="connsiteY689" fmla="*/ 207359 h 552450"/>
                  <a:gd name="connsiteX690" fmla="*/ 219932 w 695325"/>
                  <a:gd name="connsiteY690" fmla="*/ 209074 h 552450"/>
                  <a:gd name="connsiteX691" fmla="*/ 219932 w 695325"/>
                  <a:gd name="connsiteY691" fmla="*/ 209931 h 552450"/>
                  <a:gd name="connsiteX692" fmla="*/ 221552 w 695325"/>
                  <a:gd name="connsiteY692" fmla="*/ 209931 h 552450"/>
                  <a:gd name="connsiteX693" fmla="*/ 222409 w 695325"/>
                  <a:gd name="connsiteY693" fmla="*/ 209931 h 552450"/>
                  <a:gd name="connsiteX694" fmla="*/ 222409 w 695325"/>
                  <a:gd name="connsiteY694" fmla="*/ 209931 h 552450"/>
                  <a:gd name="connsiteX695" fmla="*/ 222409 w 695325"/>
                  <a:gd name="connsiteY695" fmla="*/ 210788 h 552450"/>
                  <a:gd name="connsiteX696" fmla="*/ 223266 w 695325"/>
                  <a:gd name="connsiteY696" fmla="*/ 210788 h 552450"/>
                  <a:gd name="connsiteX697" fmla="*/ 224123 w 695325"/>
                  <a:gd name="connsiteY697" fmla="*/ 211550 h 552450"/>
                  <a:gd name="connsiteX698" fmla="*/ 224123 w 695325"/>
                  <a:gd name="connsiteY698" fmla="*/ 211550 h 552450"/>
                  <a:gd name="connsiteX699" fmla="*/ 224981 w 695325"/>
                  <a:gd name="connsiteY699" fmla="*/ 211550 h 552450"/>
                  <a:gd name="connsiteX700" fmla="*/ 225838 w 695325"/>
                  <a:gd name="connsiteY700" fmla="*/ 211550 h 552450"/>
                  <a:gd name="connsiteX701" fmla="*/ 228410 w 695325"/>
                  <a:gd name="connsiteY701" fmla="*/ 211550 h 552450"/>
                  <a:gd name="connsiteX702" fmla="*/ 230124 w 695325"/>
                  <a:gd name="connsiteY702" fmla="*/ 210788 h 552450"/>
                  <a:gd name="connsiteX703" fmla="*/ 231743 w 695325"/>
                  <a:gd name="connsiteY703" fmla="*/ 209074 h 552450"/>
                  <a:gd name="connsiteX704" fmla="*/ 231743 w 695325"/>
                  <a:gd name="connsiteY704" fmla="*/ 205645 h 552450"/>
                  <a:gd name="connsiteX705" fmla="*/ 233458 w 695325"/>
                  <a:gd name="connsiteY705" fmla="*/ 207359 h 552450"/>
                  <a:gd name="connsiteX706" fmla="*/ 234315 w 695325"/>
                  <a:gd name="connsiteY706" fmla="*/ 209074 h 552450"/>
                  <a:gd name="connsiteX707" fmla="*/ 235172 w 695325"/>
                  <a:gd name="connsiteY707" fmla="*/ 210788 h 552450"/>
                  <a:gd name="connsiteX708" fmla="*/ 238601 w 695325"/>
                  <a:gd name="connsiteY708" fmla="*/ 211550 h 552450"/>
                  <a:gd name="connsiteX709" fmla="*/ 238601 w 695325"/>
                  <a:gd name="connsiteY709" fmla="*/ 211550 h 552450"/>
                  <a:gd name="connsiteX710" fmla="*/ 239459 w 695325"/>
                  <a:gd name="connsiteY710" fmla="*/ 212407 h 552450"/>
                  <a:gd name="connsiteX711" fmla="*/ 239459 w 695325"/>
                  <a:gd name="connsiteY711" fmla="*/ 213265 h 552450"/>
                  <a:gd name="connsiteX712" fmla="*/ 240316 w 695325"/>
                  <a:gd name="connsiteY712" fmla="*/ 213265 h 552450"/>
                  <a:gd name="connsiteX713" fmla="*/ 240316 w 695325"/>
                  <a:gd name="connsiteY713" fmla="*/ 212407 h 552450"/>
                  <a:gd name="connsiteX714" fmla="*/ 241078 w 695325"/>
                  <a:gd name="connsiteY714" fmla="*/ 212407 h 552450"/>
                  <a:gd name="connsiteX715" fmla="*/ 241935 w 695325"/>
                  <a:gd name="connsiteY715" fmla="*/ 212407 h 552450"/>
                  <a:gd name="connsiteX716" fmla="*/ 241935 w 695325"/>
                  <a:gd name="connsiteY716" fmla="*/ 212407 h 552450"/>
                  <a:gd name="connsiteX717" fmla="*/ 242792 w 695325"/>
                  <a:gd name="connsiteY717" fmla="*/ 213265 h 552450"/>
                  <a:gd name="connsiteX718" fmla="*/ 243650 w 695325"/>
                  <a:gd name="connsiteY718" fmla="*/ 213265 h 552450"/>
                  <a:gd name="connsiteX719" fmla="*/ 244507 w 695325"/>
                  <a:gd name="connsiteY719" fmla="*/ 214122 h 552450"/>
                  <a:gd name="connsiteX720" fmla="*/ 244507 w 695325"/>
                  <a:gd name="connsiteY720" fmla="*/ 214122 h 552450"/>
                  <a:gd name="connsiteX721" fmla="*/ 245364 w 695325"/>
                  <a:gd name="connsiteY721" fmla="*/ 213265 h 552450"/>
                  <a:gd name="connsiteX722" fmla="*/ 246221 w 695325"/>
                  <a:gd name="connsiteY722" fmla="*/ 213265 h 552450"/>
                  <a:gd name="connsiteX723" fmla="*/ 248793 w 695325"/>
                  <a:gd name="connsiteY723" fmla="*/ 213265 h 552450"/>
                  <a:gd name="connsiteX724" fmla="*/ 249650 w 695325"/>
                  <a:gd name="connsiteY724" fmla="*/ 212407 h 552450"/>
                  <a:gd name="connsiteX725" fmla="*/ 249650 w 695325"/>
                  <a:gd name="connsiteY725" fmla="*/ 212407 h 552450"/>
                  <a:gd name="connsiteX726" fmla="*/ 250508 w 695325"/>
                  <a:gd name="connsiteY726" fmla="*/ 211550 h 552450"/>
                  <a:gd name="connsiteX727" fmla="*/ 250508 w 695325"/>
                  <a:gd name="connsiteY727" fmla="*/ 209931 h 552450"/>
                  <a:gd name="connsiteX728" fmla="*/ 250508 w 695325"/>
                  <a:gd name="connsiteY728" fmla="*/ 208217 h 552450"/>
                  <a:gd name="connsiteX729" fmla="*/ 250508 w 695325"/>
                  <a:gd name="connsiteY729" fmla="*/ 207359 h 552450"/>
                  <a:gd name="connsiteX730" fmla="*/ 250508 w 695325"/>
                  <a:gd name="connsiteY730" fmla="*/ 205645 h 552450"/>
                  <a:gd name="connsiteX731" fmla="*/ 251269 w 695325"/>
                  <a:gd name="connsiteY731" fmla="*/ 203073 h 552450"/>
                  <a:gd name="connsiteX732" fmla="*/ 250508 w 695325"/>
                  <a:gd name="connsiteY732" fmla="*/ 201359 h 552450"/>
                  <a:gd name="connsiteX733" fmla="*/ 250508 w 695325"/>
                  <a:gd name="connsiteY733" fmla="*/ 200501 h 552450"/>
                  <a:gd name="connsiteX734" fmla="*/ 249650 w 695325"/>
                  <a:gd name="connsiteY734" fmla="*/ 198882 h 552450"/>
                  <a:gd name="connsiteX735" fmla="*/ 249650 w 695325"/>
                  <a:gd name="connsiteY735" fmla="*/ 197167 h 552450"/>
                  <a:gd name="connsiteX736" fmla="*/ 251269 w 695325"/>
                  <a:gd name="connsiteY736" fmla="*/ 195453 h 552450"/>
                  <a:gd name="connsiteX737" fmla="*/ 255556 w 695325"/>
                  <a:gd name="connsiteY737" fmla="*/ 192881 h 552450"/>
                  <a:gd name="connsiteX738" fmla="*/ 256413 w 695325"/>
                  <a:gd name="connsiteY738" fmla="*/ 192024 h 552450"/>
                  <a:gd name="connsiteX739" fmla="*/ 257270 w 695325"/>
                  <a:gd name="connsiteY739" fmla="*/ 190309 h 552450"/>
                  <a:gd name="connsiteX740" fmla="*/ 259842 w 695325"/>
                  <a:gd name="connsiteY740" fmla="*/ 191167 h 552450"/>
                  <a:gd name="connsiteX741" fmla="*/ 261461 w 695325"/>
                  <a:gd name="connsiteY741" fmla="*/ 193738 h 552450"/>
                  <a:gd name="connsiteX742" fmla="*/ 263176 w 695325"/>
                  <a:gd name="connsiteY742" fmla="*/ 195453 h 552450"/>
                  <a:gd name="connsiteX743" fmla="*/ 264033 w 695325"/>
                  <a:gd name="connsiteY743" fmla="*/ 197167 h 552450"/>
                  <a:gd name="connsiteX744" fmla="*/ 264033 w 695325"/>
                  <a:gd name="connsiteY744" fmla="*/ 199739 h 552450"/>
                  <a:gd name="connsiteX745" fmla="*/ 264033 w 695325"/>
                  <a:gd name="connsiteY745" fmla="*/ 203073 h 552450"/>
                  <a:gd name="connsiteX746" fmla="*/ 263176 w 695325"/>
                  <a:gd name="connsiteY746" fmla="*/ 204788 h 552450"/>
                  <a:gd name="connsiteX747" fmla="*/ 262319 w 695325"/>
                  <a:gd name="connsiteY747" fmla="*/ 206502 h 552450"/>
                  <a:gd name="connsiteX748" fmla="*/ 261461 w 695325"/>
                  <a:gd name="connsiteY748" fmla="*/ 208217 h 552450"/>
                  <a:gd name="connsiteX749" fmla="*/ 260604 w 695325"/>
                  <a:gd name="connsiteY749" fmla="*/ 209074 h 552450"/>
                  <a:gd name="connsiteX750" fmla="*/ 259842 w 695325"/>
                  <a:gd name="connsiteY750" fmla="*/ 209931 h 552450"/>
                  <a:gd name="connsiteX751" fmla="*/ 258128 w 695325"/>
                  <a:gd name="connsiteY751" fmla="*/ 209931 h 552450"/>
                  <a:gd name="connsiteX752" fmla="*/ 257270 w 695325"/>
                  <a:gd name="connsiteY752" fmla="*/ 209931 h 552450"/>
                  <a:gd name="connsiteX753" fmla="*/ 255556 w 695325"/>
                  <a:gd name="connsiteY753" fmla="*/ 209931 h 552450"/>
                  <a:gd name="connsiteX754" fmla="*/ 253841 w 695325"/>
                  <a:gd name="connsiteY754" fmla="*/ 211550 h 552450"/>
                  <a:gd name="connsiteX755" fmla="*/ 250508 w 695325"/>
                  <a:gd name="connsiteY755" fmla="*/ 214979 h 552450"/>
                  <a:gd name="connsiteX756" fmla="*/ 248793 w 695325"/>
                  <a:gd name="connsiteY756" fmla="*/ 215836 h 552450"/>
                  <a:gd name="connsiteX757" fmla="*/ 247079 w 695325"/>
                  <a:gd name="connsiteY757" fmla="*/ 217551 h 552450"/>
                  <a:gd name="connsiteX758" fmla="*/ 243650 w 695325"/>
                  <a:gd name="connsiteY758" fmla="*/ 224314 h 552450"/>
                  <a:gd name="connsiteX759" fmla="*/ 241935 w 695325"/>
                  <a:gd name="connsiteY759" fmla="*/ 226885 h 552450"/>
                  <a:gd name="connsiteX760" fmla="*/ 241078 w 695325"/>
                  <a:gd name="connsiteY760" fmla="*/ 226885 h 552450"/>
                  <a:gd name="connsiteX761" fmla="*/ 241078 w 695325"/>
                  <a:gd name="connsiteY761" fmla="*/ 228600 h 552450"/>
                  <a:gd name="connsiteX762" fmla="*/ 241935 w 695325"/>
                  <a:gd name="connsiteY762" fmla="*/ 231172 h 552450"/>
                  <a:gd name="connsiteX763" fmla="*/ 241078 w 695325"/>
                  <a:gd name="connsiteY763" fmla="*/ 232029 h 552450"/>
                  <a:gd name="connsiteX764" fmla="*/ 235172 w 695325"/>
                  <a:gd name="connsiteY764" fmla="*/ 240506 h 552450"/>
                  <a:gd name="connsiteX765" fmla="*/ 231743 w 695325"/>
                  <a:gd name="connsiteY765" fmla="*/ 248126 h 552450"/>
                  <a:gd name="connsiteX766" fmla="*/ 229267 w 695325"/>
                  <a:gd name="connsiteY766" fmla="*/ 251555 h 552450"/>
                  <a:gd name="connsiteX767" fmla="*/ 226695 w 695325"/>
                  <a:gd name="connsiteY767" fmla="*/ 255746 h 552450"/>
                  <a:gd name="connsiteX768" fmla="*/ 225838 w 695325"/>
                  <a:gd name="connsiteY768" fmla="*/ 258318 h 552450"/>
                  <a:gd name="connsiteX769" fmla="*/ 221552 w 695325"/>
                  <a:gd name="connsiteY769" fmla="*/ 260032 h 552450"/>
                  <a:gd name="connsiteX770" fmla="*/ 212217 w 695325"/>
                  <a:gd name="connsiteY770" fmla="*/ 258318 h 552450"/>
                  <a:gd name="connsiteX771" fmla="*/ 208026 w 695325"/>
                  <a:gd name="connsiteY771" fmla="*/ 259175 h 552450"/>
                  <a:gd name="connsiteX772" fmla="*/ 206312 w 695325"/>
                  <a:gd name="connsiteY772" fmla="*/ 260032 h 552450"/>
                  <a:gd name="connsiteX773" fmla="*/ 205454 w 695325"/>
                  <a:gd name="connsiteY773" fmla="*/ 260890 h 552450"/>
                  <a:gd name="connsiteX774" fmla="*/ 202883 w 695325"/>
                  <a:gd name="connsiteY774" fmla="*/ 260890 h 552450"/>
                  <a:gd name="connsiteX775" fmla="*/ 202883 w 695325"/>
                  <a:gd name="connsiteY775" fmla="*/ 260890 h 552450"/>
                  <a:gd name="connsiteX776" fmla="*/ 201263 w 695325"/>
                  <a:gd name="connsiteY776" fmla="*/ 261747 h 552450"/>
                  <a:gd name="connsiteX777" fmla="*/ 195263 w 695325"/>
                  <a:gd name="connsiteY777" fmla="*/ 266795 h 552450"/>
                  <a:gd name="connsiteX778" fmla="*/ 192691 w 695325"/>
                  <a:gd name="connsiteY778" fmla="*/ 268510 h 552450"/>
                  <a:gd name="connsiteX779" fmla="*/ 191072 w 695325"/>
                  <a:gd name="connsiteY779" fmla="*/ 269367 h 552450"/>
                  <a:gd name="connsiteX780" fmla="*/ 189357 w 695325"/>
                  <a:gd name="connsiteY780" fmla="*/ 269367 h 552450"/>
                  <a:gd name="connsiteX781" fmla="*/ 188500 w 695325"/>
                  <a:gd name="connsiteY781" fmla="*/ 269367 h 552450"/>
                  <a:gd name="connsiteX782" fmla="*/ 187643 w 695325"/>
                  <a:gd name="connsiteY782" fmla="*/ 269367 h 552450"/>
                  <a:gd name="connsiteX783" fmla="*/ 185928 w 695325"/>
                  <a:gd name="connsiteY783" fmla="*/ 271081 h 552450"/>
                  <a:gd name="connsiteX784" fmla="*/ 185928 w 695325"/>
                  <a:gd name="connsiteY784" fmla="*/ 272796 h 552450"/>
                  <a:gd name="connsiteX785" fmla="*/ 185071 w 695325"/>
                  <a:gd name="connsiteY785" fmla="*/ 273653 h 552450"/>
                  <a:gd name="connsiteX786" fmla="*/ 184214 w 695325"/>
                  <a:gd name="connsiteY786" fmla="*/ 275368 h 552450"/>
                  <a:gd name="connsiteX787" fmla="*/ 183356 w 695325"/>
                  <a:gd name="connsiteY787" fmla="*/ 275368 h 552450"/>
                  <a:gd name="connsiteX788" fmla="*/ 182499 w 695325"/>
                  <a:gd name="connsiteY788" fmla="*/ 274510 h 552450"/>
                  <a:gd name="connsiteX789" fmla="*/ 177451 w 695325"/>
                  <a:gd name="connsiteY789" fmla="*/ 268510 h 552450"/>
                  <a:gd name="connsiteX790" fmla="*/ 176594 w 695325"/>
                  <a:gd name="connsiteY790" fmla="*/ 267652 h 552450"/>
                  <a:gd name="connsiteX791" fmla="*/ 175736 w 695325"/>
                  <a:gd name="connsiteY791" fmla="*/ 269367 h 552450"/>
                  <a:gd name="connsiteX792" fmla="*/ 173165 w 695325"/>
                  <a:gd name="connsiteY792" fmla="*/ 275368 h 552450"/>
                  <a:gd name="connsiteX793" fmla="*/ 172307 w 695325"/>
                  <a:gd name="connsiteY793" fmla="*/ 277082 h 552450"/>
                  <a:gd name="connsiteX794" fmla="*/ 172307 w 695325"/>
                  <a:gd name="connsiteY794" fmla="*/ 277082 h 552450"/>
                  <a:gd name="connsiteX795" fmla="*/ 170688 w 695325"/>
                  <a:gd name="connsiteY795" fmla="*/ 276225 h 552450"/>
                  <a:gd name="connsiteX796" fmla="*/ 169831 w 695325"/>
                  <a:gd name="connsiteY796" fmla="*/ 276225 h 552450"/>
                  <a:gd name="connsiteX797" fmla="*/ 168974 w 695325"/>
                  <a:gd name="connsiteY797" fmla="*/ 276225 h 552450"/>
                  <a:gd name="connsiteX798" fmla="*/ 168974 w 695325"/>
                  <a:gd name="connsiteY798" fmla="*/ 277082 h 552450"/>
                  <a:gd name="connsiteX799" fmla="*/ 168116 w 695325"/>
                  <a:gd name="connsiteY799" fmla="*/ 277082 h 552450"/>
                  <a:gd name="connsiteX800" fmla="*/ 168116 w 695325"/>
                  <a:gd name="connsiteY800" fmla="*/ 277844 h 552450"/>
                  <a:gd name="connsiteX801" fmla="*/ 167259 w 695325"/>
                  <a:gd name="connsiteY801" fmla="*/ 278701 h 552450"/>
                  <a:gd name="connsiteX802" fmla="*/ 167259 w 695325"/>
                  <a:gd name="connsiteY802" fmla="*/ 279559 h 552450"/>
                  <a:gd name="connsiteX803" fmla="*/ 166402 w 695325"/>
                  <a:gd name="connsiteY803" fmla="*/ 280416 h 552450"/>
                  <a:gd name="connsiteX804" fmla="*/ 164687 w 695325"/>
                  <a:gd name="connsiteY804" fmla="*/ 279559 h 552450"/>
                  <a:gd name="connsiteX805" fmla="*/ 163830 w 695325"/>
                  <a:gd name="connsiteY805" fmla="*/ 280416 h 552450"/>
                  <a:gd name="connsiteX806" fmla="*/ 163830 w 695325"/>
                  <a:gd name="connsiteY806" fmla="*/ 281273 h 552450"/>
                  <a:gd name="connsiteX807" fmla="*/ 162973 w 695325"/>
                  <a:gd name="connsiteY807" fmla="*/ 282988 h 552450"/>
                  <a:gd name="connsiteX808" fmla="*/ 161354 w 695325"/>
                  <a:gd name="connsiteY808" fmla="*/ 281273 h 552450"/>
                  <a:gd name="connsiteX809" fmla="*/ 157925 w 695325"/>
                  <a:gd name="connsiteY809" fmla="*/ 281273 h 552450"/>
                  <a:gd name="connsiteX810" fmla="*/ 156210 w 695325"/>
                  <a:gd name="connsiteY810" fmla="*/ 280416 h 552450"/>
                  <a:gd name="connsiteX811" fmla="*/ 157067 w 695325"/>
                  <a:gd name="connsiteY811" fmla="*/ 278701 h 552450"/>
                  <a:gd name="connsiteX812" fmla="*/ 157067 w 695325"/>
                  <a:gd name="connsiteY812" fmla="*/ 276225 h 552450"/>
                  <a:gd name="connsiteX813" fmla="*/ 156210 w 695325"/>
                  <a:gd name="connsiteY813" fmla="*/ 271081 h 552450"/>
                  <a:gd name="connsiteX814" fmla="*/ 155353 w 695325"/>
                  <a:gd name="connsiteY814" fmla="*/ 271081 h 552450"/>
                  <a:gd name="connsiteX815" fmla="*/ 153638 w 695325"/>
                  <a:gd name="connsiteY815" fmla="*/ 271939 h 552450"/>
                  <a:gd name="connsiteX816" fmla="*/ 152781 w 695325"/>
                  <a:gd name="connsiteY816" fmla="*/ 271081 h 552450"/>
                  <a:gd name="connsiteX817" fmla="*/ 152019 w 695325"/>
                  <a:gd name="connsiteY817" fmla="*/ 271939 h 552450"/>
                  <a:gd name="connsiteX818" fmla="*/ 152019 w 695325"/>
                  <a:gd name="connsiteY818" fmla="*/ 273653 h 552450"/>
                  <a:gd name="connsiteX819" fmla="*/ 152019 w 695325"/>
                  <a:gd name="connsiteY819" fmla="*/ 275368 h 552450"/>
                  <a:gd name="connsiteX820" fmla="*/ 152781 w 695325"/>
                  <a:gd name="connsiteY820" fmla="*/ 277082 h 552450"/>
                  <a:gd name="connsiteX821" fmla="*/ 153638 w 695325"/>
                  <a:gd name="connsiteY821" fmla="*/ 278701 h 552450"/>
                  <a:gd name="connsiteX822" fmla="*/ 152781 w 695325"/>
                  <a:gd name="connsiteY822" fmla="*/ 280416 h 552450"/>
                  <a:gd name="connsiteX823" fmla="*/ 152019 w 695325"/>
                  <a:gd name="connsiteY823" fmla="*/ 280416 h 552450"/>
                  <a:gd name="connsiteX824" fmla="*/ 151162 w 695325"/>
                  <a:gd name="connsiteY824" fmla="*/ 280416 h 552450"/>
                  <a:gd name="connsiteX825" fmla="*/ 151162 w 695325"/>
                  <a:gd name="connsiteY825" fmla="*/ 280416 h 552450"/>
                  <a:gd name="connsiteX826" fmla="*/ 150305 w 695325"/>
                  <a:gd name="connsiteY826" fmla="*/ 281273 h 552450"/>
                  <a:gd name="connsiteX827" fmla="*/ 148590 w 695325"/>
                  <a:gd name="connsiteY827" fmla="*/ 283845 h 552450"/>
                  <a:gd name="connsiteX828" fmla="*/ 148590 w 695325"/>
                  <a:gd name="connsiteY828" fmla="*/ 283845 h 552450"/>
                  <a:gd name="connsiteX829" fmla="*/ 146876 w 695325"/>
                  <a:gd name="connsiteY829" fmla="*/ 284702 h 552450"/>
                  <a:gd name="connsiteX830" fmla="*/ 143447 w 695325"/>
                  <a:gd name="connsiteY830" fmla="*/ 285559 h 552450"/>
                  <a:gd name="connsiteX831" fmla="*/ 134969 w 695325"/>
                  <a:gd name="connsiteY831" fmla="*/ 285559 h 552450"/>
                  <a:gd name="connsiteX832" fmla="*/ 133255 w 695325"/>
                  <a:gd name="connsiteY832" fmla="*/ 286417 h 552450"/>
                  <a:gd name="connsiteX833" fmla="*/ 132493 w 695325"/>
                  <a:gd name="connsiteY833" fmla="*/ 288893 h 552450"/>
                  <a:gd name="connsiteX834" fmla="*/ 127349 w 695325"/>
                  <a:gd name="connsiteY834" fmla="*/ 291465 h 552450"/>
                  <a:gd name="connsiteX835" fmla="*/ 118872 w 695325"/>
                  <a:gd name="connsiteY835" fmla="*/ 292322 h 552450"/>
                  <a:gd name="connsiteX836" fmla="*/ 118872 w 695325"/>
                  <a:gd name="connsiteY836" fmla="*/ 291465 h 552450"/>
                  <a:gd name="connsiteX837" fmla="*/ 116300 w 695325"/>
                  <a:gd name="connsiteY837" fmla="*/ 290608 h 552450"/>
                  <a:gd name="connsiteX838" fmla="*/ 114586 w 695325"/>
                  <a:gd name="connsiteY838" fmla="*/ 288131 h 552450"/>
                  <a:gd name="connsiteX839" fmla="*/ 113728 w 695325"/>
                  <a:gd name="connsiteY839" fmla="*/ 285559 h 552450"/>
                  <a:gd name="connsiteX840" fmla="*/ 115443 w 695325"/>
                  <a:gd name="connsiteY840" fmla="*/ 282988 h 552450"/>
                  <a:gd name="connsiteX841" fmla="*/ 115443 w 695325"/>
                  <a:gd name="connsiteY841" fmla="*/ 281273 h 552450"/>
                  <a:gd name="connsiteX842" fmla="*/ 118015 w 695325"/>
                  <a:gd name="connsiteY842" fmla="*/ 277844 h 552450"/>
                  <a:gd name="connsiteX843" fmla="*/ 118015 w 695325"/>
                  <a:gd name="connsiteY843" fmla="*/ 275368 h 552450"/>
                  <a:gd name="connsiteX844" fmla="*/ 116300 w 695325"/>
                  <a:gd name="connsiteY844" fmla="*/ 274510 h 552450"/>
                  <a:gd name="connsiteX845" fmla="*/ 115443 w 695325"/>
                  <a:gd name="connsiteY845" fmla="*/ 274510 h 552450"/>
                  <a:gd name="connsiteX846" fmla="*/ 113728 w 695325"/>
                  <a:gd name="connsiteY846" fmla="*/ 275368 h 552450"/>
                  <a:gd name="connsiteX847" fmla="*/ 112109 w 695325"/>
                  <a:gd name="connsiteY847" fmla="*/ 276225 h 552450"/>
                  <a:gd name="connsiteX848" fmla="*/ 111252 w 695325"/>
                  <a:gd name="connsiteY848" fmla="*/ 277082 h 552450"/>
                  <a:gd name="connsiteX849" fmla="*/ 110395 w 695325"/>
                  <a:gd name="connsiteY849" fmla="*/ 277082 h 552450"/>
                  <a:gd name="connsiteX850" fmla="*/ 109538 w 695325"/>
                  <a:gd name="connsiteY850" fmla="*/ 276225 h 552450"/>
                  <a:gd name="connsiteX851" fmla="*/ 108680 w 695325"/>
                  <a:gd name="connsiteY851" fmla="*/ 276225 h 552450"/>
                  <a:gd name="connsiteX852" fmla="*/ 107823 w 695325"/>
                  <a:gd name="connsiteY852" fmla="*/ 276225 h 552450"/>
                  <a:gd name="connsiteX853" fmla="*/ 106109 w 695325"/>
                  <a:gd name="connsiteY853" fmla="*/ 277844 h 552450"/>
                  <a:gd name="connsiteX854" fmla="*/ 105251 w 695325"/>
                  <a:gd name="connsiteY854" fmla="*/ 277844 h 552450"/>
                  <a:gd name="connsiteX855" fmla="*/ 102775 w 695325"/>
                  <a:gd name="connsiteY855" fmla="*/ 277844 h 552450"/>
                  <a:gd name="connsiteX856" fmla="*/ 101918 w 695325"/>
                  <a:gd name="connsiteY856" fmla="*/ 276225 h 552450"/>
                  <a:gd name="connsiteX857" fmla="*/ 100203 w 695325"/>
                  <a:gd name="connsiteY857" fmla="*/ 273653 h 552450"/>
                  <a:gd name="connsiteX858" fmla="*/ 101060 w 695325"/>
                  <a:gd name="connsiteY858" fmla="*/ 271939 h 552450"/>
                  <a:gd name="connsiteX859" fmla="*/ 103537 w 695325"/>
                  <a:gd name="connsiteY859" fmla="*/ 271081 h 552450"/>
                  <a:gd name="connsiteX860" fmla="*/ 104394 w 695325"/>
                  <a:gd name="connsiteY860" fmla="*/ 270224 h 552450"/>
                  <a:gd name="connsiteX861" fmla="*/ 104394 w 695325"/>
                  <a:gd name="connsiteY861" fmla="*/ 268510 h 552450"/>
                  <a:gd name="connsiteX862" fmla="*/ 104394 w 695325"/>
                  <a:gd name="connsiteY862" fmla="*/ 267652 h 552450"/>
                  <a:gd name="connsiteX863" fmla="*/ 103537 w 695325"/>
                  <a:gd name="connsiteY863" fmla="*/ 267652 h 552450"/>
                  <a:gd name="connsiteX864" fmla="*/ 100203 w 695325"/>
                  <a:gd name="connsiteY864" fmla="*/ 269367 h 552450"/>
                  <a:gd name="connsiteX865" fmla="*/ 95917 w 695325"/>
                  <a:gd name="connsiteY865" fmla="*/ 271939 h 552450"/>
                  <a:gd name="connsiteX866" fmla="*/ 94202 w 695325"/>
                  <a:gd name="connsiteY866" fmla="*/ 273653 h 552450"/>
                  <a:gd name="connsiteX867" fmla="*/ 93345 w 695325"/>
                  <a:gd name="connsiteY867" fmla="*/ 275368 h 552450"/>
                  <a:gd name="connsiteX868" fmla="*/ 92583 w 695325"/>
                  <a:gd name="connsiteY868" fmla="*/ 277082 h 552450"/>
                  <a:gd name="connsiteX869" fmla="*/ 91726 w 695325"/>
                  <a:gd name="connsiteY869" fmla="*/ 278701 h 552450"/>
                  <a:gd name="connsiteX870" fmla="*/ 91726 w 695325"/>
                  <a:gd name="connsiteY870" fmla="*/ 281273 h 552450"/>
                  <a:gd name="connsiteX871" fmla="*/ 90869 w 695325"/>
                  <a:gd name="connsiteY871" fmla="*/ 282988 h 552450"/>
                  <a:gd name="connsiteX872" fmla="*/ 90011 w 695325"/>
                  <a:gd name="connsiteY872" fmla="*/ 284702 h 552450"/>
                  <a:gd name="connsiteX873" fmla="*/ 89154 w 695325"/>
                  <a:gd name="connsiteY873" fmla="*/ 287274 h 552450"/>
                  <a:gd name="connsiteX874" fmla="*/ 89154 w 695325"/>
                  <a:gd name="connsiteY874" fmla="*/ 289750 h 552450"/>
                  <a:gd name="connsiteX875" fmla="*/ 90011 w 695325"/>
                  <a:gd name="connsiteY875" fmla="*/ 292322 h 552450"/>
                  <a:gd name="connsiteX876" fmla="*/ 92583 w 695325"/>
                  <a:gd name="connsiteY876" fmla="*/ 296609 h 552450"/>
                  <a:gd name="connsiteX877" fmla="*/ 94202 w 695325"/>
                  <a:gd name="connsiteY877" fmla="*/ 300800 h 552450"/>
                  <a:gd name="connsiteX878" fmla="*/ 96774 w 695325"/>
                  <a:gd name="connsiteY878" fmla="*/ 303371 h 552450"/>
                  <a:gd name="connsiteX879" fmla="*/ 100203 w 695325"/>
                  <a:gd name="connsiteY879" fmla="*/ 305943 h 552450"/>
                  <a:gd name="connsiteX880" fmla="*/ 105251 w 695325"/>
                  <a:gd name="connsiteY880" fmla="*/ 313563 h 552450"/>
                  <a:gd name="connsiteX881" fmla="*/ 106966 w 695325"/>
                  <a:gd name="connsiteY881" fmla="*/ 316135 h 552450"/>
                  <a:gd name="connsiteX882" fmla="*/ 108680 w 695325"/>
                  <a:gd name="connsiteY882" fmla="*/ 317849 h 552450"/>
                  <a:gd name="connsiteX883" fmla="*/ 112109 w 695325"/>
                  <a:gd name="connsiteY883" fmla="*/ 320421 h 552450"/>
                  <a:gd name="connsiteX884" fmla="*/ 117158 w 695325"/>
                  <a:gd name="connsiteY884" fmla="*/ 327184 h 552450"/>
                  <a:gd name="connsiteX885" fmla="*/ 118872 w 695325"/>
                  <a:gd name="connsiteY885" fmla="*/ 328898 h 552450"/>
                  <a:gd name="connsiteX886" fmla="*/ 122301 w 695325"/>
                  <a:gd name="connsiteY886" fmla="*/ 331470 h 552450"/>
                  <a:gd name="connsiteX887" fmla="*/ 132493 w 695325"/>
                  <a:gd name="connsiteY887" fmla="*/ 341662 h 552450"/>
                  <a:gd name="connsiteX888" fmla="*/ 134969 w 695325"/>
                  <a:gd name="connsiteY888" fmla="*/ 342519 h 552450"/>
                  <a:gd name="connsiteX889" fmla="*/ 135827 w 695325"/>
                  <a:gd name="connsiteY889" fmla="*/ 342519 h 552450"/>
                  <a:gd name="connsiteX890" fmla="*/ 138398 w 695325"/>
                  <a:gd name="connsiteY890" fmla="*/ 339947 h 552450"/>
                  <a:gd name="connsiteX891" fmla="*/ 139256 w 695325"/>
                  <a:gd name="connsiteY891" fmla="*/ 341662 h 552450"/>
                  <a:gd name="connsiteX892" fmla="*/ 138398 w 695325"/>
                  <a:gd name="connsiteY892" fmla="*/ 344996 h 552450"/>
                  <a:gd name="connsiteX893" fmla="*/ 139256 w 695325"/>
                  <a:gd name="connsiteY893" fmla="*/ 346710 h 552450"/>
                  <a:gd name="connsiteX894" fmla="*/ 142589 w 695325"/>
                  <a:gd name="connsiteY894" fmla="*/ 350996 h 552450"/>
                  <a:gd name="connsiteX895" fmla="*/ 144304 w 695325"/>
                  <a:gd name="connsiteY895" fmla="*/ 352711 h 552450"/>
                  <a:gd name="connsiteX896" fmla="*/ 148590 w 695325"/>
                  <a:gd name="connsiteY896" fmla="*/ 354425 h 552450"/>
                  <a:gd name="connsiteX897" fmla="*/ 150305 w 695325"/>
                  <a:gd name="connsiteY897" fmla="*/ 358616 h 552450"/>
                  <a:gd name="connsiteX898" fmla="*/ 152781 w 695325"/>
                  <a:gd name="connsiteY898" fmla="*/ 360331 h 552450"/>
                  <a:gd name="connsiteX899" fmla="*/ 156210 w 695325"/>
                  <a:gd name="connsiteY899" fmla="*/ 364617 h 552450"/>
                  <a:gd name="connsiteX900" fmla="*/ 157925 w 695325"/>
                  <a:gd name="connsiteY900" fmla="*/ 366236 h 552450"/>
                  <a:gd name="connsiteX901" fmla="*/ 164687 w 695325"/>
                  <a:gd name="connsiteY901" fmla="*/ 370522 h 552450"/>
                  <a:gd name="connsiteX902" fmla="*/ 179165 w 695325"/>
                  <a:gd name="connsiteY902" fmla="*/ 385858 h 552450"/>
                  <a:gd name="connsiteX903" fmla="*/ 180880 w 695325"/>
                  <a:gd name="connsiteY903" fmla="*/ 386715 h 552450"/>
                  <a:gd name="connsiteX904" fmla="*/ 182499 w 695325"/>
                  <a:gd name="connsiteY904" fmla="*/ 388334 h 552450"/>
                  <a:gd name="connsiteX905" fmla="*/ 184214 w 695325"/>
                  <a:gd name="connsiteY905" fmla="*/ 388334 h 552450"/>
                  <a:gd name="connsiteX906" fmla="*/ 185071 w 695325"/>
                  <a:gd name="connsiteY906" fmla="*/ 391763 h 552450"/>
                  <a:gd name="connsiteX907" fmla="*/ 188500 w 695325"/>
                  <a:gd name="connsiteY907" fmla="*/ 397764 h 552450"/>
                  <a:gd name="connsiteX908" fmla="*/ 196120 w 695325"/>
                  <a:gd name="connsiteY908" fmla="*/ 406241 h 552450"/>
                  <a:gd name="connsiteX909" fmla="*/ 201263 w 695325"/>
                  <a:gd name="connsiteY909" fmla="*/ 411289 h 552450"/>
                  <a:gd name="connsiteX910" fmla="*/ 202025 w 695325"/>
                  <a:gd name="connsiteY910" fmla="*/ 412147 h 552450"/>
                  <a:gd name="connsiteX911" fmla="*/ 202883 w 695325"/>
                  <a:gd name="connsiteY911" fmla="*/ 413004 h 552450"/>
                  <a:gd name="connsiteX912" fmla="*/ 212217 w 695325"/>
                  <a:gd name="connsiteY912" fmla="*/ 425767 h 552450"/>
                  <a:gd name="connsiteX913" fmla="*/ 222409 w 695325"/>
                  <a:gd name="connsiteY913" fmla="*/ 434245 h 552450"/>
                  <a:gd name="connsiteX914" fmla="*/ 235172 w 695325"/>
                  <a:gd name="connsiteY914" fmla="*/ 445294 h 552450"/>
                  <a:gd name="connsiteX915" fmla="*/ 239459 w 695325"/>
                  <a:gd name="connsiteY915" fmla="*/ 448723 h 552450"/>
                  <a:gd name="connsiteX916" fmla="*/ 242792 w 695325"/>
                  <a:gd name="connsiteY916" fmla="*/ 452152 h 552450"/>
                  <a:gd name="connsiteX917" fmla="*/ 249650 w 695325"/>
                  <a:gd name="connsiteY917" fmla="*/ 454628 h 552450"/>
                  <a:gd name="connsiteX918" fmla="*/ 252127 w 695325"/>
                  <a:gd name="connsiteY918" fmla="*/ 456343 h 552450"/>
                  <a:gd name="connsiteX919" fmla="*/ 255556 w 695325"/>
                  <a:gd name="connsiteY919" fmla="*/ 460629 h 552450"/>
                  <a:gd name="connsiteX920" fmla="*/ 257270 w 695325"/>
                  <a:gd name="connsiteY920" fmla="*/ 461486 h 552450"/>
                  <a:gd name="connsiteX921" fmla="*/ 259842 w 695325"/>
                  <a:gd name="connsiteY921" fmla="*/ 462343 h 552450"/>
                  <a:gd name="connsiteX922" fmla="*/ 265748 w 695325"/>
                  <a:gd name="connsiteY922" fmla="*/ 465677 h 552450"/>
                  <a:gd name="connsiteX923" fmla="*/ 282702 w 695325"/>
                  <a:gd name="connsiteY923" fmla="*/ 473392 h 552450"/>
                  <a:gd name="connsiteX924" fmla="*/ 286988 w 695325"/>
                  <a:gd name="connsiteY924" fmla="*/ 475964 h 552450"/>
                  <a:gd name="connsiteX925" fmla="*/ 287846 w 695325"/>
                  <a:gd name="connsiteY925" fmla="*/ 476726 h 552450"/>
                  <a:gd name="connsiteX926" fmla="*/ 288703 w 695325"/>
                  <a:gd name="connsiteY926" fmla="*/ 476726 h 552450"/>
                  <a:gd name="connsiteX927" fmla="*/ 290322 w 695325"/>
                  <a:gd name="connsiteY927" fmla="*/ 475964 h 552450"/>
                  <a:gd name="connsiteX928" fmla="*/ 291179 w 695325"/>
                  <a:gd name="connsiteY928" fmla="*/ 475964 h 552450"/>
                  <a:gd name="connsiteX929" fmla="*/ 292894 w 695325"/>
                  <a:gd name="connsiteY929" fmla="*/ 475964 h 552450"/>
                  <a:gd name="connsiteX930" fmla="*/ 294608 w 695325"/>
                  <a:gd name="connsiteY930" fmla="*/ 477584 h 552450"/>
                  <a:gd name="connsiteX931" fmla="*/ 296323 w 695325"/>
                  <a:gd name="connsiteY931" fmla="*/ 478441 h 552450"/>
                  <a:gd name="connsiteX932" fmla="*/ 298895 w 695325"/>
                  <a:gd name="connsiteY932" fmla="*/ 478441 h 552450"/>
                  <a:gd name="connsiteX933" fmla="*/ 313277 w 695325"/>
                  <a:gd name="connsiteY933" fmla="*/ 477584 h 552450"/>
                  <a:gd name="connsiteX934" fmla="*/ 313277 w 695325"/>
                  <a:gd name="connsiteY934" fmla="*/ 477584 h 552450"/>
                  <a:gd name="connsiteX935" fmla="*/ 313277 w 695325"/>
                  <a:gd name="connsiteY935" fmla="*/ 476726 h 552450"/>
                  <a:gd name="connsiteX936" fmla="*/ 313277 w 695325"/>
                  <a:gd name="connsiteY936" fmla="*/ 475964 h 552450"/>
                  <a:gd name="connsiteX937" fmla="*/ 314135 w 695325"/>
                  <a:gd name="connsiteY937" fmla="*/ 475107 h 552450"/>
                  <a:gd name="connsiteX938" fmla="*/ 314135 w 695325"/>
                  <a:gd name="connsiteY938" fmla="*/ 474250 h 552450"/>
                  <a:gd name="connsiteX939" fmla="*/ 315849 w 695325"/>
                  <a:gd name="connsiteY939" fmla="*/ 474250 h 552450"/>
                  <a:gd name="connsiteX940" fmla="*/ 316706 w 695325"/>
                  <a:gd name="connsiteY940" fmla="*/ 474250 h 552450"/>
                  <a:gd name="connsiteX941" fmla="*/ 316706 w 695325"/>
                  <a:gd name="connsiteY941" fmla="*/ 474250 h 552450"/>
                  <a:gd name="connsiteX942" fmla="*/ 317564 w 695325"/>
                  <a:gd name="connsiteY942" fmla="*/ 474250 h 552450"/>
                  <a:gd name="connsiteX943" fmla="*/ 319278 w 695325"/>
                  <a:gd name="connsiteY943" fmla="*/ 473392 h 552450"/>
                  <a:gd name="connsiteX944" fmla="*/ 321755 w 695325"/>
                  <a:gd name="connsiteY944" fmla="*/ 474250 h 552450"/>
                  <a:gd name="connsiteX945" fmla="*/ 323469 w 695325"/>
                  <a:gd name="connsiteY945" fmla="*/ 474250 h 552450"/>
                  <a:gd name="connsiteX946" fmla="*/ 324326 w 695325"/>
                  <a:gd name="connsiteY946" fmla="*/ 473392 h 552450"/>
                  <a:gd name="connsiteX947" fmla="*/ 326041 w 695325"/>
                  <a:gd name="connsiteY947" fmla="*/ 472535 h 552450"/>
                  <a:gd name="connsiteX948" fmla="*/ 326898 w 695325"/>
                  <a:gd name="connsiteY948" fmla="*/ 471678 h 552450"/>
                  <a:gd name="connsiteX949" fmla="*/ 328613 w 695325"/>
                  <a:gd name="connsiteY949" fmla="*/ 471678 h 552450"/>
                  <a:gd name="connsiteX950" fmla="*/ 329375 w 695325"/>
                  <a:gd name="connsiteY950" fmla="*/ 470821 h 552450"/>
                  <a:gd name="connsiteX951" fmla="*/ 331946 w 695325"/>
                  <a:gd name="connsiteY951" fmla="*/ 470821 h 552450"/>
                  <a:gd name="connsiteX952" fmla="*/ 351473 w 695325"/>
                  <a:gd name="connsiteY952" fmla="*/ 461486 h 552450"/>
                  <a:gd name="connsiteX953" fmla="*/ 358331 w 695325"/>
                  <a:gd name="connsiteY953" fmla="*/ 459772 h 552450"/>
                  <a:gd name="connsiteX954" fmla="*/ 367665 w 695325"/>
                  <a:gd name="connsiteY954" fmla="*/ 457200 h 552450"/>
                  <a:gd name="connsiteX955" fmla="*/ 369284 w 695325"/>
                  <a:gd name="connsiteY955" fmla="*/ 455485 h 552450"/>
                  <a:gd name="connsiteX956" fmla="*/ 370142 w 695325"/>
                  <a:gd name="connsiteY956" fmla="*/ 453009 h 552450"/>
                  <a:gd name="connsiteX957" fmla="*/ 370999 w 695325"/>
                  <a:gd name="connsiteY957" fmla="*/ 452152 h 552450"/>
                  <a:gd name="connsiteX958" fmla="*/ 376142 w 695325"/>
                  <a:gd name="connsiteY958" fmla="*/ 447865 h 552450"/>
                  <a:gd name="connsiteX959" fmla="*/ 377000 w 695325"/>
                  <a:gd name="connsiteY959" fmla="*/ 447008 h 552450"/>
                  <a:gd name="connsiteX960" fmla="*/ 379476 w 695325"/>
                  <a:gd name="connsiteY960" fmla="*/ 446151 h 552450"/>
                  <a:gd name="connsiteX961" fmla="*/ 378619 w 695325"/>
                  <a:gd name="connsiteY961" fmla="*/ 447008 h 552450"/>
                  <a:gd name="connsiteX962" fmla="*/ 377857 w 695325"/>
                  <a:gd name="connsiteY962" fmla="*/ 447865 h 552450"/>
                  <a:gd name="connsiteX963" fmla="*/ 377000 w 695325"/>
                  <a:gd name="connsiteY963" fmla="*/ 449580 h 552450"/>
                  <a:gd name="connsiteX964" fmla="*/ 381191 w 695325"/>
                  <a:gd name="connsiteY964" fmla="*/ 448723 h 552450"/>
                  <a:gd name="connsiteX965" fmla="*/ 387191 w 695325"/>
                  <a:gd name="connsiteY965" fmla="*/ 443579 h 552450"/>
                  <a:gd name="connsiteX966" fmla="*/ 392240 w 695325"/>
                  <a:gd name="connsiteY966" fmla="*/ 441960 h 552450"/>
                  <a:gd name="connsiteX967" fmla="*/ 395669 w 695325"/>
                  <a:gd name="connsiteY967" fmla="*/ 439388 h 552450"/>
                  <a:gd name="connsiteX968" fmla="*/ 397383 w 695325"/>
                  <a:gd name="connsiteY968" fmla="*/ 440246 h 552450"/>
                  <a:gd name="connsiteX969" fmla="*/ 399002 w 695325"/>
                  <a:gd name="connsiteY969" fmla="*/ 440246 h 552450"/>
                  <a:gd name="connsiteX970" fmla="*/ 400717 w 695325"/>
                  <a:gd name="connsiteY970" fmla="*/ 439388 h 552450"/>
                  <a:gd name="connsiteX971" fmla="*/ 404146 w 695325"/>
                  <a:gd name="connsiteY971" fmla="*/ 437674 h 552450"/>
                  <a:gd name="connsiteX972" fmla="*/ 405860 w 695325"/>
                  <a:gd name="connsiteY972" fmla="*/ 435959 h 552450"/>
                  <a:gd name="connsiteX973" fmla="*/ 418529 w 695325"/>
                  <a:gd name="connsiteY973" fmla="*/ 428339 h 552450"/>
                  <a:gd name="connsiteX974" fmla="*/ 423672 w 695325"/>
                  <a:gd name="connsiteY974" fmla="*/ 427482 h 552450"/>
                  <a:gd name="connsiteX975" fmla="*/ 426244 w 695325"/>
                  <a:gd name="connsiteY975" fmla="*/ 427482 h 552450"/>
                  <a:gd name="connsiteX976" fmla="*/ 433007 w 695325"/>
                  <a:gd name="connsiteY976" fmla="*/ 423196 h 552450"/>
                  <a:gd name="connsiteX977" fmla="*/ 433864 w 695325"/>
                  <a:gd name="connsiteY977" fmla="*/ 423196 h 552450"/>
                  <a:gd name="connsiteX978" fmla="*/ 434721 w 695325"/>
                  <a:gd name="connsiteY978" fmla="*/ 422338 h 552450"/>
                  <a:gd name="connsiteX979" fmla="*/ 435578 w 695325"/>
                  <a:gd name="connsiteY979" fmla="*/ 421481 h 552450"/>
                  <a:gd name="connsiteX980" fmla="*/ 436436 w 695325"/>
                  <a:gd name="connsiteY980" fmla="*/ 421481 h 552450"/>
                  <a:gd name="connsiteX981" fmla="*/ 437293 w 695325"/>
                  <a:gd name="connsiteY981" fmla="*/ 420719 h 552450"/>
                  <a:gd name="connsiteX982" fmla="*/ 438912 w 695325"/>
                  <a:gd name="connsiteY982" fmla="*/ 419005 h 552450"/>
                  <a:gd name="connsiteX983" fmla="*/ 438912 w 695325"/>
                  <a:gd name="connsiteY983" fmla="*/ 417290 h 552450"/>
                  <a:gd name="connsiteX984" fmla="*/ 437293 w 695325"/>
                  <a:gd name="connsiteY984" fmla="*/ 414718 h 552450"/>
                  <a:gd name="connsiteX985" fmla="*/ 437293 w 695325"/>
                  <a:gd name="connsiteY985" fmla="*/ 413861 h 552450"/>
                  <a:gd name="connsiteX986" fmla="*/ 437293 w 695325"/>
                  <a:gd name="connsiteY986" fmla="*/ 413004 h 552450"/>
                  <a:gd name="connsiteX987" fmla="*/ 438055 w 695325"/>
                  <a:gd name="connsiteY987" fmla="*/ 412147 h 552450"/>
                  <a:gd name="connsiteX988" fmla="*/ 438055 w 695325"/>
                  <a:gd name="connsiteY988" fmla="*/ 411289 h 552450"/>
                  <a:gd name="connsiteX989" fmla="*/ 438055 w 695325"/>
                  <a:gd name="connsiteY989" fmla="*/ 409670 h 552450"/>
                  <a:gd name="connsiteX990" fmla="*/ 438912 w 695325"/>
                  <a:gd name="connsiteY990" fmla="*/ 409670 h 552450"/>
                  <a:gd name="connsiteX991" fmla="*/ 438912 w 695325"/>
                  <a:gd name="connsiteY991" fmla="*/ 408813 h 552450"/>
                  <a:gd name="connsiteX992" fmla="*/ 438912 w 695325"/>
                  <a:gd name="connsiteY992" fmla="*/ 407956 h 552450"/>
                  <a:gd name="connsiteX993" fmla="*/ 438912 w 695325"/>
                  <a:gd name="connsiteY993" fmla="*/ 406241 h 552450"/>
                  <a:gd name="connsiteX994" fmla="*/ 439769 w 695325"/>
                  <a:gd name="connsiteY994" fmla="*/ 405384 h 552450"/>
                  <a:gd name="connsiteX995" fmla="*/ 444056 w 695325"/>
                  <a:gd name="connsiteY995" fmla="*/ 401098 h 552450"/>
                  <a:gd name="connsiteX996" fmla="*/ 444913 w 695325"/>
                  <a:gd name="connsiteY996" fmla="*/ 399383 h 552450"/>
                  <a:gd name="connsiteX997" fmla="*/ 445770 w 695325"/>
                  <a:gd name="connsiteY997" fmla="*/ 396907 h 552450"/>
                  <a:gd name="connsiteX998" fmla="*/ 451675 w 695325"/>
                  <a:gd name="connsiteY998" fmla="*/ 390906 h 552450"/>
                  <a:gd name="connsiteX999" fmla="*/ 454247 w 695325"/>
                  <a:gd name="connsiteY999" fmla="*/ 386715 h 552450"/>
                  <a:gd name="connsiteX1000" fmla="*/ 457581 w 695325"/>
                  <a:gd name="connsiteY1000" fmla="*/ 373094 h 552450"/>
                  <a:gd name="connsiteX1001" fmla="*/ 457581 w 695325"/>
                  <a:gd name="connsiteY1001" fmla="*/ 372237 h 552450"/>
                  <a:gd name="connsiteX1002" fmla="*/ 459296 w 695325"/>
                  <a:gd name="connsiteY1002" fmla="*/ 371380 h 552450"/>
                  <a:gd name="connsiteX1003" fmla="*/ 459296 w 695325"/>
                  <a:gd name="connsiteY1003" fmla="*/ 370522 h 552450"/>
                  <a:gd name="connsiteX1004" fmla="*/ 460153 w 695325"/>
                  <a:gd name="connsiteY1004" fmla="*/ 369665 h 552450"/>
                  <a:gd name="connsiteX1005" fmla="*/ 460153 w 695325"/>
                  <a:gd name="connsiteY1005" fmla="*/ 368808 h 552450"/>
                  <a:gd name="connsiteX1006" fmla="*/ 460153 w 695325"/>
                  <a:gd name="connsiteY1006" fmla="*/ 367951 h 552450"/>
                  <a:gd name="connsiteX1007" fmla="*/ 459296 w 695325"/>
                  <a:gd name="connsiteY1007" fmla="*/ 366236 h 552450"/>
                  <a:gd name="connsiteX1008" fmla="*/ 459296 w 695325"/>
                  <a:gd name="connsiteY1008" fmla="*/ 365474 h 552450"/>
                  <a:gd name="connsiteX1009" fmla="*/ 458438 w 695325"/>
                  <a:gd name="connsiteY1009" fmla="*/ 364617 h 552450"/>
                  <a:gd name="connsiteX1010" fmla="*/ 457581 w 695325"/>
                  <a:gd name="connsiteY1010" fmla="*/ 363760 h 552450"/>
                  <a:gd name="connsiteX1011" fmla="*/ 456819 w 695325"/>
                  <a:gd name="connsiteY1011" fmla="*/ 362045 h 552450"/>
                  <a:gd name="connsiteX1012" fmla="*/ 455962 w 695325"/>
                  <a:gd name="connsiteY1012" fmla="*/ 361188 h 552450"/>
                  <a:gd name="connsiteX1013" fmla="*/ 455105 w 695325"/>
                  <a:gd name="connsiteY1013" fmla="*/ 362045 h 552450"/>
                  <a:gd name="connsiteX1014" fmla="*/ 453390 w 695325"/>
                  <a:gd name="connsiteY1014" fmla="*/ 361188 h 552450"/>
                  <a:gd name="connsiteX1015" fmla="*/ 452533 w 695325"/>
                  <a:gd name="connsiteY1015" fmla="*/ 361188 h 552450"/>
                  <a:gd name="connsiteX1016" fmla="*/ 451675 w 695325"/>
                  <a:gd name="connsiteY1016" fmla="*/ 360331 h 552450"/>
                  <a:gd name="connsiteX1017" fmla="*/ 450818 w 695325"/>
                  <a:gd name="connsiteY1017" fmla="*/ 360331 h 552450"/>
                  <a:gd name="connsiteX1018" fmla="*/ 450818 w 695325"/>
                  <a:gd name="connsiteY1018" fmla="*/ 359473 h 552450"/>
                  <a:gd name="connsiteX1019" fmla="*/ 449104 w 695325"/>
                  <a:gd name="connsiteY1019" fmla="*/ 355187 h 552450"/>
                  <a:gd name="connsiteX1020" fmla="*/ 449104 w 695325"/>
                  <a:gd name="connsiteY1020" fmla="*/ 354425 h 552450"/>
                  <a:gd name="connsiteX1021" fmla="*/ 448247 w 695325"/>
                  <a:gd name="connsiteY1021" fmla="*/ 353568 h 552450"/>
                  <a:gd name="connsiteX1022" fmla="*/ 446627 w 695325"/>
                  <a:gd name="connsiteY1022" fmla="*/ 352711 h 552450"/>
                  <a:gd name="connsiteX1023" fmla="*/ 446627 w 695325"/>
                  <a:gd name="connsiteY1023" fmla="*/ 350996 h 552450"/>
                  <a:gd name="connsiteX1024" fmla="*/ 445770 w 695325"/>
                  <a:gd name="connsiteY1024" fmla="*/ 350139 h 552450"/>
                  <a:gd name="connsiteX1025" fmla="*/ 445770 w 695325"/>
                  <a:gd name="connsiteY1025" fmla="*/ 349282 h 552450"/>
                  <a:gd name="connsiteX1026" fmla="*/ 439769 w 695325"/>
                  <a:gd name="connsiteY1026" fmla="*/ 351853 h 552450"/>
                  <a:gd name="connsiteX1027" fmla="*/ 438055 w 695325"/>
                  <a:gd name="connsiteY1027" fmla="*/ 351853 h 552450"/>
                  <a:gd name="connsiteX1028" fmla="*/ 436436 w 695325"/>
                  <a:gd name="connsiteY1028" fmla="*/ 350996 h 552450"/>
                  <a:gd name="connsiteX1029" fmla="*/ 435578 w 695325"/>
                  <a:gd name="connsiteY1029" fmla="*/ 350139 h 552450"/>
                  <a:gd name="connsiteX1030" fmla="*/ 433007 w 695325"/>
                  <a:gd name="connsiteY1030" fmla="*/ 350139 h 552450"/>
                  <a:gd name="connsiteX1031" fmla="*/ 429578 w 695325"/>
                  <a:gd name="connsiteY1031" fmla="*/ 351853 h 552450"/>
                  <a:gd name="connsiteX1032" fmla="*/ 429578 w 695325"/>
                  <a:gd name="connsiteY1032" fmla="*/ 350996 h 552450"/>
                  <a:gd name="connsiteX1033" fmla="*/ 429578 w 695325"/>
                  <a:gd name="connsiteY1033" fmla="*/ 349282 h 552450"/>
                  <a:gd name="connsiteX1034" fmla="*/ 429578 w 695325"/>
                  <a:gd name="connsiteY1034" fmla="*/ 348425 h 552450"/>
                  <a:gd name="connsiteX1035" fmla="*/ 427863 w 695325"/>
                  <a:gd name="connsiteY1035" fmla="*/ 349282 h 552450"/>
                  <a:gd name="connsiteX1036" fmla="*/ 427863 w 695325"/>
                  <a:gd name="connsiteY1036" fmla="*/ 349282 h 552450"/>
                  <a:gd name="connsiteX1037" fmla="*/ 427101 w 695325"/>
                  <a:gd name="connsiteY1037" fmla="*/ 350139 h 552450"/>
                  <a:gd name="connsiteX1038" fmla="*/ 426244 w 695325"/>
                  <a:gd name="connsiteY1038" fmla="*/ 348425 h 552450"/>
                  <a:gd name="connsiteX1039" fmla="*/ 426244 w 695325"/>
                  <a:gd name="connsiteY1039" fmla="*/ 347567 h 552450"/>
                  <a:gd name="connsiteX1040" fmla="*/ 426244 w 695325"/>
                  <a:gd name="connsiteY1040" fmla="*/ 344138 h 552450"/>
                  <a:gd name="connsiteX1041" fmla="*/ 427101 w 695325"/>
                  <a:gd name="connsiteY1041" fmla="*/ 342519 h 552450"/>
                  <a:gd name="connsiteX1042" fmla="*/ 427863 w 695325"/>
                  <a:gd name="connsiteY1042" fmla="*/ 341662 h 552450"/>
                  <a:gd name="connsiteX1043" fmla="*/ 433864 w 695325"/>
                  <a:gd name="connsiteY1043" fmla="*/ 344996 h 552450"/>
                  <a:gd name="connsiteX1044" fmla="*/ 436436 w 695325"/>
                  <a:gd name="connsiteY1044" fmla="*/ 344996 h 552450"/>
                  <a:gd name="connsiteX1045" fmla="*/ 438912 w 695325"/>
                  <a:gd name="connsiteY1045" fmla="*/ 344138 h 552450"/>
                  <a:gd name="connsiteX1046" fmla="*/ 436436 w 695325"/>
                  <a:gd name="connsiteY1046" fmla="*/ 340805 h 552450"/>
                  <a:gd name="connsiteX1047" fmla="*/ 435578 w 695325"/>
                  <a:gd name="connsiteY1047" fmla="*/ 340805 h 552450"/>
                  <a:gd name="connsiteX1048" fmla="*/ 434721 w 695325"/>
                  <a:gd name="connsiteY1048" fmla="*/ 340805 h 552450"/>
                  <a:gd name="connsiteX1049" fmla="*/ 433864 w 695325"/>
                  <a:gd name="connsiteY1049" fmla="*/ 339947 h 552450"/>
                  <a:gd name="connsiteX1050" fmla="*/ 433007 w 695325"/>
                  <a:gd name="connsiteY1050" fmla="*/ 339947 h 552450"/>
                  <a:gd name="connsiteX1051" fmla="*/ 433007 w 695325"/>
                  <a:gd name="connsiteY1051" fmla="*/ 339090 h 552450"/>
                  <a:gd name="connsiteX1052" fmla="*/ 433864 w 695325"/>
                  <a:gd name="connsiteY1052" fmla="*/ 337375 h 552450"/>
                  <a:gd name="connsiteX1053" fmla="*/ 435578 w 695325"/>
                  <a:gd name="connsiteY1053" fmla="*/ 337375 h 552450"/>
                  <a:gd name="connsiteX1054" fmla="*/ 438055 w 695325"/>
                  <a:gd name="connsiteY1054" fmla="*/ 339090 h 552450"/>
                  <a:gd name="connsiteX1055" fmla="*/ 438912 w 695325"/>
                  <a:gd name="connsiteY1055" fmla="*/ 340805 h 552450"/>
                  <a:gd name="connsiteX1056" fmla="*/ 440626 w 695325"/>
                  <a:gd name="connsiteY1056" fmla="*/ 342519 h 552450"/>
                  <a:gd name="connsiteX1057" fmla="*/ 441484 w 695325"/>
                  <a:gd name="connsiteY1057" fmla="*/ 343376 h 552450"/>
                  <a:gd name="connsiteX1058" fmla="*/ 444913 w 695325"/>
                  <a:gd name="connsiteY1058" fmla="*/ 344138 h 552450"/>
                  <a:gd name="connsiteX1059" fmla="*/ 445770 w 695325"/>
                  <a:gd name="connsiteY1059" fmla="*/ 344138 h 552450"/>
                  <a:gd name="connsiteX1060" fmla="*/ 444913 w 695325"/>
                  <a:gd name="connsiteY1060" fmla="*/ 342519 h 552450"/>
                  <a:gd name="connsiteX1061" fmla="*/ 444913 w 695325"/>
                  <a:gd name="connsiteY1061" fmla="*/ 340805 h 552450"/>
                  <a:gd name="connsiteX1062" fmla="*/ 445770 w 695325"/>
                  <a:gd name="connsiteY1062" fmla="*/ 339090 h 552450"/>
                  <a:gd name="connsiteX1063" fmla="*/ 445770 w 695325"/>
                  <a:gd name="connsiteY1063" fmla="*/ 338233 h 552450"/>
                  <a:gd name="connsiteX1064" fmla="*/ 444056 w 695325"/>
                  <a:gd name="connsiteY1064" fmla="*/ 337375 h 552450"/>
                  <a:gd name="connsiteX1065" fmla="*/ 444913 w 695325"/>
                  <a:gd name="connsiteY1065" fmla="*/ 336518 h 552450"/>
                  <a:gd name="connsiteX1066" fmla="*/ 443198 w 695325"/>
                  <a:gd name="connsiteY1066" fmla="*/ 335661 h 552450"/>
                  <a:gd name="connsiteX1067" fmla="*/ 443198 w 695325"/>
                  <a:gd name="connsiteY1067" fmla="*/ 334804 h 552450"/>
                  <a:gd name="connsiteX1068" fmla="*/ 444056 w 695325"/>
                  <a:gd name="connsiteY1068" fmla="*/ 333946 h 552450"/>
                  <a:gd name="connsiteX1069" fmla="*/ 443198 w 695325"/>
                  <a:gd name="connsiteY1069" fmla="*/ 333946 h 552450"/>
                  <a:gd name="connsiteX1070" fmla="*/ 438912 w 695325"/>
                  <a:gd name="connsiteY1070" fmla="*/ 334804 h 552450"/>
                  <a:gd name="connsiteX1071" fmla="*/ 436436 w 695325"/>
                  <a:gd name="connsiteY1071" fmla="*/ 334804 h 552450"/>
                  <a:gd name="connsiteX1072" fmla="*/ 430435 w 695325"/>
                  <a:gd name="connsiteY1072" fmla="*/ 332327 h 552450"/>
                  <a:gd name="connsiteX1073" fmla="*/ 431292 w 695325"/>
                  <a:gd name="connsiteY1073" fmla="*/ 331470 h 552450"/>
                  <a:gd name="connsiteX1074" fmla="*/ 433007 w 695325"/>
                  <a:gd name="connsiteY1074" fmla="*/ 330613 h 552450"/>
                  <a:gd name="connsiteX1075" fmla="*/ 435578 w 695325"/>
                  <a:gd name="connsiteY1075" fmla="*/ 330613 h 552450"/>
                  <a:gd name="connsiteX1076" fmla="*/ 436436 w 695325"/>
                  <a:gd name="connsiteY1076" fmla="*/ 331470 h 552450"/>
                  <a:gd name="connsiteX1077" fmla="*/ 438055 w 695325"/>
                  <a:gd name="connsiteY1077" fmla="*/ 331470 h 552450"/>
                  <a:gd name="connsiteX1078" fmla="*/ 438055 w 695325"/>
                  <a:gd name="connsiteY1078" fmla="*/ 331470 h 552450"/>
                  <a:gd name="connsiteX1079" fmla="*/ 438912 w 695325"/>
                  <a:gd name="connsiteY1079" fmla="*/ 330613 h 552450"/>
                  <a:gd name="connsiteX1080" fmla="*/ 438912 w 695325"/>
                  <a:gd name="connsiteY1080" fmla="*/ 329755 h 552450"/>
                  <a:gd name="connsiteX1081" fmla="*/ 436436 w 695325"/>
                  <a:gd name="connsiteY1081" fmla="*/ 328041 h 552450"/>
                  <a:gd name="connsiteX1082" fmla="*/ 435578 w 695325"/>
                  <a:gd name="connsiteY1082" fmla="*/ 327184 h 552450"/>
                  <a:gd name="connsiteX1083" fmla="*/ 439769 w 695325"/>
                  <a:gd name="connsiteY1083" fmla="*/ 328898 h 552450"/>
                  <a:gd name="connsiteX1084" fmla="*/ 440626 w 695325"/>
                  <a:gd name="connsiteY1084" fmla="*/ 328041 h 552450"/>
                  <a:gd name="connsiteX1085" fmla="*/ 441484 w 695325"/>
                  <a:gd name="connsiteY1085" fmla="*/ 327184 h 552450"/>
                  <a:gd name="connsiteX1086" fmla="*/ 439769 w 695325"/>
                  <a:gd name="connsiteY1086" fmla="*/ 325469 h 552450"/>
                  <a:gd name="connsiteX1087" fmla="*/ 438055 w 695325"/>
                  <a:gd name="connsiteY1087" fmla="*/ 323755 h 552450"/>
                  <a:gd name="connsiteX1088" fmla="*/ 439769 w 695325"/>
                  <a:gd name="connsiteY1088" fmla="*/ 323755 h 552450"/>
                  <a:gd name="connsiteX1089" fmla="*/ 442341 w 695325"/>
                  <a:gd name="connsiteY1089" fmla="*/ 324612 h 552450"/>
                  <a:gd name="connsiteX1090" fmla="*/ 444056 w 695325"/>
                  <a:gd name="connsiteY1090" fmla="*/ 325469 h 552450"/>
                  <a:gd name="connsiteX1091" fmla="*/ 444913 w 695325"/>
                  <a:gd name="connsiteY1091" fmla="*/ 327184 h 552450"/>
                  <a:gd name="connsiteX1092" fmla="*/ 444913 w 695325"/>
                  <a:gd name="connsiteY1092" fmla="*/ 328041 h 552450"/>
                  <a:gd name="connsiteX1093" fmla="*/ 446627 w 695325"/>
                  <a:gd name="connsiteY1093" fmla="*/ 328041 h 552450"/>
                  <a:gd name="connsiteX1094" fmla="*/ 447389 w 695325"/>
                  <a:gd name="connsiteY1094" fmla="*/ 327184 h 552450"/>
                  <a:gd name="connsiteX1095" fmla="*/ 447389 w 695325"/>
                  <a:gd name="connsiteY1095" fmla="*/ 326326 h 552450"/>
                  <a:gd name="connsiteX1096" fmla="*/ 448247 w 695325"/>
                  <a:gd name="connsiteY1096" fmla="*/ 325469 h 552450"/>
                  <a:gd name="connsiteX1097" fmla="*/ 448247 w 695325"/>
                  <a:gd name="connsiteY1097" fmla="*/ 324612 h 552450"/>
                  <a:gd name="connsiteX1098" fmla="*/ 449104 w 695325"/>
                  <a:gd name="connsiteY1098" fmla="*/ 323755 h 552450"/>
                  <a:gd name="connsiteX1099" fmla="*/ 449961 w 695325"/>
                  <a:gd name="connsiteY1099" fmla="*/ 325469 h 552450"/>
                  <a:gd name="connsiteX1100" fmla="*/ 450818 w 695325"/>
                  <a:gd name="connsiteY1100" fmla="*/ 325469 h 552450"/>
                  <a:gd name="connsiteX1101" fmla="*/ 450818 w 695325"/>
                  <a:gd name="connsiteY1101" fmla="*/ 323755 h 552450"/>
                  <a:gd name="connsiteX1102" fmla="*/ 451675 w 695325"/>
                  <a:gd name="connsiteY1102" fmla="*/ 323755 h 552450"/>
                  <a:gd name="connsiteX1103" fmla="*/ 453390 w 695325"/>
                  <a:gd name="connsiteY1103" fmla="*/ 323755 h 552450"/>
                  <a:gd name="connsiteX1104" fmla="*/ 455105 w 695325"/>
                  <a:gd name="connsiteY1104" fmla="*/ 323755 h 552450"/>
                  <a:gd name="connsiteX1105" fmla="*/ 455962 w 695325"/>
                  <a:gd name="connsiteY1105" fmla="*/ 323755 h 552450"/>
                  <a:gd name="connsiteX1106" fmla="*/ 457581 w 695325"/>
                  <a:gd name="connsiteY1106" fmla="*/ 322040 h 552450"/>
                  <a:gd name="connsiteX1107" fmla="*/ 457581 w 695325"/>
                  <a:gd name="connsiteY1107" fmla="*/ 321278 h 552450"/>
                  <a:gd name="connsiteX1108" fmla="*/ 458438 w 695325"/>
                  <a:gd name="connsiteY1108" fmla="*/ 319564 h 552450"/>
                  <a:gd name="connsiteX1109" fmla="*/ 459296 w 695325"/>
                  <a:gd name="connsiteY1109" fmla="*/ 318706 h 552450"/>
                  <a:gd name="connsiteX1110" fmla="*/ 459296 w 695325"/>
                  <a:gd name="connsiteY1110" fmla="*/ 318706 h 552450"/>
                  <a:gd name="connsiteX1111" fmla="*/ 460153 w 695325"/>
                  <a:gd name="connsiteY1111" fmla="*/ 317849 h 552450"/>
                  <a:gd name="connsiteX1112" fmla="*/ 461010 w 695325"/>
                  <a:gd name="connsiteY1112" fmla="*/ 315277 h 552450"/>
                  <a:gd name="connsiteX1113" fmla="*/ 461867 w 695325"/>
                  <a:gd name="connsiteY1113" fmla="*/ 303371 h 552450"/>
                  <a:gd name="connsiteX1114" fmla="*/ 461010 w 695325"/>
                  <a:gd name="connsiteY1114" fmla="*/ 297466 h 552450"/>
                  <a:gd name="connsiteX1115" fmla="*/ 456819 w 695325"/>
                  <a:gd name="connsiteY1115" fmla="*/ 298323 h 552450"/>
                  <a:gd name="connsiteX1116" fmla="*/ 453390 w 695325"/>
                  <a:gd name="connsiteY1116" fmla="*/ 296609 h 552450"/>
                  <a:gd name="connsiteX1117" fmla="*/ 453390 w 695325"/>
                  <a:gd name="connsiteY1117" fmla="*/ 295751 h 552450"/>
                  <a:gd name="connsiteX1118" fmla="*/ 453390 w 695325"/>
                  <a:gd name="connsiteY1118" fmla="*/ 294894 h 552450"/>
                  <a:gd name="connsiteX1119" fmla="*/ 454247 w 695325"/>
                  <a:gd name="connsiteY1119" fmla="*/ 293180 h 552450"/>
                  <a:gd name="connsiteX1120" fmla="*/ 454247 w 695325"/>
                  <a:gd name="connsiteY1120" fmla="*/ 292322 h 552450"/>
                  <a:gd name="connsiteX1121" fmla="*/ 453390 w 695325"/>
                  <a:gd name="connsiteY1121" fmla="*/ 290608 h 552450"/>
                  <a:gd name="connsiteX1122" fmla="*/ 449961 w 695325"/>
                  <a:gd name="connsiteY1122" fmla="*/ 294037 h 552450"/>
                  <a:gd name="connsiteX1123" fmla="*/ 448247 w 695325"/>
                  <a:gd name="connsiteY1123" fmla="*/ 294894 h 552450"/>
                  <a:gd name="connsiteX1124" fmla="*/ 445770 w 695325"/>
                  <a:gd name="connsiteY1124" fmla="*/ 294037 h 552450"/>
                  <a:gd name="connsiteX1125" fmla="*/ 443198 w 695325"/>
                  <a:gd name="connsiteY1125" fmla="*/ 292322 h 552450"/>
                  <a:gd name="connsiteX1126" fmla="*/ 444913 w 695325"/>
                  <a:gd name="connsiteY1126" fmla="*/ 291465 h 552450"/>
                  <a:gd name="connsiteX1127" fmla="*/ 449961 w 695325"/>
                  <a:gd name="connsiteY1127" fmla="*/ 292322 h 552450"/>
                  <a:gd name="connsiteX1128" fmla="*/ 449104 w 695325"/>
                  <a:gd name="connsiteY1128" fmla="*/ 290608 h 552450"/>
                  <a:gd name="connsiteX1129" fmla="*/ 449961 w 695325"/>
                  <a:gd name="connsiteY1129" fmla="*/ 288893 h 552450"/>
                  <a:gd name="connsiteX1130" fmla="*/ 451675 w 695325"/>
                  <a:gd name="connsiteY1130" fmla="*/ 288893 h 552450"/>
                  <a:gd name="connsiteX1131" fmla="*/ 453390 w 695325"/>
                  <a:gd name="connsiteY1131" fmla="*/ 288893 h 552450"/>
                  <a:gd name="connsiteX1132" fmla="*/ 456819 w 695325"/>
                  <a:gd name="connsiteY1132" fmla="*/ 289750 h 552450"/>
                  <a:gd name="connsiteX1133" fmla="*/ 456819 w 695325"/>
                  <a:gd name="connsiteY1133" fmla="*/ 290608 h 552450"/>
                  <a:gd name="connsiteX1134" fmla="*/ 455962 w 695325"/>
                  <a:gd name="connsiteY1134" fmla="*/ 292322 h 552450"/>
                  <a:gd name="connsiteX1135" fmla="*/ 457581 w 695325"/>
                  <a:gd name="connsiteY1135" fmla="*/ 294037 h 552450"/>
                  <a:gd name="connsiteX1136" fmla="*/ 459296 w 695325"/>
                  <a:gd name="connsiteY1136" fmla="*/ 294037 h 552450"/>
                  <a:gd name="connsiteX1137" fmla="*/ 461010 w 695325"/>
                  <a:gd name="connsiteY1137" fmla="*/ 294037 h 552450"/>
                  <a:gd name="connsiteX1138" fmla="*/ 463582 w 695325"/>
                  <a:gd name="connsiteY1138" fmla="*/ 294037 h 552450"/>
                  <a:gd name="connsiteX1139" fmla="*/ 464439 w 695325"/>
                  <a:gd name="connsiteY1139" fmla="*/ 291465 h 552450"/>
                  <a:gd name="connsiteX1140" fmla="*/ 464439 w 695325"/>
                  <a:gd name="connsiteY1140" fmla="*/ 288893 h 552450"/>
                  <a:gd name="connsiteX1141" fmla="*/ 466154 w 695325"/>
                  <a:gd name="connsiteY1141" fmla="*/ 286417 h 552450"/>
                  <a:gd name="connsiteX1142" fmla="*/ 466916 w 695325"/>
                  <a:gd name="connsiteY1142" fmla="*/ 283845 h 552450"/>
                  <a:gd name="connsiteX1143" fmla="*/ 467773 w 695325"/>
                  <a:gd name="connsiteY1143" fmla="*/ 282988 h 552450"/>
                  <a:gd name="connsiteX1144" fmla="*/ 471202 w 695325"/>
                  <a:gd name="connsiteY1144" fmla="*/ 281273 h 552450"/>
                  <a:gd name="connsiteX1145" fmla="*/ 472059 w 695325"/>
                  <a:gd name="connsiteY1145" fmla="*/ 282988 h 552450"/>
                  <a:gd name="connsiteX1146" fmla="*/ 472059 w 695325"/>
                  <a:gd name="connsiteY1146" fmla="*/ 285559 h 552450"/>
                  <a:gd name="connsiteX1147" fmla="*/ 470345 w 695325"/>
                  <a:gd name="connsiteY1147" fmla="*/ 286417 h 552450"/>
                  <a:gd name="connsiteX1148" fmla="*/ 469487 w 695325"/>
                  <a:gd name="connsiteY1148" fmla="*/ 288131 h 552450"/>
                  <a:gd name="connsiteX1149" fmla="*/ 469487 w 695325"/>
                  <a:gd name="connsiteY1149" fmla="*/ 290608 h 552450"/>
                  <a:gd name="connsiteX1150" fmla="*/ 469487 w 695325"/>
                  <a:gd name="connsiteY1150" fmla="*/ 293180 h 552450"/>
                  <a:gd name="connsiteX1151" fmla="*/ 470345 w 695325"/>
                  <a:gd name="connsiteY1151" fmla="*/ 294894 h 552450"/>
                  <a:gd name="connsiteX1152" fmla="*/ 472916 w 695325"/>
                  <a:gd name="connsiteY1152" fmla="*/ 295751 h 552450"/>
                  <a:gd name="connsiteX1153" fmla="*/ 474631 w 695325"/>
                  <a:gd name="connsiteY1153" fmla="*/ 294894 h 552450"/>
                  <a:gd name="connsiteX1154" fmla="*/ 477107 w 695325"/>
                  <a:gd name="connsiteY1154" fmla="*/ 293180 h 552450"/>
                  <a:gd name="connsiteX1155" fmla="*/ 477965 w 695325"/>
                  <a:gd name="connsiteY1155" fmla="*/ 294037 h 552450"/>
                  <a:gd name="connsiteX1156" fmla="*/ 478822 w 695325"/>
                  <a:gd name="connsiteY1156" fmla="*/ 294894 h 552450"/>
                  <a:gd name="connsiteX1157" fmla="*/ 477107 w 695325"/>
                  <a:gd name="connsiteY1157" fmla="*/ 295751 h 552450"/>
                  <a:gd name="connsiteX1158" fmla="*/ 477965 w 695325"/>
                  <a:gd name="connsiteY1158" fmla="*/ 296609 h 552450"/>
                  <a:gd name="connsiteX1159" fmla="*/ 478822 w 695325"/>
                  <a:gd name="connsiteY1159" fmla="*/ 297466 h 552450"/>
                  <a:gd name="connsiteX1160" fmla="*/ 479679 w 695325"/>
                  <a:gd name="connsiteY1160" fmla="*/ 297466 h 552450"/>
                  <a:gd name="connsiteX1161" fmla="*/ 483108 w 695325"/>
                  <a:gd name="connsiteY1161" fmla="*/ 296609 h 552450"/>
                  <a:gd name="connsiteX1162" fmla="*/ 484823 w 695325"/>
                  <a:gd name="connsiteY1162" fmla="*/ 294894 h 552450"/>
                  <a:gd name="connsiteX1163" fmla="*/ 488156 w 695325"/>
                  <a:gd name="connsiteY1163" fmla="*/ 291465 h 552450"/>
                  <a:gd name="connsiteX1164" fmla="*/ 490728 w 695325"/>
                  <a:gd name="connsiteY1164" fmla="*/ 290608 h 552450"/>
                  <a:gd name="connsiteX1165" fmla="*/ 493300 w 695325"/>
                  <a:gd name="connsiteY1165" fmla="*/ 290608 h 552450"/>
                  <a:gd name="connsiteX1166" fmla="*/ 494157 w 695325"/>
                  <a:gd name="connsiteY1166" fmla="*/ 291465 h 552450"/>
                  <a:gd name="connsiteX1167" fmla="*/ 495872 w 695325"/>
                  <a:gd name="connsiteY1167" fmla="*/ 292322 h 552450"/>
                  <a:gd name="connsiteX1168" fmla="*/ 497491 w 695325"/>
                  <a:gd name="connsiteY1168" fmla="*/ 292322 h 552450"/>
                  <a:gd name="connsiteX1169" fmla="*/ 498348 w 695325"/>
                  <a:gd name="connsiteY1169" fmla="*/ 292322 h 552450"/>
                  <a:gd name="connsiteX1170" fmla="*/ 500063 w 695325"/>
                  <a:gd name="connsiteY1170" fmla="*/ 292322 h 552450"/>
                  <a:gd name="connsiteX1171" fmla="*/ 507683 w 695325"/>
                  <a:gd name="connsiteY1171" fmla="*/ 295751 h 552450"/>
                  <a:gd name="connsiteX1172" fmla="*/ 511112 w 695325"/>
                  <a:gd name="connsiteY1172" fmla="*/ 295751 h 552450"/>
                  <a:gd name="connsiteX1173" fmla="*/ 513683 w 695325"/>
                  <a:gd name="connsiteY1173" fmla="*/ 294037 h 552450"/>
                  <a:gd name="connsiteX1174" fmla="*/ 515398 w 695325"/>
                  <a:gd name="connsiteY1174" fmla="*/ 293180 h 552450"/>
                  <a:gd name="connsiteX1175" fmla="*/ 517874 w 695325"/>
                  <a:gd name="connsiteY1175" fmla="*/ 292322 h 552450"/>
                  <a:gd name="connsiteX1176" fmla="*/ 519589 w 695325"/>
                  <a:gd name="connsiteY1176" fmla="*/ 292322 h 552450"/>
                  <a:gd name="connsiteX1177" fmla="*/ 521303 w 695325"/>
                  <a:gd name="connsiteY1177" fmla="*/ 293180 h 552450"/>
                  <a:gd name="connsiteX1178" fmla="*/ 523018 w 695325"/>
                  <a:gd name="connsiteY1178" fmla="*/ 294037 h 552450"/>
                  <a:gd name="connsiteX1179" fmla="*/ 525590 w 695325"/>
                  <a:gd name="connsiteY1179" fmla="*/ 294037 h 552450"/>
                  <a:gd name="connsiteX1180" fmla="*/ 526352 w 695325"/>
                  <a:gd name="connsiteY1180" fmla="*/ 293180 h 552450"/>
                  <a:gd name="connsiteX1181" fmla="*/ 527209 w 695325"/>
                  <a:gd name="connsiteY1181" fmla="*/ 291465 h 552450"/>
                  <a:gd name="connsiteX1182" fmla="*/ 528923 w 695325"/>
                  <a:gd name="connsiteY1182" fmla="*/ 292322 h 552450"/>
                  <a:gd name="connsiteX1183" fmla="*/ 528923 w 695325"/>
                  <a:gd name="connsiteY1183" fmla="*/ 294894 h 552450"/>
                  <a:gd name="connsiteX1184" fmla="*/ 528923 w 695325"/>
                  <a:gd name="connsiteY1184" fmla="*/ 296609 h 552450"/>
                  <a:gd name="connsiteX1185" fmla="*/ 528066 w 695325"/>
                  <a:gd name="connsiteY1185" fmla="*/ 298323 h 552450"/>
                  <a:gd name="connsiteX1186" fmla="*/ 526352 w 695325"/>
                  <a:gd name="connsiteY1186" fmla="*/ 299942 h 552450"/>
                  <a:gd name="connsiteX1187" fmla="*/ 524732 w 695325"/>
                  <a:gd name="connsiteY1187" fmla="*/ 299180 h 552450"/>
                  <a:gd name="connsiteX1188" fmla="*/ 523018 w 695325"/>
                  <a:gd name="connsiteY1188" fmla="*/ 297466 h 552450"/>
                  <a:gd name="connsiteX1189" fmla="*/ 520446 w 695325"/>
                  <a:gd name="connsiteY1189" fmla="*/ 296609 h 552450"/>
                  <a:gd name="connsiteX1190" fmla="*/ 517017 w 695325"/>
                  <a:gd name="connsiteY1190" fmla="*/ 297466 h 552450"/>
                  <a:gd name="connsiteX1191" fmla="*/ 514541 w 695325"/>
                  <a:gd name="connsiteY1191" fmla="*/ 299180 h 552450"/>
                  <a:gd name="connsiteX1192" fmla="*/ 509397 w 695325"/>
                  <a:gd name="connsiteY1192" fmla="*/ 305943 h 552450"/>
                  <a:gd name="connsiteX1193" fmla="*/ 507683 w 695325"/>
                  <a:gd name="connsiteY1193" fmla="*/ 304228 h 552450"/>
                  <a:gd name="connsiteX1194" fmla="*/ 506825 w 695325"/>
                  <a:gd name="connsiteY1194" fmla="*/ 303371 h 552450"/>
                  <a:gd name="connsiteX1195" fmla="*/ 505206 w 695325"/>
                  <a:gd name="connsiteY1195" fmla="*/ 303371 h 552450"/>
                  <a:gd name="connsiteX1196" fmla="*/ 504349 w 695325"/>
                  <a:gd name="connsiteY1196" fmla="*/ 303371 h 552450"/>
                  <a:gd name="connsiteX1197" fmla="*/ 503492 w 695325"/>
                  <a:gd name="connsiteY1197" fmla="*/ 303371 h 552450"/>
                  <a:gd name="connsiteX1198" fmla="*/ 502634 w 695325"/>
                  <a:gd name="connsiteY1198" fmla="*/ 303371 h 552450"/>
                  <a:gd name="connsiteX1199" fmla="*/ 500920 w 695325"/>
                  <a:gd name="connsiteY1199" fmla="*/ 302514 h 552450"/>
                  <a:gd name="connsiteX1200" fmla="*/ 499205 w 695325"/>
                  <a:gd name="connsiteY1200" fmla="*/ 300800 h 552450"/>
                  <a:gd name="connsiteX1201" fmla="*/ 497491 w 695325"/>
                  <a:gd name="connsiteY1201" fmla="*/ 299942 h 552450"/>
                  <a:gd name="connsiteX1202" fmla="*/ 495014 w 695325"/>
                  <a:gd name="connsiteY1202" fmla="*/ 299942 h 552450"/>
                  <a:gd name="connsiteX1203" fmla="*/ 492443 w 695325"/>
                  <a:gd name="connsiteY1203" fmla="*/ 300800 h 552450"/>
                  <a:gd name="connsiteX1204" fmla="*/ 490728 w 695325"/>
                  <a:gd name="connsiteY1204" fmla="*/ 301657 h 552450"/>
                  <a:gd name="connsiteX1205" fmla="*/ 489014 w 695325"/>
                  <a:gd name="connsiteY1205" fmla="*/ 304228 h 552450"/>
                  <a:gd name="connsiteX1206" fmla="*/ 487299 w 695325"/>
                  <a:gd name="connsiteY1206" fmla="*/ 306800 h 552450"/>
                  <a:gd name="connsiteX1207" fmla="*/ 486537 w 695325"/>
                  <a:gd name="connsiteY1207" fmla="*/ 308515 h 552450"/>
                  <a:gd name="connsiteX1208" fmla="*/ 486537 w 695325"/>
                  <a:gd name="connsiteY1208" fmla="*/ 310991 h 552450"/>
                  <a:gd name="connsiteX1209" fmla="*/ 485680 w 695325"/>
                  <a:gd name="connsiteY1209" fmla="*/ 311848 h 552450"/>
                  <a:gd name="connsiteX1210" fmla="*/ 484823 w 695325"/>
                  <a:gd name="connsiteY1210" fmla="*/ 314420 h 552450"/>
                  <a:gd name="connsiteX1211" fmla="*/ 484823 w 695325"/>
                  <a:gd name="connsiteY1211" fmla="*/ 316135 h 552450"/>
                  <a:gd name="connsiteX1212" fmla="*/ 484823 w 695325"/>
                  <a:gd name="connsiteY1212" fmla="*/ 316992 h 552450"/>
                  <a:gd name="connsiteX1213" fmla="*/ 484823 w 695325"/>
                  <a:gd name="connsiteY1213" fmla="*/ 318706 h 552450"/>
                  <a:gd name="connsiteX1214" fmla="*/ 484823 w 695325"/>
                  <a:gd name="connsiteY1214" fmla="*/ 321278 h 552450"/>
                  <a:gd name="connsiteX1215" fmla="*/ 483108 w 695325"/>
                  <a:gd name="connsiteY1215" fmla="*/ 325469 h 552450"/>
                  <a:gd name="connsiteX1216" fmla="*/ 483108 w 695325"/>
                  <a:gd name="connsiteY1216" fmla="*/ 328041 h 552450"/>
                  <a:gd name="connsiteX1217" fmla="*/ 483108 w 695325"/>
                  <a:gd name="connsiteY1217" fmla="*/ 329755 h 552450"/>
                  <a:gd name="connsiteX1218" fmla="*/ 486537 w 695325"/>
                  <a:gd name="connsiteY1218" fmla="*/ 334804 h 552450"/>
                  <a:gd name="connsiteX1219" fmla="*/ 487299 w 695325"/>
                  <a:gd name="connsiteY1219" fmla="*/ 335661 h 552450"/>
                  <a:gd name="connsiteX1220" fmla="*/ 489014 w 695325"/>
                  <a:gd name="connsiteY1220" fmla="*/ 334804 h 552450"/>
                  <a:gd name="connsiteX1221" fmla="*/ 491585 w 695325"/>
                  <a:gd name="connsiteY1221" fmla="*/ 333089 h 552450"/>
                  <a:gd name="connsiteX1222" fmla="*/ 494157 w 695325"/>
                  <a:gd name="connsiteY1222" fmla="*/ 331470 h 552450"/>
                  <a:gd name="connsiteX1223" fmla="*/ 495014 w 695325"/>
                  <a:gd name="connsiteY1223" fmla="*/ 330613 h 552450"/>
                  <a:gd name="connsiteX1224" fmla="*/ 495872 w 695325"/>
                  <a:gd name="connsiteY1224" fmla="*/ 328898 h 552450"/>
                  <a:gd name="connsiteX1225" fmla="*/ 503492 w 695325"/>
                  <a:gd name="connsiteY1225" fmla="*/ 328041 h 552450"/>
                  <a:gd name="connsiteX1226" fmla="*/ 504349 w 695325"/>
                  <a:gd name="connsiteY1226" fmla="*/ 328041 h 552450"/>
                  <a:gd name="connsiteX1227" fmla="*/ 504349 w 695325"/>
                  <a:gd name="connsiteY1227" fmla="*/ 327184 h 552450"/>
                  <a:gd name="connsiteX1228" fmla="*/ 504349 w 695325"/>
                  <a:gd name="connsiteY1228" fmla="*/ 326326 h 552450"/>
                  <a:gd name="connsiteX1229" fmla="*/ 505206 w 695325"/>
                  <a:gd name="connsiteY1229" fmla="*/ 325469 h 552450"/>
                  <a:gd name="connsiteX1230" fmla="*/ 506063 w 695325"/>
                  <a:gd name="connsiteY1230" fmla="*/ 325469 h 552450"/>
                  <a:gd name="connsiteX1231" fmla="*/ 506825 w 695325"/>
                  <a:gd name="connsiteY1231" fmla="*/ 325469 h 552450"/>
                  <a:gd name="connsiteX1232" fmla="*/ 507683 w 695325"/>
                  <a:gd name="connsiteY1232" fmla="*/ 325469 h 552450"/>
                  <a:gd name="connsiteX1233" fmla="*/ 508540 w 695325"/>
                  <a:gd name="connsiteY1233" fmla="*/ 325469 h 552450"/>
                  <a:gd name="connsiteX1234" fmla="*/ 508540 w 695325"/>
                  <a:gd name="connsiteY1234" fmla="*/ 326326 h 552450"/>
                  <a:gd name="connsiteX1235" fmla="*/ 506063 w 695325"/>
                  <a:gd name="connsiteY1235" fmla="*/ 327184 h 552450"/>
                  <a:gd name="connsiteX1236" fmla="*/ 505206 w 695325"/>
                  <a:gd name="connsiteY1236" fmla="*/ 328898 h 552450"/>
                  <a:gd name="connsiteX1237" fmla="*/ 505206 w 695325"/>
                  <a:gd name="connsiteY1237" fmla="*/ 331470 h 552450"/>
                  <a:gd name="connsiteX1238" fmla="*/ 503492 w 695325"/>
                  <a:gd name="connsiteY1238" fmla="*/ 332327 h 552450"/>
                  <a:gd name="connsiteX1239" fmla="*/ 499205 w 695325"/>
                  <a:gd name="connsiteY1239" fmla="*/ 332327 h 552450"/>
                  <a:gd name="connsiteX1240" fmla="*/ 497491 w 695325"/>
                  <a:gd name="connsiteY1240" fmla="*/ 332327 h 552450"/>
                  <a:gd name="connsiteX1241" fmla="*/ 495872 w 695325"/>
                  <a:gd name="connsiteY1241" fmla="*/ 333946 h 552450"/>
                  <a:gd name="connsiteX1242" fmla="*/ 493300 w 695325"/>
                  <a:gd name="connsiteY1242" fmla="*/ 339090 h 552450"/>
                  <a:gd name="connsiteX1243" fmla="*/ 491585 w 695325"/>
                  <a:gd name="connsiteY1243" fmla="*/ 341662 h 552450"/>
                  <a:gd name="connsiteX1244" fmla="*/ 489871 w 695325"/>
                  <a:gd name="connsiteY1244" fmla="*/ 343376 h 552450"/>
                  <a:gd name="connsiteX1245" fmla="*/ 489014 w 695325"/>
                  <a:gd name="connsiteY1245" fmla="*/ 344138 h 552450"/>
                  <a:gd name="connsiteX1246" fmla="*/ 488156 w 695325"/>
                  <a:gd name="connsiteY1246" fmla="*/ 351853 h 552450"/>
                  <a:gd name="connsiteX1247" fmla="*/ 488156 w 695325"/>
                  <a:gd name="connsiteY1247" fmla="*/ 354425 h 552450"/>
                  <a:gd name="connsiteX1248" fmla="*/ 485680 w 695325"/>
                  <a:gd name="connsiteY1248" fmla="*/ 358616 h 552450"/>
                  <a:gd name="connsiteX1249" fmla="*/ 485680 w 695325"/>
                  <a:gd name="connsiteY1249" fmla="*/ 361188 h 552450"/>
                  <a:gd name="connsiteX1250" fmla="*/ 486537 w 695325"/>
                  <a:gd name="connsiteY1250" fmla="*/ 363760 h 552450"/>
                  <a:gd name="connsiteX1251" fmla="*/ 488156 w 695325"/>
                  <a:gd name="connsiteY1251" fmla="*/ 364617 h 552450"/>
                  <a:gd name="connsiteX1252" fmla="*/ 489871 w 695325"/>
                  <a:gd name="connsiteY1252" fmla="*/ 363760 h 552450"/>
                  <a:gd name="connsiteX1253" fmla="*/ 495014 w 695325"/>
                  <a:gd name="connsiteY1253" fmla="*/ 362045 h 552450"/>
                  <a:gd name="connsiteX1254" fmla="*/ 497491 w 695325"/>
                  <a:gd name="connsiteY1254" fmla="*/ 362045 h 552450"/>
                  <a:gd name="connsiteX1255" fmla="*/ 499205 w 695325"/>
                  <a:gd name="connsiteY1255" fmla="*/ 362902 h 552450"/>
                  <a:gd name="connsiteX1256" fmla="*/ 501777 w 695325"/>
                  <a:gd name="connsiteY1256" fmla="*/ 362902 h 552450"/>
                  <a:gd name="connsiteX1257" fmla="*/ 508540 w 695325"/>
                  <a:gd name="connsiteY1257" fmla="*/ 362045 h 552450"/>
                  <a:gd name="connsiteX1258" fmla="*/ 510254 w 695325"/>
                  <a:gd name="connsiteY1258" fmla="*/ 362045 h 552450"/>
                  <a:gd name="connsiteX1259" fmla="*/ 515398 w 695325"/>
                  <a:gd name="connsiteY1259" fmla="*/ 363760 h 552450"/>
                  <a:gd name="connsiteX1260" fmla="*/ 517874 w 695325"/>
                  <a:gd name="connsiteY1260" fmla="*/ 363760 h 552450"/>
                  <a:gd name="connsiteX1261" fmla="*/ 519589 w 695325"/>
                  <a:gd name="connsiteY1261" fmla="*/ 362045 h 552450"/>
                  <a:gd name="connsiteX1262" fmla="*/ 522161 w 695325"/>
                  <a:gd name="connsiteY1262" fmla="*/ 361188 h 552450"/>
                  <a:gd name="connsiteX1263" fmla="*/ 524732 w 695325"/>
                  <a:gd name="connsiteY1263" fmla="*/ 361188 h 552450"/>
                  <a:gd name="connsiteX1264" fmla="*/ 529781 w 695325"/>
                  <a:gd name="connsiteY1264" fmla="*/ 362045 h 552450"/>
                  <a:gd name="connsiteX1265" fmla="*/ 532352 w 695325"/>
                  <a:gd name="connsiteY1265" fmla="*/ 362045 h 552450"/>
                  <a:gd name="connsiteX1266" fmla="*/ 536543 w 695325"/>
                  <a:gd name="connsiteY1266" fmla="*/ 359473 h 552450"/>
                  <a:gd name="connsiteX1267" fmla="*/ 539115 w 695325"/>
                  <a:gd name="connsiteY1267" fmla="*/ 359473 h 552450"/>
                  <a:gd name="connsiteX1268" fmla="*/ 539972 w 695325"/>
                  <a:gd name="connsiteY1268" fmla="*/ 358616 h 552450"/>
                  <a:gd name="connsiteX1269" fmla="*/ 542544 w 695325"/>
                  <a:gd name="connsiteY1269" fmla="*/ 356902 h 552450"/>
                  <a:gd name="connsiteX1270" fmla="*/ 542544 w 695325"/>
                  <a:gd name="connsiteY1270" fmla="*/ 356902 h 552450"/>
                  <a:gd name="connsiteX1271" fmla="*/ 546735 w 695325"/>
                  <a:gd name="connsiteY1271" fmla="*/ 355187 h 552450"/>
                  <a:gd name="connsiteX1272" fmla="*/ 551021 w 695325"/>
                  <a:gd name="connsiteY1272" fmla="*/ 352711 h 552450"/>
                  <a:gd name="connsiteX1273" fmla="*/ 551879 w 695325"/>
                  <a:gd name="connsiteY1273" fmla="*/ 352711 h 552450"/>
                  <a:gd name="connsiteX1274" fmla="*/ 551879 w 695325"/>
                  <a:gd name="connsiteY1274" fmla="*/ 353568 h 552450"/>
                  <a:gd name="connsiteX1275" fmla="*/ 551879 w 695325"/>
                  <a:gd name="connsiteY1275" fmla="*/ 355187 h 552450"/>
                  <a:gd name="connsiteX1276" fmla="*/ 551021 w 695325"/>
                  <a:gd name="connsiteY1276" fmla="*/ 356044 h 552450"/>
                  <a:gd name="connsiteX1277" fmla="*/ 549307 w 695325"/>
                  <a:gd name="connsiteY1277" fmla="*/ 356902 h 552450"/>
                  <a:gd name="connsiteX1278" fmla="*/ 546735 w 695325"/>
                  <a:gd name="connsiteY1278" fmla="*/ 356902 h 552450"/>
                  <a:gd name="connsiteX1279" fmla="*/ 539972 w 695325"/>
                  <a:gd name="connsiteY1279" fmla="*/ 361188 h 552450"/>
                  <a:gd name="connsiteX1280" fmla="*/ 534067 w 695325"/>
                  <a:gd name="connsiteY1280" fmla="*/ 362902 h 552450"/>
                  <a:gd name="connsiteX1281" fmla="*/ 530638 w 695325"/>
                  <a:gd name="connsiteY1281" fmla="*/ 365474 h 552450"/>
                  <a:gd name="connsiteX1282" fmla="*/ 525590 w 695325"/>
                  <a:gd name="connsiteY1282" fmla="*/ 367951 h 552450"/>
                  <a:gd name="connsiteX1283" fmla="*/ 523875 w 695325"/>
                  <a:gd name="connsiteY1283" fmla="*/ 367951 h 552450"/>
                  <a:gd name="connsiteX1284" fmla="*/ 522161 w 695325"/>
                  <a:gd name="connsiteY1284" fmla="*/ 367951 h 552450"/>
                  <a:gd name="connsiteX1285" fmla="*/ 519589 w 695325"/>
                  <a:gd name="connsiteY1285" fmla="*/ 367093 h 552450"/>
                  <a:gd name="connsiteX1286" fmla="*/ 517874 w 695325"/>
                  <a:gd name="connsiteY1286" fmla="*/ 367093 h 552450"/>
                  <a:gd name="connsiteX1287" fmla="*/ 517017 w 695325"/>
                  <a:gd name="connsiteY1287" fmla="*/ 368808 h 552450"/>
                  <a:gd name="connsiteX1288" fmla="*/ 514541 w 695325"/>
                  <a:gd name="connsiteY1288" fmla="*/ 373094 h 552450"/>
                  <a:gd name="connsiteX1289" fmla="*/ 512826 w 695325"/>
                  <a:gd name="connsiteY1289" fmla="*/ 374809 h 552450"/>
                  <a:gd name="connsiteX1290" fmla="*/ 510254 w 695325"/>
                  <a:gd name="connsiteY1290" fmla="*/ 376523 h 552450"/>
                  <a:gd name="connsiteX1291" fmla="*/ 507683 w 695325"/>
                  <a:gd name="connsiteY1291" fmla="*/ 378142 h 552450"/>
                  <a:gd name="connsiteX1292" fmla="*/ 505206 w 695325"/>
                  <a:gd name="connsiteY1292" fmla="*/ 378142 h 552450"/>
                  <a:gd name="connsiteX1293" fmla="*/ 503492 w 695325"/>
                  <a:gd name="connsiteY1293" fmla="*/ 379857 h 552450"/>
                  <a:gd name="connsiteX1294" fmla="*/ 499205 w 695325"/>
                  <a:gd name="connsiteY1294" fmla="*/ 383286 h 552450"/>
                  <a:gd name="connsiteX1295" fmla="*/ 497491 w 695325"/>
                  <a:gd name="connsiteY1295" fmla="*/ 384143 h 552450"/>
                  <a:gd name="connsiteX1296" fmla="*/ 495872 w 695325"/>
                  <a:gd name="connsiteY1296" fmla="*/ 385858 h 552450"/>
                  <a:gd name="connsiteX1297" fmla="*/ 492443 w 695325"/>
                  <a:gd name="connsiteY1297" fmla="*/ 392621 h 552450"/>
                  <a:gd name="connsiteX1298" fmla="*/ 491585 w 695325"/>
                  <a:gd name="connsiteY1298" fmla="*/ 394335 h 552450"/>
                  <a:gd name="connsiteX1299" fmla="*/ 495014 w 695325"/>
                  <a:gd name="connsiteY1299" fmla="*/ 393478 h 552450"/>
                  <a:gd name="connsiteX1300" fmla="*/ 500920 w 695325"/>
                  <a:gd name="connsiteY1300" fmla="*/ 389192 h 552450"/>
                  <a:gd name="connsiteX1301" fmla="*/ 502634 w 695325"/>
                  <a:gd name="connsiteY1301" fmla="*/ 388334 h 552450"/>
                  <a:gd name="connsiteX1302" fmla="*/ 508540 w 695325"/>
                  <a:gd name="connsiteY1302" fmla="*/ 386715 h 552450"/>
                  <a:gd name="connsiteX1303" fmla="*/ 510254 w 695325"/>
                  <a:gd name="connsiteY1303" fmla="*/ 386715 h 552450"/>
                  <a:gd name="connsiteX1304" fmla="*/ 510254 w 695325"/>
                  <a:gd name="connsiteY1304" fmla="*/ 388334 h 552450"/>
                  <a:gd name="connsiteX1305" fmla="*/ 509397 w 695325"/>
                  <a:gd name="connsiteY1305" fmla="*/ 390049 h 552450"/>
                  <a:gd name="connsiteX1306" fmla="*/ 507683 w 695325"/>
                  <a:gd name="connsiteY1306" fmla="*/ 388334 h 552450"/>
                  <a:gd name="connsiteX1307" fmla="*/ 501777 w 695325"/>
                  <a:gd name="connsiteY1307" fmla="*/ 392621 h 552450"/>
                  <a:gd name="connsiteX1308" fmla="*/ 501777 w 695325"/>
                  <a:gd name="connsiteY1308" fmla="*/ 392621 h 552450"/>
                  <a:gd name="connsiteX1309" fmla="*/ 497491 w 695325"/>
                  <a:gd name="connsiteY1309" fmla="*/ 395192 h 552450"/>
                  <a:gd name="connsiteX1310" fmla="*/ 490728 w 695325"/>
                  <a:gd name="connsiteY1310" fmla="*/ 397764 h 552450"/>
                  <a:gd name="connsiteX1311" fmla="*/ 489871 w 695325"/>
                  <a:gd name="connsiteY1311" fmla="*/ 397764 h 552450"/>
                  <a:gd name="connsiteX1312" fmla="*/ 489871 w 695325"/>
                  <a:gd name="connsiteY1312" fmla="*/ 398621 h 552450"/>
                  <a:gd name="connsiteX1313" fmla="*/ 490728 w 695325"/>
                  <a:gd name="connsiteY1313" fmla="*/ 400240 h 552450"/>
                  <a:gd name="connsiteX1314" fmla="*/ 493300 w 695325"/>
                  <a:gd name="connsiteY1314" fmla="*/ 400240 h 552450"/>
                  <a:gd name="connsiteX1315" fmla="*/ 495872 w 695325"/>
                  <a:gd name="connsiteY1315" fmla="*/ 399383 h 552450"/>
                  <a:gd name="connsiteX1316" fmla="*/ 497491 w 695325"/>
                  <a:gd name="connsiteY1316" fmla="*/ 399383 h 552450"/>
                  <a:gd name="connsiteX1317" fmla="*/ 498348 w 695325"/>
                  <a:gd name="connsiteY1317" fmla="*/ 400240 h 552450"/>
                  <a:gd name="connsiteX1318" fmla="*/ 497491 w 695325"/>
                  <a:gd name="connsiteY1318" fmla="*/ 401098 h 552450"/>
                  <a:gd name="connsiteX1319" fmla="*/ 494157 w 695325"/>
                  <a:gd name="connsiteY1319" fmla="*/ 401955 h 552450"/>
                  <a:gd name="connsiteX1320" fmla="*/ 492443 w 695325"/>
                  <a:gd name="connsiteY1320" fmla="*/ 401955 h 552450"/>
                  <a:gd name="connsiteX1321" fmla="*/ 491585 w 695325"/>
                  <a:gd name="connsiteY1321" fmla="*/ 402812 h 552450"/>
                  <a:gd name="connsiteX1322" fmla="*/ 492443 w 695325"/>
                  <a:gd name="connsiteY1322" fmla="*/ 404527 h 552450"/>
                  <a:gd name="connsiteX1323" fmla="*/ 493300 w 695325"/>
                  <a:gd name="connsiteY1323" fmla="*/ 407098 h 552450"/>
                  <a:gd name="connsiteX1324" fmla="*/ 494157 w 695325"/>
                  <a:gd name="connsiteY1324" fmla="*/ 410432 h 552450"/>
                  <a:gd name="connsiteX1325" fmla="*/ 494157 w 695325"/>
                  <a:gd name="connsiteY1325" fmla="*/ 412147 h 552450"/>
                  <a:gd name="connsiteX1326" fmla="*/ 495872 w 695325"/>
                  <a:gd name="connsiteY1326" fmla="*/ 413861 h 552450"/>
                  <a:gd name="connsiteX1327" fmla="*/ 496634 w 695325"/>
                  <a:gd name="connsiteY1327" fmla="*/ 413004 h 552450"/>
                  <a:gd name="connsiteX1328" fmla="*/ 498348 w 695325"/>
                  <a:gd name="connsiteY1328" fmla="*/ 411289 h 552450"/>
                  <a:gd name="connsiteX1329" fmla="*/ 498348 w 695325"/>
                  <a:gd name="connsiteY1329" fmla="*/ 413861 h 552450"/>
                  <a:gd name="connsiteX1330" fmla="*/ 500063 w 695325"/>
                  <a:gd name="connsiteY1330" fmla="*/ 414718 h 552450"/>
                  <a:gd name="connsiteX1331" fmla="*/ 501777 w 695325"/>
                  <a:gd name="connsiteY1331" fmla="*/ 415576 h 552450"/>
                  <a:gd name="connsiteX1332" fmla="*/ 501777 w 695325"/>
                  <a:gd name="connsiteY1332" fmla="*/ 416433 h 552450"/>
                  <a:gd name="connsiteX1333" fmla="*/ 503492 w 695325"/>
                  <a:gd name="connsiteY1333" fmla="*/ 417290 h 552450"/>
                  <a:gd name="connsiteX1334" fmla="*/ 506825 w 695325"/>
                  <a:gd name="connsiteY1334" fmla="*/ 419005 h 552450"/>
                  <a:gd name="connsiteX1335" fmla="*/ 508540 w 695325"/>
                  <a:gd name="connsiteY1335" fmla="*/ 419862 h 552450"/>
                  <a:gd name="connsiteX1336" fmla="*/ 506825 w 695325"/>
                  <a:gd name="connsiteY1336" fmla="*/ 419862 h 552450"/>
                  <a:gd name="connsiteX1337" fmla="*/ 506063 w 695325"/>
                  <a:gd name="connsiteY1337" fmla="*/ 420719 h 552450"/>
                  <a:gd name="connsiteX1338" fmla="*/ 503492 w 695325"/>
                  <a:gd name="connsiteY1338" fmla="*/ 422338 h 552450"/>
                  <a:gd name="connsiteX1339" fmla="*/ 496634 w 695325"/>
                  <a:gd name="connsiteY1339" fmla="*/ 427482 h 552450"/>
                  <a:gd name="connsiteX1340" fmla="*/ 495014 w 695325"/>
                  <a:gd name="connsiteY1340" fmla="*/ 429196 h 552450"/>
                  <a:gd name="connsiteX1341" fmla="*/ 495014 w 695325"/>
                  <a:gd name="connsiteY1341" fmla="*/ 430911 h 552450"/>
                  <a:gd name="connsiteX1342" fmla="*/ 496634 w 695325"/>
                  <a:gd name="connsiteY1342" fmla="*/ 433388 h 552450"/>
                  <a:gd name="connsiteX1343" fmla="*/ 497491 w 695325"/>
                  <a:gd name="connsiteY1343" fmla="*/ 433388 h 552450"/>
                  <a:gd name="connsiteX1344" fmla="*/ 500063 w 695325"/>
                  <a:gd name="connsiteY1344" fmla="*/ 431768 h 552450"/>
                  <a:gd name="connsiteX1345" fmla="*/ 500920 w 695325"/>
                  <a:gd name="connsiteY1345" fmla="*/ 431768 h 552450"/>
                  <a:gd name="connsiteX1346" fmla="*/ 500920 w 695325"/>
                  <a:gd name="connsiteY1346" fmla="*/ 431768 h 552450"/>
                  <a:gd name="connsiteX1347" fmla="*/ 501777 w 695325"/>
                  <a:gd name="connsiteY1347" fmla="*/ 430054 h 552450"/>
                  <a:gd name="connsiteX1348" fmla="*/ 500920 w 695325"/>
                  <a:gd name="connsiteY1348" fmla="*/ 427482 h 552450"/>
                  <a:gd name="connsiteX1349" fmla="*/ 501777 w 695325"/>
                  <a:gd name="connsiteY1349" fmla="*/ 426625 h 552450"/>
                  <a:gd name="connsiteX1350" fmla="*/ 501777 w 695325"/>
                  <a:gd name="connsiteY1350" fmla="*/ 424910 h 552450"/>
                  <a:gd name="connsiteX1351" fmla="*/ 503492 w 695325"/>
                  <a:gd name="connsiteY1351" fmla="*/ 424910 h 552450"/>
                  <a:gd name="connsiteX1352" fmla="*/ 505206 w 695325"/>
                  <a:gd name="connsiteY1352" fmla="*/ 424910 h 552450"/>
                  <a:gd name="connsiteX1353" fmla="*/ 506063 w 695325"/>
                  <a:gd name="connsiteY1353" fmla="*/ 424053 h 552450"/>
                  <a:gd name="connsiteX1354" fmla="*/ 507683 w 695325"/>
                  <a:gd name="connsiteY1354" fmla="*/ 425767 h 552450"/>
                  <a:gd name="connsiteX1355" fmla="*/ 506825 w 695325"/>
                  <a:gd name="connsiteY1355" fmla="*/ 428339 h 552450"/>
                  <a:gd name="connsiteX1356" fmla="*/ 505206 w 695325"/>
                  <a:gd name="connsiteY1356" fmla="*/ 430911 h 552450"/>
                  <a:gd name="connsiteX1357" fmla="*/ 504349 w 695325"/>
                  <a:gd name="connsiteY1357" fmla="*/ 435102 h 552450"/>
                  <a:gd name="connsiteX1358" fmla="*/ 507683 w 695325"/>
                  <a:gd name="connsiteY1358" fmla="*/ 433388 h 552450"/>
                  <a:gd name="connsiteX1359" fmla="*/ 508540 w 695325"/>
                  <a:gd name="connsiteY1359" fmla="*/ 432530 h 552450"/>
                  <a:gd name="connsiteX1360" fmla="*/ 508540 w 695325"/>
                  <a:gd name="connsiteY1360" fmla="*/ 430054 h 552450"/>
                  <a:gd name="connsiteX1361" fmla="*/ 508540 w 695325"/>
                  <a:gd name="connsiteY1361" fmla="*/ 429196 h 552450"/>
                  <a:gd name="connsiteX1362" fmla="*/ 509397 w 695325"/>
                  <a:gd name="connsiteY1362" fmla="*/ 429196 h 552450"/>
                  <a:gd name="connsiteX1363" fmla="*/ 509397 w 695325"/>
                  <a:gd name="connsiteY1363" fmla="*/ 429196 h 552450"/>
                  <a:gd name="connsiteX1364" fmla="*/ 510254 w 695325"/>
                  <a:gd name="connsiteY1364" fmla="*/ 430054 h 552450"/>
                  <a:gd name="connsiteX1365" fmla="*/ 510254 w 695325"/>
                  <a:gd name="connsiteY1365" fmla="*/ 430911 h 552450"/>
                  <a:gd name="connsiteX1366" fmla="*/ 515398 w 695325"/>
                  <a:gd name="connsiteY1366" fmla="*/ 428339 h 552450"/>
                  <a:gd name="connsiteX1367" fmla="*/ 517017 w 695325"/>
                  <a:gd name="connsiteY1367" fmla="*/ 428339 h 552450"/>
                  <a:gd name="connsiteX1368" fmla="*/ 517017 w 695325"/>
                  <a:gd name="connsiteY1368" fmla="*/ 429196 h 552450"/>
                  <a:gd name="connsiteX1369" fmla="*/ 521303 w 695325"/>
                  <a:gd name="connsiteY1369" fmla="*/ 437674 h 552450"/>
                  <a:gd name="connsiteX1370" fmla="*/ 520446 w 695325"/>
                  <a:gd name="connsiteY1370" fmla="*/ 439388 h 552450"/>
                  <a:gd name="connsiteX1371" fmla="*/ 517874 w 695325"/>
                  <a:gd name="connsiteY1371" fmla="*/ 439388 h 552450"/>
                  <a:gd name="connsiteX1372" fmla="*/ 513683 w 695325"/>
                  <a:gd name="connsiteY1372" fmla="*/ 438531 h 552450"/>
                  <a:gd name="connsiteX1373" fmla="*/ 511969 w 695325"/>
                  <a:gd name="connsiteY1373" fmla="*/ 438531 h 552450"/>
                  <a:gd name="connsiteX1374" fmla="*/ 511969 w 695325"/>
                  <a:gd name="connsiteY1374" fmla="*/ 440246 h 552450"/>
                  <a:gd name="connsiteX1375" fmla="*/ 513683 w 695325"/>
                  <a:gd name="connsiteY1375" fmla="*/ 441960 h 552450"/>
                  <a:gd name="connsiteX1376" fmla="*/ 514541 w 695325"/>
                  <a:gd name="connsiteY1376" fmla="*/ 442817 h 552450"/>
                  <a:gd name="connsiteX1377" fmla="*/ 515398 w 695325"/>
                  <a:gd name="connsiteY1377" fmla="*/ 442817 h 552450"/>
                  <a:gd name="connsiteX1378" fmla="*/ 516160 w 695325"/>
                  <a:gd name="connsiteY1378" fmla="*/ 442817 h 552450"/>
                  <a:gd name="connsiteX1379" fmla="*/ 517017 w 695325"/>
                  <a:gd name="connsiteY1379" fmla="*/ 443579 h 552450"/>
                  <a:gd name="connsiteX1380" fmla="*/ 517874 w 695325"/>
                  <a:gd name="connsiteY1380" fmla="*/ 444436 h 552450"/>
                  <a:gd name="connsiteX1381" fmla="*/ 517874 w 695325"/>
                  <a:gd name="connsiteY1381" fmla="*/ 445294 h 552450"/>
                  <a:gd name="connsiteX1382" fmla="*/ 518732 w 695325"/>
                  <a:gd name="connsiteY1382" fmla="*/ 447008 h 552450"/>
                  <a:gd name="connsiteX1383" fmla="*/ 521303 w 695325"/>
                  <a:gd name="connsiteY1383" fmla="*/ 446151 h 552450"/>
                  <a:gd name="connsiteX1384" fmla="*/ 523875 w 695325"/>
                  <a:gd name="connsiteY1384" fmla="*/ 445294 h 552450"/>
                  <a:gd name="connsiteX1385" fmla="*/ 525590 w 695325"/>
                  <a:gd name="connsiteY1385" fmla="*/ 445294 h 552450"/>
                  <a:gd name="connsiteX1386" fmla="*/ 525590 w 695325"/>
                  <a:gd name="connsiteY1386" fmla="*/ 447865 h 552450"/>
                  <a:gd name="connsiteX1387" fmla="*/ 522161 w 695325"/>
                  <a:gd name="connsiteY1387" fmla="*/ 449580 h 552450"/>
                  <a:gd name="connsiteX1388" fmla="*/ 519589 w 695325"/>
                  <a:gd name="connsiteY1388" fmla="*/ 452152 h 552450"/>
                  <a:gd name="connsiteX1389" fmla="*/ 523018 w 695325"/>
                  <a:gd name="connsiteY1389" fmla="*/ 455485 h 552450"/>
                  <a:gd name="connsiteX1390" fmla="*/ 521303 w 695325"/>
                  <a:gd name="connsiteY1390" fmla="*/ 456343 h 552450"/>
                  <a:gd name="connsiteX1391" fmla="*/ 520446 w 695325"/>
                  <a:gd name="connsiteY1391" fmla="*/ 460629 h 552450"/>
                  <a:gd name="connsiteX1392" fmla="*/ 519589 w 695325"/>
                  <a:gd name="connsiteY1392" fmla="*/ 463201 h 552450"/>
                  <a:gd name="connsiteX1393" fmla="*/ 523875 w 695325"/>
                  <a:gd name="connsiteY1393" fmla="*/ 459772 h 552450"/>
                  <a:gd name="connsiteX1394" fmla="*/ 524732 w 695325"/>
                  <a:gd name="connsiteY1394" fmla="*/ 459772 h 552450"/>
                  <a:gd name="connsiteX1395" fmla="*/ 526352 w 695325"/>
                  <a:gd name="connsiteY1395" fmla="*/ 458914 h 552450"/>
                  <a:gd name="connsiteX1396" fmla="*/ 526352 w 695325"/>
                  <a:gd name="connsiteY1396" fmla="*/ 458914 h 552450"/>
                  <a:gd name="connsiteX1397" fmla="*/ 525590 w 695325"/>
                  <a:gd name="connsiteY1397" fmla="*/ 460629 h 552450"/>
                  <a:gd name="connsiteX1398" fmla="*/ 524732 w 695325"/>
                  <a:gd name="connsiteY1398" fmla="*/ 463201 h 552450"/>
                  <a:gd name="connsiteX1399" fmla="*/ 525590 w 695325"/>
                  <a:gd name="connsiteY1399" fmla="*/ 466534 h 552450"/>
                  <a:gd name="connsiteX1400" fmla="*/ 526352 w 695325"/>
                  <a:gd name="connsiteY1400" fmla="*/ 467392 h 552450"/>
                  <a:gd name="connsiteX1401" fmla="*/ 528923 w 695325"/>
                  <a:gd name="connsiteY1401" fmla="*/ 464915 h 552450"/>
                  <a:gd name="connsiteX1402" fmla="*/ 529781 w 695325"/>
                  <a:gd name="connsiteY1402" fmla="*/ 465677 h 552450"/>
                  <a:gd name="connsiteX1403" fmla="*/ 528923 w 695325"/>
                  <a:gd name="connsiteY1403" fmla="*/ 466534 h 552450"/>
                  <a:gd name="connsiteX1404" fmla="*/ 528923 w 695325"/>
                  <a:gd name="connsiteY1404" fmla="*/ 467392 h 552450"/>
                  <a:gd name="connsiteX1405" fmla="*/ 528923 w 695325"/>
                  <a:gd name="connsiteY1405" fmla="*/ 468249 h 552450"/>
                  <a:gd name="connsiteX1406" fmla="*/ 529781 w 695325"/>
                  <a:gd name="connsiteY1406" fmla="*/ 469106 h 552450"/>
                  <a:gd name="connsiteX1407" fmla="*/ 530638 w 695325"/>
                  <a:gd name="connsiteY1407" fmla="*/ 469963 h 552450"/>
                  <a:gd name="connsiteX1408" fmla="*/ 531495 w 695325"/>
                  <a:gd name="connsiteY1408" fmla="*/ 470821 h 552450"/>
                  <a:gd name="connsiteX1409" fmla="*/ 531495 w 695325"/>
                  <a:gd name="connsiteY1409" fmla="*/ 471678 h 552450"/>
                  <a:gd name="connsiteX1410" fmla="*/ 530638 w 695325"/>
                  <a:gd name="connsiteY1410" fmla="*/ 471678 h 552450"/>
                  <a:gd name="connsiteX1411" fmla="*/ 526352 w 695325"/>
                  <a:gd name="connsiteY1411" fmla="*/ 475107 h 552450"/>
                  <a:gd name="connsiteX1412" fmla="*/ 527209 w 695325"/>
                  <a:gd name="connsiteY1412" fmla="*/ 476726 h 552450"/>
                  <a:gd name="connsiteX1413" fmla="*/ 528066 w 695325"/>
                  <a:gd name="connsiteY1413" fmla="*/ 479298 h 552450"/>
                  <a:gd name="connsiteX1414" fmla="*/ 527209 w 695325"/>
                  <a:gd name="connsiteY1414" fmla="*/ 484442 h 552450"/>
                  <a:gd name="connsiteX1415" fmla="*/ 527209 w 695325"/>
                  <a:gd name="connsiteY1415" fmla="*/ 485299 h 552450"/>
                  <a:gd name="connsiteX1416" fmla="*/ 525590 w 695325"/>
                  <a:gd name="connsiteY1416" fmla="*/ 487013 h 552450"/>
                  <a:gd name="connsiteX1417" fmla="*/ 524732 w 695325"/>
                  <a:gd name="connsiteY1417" fmla="*/ 488632 h 552450"/>
                  <a:gd name="connsiteX1418" fmla="*/ 525590 w 695325"/>
                  <a:gd name="connsiteY1418" fmla="*/ 489490 h 552450"/>
                  <a:gd name="connsiteX1419" fmla="*/ 525590 w 695325"/>
                  <a:gd name="connsiteY1419" fmla="*/ 492061 h 552450"/>
                  <a:gd name="connsiteX1420" fmla="*/ 525590 w 695325"/>
                  <a:gd name="connsiteY1420" fmla="*/ 493776 h 552450"/>
                  <a:gd name="connsiteX1421" fmla="*/ 525590 w 695325"/>
                  <a:gd name="connsiteY1421" fmla="*/ 496348 h 552450"/>
                  <a:gd name="connsiteX1422" fmla="*/ 525590 w 695325"/>
                  <a:gd name="connsiteY1422" fmla="*/ 498824 h 552450"/>
                  <a:gd name="connsiteX1423" fmla="*/ 524732 w 695325"/>
                  <a:gd name="connsiteY1423" fmla="*/ 501396 h 552450"/>
                  <a:gd name="connsiteX1424" fmla="*/ 520446 w 695325"/>
                  <a:gd name="connsiteY1424" fmla="*/ 506539 h 552450"/>
                  <a:gd name="connsiteX1425" fmla="*/ 520446 w 695325"/>
                  <a:gd name="connsiteY1425" fmla="*/ 506539 h 552450"/>
                  <a:gd name="connsiteX1426" fmla="*/ 522161 w 695325"/>
                  <a:gd name="connsiteY1426" fmla="*/ 506539 h 552450"/>
                  <a:gd name="connsiteX1427" fmla="*/ 524732 w 695325"/>
                  <a:gd name="connsiteY1427" fmla="*/ 509111 h 552450"/>
                  <a:gd name="connsiteX1428" fmla="*/ 524732 w 695325"/>
                  <a:gd name="connsiteY1428" fmla="*/ 511588 h 552450"/>
                  <a:gd name="connsiteX1429" fmla="*/ 524732 w 695325"/>
                  <a:gd name="connsiteY1429" fmla="*/ 515017 h 552450"/>
                  <a:gd name="connsiteX1430" fmla="*/ 523018 w 695325"/>
                  <a:gd name="connsiteY1430" fmla="*/ 516731 h 552450"/>
                  <a:gd name="connsiteX1431" fmla="*/ 519589 w 695325"/>
                  <a:gd name="connsiteY1431" fmla="*/ 516731 h 552450"/>
                  <a:gd name="connsiteX1432" fmla="*/ 517874 w 695325"/>
                  <a:gd name="connsiteY1432" fmla="*/ 516731 h 552450"/>
                  <a:gd name="connsiteX1433" fmla="*/ 517874 w 695325"/>
                  <a:gd name="connsiteY1433" fmla="*/ 516731 h 552450"/>
                  <a:gd name="connsiteX1434" fmla="*/ 517017 w 695325"/>
                  <a:gd name="connsiteY1434" fmla="*/ 516731 h 552450"/>
                  <a:gd name="connsiteX1435" fmla="*/ 517017 w 695325"/>
                  <a:gd name="connsiteY1435" fmla="*/ 517588 h 552450"/>
                  <a:gd name="connsiteX1436" fmla="*/ 515398 w 695325"/>
                  <a:gd name="connsiteY1436" fmla="*/ 519303 h 552450"/>
                  <a:gd name="connsiteX1437" fmla="*/ 514541 w 695325"/>
                  <a:gd name="connsiteY1437" fmla="*/ 520160 h 552450"/>
                  <a:gd name="connsiteX1438" fmla="*/ 513683 w 695325"/>
                  <a:gd name="connsiteY1438" fmla="*/ 520160 h 552450"/>
                  <a:gd name="connsiteX1439" fmla="*/ 512826 w 695325"/>
                  <a:gd name="connsiteY1439" fmla="*/ 522637 h 552450"/>
                  <a:gd name="connsiteX1440" fmla="*/ 511969 w 695325"/>
                  <a:gd name="connsiteY1440" fmla="*/ 524351 h 552450"/>
                  <a:gd name="connsiteX1441" fmla="*/ 511112 w 695325"/>
                  <a:gd name="connsiteY1441" fmla="*/ 526066 h 552450"/>
                  <a:gd name="connsiteX1442" fmla="*/ 509397 w 695325"/>
                  <a:gd name="connsiteY1442" fmla="*/ 528638 h 552450"/>
                  <a:gd name="connsiteX1443" fmla="*/ 509397 w 695325"/>
                  <a:gd name="connsiteY1443" fmla="*/ 531971 h 552450"/>
                  <a:gd name="connsiteX1444" fmla="*/ 509397 w 695325"/>
                  <a:gd name="connsiteY1444" fmla="*/ 531971 h 552450"/>
                  <a:gd name="connsiteX1445" fmla="*/ 509397 w 695325"/>
                  <a:gd name="connsiteY1445" fmla="*/ 534543 h 552450"/>
                  <a:gd name="connsiteX1446" fmla="*/ 509397 w 695325"/>
                  <a:gd name="connsiteY1446" fmla="*/ 535400 h 552450"/>
                  <a:gd name="connsiteX1447" fmla="*/ 510254 w 695325"/>
                  <a:gd name="connsiteY1447" fmla="*/ 535400 h 552450"/>
                  <a:gd name="connsiteX1448" fmla="*/ 510254 w 695325"/>
                  <a:gd name="connsiteY1448" fmla="*/ 535400 h 552450"/>
                  <a:gd name="connsiteX1449" fmla="*/ 510254 w 695325"/>
                  <a:gd name="connsiteY1449" fmla="*/ 535400 h 552450"/>
                  <a:gd name="connsiteX1450" fmla="*/ 510254 w 695325"/>
                  <a:gd name="connsiteY1450" fmla="*/ 537115 h 552450"/>
                  <a:gd name="connsiteX1451" fmla="*/ 508540 w 695325"/>
                  <a:gd name="connsiteY1451" fmla="*/ 539686 h 552450"/>
                  <a:gd name="connsiteX1452" fmla="*/ 508540 w 695325"/>
                  <a:gd name="connsiteY1452" fmla="*/ 540544 h 552450"/>
                  <a:gd name="connsiteX1453" fmla="*/ 507683 w 695325"/>
                  <a:gd name="connsiteY1453" fmla="*/ 545592 h 552450"/>
                  <a:gd name="connsiteX1454" fmla="*/ 506063 w 695325"/>
                  <a:gd name="connsiteY1454" fmla="*/ 551593 h 552450"/>
                  <a:gd name="connsiteX1455" fmla="*/ 505206 w 695325"/>
                  <a:gd name="connsiteY1455" fmla="*/ 552450 h 552450"/>
                  <a:gd name="connsiteX1456" fmla="*/ 505206 w 695325"/>
                  <a:gd name="connsiteY1456" fmla="*/ 552450 h 552450"/>
                  <a:gd name="connsiteX1457" fmla="*/ 507683 w 695325"/>
                  <a:gd name="connsiteY1457" fmla="*/ 552450 h 552450"/>
                  <a:gd name="connsiteX1458" fmla="*/ 510254 w 695325"/>
                  <a:gd name="connsiteY1458" fmla="*/ 550735 h 552450"/>
                  <a:gd name="connsiteX1459" fmla="*/ 511112 w 695325"/>
                  <a:gd name="connsiteY1459" fmla="*/ 550735 h 552450"/>
                  <a:gd name="connsiteX1460" fmla="*/ 511969 w 695325"/>
                  <a:gd name="connsiteY1460" fmla="*/ 549021 h 552450"/>
                  <a:gd name="connsiteX1461" fmla="*/ 512826 w 695325"/>
                  <a:gd name="connsiteY1461" fmla="*/ 549021 h 552450"/>
                  <a:gd name="connsiteX1462" fmla="*/ 513683 w 695325"/>
                  <a:gd name="connsiteY1462" fmla="*/ 549021 h 552450"/>
                  <a:gd name="connsiteX1463" fmla="*/ 516160 w 695325"/>
                  <a:gd name="connsiteY1463" fmla="*/ 549878 h 552450"/>
                  <a:gd name="connsiteX1464" fmla="*/ 517017 w 695325"/>
                  <a:gd name="connsiteY1464" fmla="*/ 549878 h 552450"/>
                  <a:gd name="connsiteX1465" fmla="*/ 517017 w 695325"/>
                  <a:gd name="connsiteY1465" fmla="*/ 549878 h 552450"/>
                  <a:gd name="connsiteX1466" fmla="*/ 517874 w 695325"/>
                  <a:gd name="connsiteY1466" fmla="*/ 549021 h 552450"/>
                  <a:gd name="connsiteX1467" fmla="*/ 518732 w 695325"/>
                  <a:gd name="connsiteY1467" fmla="*/ 549021 h 552450"/>
                  <a:gd name="connsiteX1468" fmla="*/ 521303 w 695325"/>
                  <a:gd name="connsiteY1468" fmla="*/ 549021 h 552450"/>
                  <a:gd name="connsiteX1469" fmla="*/ 523875 w 695325"/>
                  <a:gd name="connsiteY1469" fmla="*/ 549021 h 552450"/>
                  <a:gd name="connsiteX1470" fmla="*/ 526352 w 695325"/>
                  <a:gd name="connsiteY1470" fmla="*/ 548164 h 552450"/>
                  <a:gd name="connsiteX1471" fmla="*/ 531495 w 695325"/>
                  <a:gd name="connsiteY1471" fmla="*/ 546449 h 552450"/>
                  <a:gd name="connsiteX1472" fmla="*/ 531495 w 695325"/>
                  <a:gd name="connsiteY1472" fmla="*/ 544735 h 552450"/>
                  <a:gd name="connsiteX1473" fmla="*/ 531495 w 695325"/>
                  <a:gd name="connsiteY1473" fmla="*/ 540544 h 552450"/>
                  <a:gd name="connsiteX1474" fmla="*/ 530638 w 695325"/>
                  <a:gd name="connsiteY1474" fmla="*/ 539686 h 552450"/>
                  <a:gd name="connsiteX1475" fmla="*/ 530638 w 695325"/>
                  <a:gd name="connsiteY1475" fmla="*/ 538829 h 552450"/>
                  <a:gd name="connsiteX1476" fmla="*/ 529781 w 695325"/>
                  <a:gd name="connsiteY1476" fmla="*/ 537972 h 552450"/>
                  <a:gd name="connsiteX1477" fmla="*/ 528923 w 695325"/>
                  <a:gd name="connsiteY1477" fmla="*/ 537115 h 552450"/>
                  <a:gd name="connsiteX1478" fmla="*/ 527209 w 695325"/>
                  <a:gd name="connsiteY1478" fmla="*/ 535400 h 552450"/>
                  <a:gd name="connsiteX1479" fmla="*/ 526352 w 695325"/>
                  <a:gd name="connsiteY1479" fmla="*/ 535400 h 552450"/>
                  <a:gd name="connsiteX1480" fmla="*/ 525590 w 695325"/>
                  <a:gd name="connsiteY1480" fmla="*/ 534543 h 552450"/>
                  <a:gd name="connsiteX1481" fmla="*/ 525590 w 695325"/>
                  <a:gd name="connsiteY1481" fmla="*/ 533686 h 552450"/>
                  <a:gd name="connsiteX1482" fmla="*/ 525590 w 695325"/>
                  <a:gd name="connsiteY1482" fmla="*/ 532828 h 552450"/>
                  <a:gd name="connsiteX1483" fmla="*/ 525590 w 695325"/>
                  <a:gd name="connsiteY1483" fmla="*/ 532828 h 552450"/>
                  <a:gd name="connsiteX1484" fmla="*/ 525590 w 695325"/>
                  <a:gd name="connsiteY1484" fmla="*/ 531971 h 552450"/>
                  <a:gd name="connsiteX1485" fmla="*/ 526352 w 695325"/>
                  <a:gd name="connsiteY1485" fmla="*/ 531209 h 552450"/>
                  <a:gd name="connsiteX1486" fmla="*/ 527209 w 695325"/>
                  <a:gd name="connsiteY1486" fmla="*/ 531209 h 552450"/>
                  <a:gd name="connsiteX1487" fmla="*/ 528066 w 695325"/>
                  <a:gd name="connsiteY1487" fmla="*/ 531209 h 552450"/>
                  <a:gd name="connsiteX1488" fmla="*/ 529781 w 695325"/>
                  <a:gd name="connsiteY1488" fmla="*/ 531209 h 552450"/>
                  <a:gd name="connsiteX1489" fmla="*/ 530638 w 695325"/>
                  <a:gd name="connsiteY1489" fmla="*/ 531209 h 552450"/>
                  <a:gd name="connsiteX1490" fmla="*/ 531495 w 695325"/>
                  <a:gd name="connsiteY1490" fmla="*/ 531209 h 552450"/>
                  <a:gd name="connsiteX1491" fmla="*/ 531495 w 695325"/>
                  <a:gd name="connsiteY1491" fmla="*/ 531209 h 552450"/>
                  <a:gd name="connsiteX1492" fmla="*/ 533210 w 695325"/>
                  <a:gd name="connsiteY1492" fmla="*/ 527780 h 552450"/>
                  <a:gd name="connsiteX1493" fmla="*/ 534067 w 695325"/>
                  <a:gd name="connsiteY1493" fmla="*/ 526923 h 552450"/>
                  <a:gd name="connsiteX1494" fmla="*/ 534067 w 695325"/>
                  <a:gd name="connsiteY1494" fmla="*/ 526066 h 552450"/>
                  <a:gd name="connsiteX1495" fmla="*/ 534924 w 695325"/>
                  <a:gd name="connsiteY1495" fmla="*/ 526066 h 552450"/>
                  <a:gd name="connsiteX1496" fmla="*/ 535781 w 695325"/>
                  <a:gd name="connsiteY1496" fmla="*/ 526923 h 552450"/>
                  <a:gd name="connsiteX1497" fmla="*/ 536543 w 695325"/>
                  <a:gd name="connsiteY1497" fmla="*/ 526923 h 552450"/>
                  <a:gd name="connsiteX1498" fmla="*/ 537401 w 695325"/>
                  <a:gd name="connsiteY1498" fmla="*/ 526923 h 552450"/>
                  <a:gd name="connsiteX1499" fmla="*/ 539972 w 695325"/>
                  <a:gd name="connsiteY1499" fmla="*/ 525209 h 552450"/>
                  <a:gd name="connsiteX1500" fmla="*/ 543401 w 695325"/>
                  <a:gd name="connsiteY1500" fmla="*/ 522637 h 552450"/>
                  <a:gd name="connsiteX1501" fmla="*/ 544259 w 695325"/>
                  <a:gd name="connsiteY1501" fmla="*/ 521780 h 552450"/>
                  <a:gd name="connsiteX1502" fmla="*/ 545116 w 695325"/>
                  <a:gd name="connsiteY1502" fmla="*/ 521780 h 552450"/>
                  <a:gd name="connsiteX1503" fmla="*/ 545878 w 695325"/>
                  <a:gd name="connsiteY1503" fmla="*/ 521780 h 552450"/>
                  <a:gd name="connsiteX1504" fmla="*/ 545878 w 695325"/>
                  <a:gd name="connsiteY1504" fmla="*/ 522637 h 552450"/>
                  <a:gd name="connsiteX1505" fmla="*/ 545878 w 695325"/>
                  <a:gd name="connsiteY1505" fmla="*/ 524351 h 552450"/>
                  <a:gd name="connsiteX1506" fmla="*/ 545878 w 695325"/>
                  <a:gd name="connsiteY1506" fmla="*/ 525209 h 552450"/>
                  <a:gd name="connsiteX1507" fmla="*/ 545878 w 695325"/>
                  <a:gd name="connsiteY1507" fmla="*/ 526066 h 552450"/>
                  <a:gd name="connsiteX1508" fmla="*/ 545878 w 695325"/>
                  <a:gd name="connsiteY1508" fmla="*/ 526923 h 552450"/>
                  <a:gd name="connsiteX1509" fmla="*/ 546735 w 695325"/>
                  <a:gd name="connsiteY1509" fmla="*/ 527780 h 552450"/>
                  <a:gd name="connsiteX1510" fmla="*/ 547592 w 695325"/>
                  <a:gd name="connsiteY1510" fmla="*/ 527780 h 552450"/>
                  <a:gd name="connsiteX1511" fmla="*/ 548450 w 695325"/>
                  <a:gd name="connsiteY1511" fmla="*/ 527780 h 552450"/>
                  <a:gd name="connsiteX1512" fmla="*/ 550164 w 695325"/>
                  <a:gd name="connsiteY1512" fmla="*/ 527780 h 552450"/>
                  <a:gd name="connsiteX1513" fmla="*/ 551021 w 695325"/>
                  <a:gd name="connsiteY1513" fmla="*/ 527780 h 552450"/>
                  <a:gd name="connsiteX1514" fmla="*/ 551021 w 695325"/>
                  <a:gd name="connsiteY1514" fmla="*/ 527780 h 552450"/>
                  <a:gd name="connsiteX1515" fmla="*/ 551021 w 695325"/>
                  <a:gd name="connsiteY1515" fmla="*/ 528638 h 552450"/>
                  <a:gd name="connsiteX1516" fmla="*/ 551021 w 695325"/>
                  <a:gd name="connsiteY1516" fmla="*/ 529495 h 552450"/>
                  <a:gd name="connsiteX1517" fmla="*/ 551021 w 695325"/>
                  <a:gd name="connsiteY1517" fmla="*/ 530352 h 552450"/>
                  <a:gd name="connsiteX1518" fmla="*/ 550164 w 695325"/>
                  <a:gd name="connsiteY1518" fmla="*/ 531209 h 552450"/>
                  <a:gd name="connsiteX1519" fmla="*/ 542544 w 695325"/>
                  <a:gd name="connsiteY1519" fmla="*/ 535400 h 552450"/>
                  <a:gd name="connsiteX1520" fmla="*/ 542544 w 695325"/>
                  <a:gd name="connsiteY1520" fmla="*/ 535400 h 552450"/>
                  <a:gd name="connsiteX1521" fmla="*/ 541687 w 695325"/>
                  <a:gd name="connsiteY1521" fmla="*/ 536257 h 552450"/>
                  <a:gd name="connsiteX1522" fmla="*/ 541687 w 695325"/>
                  <a:gd name="connsiteY1522" fmla="*/ 536257 h 552450"/>
                  <a:gd name="connsiteX1523" fmla="*/ 541687 w 695325"/>
                  <a:gd name="connsiteY1523" fmla="*/ 537115 h 552450"/>
                  <a:gd name="connsiteX1524" fmla="*/ 541687 w 695325"/>
                  <a:gd name="connsiteY1524" fmla="*/ 537972 h 552450"/>
                  <a:gd name="connsiteX1525" fmla="*/ 541687 w 695325"/>
                  <a:gd name="connsiteY1525" fmla="*/ 538829 h 552450"/>
                  <a:gd name="connsiteX1526" fmla="*/ 542544 w 695325"/>
                  <a:gd name="connsiteY1526" fmla="*/ 543020 h 552450"/>
                  <a:gd name="connsiteX1527" fmla="*/ 542544 w 695325"/>
                  <a:gd name="connsiteY1527" fmla="*/ 543877 h 552450"/>
                  <a:gd name="connsiteX1528" fmla="*/ 543401 w 695325"/>
                  <a:gd name="connsiteY1528" fmla="*/ 544735 h 552450"/>
                  <a:gd name="connsiteX1529" fmla="*/ 545116 w 695325"/>
                  <a:gd name="connsiteY1529" fmla="*/ 544735 h 552450"/>
                  <a:gd name="connsiteX1530" fmla="*/ 547592 w 695325"/>
                  <a:gd name="connsiteY1530" fmla="*/ 544735 h 552450"/>
                  <a:gd name="connsiteX1531" fmla="*/ 548450 w 695325"/>
                  <a:gd name="connsiteY1531" fmla="*/ 544735 h 552450"/>
                  <a:gd name="connsiteX1532" fmla="*/ 549307 w 695325"/>
                  <a:gd name="connsiteY1532" fmla="*/ 543877 h 552450"/>
                  <a:gd name="connsiteX1533" fmla="*/ 549307 w 695325"/>
                  <a:gd name="connsiteY1533" fmla="*/ 543020 h 552450"/>
                  <a:gd name="connsiteX1534" fmla="*/ 549307 w 695325"/>
                  <a:gd name="connsiteY1534" fmla="*/ 542258 h 552450"/>
                  <a:gd name="connsiteX1535" fmla="*/ 549307 w 695325"/>
                  <a:gd name="connsiteY1535" fmla="*/ 541401 h 552450"/>
                  <a:gd name="connsiteX1536" fmla="*/ 550164 w 695325"/>
                  <a:gd name="connsiteY1536" fmla="*/ 540544 h 552450"/>
                  <a:gd name="connsiteX1537" fmla="*/ 550164 w 695325"/>
                  <a:gd name="connsiteY1537" fmla="*/ 539686 h 552450"/>
                  <a:gd name="connsiteX1538" fmla="*/ 551021 w 695325"/>
                  <a:gd name="connsiteY1538" fmla="*/ 539686 h 552450"/>
                  <a:gd name="connsiteX1539" fmla="*/ 555308 w 695325"/>
                  <a:gd name="connsiteY1539" fmla="*/ 540544 h 552450"/>
                  <a:gd name="connsiteX1540" fmla="*/ 556070 w 695325"/>
                  <a:gd name="connsiteY1540" fmla="*/ 541401 h 552450"/>
                  <a:gd name="connsiteX1541" fmla="*/ 556927 w 695325"/>
                  <a:gd name="connsiteY1541" fmla="*/ 542258 h 552450"/>
                  <a:gd name="connsiteX1542" fmla="*/ 556070 w 695325"/>
                  <a:gd name="connsiteY1542" fmla="*/ 547306 h 552450"/>
                  <a:gd name="connsiteX1543" fmla="*/ 558641 w 695325"/>
                  <a:gd name="connsiteY1543" fmla="*/ 548164 h 552450"/>
                  <a:gd name="connsiteX1544" fmla="*/ 560356 w 695325"/>
                  <a:gd name="connsiteY1544" fmla="*/ 548164 h 552450"/>
                  <a:gd name="connsiteX1545" fmla="*/ 561213 w 695325"/>
                  <a:gd name="connsiteY1545" fmla="*/ 547306 h 552450"/>
                  <a:gd name="connsiteX1546" fmla="*/ 562928 w 695325"/>
                  <a:gd name="connsiteY1546" fmla="*/ 546449 h 552450"/>
                  <a:gd name="connsiteX1547" fmla="*/ 563785 w 695325"/>
                  <a:gd name="connsiteY1547" fmla="*/ 545592 h 552450"/>
                  <a:gd name="connsiteX1548" fmla="*/ 564642 w 695325"/>
                  <a:gd name="connsiteY1548" fmla="*/ 544735 h 552450"/>
                  <a:gd name="connsiteX1549" fmla="*/ 564642 w 695325"/>
                  <a:gd name="connsiteY1549" fmla="*/ 543877 h 552450"/>
                  <a:gd name="connsiteX1550" fmla="*/ 564642 w 695325"/>
                  <a:gd name="connsiteY1550" fmla="*/ 543020 h 552450"/>
                  <a:gd name="connsiteX1551" fmla="*/ 564642 w 695325"/>
                  <a:gd name="connsiteY1551" fmla="*/ 542258 h 552450"/>
                  <a:gd name="connsiteX1552" fmla="*/ 564642 w 695325"/>
                  <a:gd name="connsiteY1552" fmla="*/ 541401 h 552450"/>
                  <a:gd name="connsiteX1553" fmla="*/ 565404 w 695325"/>
                  <a:gd name="connsiteY1553" fmla="*/ 540544 h 552450"/>
                  <a:gd name="connsiteX1554" fmla="*/ 566261 w 695325"/>
                  <a:gd name="connsiteY1554" fmla="*/ 539686 h 552450"/>
                  <a:gd name="connsiteX1555" fmla="*/ 567119 w 695325"/>
                  <a:gd name="connsiteY1555" fmla="*/ 538829 h 552450"/>
                  <a:gd name="connsiteX1556" fmla="*/ 567976 w 695325"/>
                  <a:gd name="connsiteY1556" fmla="*/ 537972 h 552450"/>
                  <a:gd name="connsiteX1557" fmla="*/ 574834 w 695325"/>
                  <a:gd name="connsiteY1557" fmla="*/ 539686 h 552450"/>
                  <a:gd name="connsiteX1558" fmla="*/ 577310 w 695325"/>
                  <a:gd name="connsiteY1558" fmla="*/ 540544 h 552450"/>
                  <a:gd name="connsiteX1559" fmla="*/ 578168 w 695325"/>
                  <a:gd name="connsiteY1559" fmla="*/ 540544 h 552450"/>
                  <a:gd name="connsiteX1560" fmla="*/ 579882 w 695325"/>
                  <a:gd name="connsiteY1560" fmla="*/ 539686 h 552450"/>
                  <a:gd name="connsiteX1561" fmla="*/ 579882 w 695325"/>
                  <a:gd name="connsiteY1561" fmla="*/ 539686 h 552450"/>
                  <a:gd name="connsiteX1562" fmla="*/ 579882 w 695325"/>
                  <a:gd name="connsiteY1562" fmla="*/ 537972 h 552450"/>
                  <a:gd name="connsiteX1563" fmla="*/ 579882 w 695325"/>
                  <a:gd name="connsiteY1563" fmla="*/ 536257 h 552450"/>
                  <a:gd name="connsiteX1564" fmla="*/ 579882 w 695325"/>
                  <a:gd name="connsiteY1564" fmla="*/ 535400 h 552450"/>
                  <a:gd name="connsiteX1565" fmla="*/ 579882 w 695325"/>
                  <a:gd name="connsiteY1565" fmla="*/ 534543 h 552450"/>
                  <a:gd name="connsiteX1566" fmla="*/ 580739 w 695325"/>
                  <a:gd name="connsiteY1566" fmla="*/ 532828 h 552450"/>
                  <a:gd name="connsiteX1567" fmla="*/ 580739 w 695325"/>
                  <a:gd name="connsiteY1567" fmla="*/ 531209 h 552450"/>
                  <a:gd name="connsiteX1568" fmla="*/ 581597 w 695325"/>
                  <a:gd name="connsiteY1568" fmla="*/ 529495 h 552450"/>
                  <a:gd name="connsiteX1569" fmla="*/ 580739 w 695325"/>
                  <a:gd name="connsiteY1569" fmla="*/ 523494 h 552450"/>
                  <a:gd name="connsiteX1570" fmla="*/ 580739 w 695325"/>
                  <a:gd name="connsiteY1570" fmla="*/ 521780 h 552450"/>
                  <a:gd name="connsiteX1571" fmla="*/ 580739 w 695325"/>
                  <a:gd name="connsiteY1571" fmla="*/ 520922 h 552450"/>
                  <a:gd name="connsiteX1572" fmla="*/ 579882 w 695325"/>
                  <a:gd name="connsiteY1572" fmla="*/ 520160 h 552450"/>
                  <a:gd name="connsiteX1573" fmla="*/ 579882 w 695325"/>
                  <a:gd name="connsiteY1573" fmla="*/ 519303 h 552450"/>
                  <a:gd name="connsiteX1574" fmla="*/ 579025 w 695325"/>
                  <a:gd name="connsiteY1574" fmla="*/ 519303 h 552450"/>
                  <a:gd name="connsiteX1575" fmla="*/ 578168 w 695325"/>
                  <a:gd name="connsiteY1575" fmla="*/ 519303 h 552450"/>
                  <a:gd name="connsiteX1576" fmla="*/ 578168 w 695325"/>
                  <a:gd name="connsiteY1576" fmla="*/ 518446 h 552450"/>
                  <a:gd name="connsiteX1577" fmla="*/ 577310 w 695325"/>
                  <a:gd name="connsiteY1577" fmla="*/ 517588 h 552450"/>
                  <a:gd name="connsiteX1578" fmla="*/ 578168 w 695325"/>
                  <a:gd name="connsiteY1578" fmla="*/ 516731 h 552450"/>
                  <a:gd name="connsiteX1579" fmla="*/ 580739 w 695325"/>
                  <a:gd name="connsiteY1579" fmla="*/ 511588 h 552450"/>
                  <a:gd name="connsiteX1580" fmla="*/ 586645 w 695325"/>
                  <a:gd name="connsiteY1580" fmla="*/ 503110 h 552450"/>
                  <a:gd name="connsiteX1581" fmla="*/ 587502 w 695325"/>
                  <a:gd name="connsiteY1581" fmla="*/ 499681 h 552450"/>
                  <a:gd name="connsiteX1582" fmla="*/ 588359 w 695325"/>
                  <a:gd name="connsiteY1582" fmla="*/ 498062 h 552450"/>
                  <a:gd name="connsiteX1583" fmla="*/ 587502 w 695325"/>
                  <a:gd name="connsiteY1583" fmla="*/ 493776 h 552450"/>
                  <a:gd name="connsiteX1584" fmla="*/ 587502 w 695325"/>
                  <a:gd name="connsiteY1584" fmla="*/ 492919 h 552450"/>
                  <a:gd name="connsiteX1585" fmla="*/ 587502 w 695325"/>
                  <a:gd name="connsiteY1585" fmla="*/ 492919 h 552450"/>
                  <a:gd name="connsiteX1586" fmla="*/ 586645 w 695325"/>
                  <a:gd name="connsiteY1586" fmla="*/ 492061 h 552450"/>
                  <a:gd name="connsiteX1587" fmla="*/ 586645 w 695325"/>
                  <a:gd name="connsiteY1587" fmla="*/ 492061 h 552450"/>
                  <a:gd name="connsiteX1588" fmla="*/ 584930 w 695325"/>
                  <a:gd name="connsiteY1588" fmla="*/ 492061 h 552450"/>
                  <a:gd name="connsiteX1589" fmla="*/ 584168 w 695325"/>
                  <a:gd name="connsiteY1589" fmla="*/ 492061 h 552450"/>
                  <a:gd name="connsiteX1590" fmla="*/ 584168 w 695325"/>
                  <a:gd name="connsiteY1590" fmla="*/ 491204 h 552450"/>
                  <a:gd name="connsiteX1591" fmla="*/ 583311 w 695325"/>
                  <a:gd name="connsiteY1591" fmla="*/ 491204 h 552450"/>
                  <a:gd name="connsiteX1592" fmla="*/ 583311 w 695325"/>
                  <a:gd name="connsiteY1592" fmla="*/ 490347 h 552450"/>
                  <a:gd name="connsiteX1593" fmla="*/ 583311 w 695325"/>
                  <a:gd name="connsiteY1593" fmla="*/ 487775 h 552450"/>
                  <a:gd name="connsiteX1594" fmla="*/ 582454 w 695325"/>
                  <a:gd name="connsiteY1594" fmla="*/ 487013 h 552450"/>
                  <a:gd name="connsiteX1595" fmla="*/ 582454 w 695325"/>
                  <a:gd name="connsiteY1595" fmla="*/ 487013 h 552450"/>
                  <a:gd name="connsiteX1596" fmla="*/ 581597 w 695325"/>
                  <a:gd name="connsiteY1596" fmla="*/ 486156 h 552450"/>
                  <a:gd name="connsiteX1597" fmla="*/ 580739 w 695325"/>
                  <a:gd name="connsiteY1597" fmla="*/ 486156 h 552450"/>
                  <a:gd name="connsiteX1598" fmla="*/ 579882 w 695325"/>
                  <a:gd name="connsiteY1598" fmla="*/ 486156 h 552450"/>
                  <a:gd name="connsiteX1599" fmla="*/ 579025 w 695325"/>
                  <a:gd name="connsiteY1599" fmla="*/ 486156 h 552450"/>
                  <a:gd name="connsiteX1600" fmla="*/ 578168 w 695325"/>
                  <a:gd name="connsiteY1600" fmla="*/ 485299 h 552450"/>
                  <a:gd name="connsiteX1601" fmla="*/ 578168 w 695325"/>
                  <a:gd name="connsiteY1601" fmla="*/ 484442 h 552450"/>
                  <a:gd name="connsiteX1602" fmla="*/ 578168 w 695325"/>
                  <a:gd name="connsiteY1602" fmla="*/ 484442 h 552450"/>
                  <a:gd name="connsiteX1603" fmla="*/ 579025 w 695325"/>
                  <a:gd name="connsiteY1603" fmla="*/ 483584 h 552450"/>
                  <a:gd name="connsiteX1604" fmla="*/ 582454 w 695325"/>
                  <a:gd name="connsiteY1604" fmla="*/ 482727 h 552450"/>
                  <a:gd name="connsiteX1605" fmla="*/ 584168 w 695325"/>
                  <a:gd name="connsiteY1605" fmla="*/ 481013 h 552450"/>
                  <a:gd name="connsiteX1606" fmla="*/ 584930 w 695325"/>
                  <a:gd name="connsiteY1606" fmla="*/ 477584 h 552450"/>
                  <a:gd name="connsiteX1607" fmla="*/ 585788 w 695325"/>
                  <a:gd name="connsiteY1607" fmla="*/ 476726 h 552450"/>
                  <a:gd name="connsiteX1608" fmla="*/ 586645 w 695325"/>
                  <a:gd name="connsiteY1608" fmla="*/ 476726 h 552450"/>
                  <a:gd name="connsiteX1609" fmla="*/ 587502 w 695325"/>
                  <a:gd name="connsiteY1609" fmla="*/ 476726 h 552450"/>
                  <a:gd name="connsiteX1610" fmla="*/ 587502 w 695325"/>
                  <a:gd name="connsiteY1610" fmla="*/ 476726 h 552450"/>
                  <a:gd name="connsiteX1611" fmla="*/ 588359 w 695325"/>
                  <a:gd name="connsiteY1611" fmla="*/ 477584 h 552450"/>
                  <a:gd name="connsiteX1612" fmla="*/ 589217 w 695325"/>
                  <a:gd name="connsiteY1612" fmla="*/ 478441 h 552450"/>
                  <a:gd name="connsiteX1613" fmla="*/ 590074 w 695325"/>
                  <a:gd name="connsiteY1613" fmla="*/ 481013 h 552450"/>
                  <a:gd name="connsiteX1614" fmla="*/ 590931 w 695325"/>
                  <a:gd name="connsiteY1614" fmla="*/ 481870 h 552450"/>
                  <a:gd name="connsiteX1615" fmla="*/ 591788 w 695325"/>
                  <a:gd name="connsiteY1615" fmla="*/ 481870 h 552450"/>
                  <a:gd name="connsiteX1616" fmla="*/ 592646 w 695325"/>
                  <a:gd name="connsiteY1616" fmla="*/ 482727 h 552450"/>
                  <a:gd name="connsiteX1617" fmla="*/ 593503 w 695325"/>
                  <a:gd name="connsiteY1617" fmla="*/ 482727 h 552450"/>
                  <a:gd name="connsiteX1618" fmla="*/ 597694 w 695325"/>
                  <a:gd name="connsiteY1618" fmla="*/ 486156 h 552450"/>
                  <a:gd name="connsiteX1619" fmla="*/ 601123 w 695325"/>
                  <a:gd name="connsiteY1619" fmla="*/ 487775 h 552450"/>
                  <a:gd name="connsiteX1620" fmla="*/ 602837 w 695325"/>
                  <a:gd name="connsiteY1620" fmla="*/ 488632 h 552450"/>
                  <a:gd name="connsiteX1621" fmla="*/ 603695 w 695325"/>
                  <a:gd name="connsiteY1621" fmla="*/ 490347 h 552450"/>
                  <a:gd name="connsiteX1622" fmla="*/ 607028 w 695325"/>
                  <a:gd name="connsiteY1622" fmla="*/ 493776 h 552450"/>
                  <a:gd name="connsiteX1623" fmla="*/ 607028 w 695325"/>
                  <a:gd name="connsiteY1623" fmla="*/ 494633 h 552450"/>
                  <a:gd name="connsiteX1624" fmla="*/ 607886 w 695325"/>
                  <a:gd name="connsiteY1624" fmla="*/ 495490 h 552450"/>
                  <a:gd name="connsiteX1625" fmla="*/ 609600 w 695325"/>
                  <a:gd name="connsiteY1625" fmla="*/ 495490 h 552450"/>
                  <a:gd name="connsiteX1626" fmla="*/ 615506 w 695325"/>
                  <a:gd name="connsiteY1626" fmla="*/ 494633 h 552450"/>
                  <a:gd name="connsiteX1627" fmla="*/ 616363 w 695325"/>
                  <a:gd name="connsiteY1627" fmla="*/ 494633 h 552450"/>
                  <a:gd name="connsiteX1628" fmla="*/ 618935 w 695325"/>
                  <a:gd name="connsiteY1628" fmla="*/ 492919 h 552450"/>
                  <a:gd name="connsiteX1629" fmla="*/ 622363 w 695325"/>
                  <a:gd name="connsiteY1629" fmla="*/ 491204 h 552450"/>
                  <a:gd name="connsiteX1630" fmla="*/ 624078 w 695325"/>
                  <a:gd name="connsiteY1630" fmla="*/ 490347 h 552450"/>
                  <a:gd name="connsiteX1631" fmla="*/ 624840 w 695325"/>
                  <a:gd name="connsiteY1631" fmla="*/ 490347 h 552450"/>
                  <a:gd name="connsiteX1632" fmla="*/ 626555 w 695325"/>
                  <a:gd name="connsiteY1632" fmla="*/ 488632 h 552450"/>
                  <a:gd name="connsiteX1633" fmla="*/ 626555 w 695325"/>
                  <a:gd name="connsiteY1633" fmla="*/ 487775 h 552450"/>
                  <a:gd name="connsiteX1634" fmla="*/ 627412 w 695325"/>
                  <a:gd name="connsiteY1634" fmla="*/ 486156 h 552450"/>
                  <a:gd name="connsiteX1635" fmla="*/ 627412 w 695325"/>
                  <a:gd name="connsiteY1635" fmla="*/ 484442 h 552450"/>
                  <a:gd name="connsiteX1636" fmla="*/ 627412 w 695325"/>
                  <a:gd name="connsiteY1636" fmla="*/ 482727 h 552450"/>
                  <a:gd name="connsiteX1637" fmla="*/ 627412 w 695325"/>
                  <a:gd name="connsiteY1637" fmla="*/ 481870 h 552450"/>
                  <a:gd name="connsiteX1638" fmla="*/ 630841 w 695325"/>
                  <a:gd name="connsiteY1638" fmla="*/ 478441 h 552450"/>
                  <a:gd name="connsiteX1639" fmla="*/ 635889 w 695325"/>
                  <a:gd name="connsiteY1639" fmla="*/ 474250 h 552450"/>
                  <a:gd name="connsiteX1640" fmla="*/ 637604 w 695325"/>
                  <a:gd name="connsiteY1640" fmla="*/ 473392 h 552450"/>
                  <a:gd name="connsiteX1641" fmla="*/ 637604 w 695325"/>
                  <a:gd name="connsiteY1641" fmla="*/ 471678 h 552450"/>
                  <a:gd name="connsiteX1642" fmla="*/ 638461 w 695325"/>
                  <a:gd name="connsiteY1642" fmla="*/ 469963 h 552450"/>
                  <a:gd name="connsiteX1643" fmla="*/ 638461 w 695325"/>
                  <a:gd name="connsiteY1643" fmla="*/ 468249 h 552450"/>
                  <a:gd name="connsiteX1644" fmla="*/ 638461 w 695325"/>
                  <a:gd name="connsiteY1644" fmla="*/ 466534 h 552450"/>
                  <a:gd name="connsiteX1645" fmla="*/ 637604 w 695325"/>
                  <a:gd name="connsiteY1645" fmla="*/ 457200 h 552450"/>
                  <a:gd name="connsiteX1646" fmla="*/ 636746 w 695325"/>
                  <a:gd name="connsiteY1646" fmla="*/ 454628 h 552450"/>
                  <a:gd name="connsiteX1647" fmla="*/ 635032 w 695325"/>
                  <a:gd name="connsiteY1647" fmla="*/ 452152 h 552450"/>
                  <a:gd name="connsiteX1648" fmla="*/ 634175 w 695325"/>
                  <a:gd name="connsiteY1648" fmla="*/ 447865 h 552450"/>
                  <a:gd name="connsiteX1649" fmla="*/ 633413 w 695325"/>
                  <a:gd name="connsiteY1649" fmla="*/ 446151 h 552450"/>
                  <a:gd name="connsiteX1650" fmla="*/ 632555 w 695325"/>
                  <a:gd name="connsiteY1650" fmla="*/ 445294 h 552450"/>
                  <a:gd name="connsiteX1651" fmla="*/ 631698 w 695325"/>
                  <a:gd name="connsiteY1651" fmla="*/ 444436 h 552450"/>
                  <a:gd name="connsiteX1652" fmla="*/ 629984 w 695325"/>
                  <a:gd name="connsiteY1652" fmla="*/ 442817 h 552450"/>
                  <a:gd name="connsiteX1653" fmla="*/ 627412 w 695325"/>
                  <a:gd name="connsiteY1653" fmla="*/ 440246 h 552450"/>
                  <a:gd name="connsiteX1654" fmla="*/ 625697 w 695325"/>
                  <a:gd name="connsiteY1654" fmla="*/ 437674 h 552450"/>
                  <a:gd name="connsiteX1655" fmla="*/ 624840 w 695325"/>
                  <a:gd name="connsiteY1655" fmla="*/ 436817 h 552450"/>
                  <a:gd name="connsiteX1656" fmla="*/ 623221 w 695325"/>
                  <a:gd name="connsiteY1656" fmla="*/ 435959 h 552450"/>
                  <a:gd name="connsiteX1657" fmla="*/ 619792 w 695325"/>
                  <a:gd name="connsiteY1657" fmla="*/ 435102 h 552450"/>
                  <a:gd name="connsiteX1658" fmla="*/ 618935 w 695325"/>
                  <a:gd name="connsiteY1658" fmla="*/ 433388 h 552450"/>
                  <a:gd name="connsiteX1659" fmla="*/ 618077 w 695325"/>
                  <a:gd name="connsiteY1659" fmla="*/ 431768 h 552450"/>
                  <a:gd name="connsiteX1660" fmla="*/ 616363 w 695325"/>
                  <a:gd name="connsiteY1660" fmla="*/ 430054 h 552450"/>
                  <a:gd name="connsiteX1661" fmla="*/ 615506 w 695325"/>
                  <a:gd name="connsiteY1661" fmla="*/ 429196 h 552450"/>
                  <a:gd name="connsiteX1662" fmla="*/ 614648 w 695325"/>
                  <a:gd name="connsiteY1662" fmla="*/ 429196 h 552450"/>
                  <a:gd name="connsiteX1663" fmla="*/ 613029 w 695325"/>
                  <a:gd name="connsiteY1663" fmla="*/ 429196 h 552450"/>
                  <a:gd name="connsiteX1664" fmla="*/ 612172 w 695325"/>
                  <a:gd name="connsiteY1664" fmla="*/ 429196 h 552450"/>
                  <a:gd name="connsiteX1665" fmla="*/ 611315 w 695325"/>
                  <a:gd name="connsiteY1665" fmla="*/ 429196 h 552450"/>
                  <a:gd name="connsiteX1666" fmla="*/ 609600 w 695325"/>
                  <a:gd name="connsiteY1666" fmla="*/ 429196 h 552450"/>
                  <a:gd name="connsiteX1667" fmla="*/ 607886 w 695325"/>
                  <a:gd name="connsiteY1667" fmla="*/ 429196 h 552450"/>
                  <a:gd name="connsiteX1668" fmla="*/ 603695 w 695325"/>
                  <a:gd name="connsiteY1668" fmla="*/ 426625 h 552450"/>
                  <a:gd name="connsiteX1669" fmla="*/ 599408 w 695325"/>
                  <a:gd name="connsiteY1669" fmla="*/ 423196 h 552450"/>
                  <a:gd name="connsiteX1670" fmla="*/ 598551 w 695325"/>
                  <a:gd name="connsiteY1670" fmla="*/ 421481 h 552450"/>
                  <a:gd name="connsiteX1671" fmla="*/ 598551 w 695325"/>
                  <a:gd name="connsiteY1671" fmla="*/ 420719 h 552450"/>
                  <a:gd name="connsiteX1672" fmla="*/ 598551 w 695325"/>
                  <a:gd name="connsiteY1672" fmla="*/ 420719 h 552450"/>
                  <a:gd name="connsiteX1673" fmla="*/ 599408 w 695325"/>
                  <a:gd name="connsiteY1673" fmla="*/ 419862 h 552450"/>
                  <a:gd name="connsiteX1674" fmla="*/ 600266 w 695325"/>
                  <a:gd name="connsiteY1674" fmla="*/ 419862 h 552450"/>
                  <a:gd name="connsiteX1675" fmla="*/ 601123 w 695325"/>
                  <a:gd name="connsiteY1675" fmla="*/ 420719 h 552450"/>
                  <a:gd name="connsiteX1676" fmla="*/ 607886 w 695325"/>
                  <a:gd name="connsiteY1676" fmla="*/ 424053 h 552450"/>
                  <a:gd name="connsiteX1677" fmla="*/ 608743 w 695325"/>
                  <a:gd name="connsiteY1677" fmla="*/ 424053 h 552450"/>
                  <a:gd name="connsiteX1678" fmla="*/ 609600 w 695325"/>
                  <a:gd name="connsiteY1678" fmla="*/ 424053 h 552450"/>
                  <a:gd name="connsiteX1679" fmla="*/ 610457 w 695325"/>
                  <a:gd name="connsiteY1679" fmla="*/ 423196 h 552450"/>
                  <a:gd name="connsiteX1680" fmla="*/ 611315 w 695325"/>
                  <a:gd name="connsiteY1680" fmla="*/ 423196 h 552450"/>
                  <a:gd name="connsiteX1681" fmla="*/ 612172 w 695325"/>
                  <a:gd name="connsiteY1681" fmla="*/ 423196 h 552450"/>
                  <a:gd name="connsiteX1682" fmla="*/ 613029 w 695325"/>
                  <a:gd name="connsiteY1682" fmla="*/ 423196 h 552450"/>
                  <a:gd name="connsiteX1683" fmla="*/ 613886 w 695325"/>
                  <a:gd name="connsiteY1683" fmla="*/ 424053 h 552450"/>
                  <a:gd name="connsiteX1684" fmla="*/ 614648 w 695325"/>
                  <a:gd name="connsiteY1684" fmla="*/ 424053 h 552450"/>
                  <a:gd name="connsiteX1685" fmla="*/ 614648 w 695325"/>
                  <a:gd name="connsiteY1685" fmla="*/ 424053 h 552450"/>
                  <a:gd name="connsiteX1686" fmla="*/ 614648 w 695325"/>
                  <a:gd name="connsiteY1686" fmla="*/ 424053 h 552450"/>
                  <a:gd name="connsiteX1687" fmla="*/ 617220 w 695325"/>
                  <a:gd name="connsiteY1687" fmla="*/ 422338 h 552450"/>
                  <a:gd name="connsiteX1688" fmla="*/ 618077 w 695325"/>
                  <a:gd name="connsiteY1688" fmla="*/ 421481 h 552450"/>
                  <a:gd name="connsiteX1689" fmla="*/ 618935 w 695325"/>
                  <a:gd name="connsiteY1689" fmla="*/ 420719 h 552450"/>
                  <a:gd name="connsiteX1690" fmla="*/ 619792 w 695325"/>
                  <a:gd name="connsiteY1690" fmla="*/ 420719 h 552450"/>
                  <a:gd name="connsiteX1691" fmla="*/ 621506 w 695325"/>
                  <a:gd name="connsiteY1691" fmla="*/ 420719 h 552450"/>
                  <a:gd name="connsiteX1692" fmla="*/ 622363 w 695325"/>
                  <a:gd name="connsiteY1692" fmla="*/ 419862 h 552450"/>
                  <a:gd name="connsiteX1693" fmla="*/ 624078 w 695325"/>
                  <a:gd name="connsiteY1693" fmla="*/ 418147 h 552450"/>
                  <a:gd name="connsiteX1694" fmla="*/ 624840 w 695325"/>
                  <a:gd name="connsiteY1694" fmla="*/ 412147 h 552450"/>
                  <a:gd name="connsiteX1695" fmla="*/ 626555 w 695325"/>
                  <a:gd name="connsiteY1695" fmla="*/ 410432 h 552450"/>
                  <a:gd name="connsiteX1696" fmla="*/ 627412 w 695325"/>
                  <a:gd name="connsiteY1696" fmla="*/ 409670 h 552450"/>
                  <a:gd name="connsiteX1697" fmla="*/ 628269 w 695325"/>
                  <a:gd name="connsiteY1697" fmla="*/ 409670 h 552450"/>
                  <a:gd name="connsiteX1698" fmla="*/ 629984 w 695325"/>
                  <a:gd name="connsiteY1698" fmla="*/ 412147 h 552450"/>
                  <a:gd name="connsiteX1699" fmla="*/ 630841 w 695325"/>
                  <a:gd name="connsiteY1699" fmla="*/ 412147 h 552450"/>
                  <a:gd name="connsiteX1700" fmla="*/ 632555 w 695325"/>
                  <a:gd name="connsiteY1700" fmla="*/ 412147 h 552450"/>
                  <a:gd name="connsiteX1701" fmla="*/ 638461 w 695325"/>
                  <a:gd name="connsiteY1701" fmla="*/ 409670 h 552450"/>
                  <a:gd name="connsiteX1702" fmla="*/ 639318 w 695325"/>
                  <a:gd name="connsiteY1702" fmla="*/ 408813 h 552450"/>
                  <a:gd name="connsiteX1703" fmla="*/ 640175 w 695325"/>
                  <a:gd name="connsiteY1703" fmla="*/ 407098 h 552450"/>
                  <a:gd name="connsiteX1704" fmla="*/ 642747 w 695325"/>
                  <a:gd name="connsiteY1704" fmla="*/ 399383 h 552450"/>
                  <a:gd name="connsiteX1705" fmla="*/ 643604 w 695325"/>
                  <a:gd name="connsiteY1705" fmla="*/ 396907 h 552450"/>
                  <a:gd name="connsiteX1706" fmla="*/ 645224 w 695325"/>
                  <a:gd name="connsiteY1706" fmla="*/ 395192 h 552450"/>
                  <a:gd name="connsiteX1707" fmla="*/ 647795 w 695325"/>
                  <a:gd name="connsiteY1707" fmla="*/ 394335 h 552450"/>
                  <a:gd name="connsiteX1708" fmla="*/ 649510 w 695325"/>
                  <a:gd name="connsiteY1708" fmla="*/ 393478 h 552450"/>
                  <a:gd name="connsiteX1709" fmla="*/ 652082 w 695325"/>
                  <a:gd name="connsiteY1709" fmla="*/ 390049 h 552450"/>
                  <a:gd name="connsiteX1710" fmla="*/ 652939 w 695325"/>
                  <a:gd name="connsiteY1710" fmla="*/ 389192 h 552450"/>
                  <a:gd name="connsiteX1711" fmla="*/ 654558 w 695325"/>
                  <a:gd name="connsiteY1711" fmla="*/ 388334 h 552450"/>
                  <a:gd name="connsiteX1712" fmla="*/ 655415 w 695325"/>
                  <a:gd name="connsiteY1712" fmla="*/ 388334 h 552450"/>
                  <a:gd name="connsiteX1713" fmla="*/ 657987 w 695325"/>
                  <a:gd name="connsiteY1713" fmla="*/ 390049 h 552450"/>
                  <a:gd name="connsiteX1714" fmla="*/ 658844 w 695325"/>
                  <a:gd name="connsiteY1714" fmla="*/ 390049 h 552450"/>
                  <a:gd name="connsiteX1715" fmla="*/ 660559 w 695325"/>
                  <a:gd name="connsiteY1715" fmla="*/ 390049 h 552450"/>
                  <a:gd name="connsiteX1716" fmla="*/ 674942 w 695325"/>
                  <a:gd name="connsiteY1716" fmla="*/ 385858 h 552450"/>
                  <a:gd name="connsiteX1717" fmla="*/ 677513 w 695325"/>
                  <a:gd name="connsiteY1717" fmla="*/ 385000 h 552450"/>
                  <a:gd name="connsiteX1718" fmla="*/ 679228 w 695325"/>
                  <a:gd name="connsiteY1718" fmla="*/ 384143 h 552450"/>
                  <a:gd name="connsiteX1719" fmla="*/ 680942 w 695325"/>
                  <a:gd name="connsiteY1719" fmla="*/ 382429 h 552450"/>
                  <a:gd name="connsiteX1720" fmla="*/ 680942 w 695325"/>
                  <a:gd name="connsiteY1720" fmla="*/ 382429 h 552450"/>
                  <a:gd name="connsiteX1721" fmla="*/ 681800 w 695325"/>
                  <a:gd name="connsiteY1721" fmla="*/ 380714 h 552450"/>
                  <a:gd name="connsiteX1722" fmla="*/ 681800 w 695325"/>
                  <a:gd name="connsiteY1722" fmla="*/ 379857 h 552450"/>
                  <a:gd name="connsiteX1723" fmla="*/ 681800 w 695325"/>
                  <a:gd name="connsiteY1723" fmla="*/ 379000 h 552450"/>
                  <a:gd name="connsiteX1724" fmla="*/ 680942 w 695325"/>
                  <a:gd name="connsiteY1724" fmla="*/ 378142 h 552450"/>
                  <a:gd name="connsiteX1725" fmla="*/ 680942 w 695325"/>
                  <a:gd name="connsiteY1725" fmla="*/ 376523 h 552450"/>
                  <a:gd name="connsiteX1726" fmla="*/ 680085 w 695325"/>
                  <a:gd name="connsiteY1726" fmla="*/ 375666 h 552450"/>
                  <a:gd name="connsiteX1727" fmla="*/ 680085 w 695325"/>
                  <a:gd name="connsiteY1727" fmla="*/ 375666 h 552450"/>
                  <a:gd name="connsiteX1728" fmla="*/ 679228 w 695325"/>
                  <a:gd name="connsiteY1728" fmla="*/ 375666 h 552450"/>
                  <a:gd name="connsiteX1729" fmla="*/ 678371 w 695325"/>
                  <a:gd name="connsiteY1729" fmla="*/ 375666 h 552450"/>
                  <a:gd name="connsiteX1730" fmla="*/ 677513 w 695325"/>
                  <a:gd name="connsiteY1730" fmla="*/ 376523 h 552450"/>
                  <a:gd name="connsiteX1731" fmla="*/ 675799 w 695325"/>
                  <a:gd name="connsiteY1731" fmla="*/ 377285 h 552450"/>
                  <a:gd name="connsiteX1732" fmla="*/ 674942 w 695325"/>
                  <a:gd name="connsiteY1732" fmla="*/ 377285 h 552450"/>
                  <a:gd name="connsiteX1733" fmla="*/ 673322 w 695325"/>
                  <a:gd name="connsiteY1733" fmla="*/ 378142 h 552450"/>
                  <a:gd name="connsiteX1734" fmla="*/ 669893 w 695325"/>
                  <a:gd name="connsiteY1734" fmla="*/ 379000 h 552450"/>
                  <a:gd name="connsiteX1735" fmla="*/ 668179 w 695325"/>
                  <a:gd name="connsiteY1735" fmla="*/ 379000 h 552450"/>
                  <a:gd name="connsiteX1736" fmla="*/ 668179 w 695325"/>
                  <a:gd name="connsiteY1736" fmla="*/ 378142 h 552450"/>
                  <a:gd name="connsiteX1737" fmla="*/ 667322 w 695325"/>
                  <a:gd name="connsiteY1737" fmla="*/ 377285 h 552450"/>
                  <a:gd name="connsiteX1738" fmla="*/ 666464 w 695325"/>
                  <a:gd name="connsiteY1738" fmla="*/ 376523 h 552450"/>
                  <a:gd name="connsiteX1739" fmla="*/ 665607 w 695325"/>
                  <a:gd name="connsiteY1739" fmla="*/ 376523 h 552450"/>
                  <a:gd name="connsiteX1740" fmla="*/ 664750 w 695325"/>
                  <a:gd name="connsiteY1740" fmla="*/ 375666 h 552450"/>
                  <a:gd name="connsiteX1741" fmla="*/ 663131 w 695325"/>
                  <a:gd name="connsiteY1741" fmla="*/ 375666 h 552450"/>
                  <a:gd name="connsiteX1742" fmla="*/ 663131 w 695325"/>
                  <a:gd name="connsiteY1742" fmla="*/ 376523 h 552450"/>
                  <a:gd name="connsiteX1743" fmla="*/ 662273 w 695325"/>
                  <a:gd name="connsiteY1743" fmla="*/ 376523 h 552450"/>
                  <a:gd name="connsiteX1744" fmla="*/ 662273 w 695325"/>
                  <a:gd name="connsiteY1744" fmla="*/ 377285 h 552450"/>
                  <a:gd name="connsiteX1745" fmla="*/ 661416 w 695325"/>
                  <a:gd name="connsiteY1745" fmla="*/ 378142 h 552450"/>
                  <a:gd name="connsiteX1746" fmla="*/ 660559 w 695325"/>
                  <a:gd name="connsiteY1746" fmla="*/ 378142 h 552450"/>
                  <a:gd name="connsiteX1747" fmla="*/ 652939 w 695325"/>
                  <a:gd name="connsiteY1747" fmla="*/ 377285 h 552450"/>
                  <a:gd name="connsiteX1748" fmla="*/ 650367 w 695325"/>
                  <a:gd name="connsiteY1748" fmla="*/ 377285 h 552450"/>
                  <a:gd name="connsiteX1749" fmla="*/ 647795 w 695325"/>
                  <a:gd name="connsiteY1749" fmla="*/ 377285 h 552450"/>
                  <a:gd name="connsiteX1750" fmla="*/ 643604 w 695325"/>
                  <a:gd name="connsiteY1750" fmla="*/ 379000 h 552450"/>
                  <a:gd name="connsiteX1751" fmla="*/ 640175 w 695325"/>
                  <a:gd name="connsiteY1751" fmla="*/ 380714 h 552450"/>
                  <a:gd name="connsiteX1752" fmla="*/ 632555 w 695325"/>
                  <a:gd name="connsiteY1752" fmla="*/ 381571 h 552450"/>
                  <a:gd name="connsiteX1753" fmla="*/ 629126 w 695325"/>
                  <a:gd name="connsiteY1753" fmla="*/ 383286 h 552450"/>
                  <a:gd name="connsiteX1754" fmla="*/ 628269 w 695325"/>
                  <a:gd name="connsiteY1754" fmla="*/ 383286 h 552450"/>
                  <a:gd name="connsiteX1755" fmla="*/ 628269 w 695325"/>
                  <a:gd name="connsiteY1755" fmla="*/ 383286 h 552450"/>
                  <a:gd name="connsiteX1756" fmla="*/ 627412 w 695325"/>
                  <a:gd name="connsiteY1756" fmla="*/ 382429 h 552450"/>
                  <a:gd name="connsiteX1757" fmla="*/ 626555 w 695325"/>
                  <a:gd name="connsiteY1757" fmla="*/ 379857 h 552450"/>
                  <a:gd name="connsiteX1758" fmla="*/ 624840 w 695325"/>
                  <a:gd name="connsiteY1758" fmla="*/ 378142 h 552450"/>
                  <a:gd name="connsiteX1759" fmla="*/ 622363 w 695325"/>
                  <a:gd name="connsiteY1759" fmla="*/ 373951 h 552450"/>
                  <a:gd name="connsiteX1760" fmla="*/ 621506 w 695325"/>
                  <a:gd name="connsiteY1760" fmla="*/ 373094 h 552450"/>
                  <a:gd name="connsiteX1761" fmla="*/ 620649 w 695325"/>
                  <a:gd name="connsiteY1761" fmla="*/ 371380 h 552450"/>
                  <a:gd name="connsiteX1762" fmla="*/ 621506 w 695325"/>
                  <a:gd name="connsiteY1762" fmla="*/ 370522 h 552450"/>
                  <a:gd name="connsiteX1763" fmla="*/ 622363 w 695325"/>
                  <a:gd name="connsiteY1763" fmla="*/ 369665 h 552450"/>
                  <a:gd name="connsiteX1764" fmla="*/ 624840 w 695325"/>
                  <a:gd name="connsiteY1764" fmla="*/ 369665 h 552450"/>
                  <a:gd name="connsiteX1765" fmla="*/ 627412 w 695325"/>
                  <a:gd name="connsiteY1765" fmla="*/ 368808 h 552450"/>
                  <a:gd name="connsiteX1766" fmla="*/ 629126 w 695325"/>
                  <a:gd name="connsiteY1766" fmla="*/ 366236 h 552450"/>
                  <a:gd name="connsiteX1767" fmla="*/ 630841 w 695325"/>
                  <a:gd name="connsiteY1767" fmla="*/ 362902 h 552450"/>
                  <a:gd name="connsiteX1768" fmla="*/ 629984 w 695325"/>
                  <a:gd name="connsiteY1768" fmla="*/ 361188 h 552450"/>
                  <a:gd name="connsiteX1769" fmla="*/ 629126 w 695325"/>
                  <a:gd name="connsiteY1769" fmla="*/ 359473 h 552450"/>
                  <a:gd name="connsiteX1770" fmla="*/ 628269 w 695325"/>
                  <a:gd name="connsiteY1770" fmla="*/ 358616 h 552450"/>
                  <a:gd name="connsiteX1771" fmla="*/ 627412 w 695325"/>
                  <a:gd name="connsiteY1771" fmla="*/ 357759 h 552450"/>
                  <a:gd name="connsiteX1772" fmla="*/ 626555 w 695325"/>
                  <a:gd name="connsiteY1772" fmla="*/ 356044 h 552450"/>
                  <a:gd name="connsiteX1773" fmla="*/ 626555 w 695325"/>
                  <a:gd name="connsiteY1773" fmla="*/ 354425 h 552450"/>
                  <a:gd name="connsiteX1774" fmla="*/ 626555 w 695325"/>
                  <a:gd name="connsiteY1774" fmla="*/ 352711 h 552450"/>
                  <a:gd name="connsiteX1775" fmla="*/ 625697 w 695325"/>
                  <a:gd name="connsiteY1775" fmla="*/ 349282 h 552450"/>
                  <a:gd name="connsiteX1776" fmla="*/ 625697 w 695325"/>
                  <a:gd name="connsiteY1776" fmla="*/ 348425 h 552450"/>
                  <a:gd name="connsiteX1777" fmla="*/ 625697 w 695325"/>
                  <a:gd name="connsiteY1777" fmla="*/ 347567 h 552450"/>
                  <a:gd name="connsiteX1778" fmla="*/ 627412 w 695325"/>
                  <a:gd name="connsiteY1778" fmla="*/ 344138 h 552450"/>
                  <a:gd name="connsiteX1779" fmla="*/ 629126 w 695325"/>
                  <a:gd name="connsiteY1779" fmla="*/ 344138 h 552450"/>
                  <a:gd name="connsiteX1780" fmla="*/ 629984 w 695325"/>
                  <a:gd name="connsiteY1780" fmla="*/ 343376 h 552450"/>
                  <a:gd name="connsiteX1781" fmla="*/ 634175 w 695325"/>
                  <a:gd name="connsiteY1781" fmla="*/ 342519 h 552450"/>
                  <a:gd name="connsiteX1782" fmla="*/ 637604 w 695325"/>
                  <a:gd name="connsiteY1782" fmla="*/ 340805 h 552450"/>
                  <a:gd name="connsiteX1783" fmla="*/ 639318 w 695325"/>
                  <a:gd name="connsiteY1783" fmla="*/ 340805 h 552450"/>
                  <a:gd name="connsiteX1784" fmla="*/ 641890 w 695325"/>
                  <a:gd name="connsiteY1784" fmla="*/ 339947 h 552450"/>
                  <a:gd name="connsiteX1785" fmla="*/ 644366 w 695325"/>
                  <a:gd name="connsiteY1785" fmla="*/ 338233 h 552450"/>
                  <a:gd name="connsiteX1786" fmla="*/ 645224 w 695325"/>
                  <a:gd name="connsiteY1786" fmla="*/ 336518 h 552450"/>
                  <a:gd name="connsiteX1787" fmla="*/ 654558 w 695325"/>
                  <a:gd name="connsiteY1787" fmla="*/ 332327 h 552450"/>
                  <a:gd name="connsiteX1788" fmla="*/ 662273 w 695325"/>
                  <a:gd name="connsiteY1788" fmla="*/ 330613 h 552450"/>
                  <a:gd name="connsiteX1789" fmla="*/ 662273 w 695325"/>
                  <a:gd name="connsiteY1789" fmla="*/ 322040 h 552450"/>
                  <a:gd name="connsiteX1790" fmla="*/ 663893 w 695325"/>
                  <a:gd name="connsiteY1790" fmla="*/ 317849 h 552450"/>
                  <a:gd name="connsiteX1791" fmla="*/ 663893 w 695325"/>
                  <a:gd name="connsiteY1791" fmla="*/ 316992 h 552450"/>
                  <a:gd name="connsiteX1792" fmla="*/ 663131 w 695325"/>
                  <a:gd name="connsiteY1792" fmla="*/ 315277 h 552450"/>
                  <a:gd name="connsiteX1793" fmla="*/ 662273 w 695325"/>
                  <a:gd name="connsiteY1793" fmla="*/ 314420 h 552450"/>
                  <a:gd name="connsiteX1794" fmla="*/ 661416 w 695325"/>
                  <a:gd name="connsiteY1794" fmla="*/ 312706 h 552450"/>
                  <a:gd name="connsiteX1795" fmla="*/ 660559 w 695325"/>
                  <a:gd name="connsiteY1795" fmla="*/ 311848 h 552450"/>
                  <a:gd name="connsiteX1796" fmla="*/ 660559 w 695325"/>
                  <a:gd name="connsiteY1796" fmla="*/ 308515 h 552450"/>
                  <a:gd name="connsiteX1797" fmla="*/ 660559 w 695325"/>
                  <a:gd name="connsiteY1797" fmla="*/ 306800 h 552450"/>
                  <a:gd name="connsiteX1798" fmla="*/ 658844 w 695325"/>
                  <a:gd name="connsiteY1798" fmla="*/ 304228 h 552450"/>
                  <a:gd name="connsiteX1799" fmla="*/ 657987 w 695325"/>
                  <a:gd name="connsiteY1799" fmla="*/ 303371 h 552450"/>
                  <a:gd name="connsiteX1800" fmla="*/ 656273 w 695325"/>
                  <a:gd name="connsiteY1800" fmla="*/ 301657 h 552450"/>
                  <a:gd name="connsiteX1801" fmla="*/ 655415 w 695325"/>
                  <a:gd name="connsiteY1801" fmla="*/ 300800 h 552450"/>
                  <a:gd name="connsiteX1802" fmla="*/ 655415 w 695325"/>
                  <a:gd name="connsiteY1802" fmla="*/ 299180 h 552450"/>
                  <a:gd name="connsiteX1803" fmla="*/ 655415 w 695325"/>
                  <a:gd name="connsiteY1803" fmla="*/ 295751 h 552450"/>
                  <a:gd name="connsiteX1804" fmla="*/ 655415 w 695325"/>
                  <a:gd name="connsiteY1804" fmla="*/ 294037 h 552450"/>
                  <a:gd name="connsiteX1805" fmla="*/ 654558 w 695325"/>
                  <a:gd name="connsiteY1805" fmla="*/ 292322 h 552450"/>
                  <a:gd name="connsiteX1806" fmla="*/ 654558 w 695325"/>
                  <a:gd name="connsiteY1806" fmla="*/ 289750 h 552450"/>
                  <a:gd name="connsiteX1807" fmla="*/ 654558 w 695325"/>
                  <a:gd name="connsiteY1807" fmla="*/ 287274 h 552450"/>
                  <a:gd name="connsiteX1808" fmla="*/ 655415 w 695325"/>
                  <a:gd name="connsiteY1808" fmla="*/ 284702 h 552450"/>
                  <a:gd name="connsiteX1809" fmla="*/ 656273 w 695325"/>
                  <a:gd name="connsiteY1809" fmla="*/ 283845 h 552450"/>
                  <a:gd name="connsiteX1810" fmla="*/ 657130 w 695325"/>
                  <a:gd name="connsiteY1810" fmla="*/ 283845 h 552450"/>
                  <a:gd name="connsiteX1811" fmla="*/ 657987 w 695325"/>
                  <a:gd name="connsiteY1811" fmla="*/ 282988 h 552450"/>
                  <a:gd name="connsiteX1812" fmla="*/ 658844 w 695325"/>
                  <a:gd name="connsiteY1812" fmla="*/ 283845 h 552450"/>
                  <a:gd name="connsiteX1813" fmla="*/ 658844 w 695325"/>
                  <a:gd name="connsiteY1813" fmla="*/ 283845 h 552450"/>
                  <a:gd name="connsiteX1814" fmla="*/ 659702 w 695325"/>
                  <a:gd name="connsiteY1814" fmla="*/ 284702 h 552450"/>
                  <a:gd name="connsiteX1815" fmla="*/ 661416 w 695325"/>
                  <a:gd name="connsiteY1815" fmla="*/ 286417 h 552450"/>
                  <a:gd name="connsiteX1816" fmla="*/ 662273 w 695325"/>
                  <a:gd name="connsiteY1816" fmla="*/ 286417 h 552450"/>
                  <a:gd name="connsiteX1817" fmla="*/ 663131 w 695325"/>
                  <a:gd name="connsiteY1817" fmla="*/ 287274 h 552450"/>
                  <a:gd name="connsiteX1818" fmla="*/ 664750 w 695325"/>
                  <a:gd name="connsiteY1818" fmla="*/ 287274 h 552450"/>
                  <a:gd name="connsiteX1819" fmla="*/ 668179 w 695325"/>
                  <a:gd name="connsiteY1819" fmla="*/ 286417 h 552450"/>
                  <a:gd name="connsiteX1820" fmla="*/ 669893 w 695325"/>
                  <a:gd name="connsiteY1820" fmla="*/ 285559 h 552450"/>
                  <a:gd name="connsiteX1821" fmla="*/ 671608 w 695325"/>
                  <a:gd name="connsiteY1821" fmla="*/ 284702 h 552450"/>
                  <a:gd name="connsiteX1822" fmla="*/ 673322 w 695325"/>
                  <a:gd name="connsiteY1822" fmla="*/ 283845 h 552450"/>
                  <a:gd name="connsiteX1823" fmla="*/ 674084 w 695325"/>
                  <a:gd name="connsiteY1823" fmla="*/ 282130 h 552450"/>
                  <a:gd name="connsiteX1824" fmla="*/ 674942 w 695325"/>
                  <a:gd name="connsiteY1824" fmla="*/ 281273 h 552450"/>
                  <a:gd name="connsiteX1825" fmla="*/ 674942 w 695325"/>
                  <a:gd name="connsiteY1825" fmla="*/ 280416 h 552450"/>
                  <a:gd name="connsiteX1826" fmla="*/ 675799 w 695325"/>
                  <a:gd name="connsiteY1826" fmla="*/ 278701 h 552450"/>
                  <a:gd name="connsiteX1827" fmla="*/ 674942 w 695325"/>
                  <a:gd name="connsiteY1827" fmla="*/ 277844 h 552450"/>
                  <a:gd name="connsiteX1828" fmla="*/ 674084 w 695325"/>
                  <a:gd name="connsiteY1828" fmla="*/ 277082 h 552450"/>
                  <a:gd name="connsiteX1829" fmla="*/ 672465 w 695325"/>
                  <a:gd name="connsiteY1829" fmla="*/ 276225 h 552450"/>
                  <a:gd name="connsiteX1830" fmla="*/ 669893 w 695325"/>
                  <a:gd name="connsiteY1830" fmla="*/ 275368 h 552450"/>
                  <a:gd name="connsiteX1831" fmla="*/ 666464 w 695325"/>
                  <a:gd name="connsiteY1831" fmla="*/ 275368 h 552450"/>
                  <a:gd name="connsiteX1832" fmla="*/ 662273 w 695325"/>
                  <a:gd name="connsiteY1832" fmla="*/ 276225 h 552450"/>
                  <a:gd name="connsiteX1833" fmla="*/ 660559 w 695325"/>
                  <a:gd name="connsiteY1833" fmla="*/ 276225 h 552450"/>
                  <a:gd name="connsiteX1834" fmla="*/ 658844 w 695325"/>
                  <a:gd name="connsiteY1834" fmla="*/ 275368 h 552450"/>
                  <a:gd name="connsiteX1835" fmla="*/ 657130 w 695325"/>
                  <a:gd name="connsiteY1835" fmla="*/ 274510 h 552450"/>
                  <a:gd name="connsiteX1836" fmla="*/ 652082 w 695325"/>
                  <a:gd name="connsiteY1836" fmla="*/ 269367 h 552450"/>
                  <a:gd name="connsiteX1837" fmla="*/ 651224 w 695325"/>
                  <a:gd name="connsiteY1837" fmla="*/ 267652 h 552450"/>
                  <a:gd name="connsiteX1838" fmla="*/ 651224 w 695325"/>
                  <a:gd name="connsiteY1838" fmla="*/ 266795 h 552450"/>
                  <a:gd name="connsiteX1839" fmla="*/ 652082 w 695325"/>
                  <a:gd name="connsiteY1839" fmla="*/ 264319 h 552450"/>
                  <a:gd name="connsiteX1840" fmla="*/ 652939 w 695325"/>
                  <a:gd name="connsiteY1840" fmla="*/ 263461 h 552450"/>
                  <a:gd name="connsiteX1841" fmla="*/ 653701 w 695325"/>
                  <a:gd name="connsiteY1841" fmla="*/ 263461 h 552450"/>
                  <a:gd name="connsiteX1842" fmla="*/ 654558 w 695325"/>
                  <a:gd name="connsiteY1842" fmla="*/ 262604 h 552450"/>
                  <a:gd name="connsiteX1843" fmla="*/ 655415 w 695325"/>
                  <a:gd name="connsiteY1843" fmla="*/ 263461 h 552450"/>
                  <a:gd name="connsiteX1844" fmla="*/ 661416 w 695325"/>
                  <a:gd name="connsiteY1844" fmla="*/ 265176 h 552450"/>
                  <a:gd name="connsiteX1845" fmla="*/ 662273 w 695325"/>
                  <a:gd name="connsiteY1845" fmla="*/ 265176 h 552450"/>
                  <a:gd name="connsiteX1846" fmla="*/ 663893 w 695325"/>
                  <a:gd name="connsiteY1846" fmla="*/ 265176 h 552450"/>
                  <a:gd name="connsiteX1847" fmla="*/ 664750 w 695325"/>
                  <a:gd name="connsiteY1847" fmla="*/ 264319 h 552450"/>
                  <a:gd name="connsiteX1848" fmla="*/ 665607 w 695325"/>
                  <a:gd name="connsiteY1848" fmla="*/ 263461 h 552450"/>
                  <a:gd name="connsiteX1849" fmla="*/ 669893 w 695325"/>
                  <a:gd name="connsiteY1849" fmla="*/ 259175 h 552450"/>
                  <a:gd name="connsiteX1850" fmla="*/ 678371 w 695325"/>
                  <a:gd name="connsiteY1850" fmla="*/ 252413 h 552450"/>
                  <a:gd name="connsiteX1851" fmla="*/ 679228 w 695325"/>
                  <a:gd name="connsiteY1851" fmla="*/ 252413 h 552450"/>
                  <a:gd name="connsiteX1852" fmla="*/ 680942 w 695325"/>
                  <a:gd name="connsiteY1852" fmla="*/ 251555 h 552450"/>
                  <a:gd name="connsiteX1853" fmla="*/ 683419 w 695325"/>
                  <a:gd name="connsiteY1853" fmla="*/ 251555 h 552450"/>
                  <a:gd name="connsiteX1854" fmla="*/ 685133 w 695325"/>
                  <a:gd name="connsiteY1854" fmla="*/ 251555 h 552450"/>
                  <a:gd name="connsiteX1855" fmla="*/ 685990 w 695325"/>
                  <a:gd name="connsiteY1855" fmla="*/ 251555 h 552450"/>
                  <a:gd name="connsiteX1856" fmla="*/ 686848 w 695325"/>
                  <a:gd name="connsiteY1856" fmla="*/ 250698 h 552450"/>
                  <a:gd name="connsiteX1857" fmla="*/ 688562 w 695325"/>
                  <a:gd name="connsiteY1857" fmla="*/ 249841 h 552450"/>
                  <a:gd name="connsiteX1858" fmla="*/ 689420 w 695325"/>
                  <a:gd name="connsiteY1858" fmla="*/ 248984 h 552450"/>
                  <a:gd name="connsiteX1859" fmla="*/ 690277 w 695325"/>
                  <a:gd name="connsiteY1859" fmla="*/ 247269 h 552450"/>
                  <a:gd name="connsiteX1860" fmla="*/ 698754 w 695325"/>
                  <a:gd name="connsiteY1860" fmla="*/ 229457 h 552450"/>
                  <a:gd name="connsiteX1861" fmla="*/ 699611 w 695325"/>
                  <a:gd name="connsiteY1861" fmla="*/ 226885 h 552450"/>
                  <a:gd name="connsiteX1862" fmla="*/ 698754 w 695325"/>
                  <a:gd name="connsiteY1862" fmla="*/ 225171 h 552450"/>
                  <a:gd name="connsiteX1863" fmla="*/ 698754 w 695325"/>
                  <a:gd name="connsiteY1863" fmla="*/ 225171 h 552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</a:cxnLst>
                <a:rect l="l" t="t" r="r" b="b"/>
                <a:pathLst>
                  <a:path w="695325" h="552450">
                    <a:moveTo>
                      <a:pt x="698754" y="225171"/>
                    </a:moveTo>
                    <a:lnTo>
                      <a:pt x="695325" y="220980"/>
                    </a:lnTo>
                    <a:lnTo>
                      <a:pt x="693611" y="220123"/>
                    </a:lnTo>
                    <a:lnTo>
                      <a:pt x="692849" y="220123"/>
                    </a:lnTo>
                    <a:lnTo>
                      <a:pt x="691991" y="220980"/>
                    </a:lnTo>
                    <a:lnTo>
                      <a:pt x="691134" y="220980"/>
                    </a:lnTo>
                    <a:lnTo>
                      <a:pt x="690277" y="220980"/>
                    </a:lnTo>
                    <a:lnTo>
                      <a:pt x="689420" y="220980"/>
                    </a:lnTo>
                    <a:lnTo>
                      <a:pt x="688562" y="220980"/>
                    </a:lnTo>
                    <a:lnTo>
                      <a:pt x="688562" y="219265"/>
                    </a:lnTo>
                    <a:lnTo>
                      <a:pt x="687705" y="217551"/>
                    </a:lnTo>
                    <a:lnTo>
                      <a:pt x="685990" y="207359"/>
                    </a:lnTo>
                    <a:lnTo>
                      <a:pt x="684276" y="201359"/>
                    </a:lnTo>
                    <a:lnTo>
                      <a:pt x="683419" y="198882"/>
                    </a:lnTo>
                    <a:lnTo>
                      <a:pt x="682657" y="197167"/>
                    </a:lnTo>
                    <a:lnTo>
                      <a:pt x="681800" y="197167"/>
                    </a:lnTo>
                    <a:lnTo>
                      <a:pt x="680942" y="196310"/>
                    </a:lnTo>
                    <a:lnTo>
                      <a:pt x="679228" y="195453"/>
                    </a:lnTo>
                    <a:lnTo>
                      <a:pt x="678371" y="195453"/>
                    </a:lnTo>
                    <a:lnTo>
                      <a:pt x="676656" y="191167"/>
                    </a:lnTo>
                    <a:lnTo>
                      <a:pt x="675799" y="190309"/>
                    </a:lnTo>
                    <a:lnTo>
                      <a:pt x="674942" y="188690"/>
                    </a:lnTo>
                    <a:lnTo>
                      <a:pt x="674084" y="186976"/>
                    </a:lnTo>
                    <a:lnTo>
                      <a:pt x="670751" y="185261"/>
                    </a:lnTo>
                    <a:lnTo>
                      <a:pt x="669893" y="184404"/>
                    </a:lnTo>
                    <a:lnTo>
                      <a:pt x="669036" y="184404"/>
                    </a:lnTo>
                    <a:lnTo>
                      <a:pt x="667322" y="186118"/>
                    </a:lnTo>
                    <a:lnTo>
                      <a:pt x="666464" y="186118"/>
                    </a:lnTo>
                    <a:lnTo>
                      <a:pt x="665607" y="186976"/>
                    </a:lnTo>
                    <a:lnTo>
                      <a:pt x="664750" y="186976"/>
                    </a:lnTo>
                    <a:lnTo>
                      <a:pt x="663131" y="186118"/>
                    </a:lnTo>
                    <a:lnTo>
                      <a:pt x="661416" y="185261"/>
                    </a:lnTo>
                    <a:lnTo>
                      <a:pt x="660559" y="182689"/>
                    </a:lnTo>
                    <a:lnTo>
                      <a:pt x="659702" y="180975"/>
                    </a:lnTo>
                    <a:lnTo>
                      <a:pt x="659702" y="179260"/>
                    </a:lnTo>
                    <a:lnTo>
                      <a:pt x="660559" y="177641"/>
                    </a:lnTo>
                    <a:lnTo>
                      <a:pt x="659702" y="175927"/>
                    </a:lnTo>
                    <a:lnTo>
                      <a:pt x="658844" y="174212"/>
                    </a:lnTo>
                    <a:lnTo>
                      <a:pt x="657987" y="173355"/>
                    </a:lnTo>
                    <a:lnTo>
                      <a:pt x="652082" y="169926"/>
                    </a:lnTo>
                    <a:lnTo>
                      <a:pt x="647795" y="165735"/>
                    </a:lnTo>
                    <a:lnTo>
                      <a:pt x="643604" y="162306"/>
                    </a:lnTo>
                    <a:lnTo>
                      <a:pt x="642747" y="162306"/>
                    </a:lnTo>
                    <a:lnTo>
                      <a:pt x="641890" y="162306"/>
                    </a:lnTo>
                    <a:lnTo>
                      <a:pt x="641033" y="163163"/>
                    </a:lnTo>
                    <a:lnTo>
                      <a:pt x="641033" y="164021"/>
                    </a:lnTo>
                    <a:lnTo>
                      <a:pt x="640175" y="164878"/>
                    </a:lnTo>
                    <a:lnTo>
                      <a:pt x="640175" y="164878"/>
                    </a:lnTo>
                    <a:lnTo>
                      <a:pt x="639318" y="164878"/>
                    </a:lnTo>
                    <a:lnTo>
                      <a:pt x="638461" y="165735"/>
                    </a:lnTo>
                    <a:lnTo>
                      <a:pt x="637604" y="165735"/>
                    </a:lnTo>
                    <a:lnTo>
                      <a:pt x="636746" y="165735"/>
                    </a:lnTo>
                    <a:lnTo>
                      <a:pt x="635889" y="164878"/>
                    </a:lnTo>
                    <a:lnTo>
                      <a:pt x="632555" y="161449"/>
                    </a:lnTo>
                    <a:lnTo>
                      <a:pt x="628269" y="154686"/>
                    </a:lnTo>
                    <a:lnTo>
                      <a:pt x="627412" y="153829"/>
                    </a:lnTo>
                    <a:lnTo>
                      <a:pt x="626555" y="152971"/>
                    </a:lnTo>
                    <a:lnTo>
                      <a:pt x="624840" y="152971"/>
                    </a:lnTo>
                    <a:lnTo>
                      <a:pt x="616363" y="156305"/>
                    </a:lnTo>
                    <a:lnTo>
                      <a:pt x="614648" y="155543"/>
                    </a:lnTo>
                    <a:lnTo>
                      <a:pt x="612172" y="153829"/>
                    </a:lnTo>
                    <a:lnTo>
                      <a:pt x="611315" y="152971"/>
                    </a:lnTo>
                    <a:lnTo>
                      <a:pt x="607028" y="152971"/>
                    </a:lnTo>
                    <a:lnTo>
                      <a:pt x="606171" y="151257"/>
                    </a:lnTo>
                    <a:lnTo>
                      <a:pt x="607028" y="148685"/>
                    </a:lnTo>
                    <a:lnTo>
                      <a:pt x="607886" y="146971"/>
                    </a:lnTo>
                    <a:lnTo>
                      <a:pt x="607028" y="146113"/>
                    </a:lnTo>
                    <a:lnTo>
                      <a:pt x="606171" y="144494"/>
                    </a:lnTo>
                    <a:lnTo>
                      <a:pt x="606171" y="142780"/>
                    </a:lnTo>
                    <a:lnTo>
                      <a:pt x="606171" y="140208"/>
                    </a:lnTo>
                    <a:lnTo>
                      <a:pt x="606171" y="138493"/>
                    </a:lnTo>
                    <a:lnTo>
                      <a:pt x="606171" y="135922"/>
                    </a:lnTo>
                    <a:lnTo>
                      <a:pt x="606171" y="133445"/>
                    </a:lnTo>
                    <a:lnTo>
                      <a:pt x="603695" y="130873"/>
                    </a:lnTo>
                    <a:lnTo>
                      <a:pt x="601980" y="130016"/>
                    </a:lnTo>
                    <a:lnTo>
                      <a:pt x="600266" y="129159"/>
                    </a:lnTo>
                    <a:lnTo>
                      <a:pt x="599408" y="130016"/>
                    </a:lnTo>
                    <a:lnTo>
                      <a:pt x="596837" y="132588"/>
                    </a:lnTo>
                    <a:lnTo>
                      <a:pt x="595979" y="133445"/>
                    </a:lnTo>
                    <a:lnTo>
                      <a:pt x="594360" y="133445"/>
                    </a:lnTo>
                    <a:lnTo>
                      <a:pt x="593503" y="133445"/>
                    </a:lnTo>
                    <a:lnTo>
                      <a:pt x="592646" y="132588"/>
                    </a:lnTo>
                    <a:lnTo>
                      <a:pt x="592646" y="131731"/>
                    </a:lnTo>
                    <a:lnTo>
                      <a:pt x="593503" y="130016"/>
                    </a:lnTo>
                    <a:lnTo>
                      <a:pt x="593503" y="126587"/>
                    </a:lnTo>
                    <a:lnTo>
                      <a:pt x="593503" y="124873"/>
                    </a:lnTo>
                    <a:lnTo>
                      <a:pt x="593503" y="124015"/>
                    </a:lnTo>
                    <a:lnTo>
                      <a:pt x="594360" y="123158"/>
                    </a:lnTo>
                    <a:lnTo>
                      <a:pt x="594360" y="122396"/>
                    </a:lnTo>
                    <a:lnTo>
                      <a:pt x="593503" y="121539"/>
                    </a:lnTo>
                    <a:lnTo>
                      <a:pt x="592646" y="120682"/>
                    </a:lnTo>
                    <a:lnTo>
                      <a:pt x="591788" y="120682"/>
                    </a:lnTo>
                    <a:lnTo>
                      <a:pt x="589217" y="119825"/>
                    </a:lnTo>
                    <a:lnTo>
                      <a:pt x="587502" y="118967"/>
                    </a:lnTo>
                    <a:lnTo>
                      <a:pt x="586645" y="118110"/>
                    </a:lnTo>
                    <a:lnTo>
                      <a:pt x="585788" y="116396"/>
                    </a:lnTo>
                    <a:lnTo>
                      <a:pt x="584930" y="114681"/>
                    </a:lnTo>
                    <a:lnTo>
                      <a:pt x="584168" y="112967"/>
                    </a:lnTo>
                    <a:lnTo>
                      <a:pt x="583311" y="112109"/>
                    </a:lnTo>
                    <a:lnTo>
                      <a:pt x="582454" y="111347"/>
                    </a:lnTo>
                    <a:lnTo>
                      <a:pt x="581597" y="111347"/>
                    </a:lnTo>
                    <a:lnTo>
                      <a:pt x="577310" y="111347"/>
                    </a:lnTo>
                    <a:lnTo>
                      <a:pt x="577310" y="111347"/>
                    </a:lnTo>
                    <a:lnTo>
                      <a:pt x="577310" y="110490"/>
                    </a:lnTo>
                    <a:lnTo>
                      <a:pt x="578168" y="105346"/>
                    </a:lnTo>
                    <a:lnTo>
                      <a:pt x="578168" y="103632"/>
                    </a:lnTo>
                    <a:lnTo>
                      <a:pt x="578168" y="100298"/>
                    </a:lnTo>
                    <a:lnTo>
                      <a:pt x="578168" y="98584"/>
                    </a:lnTo>
                    <a:lnTo>
                      <a:pt x="578168" y="97726"/>
                    </a:lnTo>
                    <a:lnTo>
                      <a:pt x="579025" y="96869"/>
                    </a:lnTo>
                    <a:lnTo>
                      <a:pt x="580739" y="95155"/>
                    </a:lnTo>
                    <a:lnTo>
                      <a:pt x="582454" y="94297"/>
                    </a:lnTo>
                    <a:lnTo>
                      <a:pt x="584168" y="93440"/>
                    </a:lnTo>
                    <a:lnTo>
                      <a:pt x="584930" y="92583"/>
                    </a:lnTo>
                    <a:lnTo>
                      <a:pt x="584168" y="89249"/>
                    </a:lnTo>
                    <a:lnTo>
                      <a:pt x="582454" y="87535"/>
                    </a:lnTo>
                    <a:lnTo>
                      <a:pt x="581597" y="85820"/>
                    </a:lnTo>
                    <a:lnTo>
                      <a:pt x="581597" y="84963"/>
                    </a:lnTo>
                    <a:lnTo>
                      <a:pt x="581597" y="84963"/>
                    </a:lnTo>
                    <a:lnTo>
                      <a:pt x="581597" y="82391"/>
                    </a:lnTo>
                    <a:lnTo>
                      <a:pt x="581597" y="80677"/>
                    </a:lnTo>
                    <a:lnTo>
                      <a:pt x="580739" y="78962"/>
                    </a:lnTo>
                    <a:lnTo>
                      <a:pt x="577310" y="73057"/>
                    </a:lnTo>
                    <a:lnTo>
                      <a:pt x="576453" y="72200"/>
                    </a:lnTo>
                    <a:lnTo>
                      <a:pt x="574834" y="73057"/>
                    </a:lnTo>
                    <a:lnTo>
                      <a:pt x="574834" y="74771"/>
                    </a:lnTo>
                    <a:lnTo>
                      <a:pt x="573119" y="77343"/>
                    </a:lnTo>
                    <a:lnTo>
                      <a:pt x="572262" y="78962"/>
                    </a:lnTo>
                    <a:lnTo>
                      <a:pt x="571405" y="79819"/>
                    </a:lnTo>
                    <a:lnTo>
                      <a:pt x="570548" y="80677"/>
                    </a:lnTo>
                    <a:lnTo>
                      <a:pt x="566261" y="84106"/>
                    </a:lnTo>
                    <a:lnTo>
                      <a:pt x="564642" y="83248"/>
                    </a:lnTo>
                    <a:lnTo>
                      <a:pt x="562928" y="82391"/>
                    </a:lnTo>
                    <a:lnTo>
                      <a:pt x="560356" y="78962"/>
                    </a:lnTo>
                    <a:lnTo>
                      <a:pt x="560356" y="78200"/>
                    </a:lnTo>
                    <a:lnTo>
                      <a:pt x="559499" y="76486"/>
                    </a:lnTo>
                    <a:lnTo>
                      <a:pt x="559499" y="75628"/>
                    </a:lnTo>
                    <a:lnTo>
                      <a:pt x="558641" y="74771"/>
                    </a:lnTo>
                    <a:lnTo>
                      <a:pt x="556070" y="73057"/>
                    </a:lnTo>
                    <a:lnTo>
                      <a:pt x="556070" y="72200"/>
                    </a:lnTo>
                    <a:lnTo>
                      <a:pt x="554450" y="70485"/>
                    </a:lnTo>
                    <a:lnTo>
                      <a:pt x="552736" y="69628"/>
                    </a:lnTo>
                    <a:lnTo>
                      <a:pt x="551021" y="68771"/>
                    </a:lnTo>
                    <a:lnTo>
                      <a:pt x="549307" y="67151"/>
                    </a:lnTo>
                    <a:lnTo>
                      <a:pt x="549307" y="66294"/>
                    </a:lnTo>
                    <a:lnTo>
                      <a:pt x="548450" y="63722"/>
                    </a:lnTo>
                    <a:lnTo>
                      <a:pt x="546735" y="61150"/>
                    </a:lnTo>
                    <a:lnTo>
                      <a:pt x="545878" y="59436"/>
                    </a:lnTo>
                    <a:lnTo>
                      <a:pt x="546735" y="57721"/>
                    </a:lnTo>
                    <a:lnTo>
                      <a:pt x="549307" y="50101"/>
                    </a:lnTo>
                    <a:lnTo>
                      <a:pt x="550164" y="49244"/>
                    </a:lnTo>
                    <a:lnTo>
                      <a:pt x="551021" y="48387"/>
                    </a:lnTo>
                    <a:lnTo>
                      <a:pt x="551879" y="47530"/>
                    </a:lnTo>
                    <a:lnTo>
                      <a:pt x="552736" y="46672"/>
                    </a:lnTo>
                    <a:lnTo>
                      <a:pt x="552736" y="45815"/>
                    </a:lnTo>
                    <a:lnTo>
                      <a:pt x="552736" y="45053"/>
                    </a:lnTo>
                    <a:lnTo>
                      <a:pt x="553593" y="45053"/>
                    </a:lnTo>
                    <a:lnTo>
                      <a:pt x="554450" y="45053"/>
                    </a:lnTo>
                    <a:lnTo>
                      <a:pt x="556070" y="45053"/>
                    </a:lnTo>
                    <a:lnTo>
                      <a:pt x="557784" y="45053"/>
                    </a:lnTo>
                    <a:lnTo>
                      <a:pt x="558641" y="45053"/>
                    </a:lnTo>
                    <a:lnTo>
                      <a:pt x="559499" y="44196"/>
                    </a:lnTo>
                    <a:lnTo>
                      <a:pt x="560356" y="43339"/>
                    </a:lnTo>
                    <a:lnTo>
                      <a:pt x="561213" y="42481"/>
                    </a:lnTo>
                    <a:lnTo>
                      <a:pt x="561213" y="40767"/>
                    </a:lnTo>
                    <a:lnTo>
                      <a:pt x="561213" y="39910"/>
                    </a:lnTo>
                    <a:lnTo>
                      <a:pt x="561213" y="39052"/>
                    </a:lnTo>
                    <a:lnTo>
                      <a:pt x="560356" y="38195"/>
                    </a:lnTo>
                    <a:lnTo>
                      <a:pt x="559499" y="38195"/>
                    </a:lnTo>
                    <a:lnTo>
                      <a:pt x="558641" y="39052"/>
                    </a:lnTo>
                    <a:lnTo>
                      <a:pt x="557784" y="39910"/>
                    </a:lnTo>
                    <a:lnTo>
                      <a:pt x="556927" y="39910"/>
                    </a:lnTo>
                    <a:lnTo>
                      <a:pt x="556070" y="39910"/>
                    </a:lnTo>
                    <a:lnTo>
                      <a:pt x="550164" y="38195"/>
                    </a:lnTo>
                    <a:lnTo>
                      <a:pt x="549307" y="37338"/>
                    </a:lnTo>
                    <a:lnTo>
                      <a:pt x="548450" y="36481"/>
                    </a:lnTo>
                    <a:lnTo>
                      <a:pt x="547592" y="35623"/>
                    </a:lnTo>
                    <a:lnTo>
                      <a:pt x="547592" y="35623"/>
                    </a:lnTo>
                    <a:lnTo>
                      <a:pt x="547592" y="34766"/>
                    </a:lnTo>
                    <a:lnTo>
                      <a:pt x="548450" y="32290"/>
                    </a:lnTo>
                    <a:lnTo>
                      <a:pt x="548450" y="29718"/>
                    </a:lnTo>
                    <a:lnTo>
                      <a:pt x="548450" y="27146"/>
                    </a:lnTo>
                    <a:lnTo>
                      <a:pt x="548450" y="26289"/>
                    </a:lnTo>
                    <a:lnTo>
                      <a:pt x="548450" y="25432"/>
                    </a:lnTo>
                    <a:lnTo>
                      <a:pt x="548450" y="24575"/>
                    </a:lnTo>
                    <a:lnTo>
                      <a:pt x="548450" y="24575"/>
                    </a:lnTo>
                    <a:lnTo>
                      <a:pt x="547592" y="24575"/>
                    </a:lnTo>
                    <a:lnTo>
                      <a:pt x="546735" y="23717"/>
                    </a:lnTo>
                    <a:lnTo>
                      <a:pt x="545116" y="24575"/>
                    </a:lnTo>
                    <a:lnTo>
                      <a:pt x="540830" y="25432"/>
                    </a:lnTo>
                    <a:lnTo>
                      <a:pt x="539115" y="25432"/>
                    </a:lnTo>
                    <a:lnTo>
                      <a:pt x="538258" y="25432"/>
                    </a:lnTo>
                    <a:lnTo>
                      <a:pt x="537401" y="26289"/>
                    </a:lnTo>
                    <a:lnTo>
                      <a:pt x="537401" y="26289"/>
                    </a:lnTo>
                    <a:lnTo>
                      <a:pt x="535781" y="27146"/>
                    </a:lnTo>
                    <a:lnTo>
                      <a:pt x="535781" y="28861"/>
                    </a:lnTo>
                    <a:lnTo>
                      <a:pt x="534924" y="29718"/>
                    </a:lnTo>
                    <a:lnTo>
                      <a:pt x="534924" y="30575"/>
                    </a:lnTo>
                    <a:lnTo>
                      <a:pt x="534924" y="30575"/>
                    </a:lnTo>
                    <a:lnTo>
                      <a:pt x="534924" y="32290"/>
                    </a:lnTo>
                    <a:lnTo>
                      <a:pt x="534924" y="33147"/>
                    </a:lnTo>
                    <a:lnTo>
                      <a:pt x="534067" y="34004"/>
                    </a:lnTo>
                    <a:lnTo>
                      <a:pt x="534067" y="34766"/>
                    </a:lnTo>
                    <a:lnTo>
                      <a:pt x="534067" y="34766"/>
                    </a:lnTo>
                    <a:lnTo>
                      <a:pt x="533210" y="35623"/>
                    </a:lnTo>
                    <a:lnTo>
                      <a:pt x="533210" y="35623"/>
                    </a:lnTo>
                    <a:lnTo>
                      <a:pt x="533210" y="37338"/>
                    </a:lnTo>
                    <a:lnTo>
                      <a:pt x="533210" y="37338"/>
                    </a:lnTo>
                    <a:lnTo>
                      <a:pt x="533210" y="38195"/>
                    </a:lnTo>
                    <a:lnTo>
                      <a:pt x="532352" y="39052"/>
                    </a:lnTo>
                    <a:lnTo>
                      <a:pt x="532352" y="39910"/>
                    </a:lnTo>
                    <a:lnTo>
                      <a:pt x="528923" y="41624"/>
                    </a:lnTo>
                    <a:lnTo>
                      <a:pt x="528066" y="42481"/>
                    </a:lnTo>
                    <a:lnTo>
                      <a:pt x="526352" y="41624"/>
                    </a:lnTo>
                    <a:lnTo>
                      <a:pt x="522161" y="40767"/>
                    </a:lnTo>
                    <a:lnTo>
                      <a:pt x="519589" y="39910"/>
                    </a:lnTo>
                    <a:lnTo>
                      <a:pt x="515398" y="39910"/>
                    </a:lnTo>
                    <a:lnTo>
                      <a:pt x="509397" y="39910"/>
                    </a:lnTo>
                    <a:lnTo>
                      <a:pt x="508540" y="39052"/>
                    </a:lnTo>
                    <a:lnTo>
                      <a:pt x="506825" y="38195"/>
                    </a:lnTo>
                    <a:lnTo>
                      <a:pt x="505206" y="37338"/>
                    </a:lnTo>
                    <a:lnTo>
                      <a:pt x="504349" y="36481"/>
                    </a:lnTo>
                    <a:lnTo>
                      <a:pt x="503492" y="35623"/>
                    </a:lnTo>
                    <a:lnTo>
                      <a:pt x="501777" y="31432"/>
                    </a:lnTo>
                    <a:lnTo>
                      <a:pt x="501777" y="30575"/>
                    </a:lnTo>
                    <a:lnTo>
                      <a:pt x="500920" y="29718"/>
                    </a:lnTo>
                    <a:lnTo>
                      <a:pt x="500063" y="28861"/>
                    </a:lnTo>
                    <a:lnTo>
                      <a:pt x="499205" y="28861"/>
                    </a:lnTo>
                    <a:lnTo>
                      <a:pt x="496634" y="28861"/>
                    </a:lnTo>
                    <a:lnTo>
                      <a:pt x="495014" y="28003"/>
                    </a:lnTo>
                    <a:lnTo>
                      <a:pt x="493300" y="27146"/>
                    </a:lnTo>
                    <a:lnTo>
                      <a:pt x="488156" y="24575"/>
                    </a:lnTo>
                    <a:lnTo>
                      <a:pt x="487299" y="23717"/>
                    </a:lnTo>
                    <a:lnTo>
                      <a:pt x="484823" y="23717"/>
                    </a:lnTo>
                    <a:lnTo>
                      <a:pt x="483965" y="23717"/>
                    </a:lnTo>
                    <a:lnTo>
                      <a:pt x="483108" y="24575"/>
                    </a:lnTo>
                    <a:lnTo>
                      <a:pt x="483108" y="24575"/>
                    </a:lnTo>
                    <a:lnTo>
                      <a:pt x="483108" y="25432"/>
                    </a:lnTo>
                    <a:lnTo>
                      <a:pt x="482251" y="25432"/>
                    </a:lnTo>
                    <a:lnTo>
                      <a:pt x="480536" y="32290"/>
                    </a:lnTo>
                    <a:lnTo>
                      <a:pt x="480536" y="32290"/>
                    </a:lnTo>
                    <a:lnTo>
                      <a:pt x="479679" y="33147"/>
                    </a:lnTo>
                    <a:lnTo>
                      <a:pt x="479679" y="33147"/>
                    </a:lnTo>
                    <a:lnTo>
                      <a:pt x="478822" y="34004"/>
                    </a:lnTo>
                    <a:lnTo>
                      <a:pt x="478822" y="34004"/>
                    </a:lnTo>
                    <a:lnTo>
                      <a:pt x="477965" y="34004"/>
                    </a:lnTo>
                    <a:lnTo>
                      <a:pt x="477107" y="33147"/>
                    </a:lnTo>
                    <a:lnTo>
                      <a:pt x="475488" y="31432"/>
                    </a:lnTo>
                    <a:lnTo>
                      <a:pt x="474631" y="29718"/>
                    </a:lnTo>
                    <a:lnTo>
                      <a:pt x="473774" y="27146"/>
                    </a:lnTo>
                    <a:lnTo>
                      <a:pt x="473774" y="26289"/>
                    </a:lnTo>
                    <a:lnTo>
                      <a:pt x="473774" y="25432"/>
                    </a:lnTo>
                    <a:lnTo>
                      <a:pt x="473774" y="25432"/>
                    </a:lnTo>
                    <a:lnTo>
                      <a:pt x="473774" y="23717"/>
                    </a:lnTo>
                    <a:lnTo>
                      <a:pt x="473774" y="22955"/>
                    </a:lnTo>
                    <a:lnTo>
                      <a:pt x="472916" y="22098"/>
                    </a:lnTo>
                    <a:lnTo>
                      <a:pt x="471202" y="22098"/>
                    </a:lnTo>
                    <a:lnTo>
                      <a:pt x="469487" y="22098"/>
                    </a:lnTo>
                    <a:lnTo>
                      <a:pt x="468630" y="22955"/>
                    </a:lnTo>
                    <a:lnTo>
                      <a:pt x="466916" y="22955"/>
                    </a:lnTo>
                    <a:lnTo>
                      <a:pt x="466154" y="22098"/>
                    </a:lnTo>
                    <a:lnTo>
                      <a:pt x="466154" y="21241"/>
                    </a:lnTo>
                    <a:lnTo>
                      <a:pt x="465296" y="20383"/>
                    </a:lnTo>
                    <a:lnTo>
                      <a:pt x="465296" y="19526"/>
                    </a:lnTo>
                    <a:lnTo>
                      <a:pt x="464439" y="18669"/>
                    </a:lnTo>
                    <a:lnTo>
                      <a:pt x="463582" y="18669"/>
                    </a:lnTo>
                    <a:lnTo>
                      <a:pt x="461867" y="17812"/>
                    </a:lnTo>
                    <a:lnTo>
                      <a:pt x="460153" y="17812"/>
                    </a:lnTo>
                    <a:lnTo>
                      <a:pt x="459296" y="17812"/>
                    </a:lnTo>
                    <a:lnTo>
                      <a:pt x="457581" y="16954"/>
                    </a:lnTo>
                    <a:lnTo>
                      <a:pt x="455105" y="15240"/>
                    </a:lnTo>
                    <a:lnTo>
                      <a:pt x="454247" y="13525"/>
                    </a:lnTo>
                    <a:lnTo>
                      <a:pt x="454247" y="12668"/>
                    </a:lnTo>
                    <a:lnTo>
                      <a:pt x="455105" y="12668"/>
                    </a:lnTo>
                    <a:lnTo>
                      <a:pt x="455105" y="11906"/>
                    </a:lnTo>
                    <a:lnTo>
                      <a:pt x="455962" y="11906"/>
                    </a:lnTo>
                    <a:lnTo>
                      <a:pt x="461010" y="11906"/>
                    </a:lnTo>
                    <a:lnTo>
                      <a:pt x="462725" y="11049"/>
                    </a:lnTo>
                    <a:lnTo>
                      <a:pt x="463582" y="11049"/>
                    </a:lnTo>
                    <a:lnTo>
                      <a:pt x="463582" y="10192"/>
                    </a:lnTo>
                    <a:lnTo>
                      <a:pt x="464439" y="10192"/>
                    </a:lnTo>
                    <a:lnTo>
                      <a:pt x="463582" y="8477"/>
                    </a:lnTo>
                    <a:lnTo>
                      <a:pt x="463582" y="7620"/>
                    </a:lnTo>
                    <a:lnTo>
                      <a:pt x="462725" y="7620"/>
                    </a:lnTo>
                    <a:lnTo>
                      <a:pt x="460153" y="7620"/>
                    </a:lnTo>
                    <a:lnTo>
                      <a:pt x="456819" y="8477"/>
                    </a:lnTo>
                    <a:lnTo>
                      <a:pt x="449961" y="9334"/>
                    </a:lnTo>
                    <a:lnTo>
                      <a:pt x="446627" y="9334"/>
                    </a:lnTo>
                    <a:lnTo>
                      <a:pt x="438055" y="5905"/>
                    </a:lnTo>
                    <a:lnTo>
                      <a:pt x="436436" y="4191"/>
                    </a:lnTo>
                    <a:lnTo>
                      <a:pt x="434721" y="1619"/>
                    </a:lnTo>
                    <a:lnTo>
                      <a:pt x="433864" y="857"/>
                    </a:lnTo>
                    <a:lnTo>
                      <a:pt x="433007" y="0"/>
                    </a:lnTo>
                    <a:lnTo>
                      <a:pt x="430435" y="0"/>
                    </a:lnTo>
                    <a:lnTo>
                      <a:pt x="425387" y="1619"/>
                    </a:lnTo>
                    <a:lnTo>
                      <a:pt x="424529" y="1619"/>
                    </a:lnTo>
                    <a:lnTo>
                      <a:pt x="424529" y="2476"/>
                    </a:lnTo>
                    <a:lnTo>
                      <a:pt x="422815" y="4191"/>
                    </a:lnTo>
                    <a:lnTo>
                      <a:pt x="421100" y="5048"/>
                    </a:lnTo>
                    <a:lnTo>
                      <a:pt x="419386" y="5905"/>
                    </a:lnTo>
                    <a:lnTo>
                      <a:pt x="418529" y="5905"/>
                    </a:lnTo>
                    <a:lnTo>
                      <a:pt x="416052" y="5048"/>
                    </a:lnTo>
                    <a:lnTo>
                      <a:pt x="415195" y="5048"/>
                    </a:lnTo>
                    <a:lnTo>
                      <a:pt x="414338" y="3334"/>
                    </a:lnTo>
                    <a:lnTo>
                      <a:pt x="413480" y="2476"/>
                    </a:lnTo>
                    <a:lnTo>
                      <a:pt x="412623" y="2476"/>
                    </a:lnTo>
                    <a:lnTo>
                      <a:pt x="410909" y="2476"/>
                    </a:lnTo>
                    <a:lnTo>
                      <a:pt x="409194" y="3334"/>
                    </a:lnTo>
                    <a:lnTo>
                      <a:pt x="408337" y="4191"/>
                    </a:lnTo>
                    <a:lnTo>
                      <a:pt x="408337" y="5048"/>
                    </a:lnTo>
                    <a:lnTo>
                      <a:pt x="408337" y="5905"/>
                    </a:lnTo>
                    <a:lnTo>
                      <a:pt x="408337" y="7620"/>
                    </a:lnTo>
                    <a:lnTo>
                      <a:pt x="408337" y="8477"/>
                    </a:lnTo>
                    <a:lnTo>
                      <a:pt x="407575" y="8477"/>
                    </a:lnTo>
                    <a:lnTo>
                      <a:pt x="405860" y="8477"/>
                    </a:lnTo>
                    <a:lnTo>
                      <a:pt x="403289" y="7620"/>
                    </a:lnTo>
                    <a:lnTo>
                      <a:pt x="402431" y="6763"/>
                    </a:lnTo>
                    <a:lnTo>
                      <a:pt x="401574" y="5905"/>
                    </a:lnTo>
                    <a:lnTo>
                      <a:pt x="401574" y="4191"/>
                    </a:lnTo>
                    <a:lnTo>
                      <a:pt x="400717" y="3334"/>
                    </a:lnTo>
                    <a:lnTo>
                      <a:pt x="399002" y="3334"/>
                    </a:lnTo>
                    <a:lnTo>
                      <a:pt x="388811" y="5905"/>
                    </a:lnTo>
                    <a:lnTo>
                      <a:pt x="387191" y="5905"/>
                    </a:lnTo>
                    <a:lnTo>
                      <a:pt x="385477" y="5048"/>
                    </a:lnTo>
                    <a:lnTo>
                      <a:pt x="383762" y="5048"/>
                    </a:lnTo>
                    <a:lnTo>
                      <a:pt x="382048" y="3334"/>
                    </a:lnTo>
                    <a:lnTo>
                      <a:pt x="379476" y="2476"/>
                    </a:lnTo>
                    <a:lnTo>
                      <a:pt x="377000" y="2476"/>
                    </a:lnTo>
                    <a:lnTo>
                      <a:pt x="368522" y="2476"/>
                    </a:lnTo>
                    <a:lnTo>
                      <a:pt x="365950" y="3334"/>
                    </a:lnTo>
                    <a:lnTo>
                      <a:pt x="365093" y="3334"/>
                    </a:lnTo>
                    <a:lnTo>
                      <a:pt x="361664" y="5905"/>
                    </a:lnTo>
                    <a:lnTo>
                      <a:pt x="359950" y="7620"/>
                    </a:lnTo>
                    <a:lnTo>
                      <a:pt x="358331" y="7620"/>
                    </a:lnTo>
                    <a:lnTo>
                      <a:pt x="355759" y="6763"/>
                    </a:lnTo>
                    <a:lnTo>
                      <a:pt x="354044" y="5905"/>
                    </a:lnTo>
                    <a:lnTo>
                      <a:pt x="352330" y="5048"/>
                    </a:lnTo>
                    <a:lnTo>
                      <a:pt x="348996" y="5905"/>
                    </a:lnTo>
                    <a:lnTo>
                      <a:pt x="347282" y="6763"/>
                    </a:lnTo>
                    <a:lnTo>
                      <a:pt x="345567" y="7620"/>
                    </a:lnTo>
                    <a:lnTo>
                      <a:pt x="343853" y="8477"/>
                    </a:lnTo>
                    <a:lnTo>
                      <a:pt x="342138" y="8477"/>
                    </a:lnTo>
                    <a:lnTo>
                      <a:pt x="341281" y="8477"/>
                    </a:lnTo>
                    <a:lnTo>
                      <a:pt x="331089" y="5905"/>
                    </a:lnTo>
                    <a:lnTo>
                      <a:pt x="326041" y="2476"/>
                    </a:lnTo>
                    <a:lnTo>
                      <a:pt x="322612" y="1619"/>
                    </a:lnTo>
                    <a:lnTo>
                      <a:pt x="323469" y="3334"/>
                    </a:lnTo>
                    <a:lnTo>
                      <a:pt x="320897" y="4191"/>
                    </a:lnTo>
                    <a:lnTo>
                      <a:pt x="314135" y="8477"/>
                    </a:lnTo>
                    <a:lnTo>
                      <a:pt x="312420" y="11049"/>
                    </a:lnTo>
                    <a:lnTo>
                      <a:pt x="311563" y="15240"/>
                    </a:lnTo>
                    <a:lnTo>
                      <a:pt x="311563" y="18669"/>
                    </a:lnTo>
                    <a:lnTo>
                      <a:pt x="314135" y="20383"/>
                    </a:lnTo>
                    <a:lnTo>
                      <a:pt x="314135" y="21241"/>
                    </a:lnTo>
                    <a:lnTo>
                      <a:pt x="314135" y="22098"/>
                    </a:lnTo>
                    <a:lnTo>
                      <a:pt x="314135" y="22955"/>
                    </a:lnTo>
                    <a:lnTo>
                      <a:pt x="314135" y="23717"/>
                    </a:lnTo>
                    <a:lnTo>
                      <a:pt x="313277" y="25432"/>
                    </a:lnTo>
                    <a:lnTo>
                      <a:pt x="313277" y="26289"/>
                    </a:lnTo>
                    <a:lnTo>
                      <a:pt x="313277" y="28003"/>
                    </a:lnTo>
                    <a:lnTo>
                      <a:pt x="313277" y="28861"/>
                    </a:lnTo>
                    <a:lnTo>
                      <a:pt x="314135" y="29718"/>
                    </a:lnTo>
                    <a:lnTo>
                      <a:pt x="316706" y="30575"/>
                    </a:lnTo>
                    <a:lnTo>
                      <a:pt x="320897" y="31432"/>
                    </a:lnTo>
                    <a:lnTo>
                      <a:pt x="324326" y="33147"/>
                    </a:lnTo>
                    <a:lnTo>
                      <a:pt x="325184" y="35623"/>
                    </a:lnTo>
                    <a:lnTo>
                      <a:pt x="324326" y="37338"/>
                    </a:lnTo>
                    <a:lnTo>
                      <a:pt x="319278" y="39052"/>
                    </a:lnTo>
                    <a:lnTo>
                      <a:pt x="317564" y="39910"/>
                    </a:lnTo>
                    <a:lnTo>
                      <a:pt x="317564" y="41624"/>
                    </a:lnTo>
                    <a:lnTo>
                      <a:pt x="315849" y="42481"/>
                    </a:lnTo>
                    <a:lnTo>
                      <a:pt x="314135" y="42481"/>
                    </a:lnTo>
                    <a:lnTo>
                      <a:pt x="311563" y="41624"/>
                    </a:lnTo>
                    <a:lnTo>
                      <a:pt x="309848" y="41624"/>
                    </a:lnTo>
                    <a:lnTo>
                      <a:pt x="307372" y="41624"/>
                    </a:lnTo>
                    <a:lnTo>
                      <a:pt x="300514" y="46672"/>
                    </a:lnTo>
                    <a:lnTo>
                      <a:pt x="298895" y="48387"/>
                    </a:lnTo>
                    <a:lnTo>
                      <a:pt x="299752" y="50959"/>
                    </a:lnTo>
                    <a:lnTo>
                      <a:pt x="300514" y="52673"/>
                    </a:lnTo>
                    <a:lnTo>
                      <a:pt x="299752" y="53530"/>
                    </a:lnTo>
                    <a:lnTo>
                      <a:pt x="298037" y="54388"/>
                    </a:lnTo>
                    <a:lnTo>
                      <a:pt x="295466" y="55245"/>
                    </a:lnTo>
                    <a:lnTo>
                      <a:pt x="292037" y="56864"/>
                    </a:lnTo>
                    <a:lnTo>
                      <a:pt x="289560" y="57721"/>
                    </a:lnTo>
                    <a:lnTo>
                      <a:pt x="274225" y="56102"/>
                    </a:lnTo>
                    <a:lnTo>
                      <a:pt x="270796" y="54388"/>
                    </a:lnTo>
                    <a:lnTo>
                      <a:pt x="268319" y="52673"/>
                    </a:lnTo>
                    <a:lnTo>
                      <a:pt x="268319" y="50959"/>
                    </a:lnTo>
                    <a:lnTo>
                      <a:pt x="267462" y="45815"/>
                    </a:lnTo>
                    <a:lnTo>
                      <a:pt x="265748" y="41624"/>
                    </a:lnTo>
                    <a:lnTo>
                      <a:pt x="266605" y="40767"/>
                    </a:lnTo>
                    <a:lnTo>
                      <a:pt x="266605" y="39910"/>
                    </a:lnTo>
                    <a:lnTo>
                      <a:pt x="269177" y="38195"/>
                    </a:lnTo>
                    <a:lnTo>
                      <a:pt x="269177" y="37338"/>
                    </a:lnTo>
                    <a:lnTo>
                      <a:pt x="268319" y="34766"/>
                    </a:lnTo>
                    <a:lnTo>
                      <a:pt x="263176" y="34004"/>
                    </a:lnTo>
                    <a:lnTo>
                      <a:pt x="252127" y="37338"/>
                    </a:lnTo>
                    <a:lnTo>
                      <a:pt x="247079" y="40767"/>
                    </a:lnTo>
                    <a:lnTo>
                      <a:pt x="244507" y="41624"/>
                    </a:lnTo>
                    <a:lnTo>
                      <a:pt x="238601" y="41624"/>
                    </a:lnTo>
                    <a:lnTo>
                      <a:pt x="236887" y="42481"/>
                    </a:lnTo>
                    <a:lnTo>
                      <a:pt x="232601" y="45815"/>
                    </a:lnTo>
                    <a:lnTo>
                      <a:pt x="230124" y="45815"/>
                    </a:lnTo>
                    <a:lnTo>
                      <a:pt x="228410" y="45815"/>
                    </a:lnTo>
                    <a:lnTo>
                      <a:pt x="221552" y="48387"/>
                    </a:lnTo>
                    <a:lnTo>
                      <a:pt x="218218" y="48387"/>
                    </a:lnTo>
                    <a:lnTo>
                      <a:pt x="216503" y="49244"/>
                    </a:lnTo>
                    <a:lnTo>
                      <a:pt x="215646" y="51816"/>
                    </a:lnTo>
                    <a:lnTo>
                      <a:pt x="213074" y="58579"/>
                    </a:lnTo>
                    <a:lnTo>
                      <a:pt x="211360" y="61150"/>
                    </a:lnTo>
                    <a:lnTo>
                      <a:pt x="208026" y="64579"/>
                    </a:lnTo>
                    <a:lnTo>
                      <a:pt x="202883" y="65437"/>
                    </a:lnTo>
                    <a:lnTo>
                      <a:pt x="180023" y="66294"/>
                    </a:lnTo>
                    <a:lnTo>
                      <a:pt x="174022" y="65437"/>
                    </a:lnTo>
                    <a:lnTo>
                      <a:pt x="169831" y="62865"/>
                    </a:lnTo>
                    <a:lnTo>
                      <a:pt x="160496" y="53530"/>
                    </a:lnTo>
                    <a:lnTo>
                      <a:pt x="157925" y="51816"/>
                    </a:lnTo>
                    <a:lnTo>
                      <a:pt x="126492" y="50959"/>
                    </a:lnTo>
                    <a:lnTo>
                      <a:pt x="118015" y="54388"/>
                    </a:lnTo>
                    <a:lnTo>
                      <a:pt x="113728" y="55245"/>
                    </a:lnTo>
                    <a:lnTo>
                      <a:pt x="111252" y="54388"/>
                    </a:lnTo>
                    <a:lnTo>
                      <a:pt x="105251" y="51816"/>
                    </a:lnTo>
                    <a:lnTo>
                      <a:pt x="102775" y="50959"/>
                    </a:lnTo>
                    <a:lnTo>
                      <a:pt x="100203" y="50959"/>
                    </a:lnTo>
                    <a:lnTo>
                      <a:pt x="95917" y="53530"/>
                    </a:lnTo>
                    <a:lnTo>
                      <a:pt x="93345" y="54388"/>
                    </a:lnTo>
                    <a:lnTo>
                      <a:pt x="90869" y="54388"/>
                    </a:lnTo>
                    <a:lnTo>
                      <a:pt x="89154" y="52673"/>
                    </a:lnTo>
                    <a:lnTo>
                      <a:pt x="87440" y="49244"/>
                    </a:lnTo>
                    <a:lnTo>
                      <a:pt x="86582" y="48387"/>
                    </a:lnTo>
                    <a:lnTo>
                      <a:pt x="85725" y="47530"/>
                    </a:lnTo>
                    <a:lnTo>
                      <a:pt x="84868" y="46672"/>
                    </a:lnTo>
                    <a:lnTo>
                      <a:pt x="83249" y="46672"/>
                    </a:lnTo>
                    <a:lnTo>
                      <a:pt x="82391" y="47530"/>
                    </a:lnTo>
                    <a:lnTo>
                      <a:pt x="82391" y="48387"/>
                    </a:lnTo>
                    <a:lnTo>
                      <a:pt x="81534" y="50101"/>
                    </a:lnTo>
                    <a:lnTo>
                      <a:pt x="78105" y="56102"/>
                    </a:lnTo>
                    <a:lnTo>
                      <a:pt x="77248" y="56864"/>
                    </a:lnTo>
                    <a:lnTo>
                      <a:pt x="75533" y="55245"/>
                    </a:lnTo>
                    <a:lnTo>
                      <a:pt x="74676" y="48387"/>
                    </a:lnTo>
                    <a:lnTo>
                      <a:pt x="73057" y="45815"/>
                    </a:lnTo>
                    <a:lnTo>
                      <a:pt x="67056" y="45815"/>
                    </a:lnTo>
                    <a:lnTo>
                      <a:pt x="64484" y="50959"/>
                    </a:lnTo>
                    <a:lnTo>
                      <a:pt x="64484" y="60293"/>
                    </a:lnTo>
                    <a:lnTo>
                      <a:pt x="64484" y="73057"/>
                    </a:lnTo>
                    <a:lnTo>
                      <a:pt x="64484" y="90011"/>
                    </a:lnTo>
                    <a:lnTo>
                      <a:pt x="56007" y="90011"/>
                    </a:lnTo>
                    <a:lnTo>
                      <a:pt x="44958" y="90011"/>
                    </a:lnTo>
                    <a:lnTo>
                      <a:pt x="32290" y="89249"/>
                    </a:lnTo>
                    <a:lnTo>
                      <a:pt x="27146" y="90011"/>
                    </a:lnTo>
                    <a:lnTo>
                      <a:pt x="23813" y="92583"/>
                    </a:lnTo>
                    <a:lnTo>
                      <a:pt x="23813" y="91726"/>
                    </a:lnTo>
                    <a:lnTo>
                      <a:pt x="23813" y="90868"/>
                    </a:lnTo>
                    <a:lnTo>
                      <a:pt x="22955" y="90011"/>
                    </a:lnTo>
                    <a:lnTo>
                      <a:pt x="22955" y="89249"/>
                    </a:lnTo>
                    <a:lnTo>
                      <a:pt x="21241" y="90011"/>
                    </a:lnTo>
                    <a:lnTo>
                      <a:pt x="21241" y="90868"/>
                    </a:lnTo>
                    <a:lnTo>
                      <a:pt x="21241" y="91726"/>
                    </a:lnTo>
                    <a:lnTo>
                      <a:pt x="21241" y="92583"/>
                    </a:lnTo>
                    <a:lnTo>
                      <a:pt x="20384" y="94297"/>
                    </a:lnTo>
                    <a:lnTo>
                      <a:pt x="19526" y="96012"/>
                    </a:lnTo>
                    <a:lnTo>
                      <a:pt x="17812" y="96012"/>
                    </a:lnTo>
                    <a:lnTo>
                      <a:pt x="16097" y="96012"/>
                    </a:lnTo>
                    <a:lnTo>
                      <a:pt x="15240" y="94297"/>
                    </a:lnTo>
                    <a:lnTo>
                      <a:pt x="15240" y="93440"/>
                    </a:lnTo>
                    <a:lnTo>
                      <a:pt x="15240" y="93440"/>
                    </a:lnTo>
                    <a:lnTo>
                      <a:pt x="13621" y="93440"/>
                    </a:lnTo>
                    <a:lnTo>
                      <a:pt x="12764" y="94297"/>
                    </a:lnTo>
                    <a:lnTo>
                      <a:pt x="12764" y="95155"/>
                    </a:lnTo>
                    <a:lnTo>
                      <a:pt x="12764" y="96012"/>
                    </a:lnTo>
                    <a:lnTo>
                      <a:pt x="12764" y="96869"/>
                    </a:lnTo>
                    <a:lnTo>
                      <a:pt x="12764" y="96869"/>
                    </a:lnTo>
                    <a:lnTo>
                      <a:pt x="13621" y="97726"/>
                    </a:lnTo>
                    <a:lnTo>
                      <a:pt x="13621" y="97726"/>
                    </a:lnTo>
                    <a:lnTo>
                      <a:pt x="12764" y="98584"/>
                    </a:lnTo>
                    <a:lnTo>
                      <a:pt x="12764" y="98584"/>
                    </a:lnTo>
                    <a:lnTo>
                      <a:pt x="11906" y="98584"/>
                    </a:lnTo>
                    <a:lnTo>
                      <a:pt x="11049" y="98584"/>
                    </a:lnTo>
                    <a:lnTo>
                      <a:pt x="10192" y="98584"/>
                    </a:lnTo>
                    <a:lnTo>
                      <a:pt x="8477" y="99441"/>
                    </a:lnTo>
                    <a:lnTo>
                      <a:pt x="7620" y="100298"/>
                    </a:lnTo>
                    <a:lnTo>
                      <a:pt x="5048" y="104489"/>
                    </a:lnTo>
                    <a:lnTo>
                      <a:pt x="5048" y="104489"/>
                    </a:lnTo>
                    <a:lnTo>
                      <a:pt x="5048" y="104489"/>
                    </a:lnTo>
                    <a:lnTo>
                      <a:pt x="5048" y="105346"/>
                    </a:lnTo>
                    <a:lnTo>
                      <a:pt x="4286" y="106204"/>
                    </a:lnTo>
                    <a:lnTo>
                      <a:pt x="4286" y="109633"/>
                    </a:lnTo>
                    <a:lnTo>
                      <a:pt x="3429" y="112967"/>
                    </a:lnTo>
                    <a:lnTo>
                      <a:pt x="2572" y="114681"/>
                    </a:lnTo>
                    <a:lnTo>
                      <a:pt x="3429" y="116396"/>
                    </a:lnTo>
                    <a:lnTo>
                      <a:pt x="4286" y="115538"/>
                    </a:lnTo>
                    <a:lnTo>
                      <a:pt x="6763" y="112967"/>
                    </a:lnTo>
                    <a:lnTo>
                      <a:pt x="6763" y="115538"/>
                    </a:lnTo>
                    <a:lnTo>
                      <a:pt x="5906" y="118110"/>
                    </a:lnTo>
                    <a:lnTo>
                      <a:pt x="6763" y="119825"/>
                    </a:lnTo>
                    <a:lnTo>
                      <a:pt x="7620" y="122396"/>
                    </a:lnTo>
                    <a:lnTo>
                      <a:pt x="9335" y="124015"/>
                    </a:lnTo>
                    <a:lnTo>
                      <a:pt x="11049" y="124873"/>
                    </a:lnTo>
                    <a:lnTo>
                      <a:pt x="13621" y="124873"/>
                    </a:lnTo>
                    <a:lnTo>
                      <a:pt x="15240" y="123158"/>
                    </a:lnTo>
                    <a:lnTo>
                      <a:pt x="15240" y="125730"/>
                    </a:lnTo>
                    <a:lnTo>
                      <a:pt x="13621" y="126587"/>
                    </a:lnTo>
                    <a:lnTo>
                      <a:pt x="11906" y="126587"/>
                    </a:lnTo>
                    <a:lnTo>
                      <a:pt x="10192" y="128302"/>
                    </a:lnTo>
                    <a:lnTo>
                      <a:pt x="8477" y="126587"/>
                    </a:lnTo>
                    <a:lnTo>
                      <a:pt x="7620" y="125730"/>
                    </a:lnTo>
                    <a:lnTo>
                      <a:pt x="6763" y="126587"/>
                    </a:lnTo>
                    <a:lnTo>
                      <a:pt x="5048" y="127444"/>
                    </a:lnTo>
                    <a:lnTo>
                      <a:pt x="5048" y="128302"/>
                    </a:lnTo>
                    <a:lnTo>
                      <a:pt x="4286" y="130016"/>
                    </a:lnTo>
                    <a:lnTo>
                      <a:pt x="4286" y="130016"/>
                    </a:lnTo>
                    <a:lnTo>
                      <a:pt x="1715" y="130016"/>
                    </a:lnTo>
                    <a:lnTo>
                      <a:pt x="1715" y="130016"/>
                    </a:lnTo>
                    <a:lnTo>
                      <a:pt x="0" y="132588"/>
                    </a:lnTo>
                    <a:lnTo>
                      <a:pt x="1715" y="133445"/>
                    </a:lnTo>
                    <a:lnTo>
                      <a:pt x="5048" y="134207"/>
                    </a:lnTo>
                    <a:lnTo>
                      <a:pt x="10192" y="135064"/>
                    </a:lnTo>
                    <a:lnTo>
                      <a:pt x="16955" y="135064"/>
                    </a:lnTo>
                    <a:lnTo>
                      <a:pt x="18669" y="135064"/>
                    </a:lnTo>
                    <a:lnTo>
                      <a:pt x="19526" y="135064"/>
                    </a:lnTo>
                    <a:lnTo>
                      <a:pt x="20384" y="135064"/>
                    </a:lnTo>
                    <a:lnTo>
                      <a:pt x="22955" y="134207"/>
                    </a:lnTo>
                    <a:lnTo>
                      <a:pt x="22955" y="133445"/>
                    </a:lnTo>
                    <a:lnTo>
                      <a:pt x="23813" y="132588"/>
                    </a:lnTo>
                    <a:lnTo>
                      <a:pt x="23813" y="131731"/>
                    </a:lnTo>
                    <a:lnTo>
                      <a:pt x="22955" y="130873"/>
                    </a:lnTo>
                    <a:lnTo>
                      <a:pt x="29718" y="121539"/>
                    </a:lnTo>
                    <a:lnTo>
                      <a:pt x="31433" y="119825"/>
                    </a:lnTo>
                    <a:lnTo>
                      <a:pt x="34766" y="118967"/>
                    </a:lnTo>
                    <a:lnTo>
                      <a:pt x="36481" y="117253"/>
                    </a:lnTo>
                    <a:lnTo>
                      <a:pt x="40767" y="116396"/>
                    </a:lnTo>
                    <a:lnTo>
                      <a:pt x="42482" y="115538"/>
                    </a:lnTo>
                    <a:lnTo>
                      <a:pt x="44196" y="114681"/>
                    </a:lnTo>
                    <a:lnTo>
                      <a:pt x="45815" y="113824"/>
                    </a:lnTo>
                    <a:lnTo>
                      <a:pt x="49244" y="112109"/>
                    </a:lnTo>
                    <a:lnTo>
                      <a:pt x="50959" y="112109"/>
                    </a:lnTo>
                    <a:lnTo>
                      <a:pt x="51816" y="110490"/>
                    </a:lnTo>
                    <a:lnTo>
                      <a:pt x="53531" y="107061"/>
                    </a:lnTo>
                    <a:lnTo>
                      <a:pt x="54293" y="105346"/>
                    </a:lnTo>
                    <a:lnTo>
                      <a:pt x="56864" y="105346"/>
                    </a:lnTo>
                    <a:lnTo>
                      <a:pt x="61151" y="105346"/>
                    </a:lnTo>
                    <a:lnTo>
                      <a:pt x="63722" y="104489"/>
                    </a:lnTo>
                    <a:lnTo>
                      <a:pt x="66199" y="103632"/>
                    </a:lnTo>
                    <a:lnTo>
                      <a:pt x="69628" y="100298"/>
                    </a:lnTo>
                    <a:lnTo>
                      <a:pt x="70485" y="101060"/>
                    </a:lnTo>
                    <a:lnTo>
                      <a:pt x="73819" y="99441"/>
                    </a:lnTo>
                    <a:lnTo>
                      <a:pt x="75533" y="100298"/>
                    </a:lnTo>
                    <a:lnTo>
                      <a:pt x="69628" y="104489"/>
                    </a:lnTo>
                    <a:lnTo>
                      <a:pt x="67913" y="105346"/>
                    </a:lnTo>
                    <a:lnTo>
                      <a:pt x="67056" y="105346"/>
                    </a:lnTo>
                    <a:lnTo>
                      <a:pt x="64484" y="107061"/>
                    </a:lnTo>
                    <a:lnTo>
                      <a:pt x="63722" y="107918"/>
                    </a:lnTo>
                    <a:lnTo>
                      <a:pt x="59436" y="107918"/>
                    </a:lnTo>
                    <a:lnTo>
                      <a:pt x="58579" y="107918"/>
                    </a:lnTo>
                    <a:lnTo>
                      <a:pt x="56864" y="109633"/>
                    </a:lnTo>
                    <a:lnTo>
                      <a:pt x="55150" y="114681"/>
                    </a:lnTo>
                    <a:lnTo>
                      <a:pt x="50959" y="115538"/>
                    </a:lnTo>
                    <a:lnTo>
                      <a:pt x="49244" y="117253"/>
                    </a:lnTo>
                    <a:lnTo>
                      <a:pt x="45815" y="120682"/>
                    </a:lnTo>
                    <a:lnTo>
                      <a:pt x="44196" y="123158"/>
                    </a:lnTo>
                    <a:lnTo>
                      <a:pt x="43339" y="124015"/>
                    </a:lnTo>
                    <a:lnTo>
                      <a:pt x="42482" y="124873"/>
                    </a:lnTo>
                    <a:lnTo>
                      <a:pt x="40767" y="124873"/>
                    </a:lnTo>
                    <a:lnTo>
                      <a:pt x="39053" y="125730"/>
                    </a:lnTo>
                    <a:lnTo>
                      <a:pt x="36481" y="126587"/>
                    </a:lnTo>
                    <a:lnTo>
                      <a:pt x="36481" y="127444"/>
                    </a:lnTo>
                    <a:lnTo>
                      <a:pt x="36481" y="129159"/>
                    </a:lnTo>
                    <a:lnTo>
                      <a:pt x="37338" y="129159"/>
                    </a:lnTo>
                    <a:lnTo>
                      <a:pt x="38195" y="129159"/>
                    </a:lnTo>
                    <a:lnTo>
                      <a:pt x="39053" y="129159"/>
                    </a:lnTo>
                    <a:lnTo>
                      <a:pt x="39053" y="131731"/>
                    </a:lnTo>
                    <a:lnTo>
                      <a:pt x="36481" y="131731"/>
                    </a:lnTo>
                    <a:lnTo>
                      <a:pt x="31433" y="130016"/>
                    </a:lnTo>
                    <a:lnTo>
                      <a:pt x="29718" y="130873"/>
                    </a:lnTo>
                    <a:lnTo>
                      <a:pt x="29718" y="134207"/>
                    </a:lnTo>
                    <a:lnTo>
                      <a:pt x="29718" y="140208"/>
                    </a:lnTo>
                    <a:lnTo>
                      <a:pt x="29718" y="144494"/>
                    </a:lnTo>
                    <a:lnTo>
                      <a:pt x="29718" y="146113"/>
                    </a:lnTo>
                    <a:lnTo>
                      <a:pt x="32290" y="146113"/>
                    </a:lnTo>
                    <a:lnTo>
                      <a:pt x="34004" y="145256"/>
                    </a:lnTo>
                    <a:lnTo>
                      <a:pt x="34004" y="143637"/>
                    </a:lnTo>
                    <a:lnTo>
                      <a:pt x="33147" y="141922"/>
                    </a:lnTo>
                    <a:lnTo>
                      <a:pt x="33147" y="140208"/>
                    </a:lnTo>
                    <a:lnTo>
                      <a:pt x="34004" y="141065"/>
                    </a:lnTo>
                    <a:lnTo>
                      <a:pt x="34766" y="142780"/>
                    </a:lnTo>
                    <a:lnTo>
                      <a:pt x="35624" y="143637"/>
                    </a:lnTo>
                    <a:lnTo>
                      <a:pt x="36481" y="143637"/>
                    </a:lnTo>
                    <a:lnTo>
                      <a:pt x="37338" y="142780"/>
                    </a:lnTo>
                    <a:lnTo>
                      <a:pt x="38195" y="142780"/>
                    </a:lnTo>
                    <a:lnTo>
                      <a:pt x="38195" y="144494"/>
                    </a:lnTo>
                    <a:lnTo>
                      <a:pt x="36481" y="145256"/>
                    </a:lnTo>
                    <a:lnTo>
                      <a:pt x="34004" y="146971"/>
                    </a:lnTo>
                    <a:lnTo>
                      <a:pt x="32290" y="149542"/>
                    </a:lnTo>
                    <a:lnTo>
                      <a:pt x="31433" y="152114"/>
                    </a:lnTo>
                    <a:lnTo>
                      <a:pt x="32290" y="153829"/>
                    </a:lnTo>
                    <a:lnTo>
                      <a:pt x="33147" y="153829"/>
                    </a:lnTo>
                    <a:lnTo>
                      <a:pt x="34766" y="152971"/>
                    </a:lnTo>
                    <a:lnTo>
                      <a:pt x="36481" y="152114"/>
                    </a:lnTo>
                    <a:lnTo>
                      <a:pt x="35624" y="153829"/>
                    </a:lnTo>
                    <a:lnTo>
                      <a:pt x="35624" y="155543"/>
                    </a:lnTo>
                    <a:lnTo>
                      <a:pt x="35624" y="156305"/>
                    </a:lnTo>
                    <a:lnTo>
                      <a:pt x="37338" y="157163"/>
                    </a:lnTo>
                    <a:lnTo>
                      <a:pt x="39053" y="156305"/>
                    </a:lnTo>
                    <a:lnTo>
                      <a:pt x="39053" y="155543"/>
                    </a:lnTo>
                    <a:lnTo>
                      <a:pt x="39910" y="154686"/>
                    </a:lnTo>
                    <a:lnTo>
                      <a:pt x="41624" y="155543"/>
                    </a:lnTo>
                    <a:lnTo>
                      <a:pt x="42482" y="154686"/>
                    </a:lnTo>
                    <a:lnTo>
                      <a:pt x="43339" y="154686"/>
                    </a:lnTo>
                    <a:lnTo>
                      <a:pt x="44196" y="155543"/>
                    </a:lnTo>
                    <a:lnTo>
                      <a:pt x="44196" y="156305"/>
                    </a:lnTo>
                    <a:lnTo>
                      <a:pt x="43339" y="156305"/>
                    </a:lnTo>
                    <a:lnTo>
                      <a:pt x="42482" y="157163"/>
                    </a:lnTo>
                    <a:lnTo>
                      <a:pt x="41624" y="158020"/>
                    </a:lnTo>
                    <a:lnTo>
                      <a:pt x="41624" y="158877"/>
                    </a:lnTo>
                    <a:lnTo>
                      <a:pt x="41624" y="160592"/>
                    </a:lnTo>
                    <a:lnTo>
                      <a:pt x="42482" y="161449"/>
                    </a:lnTo>
                    <a:lnTo>
                      <a:pt x="43339" y="162306"/>
                    </a:lnTo>
                    <a:lnTo>
                      <a:pt x="44196" y="163163"/>
                    </a:lnTo>
                    <a:lnTo>
                      <a:pt x="44958" y="162306"/>
                    </a:lnTo>
                    <a:lnTo>
                      <a:pt x="44958" y="162306"/>
                    </a:lnTo>
                    <a:lnTo>
                      <a:pt x="45815" y="162306"/>
                    </a:lnTo>
                    <a:lnTo>
                      <a:pt x="46673" y="162306"/>
                    </a:lnTo>
                    <a:lnTo>
                      <a:pt x="46673" y="162306"/>
                    </a:lnTo>
                    <a:lnTo>
                      <a:pt x="47530" y="163163"/>
                    </a:lnTo>
                    <a:lnTo>
                      <a:pt x="47530" y="164021"/>
                    </a:lnTo>
                    <a:lnTo>
                      <a:pt x="48387" y="164878"/>
                    </a:lnTo>
                    <a:lnTo>
                      <a:pt x="50102" y="164878"/>
                    </a:lnTo>
                    <a:lnTo>
                      <a:pt x="50959" y="165735"/>
                    </a:lnTo>
                    <a:lnTo>
                      <a:pt x="51816" y="166592"/>
                    </a:lnTo>
                    <a:lnTo>
                      <a:pt x="50959" y="167354"/>
                    </a:lnTo>
                    <a:lnTo>
                      <a:pt x="47530" y="167354"/>
                    </a:lnTo>
                    <a:lnTo>
                      <a:pt x="46673" y="168211"/>
                    </a:lnTo>
                    <a:lnTo>
                      <a:pt x="44196" y="172498"/>
                    </a:lnTo>
                    <a:lnTo>
                      <a:pt x="45815" y="174212"/>
                    </a:lnTo>
                    <a:lnTo>
                      <a:pt x="48387" y="175069"/>
                    </a:lnTo>
                    <a:lnTo>
                      <a:pt x="51816" y="174212"/>
                    </a:lnTo>
                    <a:lnTo>
                      <a:pt x="53531" y="173355"/>
                    </a:lnTo>
                    <a:lnTo>
                      <a:pt x="53531" y="175069"/>
                    </a:lnTo>
                    <a:lnTo>
                      <a:pt x="53531" y="175927"/>
                    </a:lnTo>
                    <a:lnTo>
                      <a:pt x="51816" y="178403"/>
                    </a:lnTo>
                    <a:lnTo>
                      <a:pt x="50959" y="177641"/>
                    </a:lnTo>
                    <a:lnTo>
                      <a:pt x="50102" y="176784"/>
                    </a:lnTo>
                    <a:lnTo>
                      <a:pt x="50959" y="178403"/>
                    </a:lnTo>
                    <a:lnTo>
                      <a:pt x="51816" y="180975"/>
                    </a:lnTo>
                    <a:lnTo>
                      <a:pt x="53531" y="182689"/>
                    </a:lnTo>
                    <a:lnTo>
                      <a:pt x="56864" y="184404"/>
                    </a:lnTo>
                    <a:lnTo>
                      <a:pt x="56864" y="185261"/>
                    </a:lnTo>
                    <a:lnTo>
                      <a:pt x="56864" y="186118"/>
                    </a:lnTo>
                    <a:lnTo>
                      <a:pt x="56864" y="186976"/>
                    </a:lnTo>
                    <a:lnTo>
                      <a:pt x="57722" y="186976"/>
                    </a:lnTo>
                    <a:lnTo>
                      <a:pt x="61151" y="190309"/>
                    </a:lnTo>
                    <a:lnTo>
                      <a:pt x="80677" y="203073"/>
                    </a:lnTo>
                    <a:lnTo>
                      <a:pt x="99346" y="211550"/>
                    </a:lnTo>
                    <a:lnTo>
                      <a:pt x="110395" y="219265"/>
                    </a:lnTo>
                    <a:lnTo>
                      <a:pt x="117158" y="223456"/>
                    </a:lnTo>
                    <a:lnTo>
                      <a:pt x="121444" y="224314"/>
                    </a:lnTo>
                    <a:lnTo>
                      <a:pt x="132493" y="226028"/>
                    </a:lnTo>
                    <a:lnTo>
                      <a:pt x="136684" y="227743"/>
                    </a:lnTo>
                    <a:lnTo>
                      <a:pt x="140113" y="227743"/>
                    </a:lnTo>
                    <a:lnTo>
                      <a:pt x="141827" y="229457"/>
                    </a:lnTo>
                    <a:lnTo>
                      <a:pt x="147733" y="230314"/>
                    </a:lnTo>
                    <a:lnTo>
                      <a:pt x="147733" y="230314"/>
                    </a:lnTo>
                    <a:lnTo>
                      <a:pt x="148590" y="231172"/>
                    </a:lnTo>
                    <a:lnTo>
                      <a:pt x="149447" y="231172"/>
                    </a:lnTo>
                    <a:lnTo>
                      <a:pt x="150305" y="232029"/>
                    </a:lnTo>
                    <a:lnTo>
                      <a:pt x="152019" y="232029"/>
                    </a:lnTo>
                    <a:lnTo>
                      <a:pt x="155353" y="232029"/>
                    </a:lnTo>
                    <a:lnTo>
                      <a:pt x="157067" y="232029"/>
                    </a:lnTo>
                    <a:lnTo>
                      <a:pt x="158782" y="233648"/>
                    </a:lnTo>
                    <a:lnTo>
                      <a:pt x="159639" y="234505"/>
                    </a:lnTo>
                    <a:lnTo>
                      <a:pt x="167259" y="234505"/>
                    </a:lnTo>
                    <a:lnTo>
                      <a:pt x="172307" y="235363"/>
                    </a:lnTo>
                    <a:lnTo>
                      <a:pt x="174022" y="236220"/>
                    </a:lnTo>
                    <a:lnTo>
                      <a:pt x="175736" y="235363"/>
                    </a:lnTo>
                    <a:lnTo>
                      <a:pt x="179165" y="228600"/>
                    </a:lnTo>
                    <a:lnTo>
                      <a:pt x="181737" y="226028"/>
                    </a:lnTo>
                    <a:lnTo>
                      <a:pt x="184214" y="224314"/>
                    </a:lnTo>
                    <a:lnTo>
                      <a:pt x="187643" y="222599"/>
                    </a:lnTo>
                    <a:lnTo>
                      <a:pt x="189357" y="221837"/>
                    </a:lnTo>
                    <a:lnTo>
                      <a:pt x="192691" y="221837"/>
                    </a:lnTo>
                    <a:lnTo>
                      <a:pt x="199549" y="219265"/>
                    </a:lnTo>
                    <a:lnTo>
                      <a:pt x="205454" y="218408"/>
                    </a:lnTo>
                    <a:lnTo>
                      <a:pt x="212217" y="215836"/>
                    </a:lnTo>
                    <a:lnTo>
                      <a:pt x="219075" y="214979"/>
                    </a:lnTo>
                    <a:lnTo>
                      <a:pt x="220790" y="214122"/>
                    </a:lnTo>
                    <a:lnTo>
                      <a:pt x="220790" y="212407"/>
                    </a:lnTo>
                    <a:lnTo>
                      <a:pt x="219075" y="211550"/>
                    </a:lnTo>
                    <a:lnTo>
                      <a:pt x="218218" y="210788"/>
                    </a:lnTo>
                    <a:lnTo>
                      <a:pt x="219932" y="206502"/>
                    </a:lnTo>
                    <a:lnTo>
                      <a:pt x="219932" y="207359"/>
                    </a:lnTo>
                    <a:lnTo>
                      <a:pt x="219932" y="209074"/>
                    </a:lnTo>
                    <a:lnTo>
                      <a:pt x="219932" y="209931"/>
                    </a:lnTo>
                    <a:lnTo>
                      <a:pt x="221552" y="209931"/>
                    </a:lnTo>
                    <a:lnTo>
                      <a:pt x="222409" y="209931"/>
                    </a:lnTo>
                    <a:lnTo>
                      <a:pt x="222409" y="209931"/>
                    </a:lnTo>
                    <a:lnTo>
                      <a:pt x="222409" y="210788"/>
                    </a:lnTo>
                    <a:lnTo>
                      <a:pt x="223266" y="210788"/>
                    </a:lnTo>
                    <a:lnTo>
                      <a:pt x="224123" y="211550"/>
                    </a:lnTo>
                    <a:lnTo>
                      <a:pt x="224123" y="211550"/>
                    </a:lnTo>
                    <a:lnTo>
                      <a:pt x="224981" y="211550"/>
                    </a:lnTo>
                    <a:lnTo>
                      <a:pt x="225838" y="211550"/>
                    </a:lnTo>
                    <a:lnTo>
                      <a:pt x="228410" y="211550"/>
                    </a:lnTo>
                    <a:lnTo>
                      <a:pt x="230124" y="210788"/>
                    </a:lnTo>
                    <a:lnTo>
                      <a:pt x="231743" y="209074"/>
                    </a:lnTo>
                    <a:lnTo>
                      <a:pt x="231743" y="205645"/>
                    </a:lnTo>
                    <a:lnTo>
                      <a:pt x="233458" y="207359"/>
                    </a:lnTo>
                    <a:lnTo>
                      <a:pt x="234315" y="209074"/>
                    </a:lnTo>
                    <a:lnTo>
                      <a:pt x="235172" y="210788"/>
                    </a:lnTo>
                    <a:lnTo>
                      <a:pt x="238601" y="211550"/>
                    </a:lnTo>
                    <a:lnTo>
                      <a:pt x="238601" y="211550"/>
                    </a:lnTo>
                    <a:lnTo>
                      <a:pt x="239459" y="212407"/>
                    </a:lnTo>
                    <a:lnTo>
                      <a:pt x="239459" y="213265"/>
                    </a:lnTo>
                    <a:lnTo>
                      <a:pt x="240316" y="213265"/>
                    </a:lnTo>
                    <a:lnTo>
                      <a:pt x="240316" y="212407"/>
                    </a:lnTo>
                    <a:lnTo>
                      <a:pt x="241078" y="212407"/>
                    </a:lnTo>
                    <a:lnTo>
                      <a:pt x="241935" y="212407"/>
                    </a:lnTo>
                    <a:lnTo>
                      <a:pt x="241935" y="212407"/>
                    </a:lnTo>
                    <a:lnTo>
                      <a:pt x="242792" y="213265"/>
                    </a:lnTo>
                    <a:lnTo>
                      <a:pt x="243650" y="213265"/>
                    </a:lnTo>
                    <a:lnTo>
                      <a:pt x="244507" y="214122"/>
                    </a:lnTo>
                    <a:lnTo>
                      <a:pt x="244507" y="214122"/>
                    </a:lnTo>
                    <a:lnTo>
                      <a:pt x="245364" y="213265"/>
                    </a:lnTo>
                    <a:lnTo>
                      <a:pt x="246221" y="213265"/>
                    </a:lnTo>
                    <a:lnTo>
                      <a:pt x="248793" y="213265"/>
                    </a:lnTo>
                    <a:lnTo>
                      <a:pt x="249650" y="212407"/>
                    </a:lnTo>
                    <a:lnTo>
                      <a:pt x="249650" y="212407"/>
                    </a:lnTo>
                    <a:lnTo>
                      <a:pt x="250508" y="211550"/>
                    </a:lnTo>
                    <a:lnTo>
                      <a:pt x="250508" y="209931"/>
                    </a:lnTo>
                    <a:lnTo>
                      <a:pt x="250508" y="208217"/>
                    </a:lnTo>
                    <a:lnTo>
                      <a:pt x="250508" y="207359"/>
                    </a:lnTo>
                    <a:lnTo>
                      <a:pt x="250508" y="205645"/>
                    </a:lnTo>
                    <a:lnTo>
                      <a:pt x="251269" y="203073"/>
                    </a:lnTo>
                    <a:lnTo>
                      <a:pt x="250508" y="201359"/>
                    </a:lnTo>
                    <a:lnTo>
                      <a:pt x="250508" y="200501"/>
                    </a:lnTo>
                    <a:lnTo>
                      <a:pt x="249650" y="198882"/>
                    </a:lnTo>
                    <a:lnTo>
                      <a:pt x="249650" y="197167"/>
                    </a:lnTo>
                    <a:lnTo>
                      <a:pt x="251269" y="195453"/>
                    </a:lnTo>
                    <a:lnTo>
                      <a:pt x="255556" y="192881"/>
                    </a:lnTo>
                    <a:lnTo>
                      <a:pt x="256413" y="192024"/>
                    </a:lnTo>
                    <a:lnTo>
                      <a:pt x="257270" y="190309"/>
                    </a:lnTo>
                    <a:lnTo>
                      <a:pt x="259842" y="191167"/>
                    </a:lnTo>
                    <a:lnTo>
                      <a:pt x="261461" y="193738"/>
                    </a:lnTo>
                    <a:lnTo>
                      <a:pt x="263176" y="195453"/>
                    </a:lnTo>
                    <a:lnTo>
                      <a:pt x="264033" y="197167"/>
                    </a:lnTo>
                    <a:lnTo>
                      <a:pt x="264033" y="199739"/>
                    </a:lnTo>
                    <a:lnTo>
                      <a:pt x="264033" y="203073"/>
                    </a:lnTo>
                    <a:lnTo>
                      <a:pt x="263176" y="204788"/>
                    </a:lnTo>
                    <a:lnTo>
                      <a:pt x="262319" y="206502"/>
                    </a:lnTo>
                    <a:lnTo>
                      <a:pt x="261461" y="208217"/>
                    </a:lnTo>
                    <a:lnTo>
                      <a:pt x="260604" y="209074"/>
                    </a:lnTo>
                    <a:lnTo>
                      <a:pt x="259842" y="209931"/>
                    </a:lnTo>
                    <a:lnTo>
                      <a:pt x="258128" y="209931"/>
                    </a:lnTo>
                    <a:lnTo>
                      <a:pt x="257270" y="209931"/>
                    </a:lnTo>
                    <a:lnTo>
                      <a:pt x="255556" y="209931"/>
                    </a:lnTo>
                    <a:lnTo>
                      <a:pt x="253841" y="211550"/>
                    </a:lnTo>
                    <a:lnTo>
                      <a:pt x="250508" y="214979"/>
                    </a:lnTo>
                    <a:lnTo>
                      <a:pt x="248793" y="215836"/>
                    </a:lnTo>
                    <a:lnTo>
                      <a:pt x="247079" y="217551"/>
                    </a:lnTo>
                    <a:lnTo>
                      <a:pt x="243650" y="224314"/>
                    </a:lnTo>
                    <a:lnTo>
                      <a:pt x="241935" y="226885"/>
                    </a:lnTo>
                    <a:lnTo>
                      <a:pt x="241078" y="226885"/>
                    </a:lnTo>
                    <a:lnTo>
                      <a:pt x="241078" y="228600"/>
                    </a:lnTo>
                    <a:lnTo>
                      <a:pt x="241935" y="231172"/>
                    </a:lnTo>
                    <a:lnTo>
                      <a:pt x="241078" y="232029"/>
                    </a:lnTo>
                    <a:lnTo>
                      <a:pt x="235172" y="240506"/>
                    </a:lnTo>
                    <a:lnTo>
                      <a:pt x="231743" y="248126"/>
                    </a:lnTo>
                    <a:lnTo>
                      <a:pt x="229267" y="251555"/>
                    </a:lnTo>
                    <a:lnTo>
                      <a:pt x="226695" y="255746"/>
                    </a:lnTo>
                    <a:lnTo>
                      <a:pt x="225838" y="258318"/>
                    </a:lnTo>
                    <a:lnTo>
                      <a:pt x="221552" y="260032"/>
                    </a:lnTo>
                    <a:lnTo>
                      <a:pt x="212217" y="258318"/>
                    </a:lnTo>
                    <a:lnTo>
                      <a:pt x="208026" y="259175"/>
                    </a:lnTo>
                    <a:lnTo>
                      <a:pt x="206312" y="260032"/>
                    </a:lnTo>
                    <a:lnTo>
                      <a:pt x="205454" y="260890"/>
                    </a:lnTo>
                    <a:lnTo>
                      <a:pt x="202883" y="260890"/>
                    </a:lnTo>
                    <a:lnTo>
                      <a:pt x="202883" y="260890"/>
                    </a:lnTo>
                    <a:lnTo>
                      <a:pt x="201263" y="261747"/>
                    </a:lnTo>
                    <a:lnTo>
                      <a:pt x="195263" y="266795"/>
                    </a:lnTo>
                    <a:lnTo>
                      <a:pt x="192691" y="268510"/>
                    </a:lnTo>
                    <a:lnTo>
                      <a:pt x="191072" y="269367"/>
                    </a:lnTo>
                    <a:lnTo>
                      <a:pt x="189357" y="269367"/>
                    </a:lnTo>
                    <a:lnTo>
                      <a:pt x="188500" y="269367"/>
                    </a:lnTo>
                    <a:lnTo>
                      <a:pt x="187643" y="269367"/>
                    </a:lnTo>
                    <a:lnTo>
                      <a:pt x="185928" y="271081"/>
                    </a:lnTo>
                    <a:lnTo>
                      <a:pt x="185928" y="272796"/>
                    </a:lnTo>
                    <a:lnTo>
                      <a:pt x="185071" y="273653"/>
                    </a:lnTo>
                    <a:lnTo>
                      <a:pt x="184214" y="275368"/>
                    </a:lnTo>
                    <a:lnTo>
                      <a:pt x="183356" y="275368"/>
                    </a:lnTo>
                    <a:lnTo>
                      <a:pt x="182499" y="274510"/>
                    </a:lnTo>
                    <a:lnTo>
                      <a:pt x="177451" y="268510"/>
                    </a:lnTo>
                    <a:lnTo>
                      <a:pt x="176594" y="267652"/>
                    </a:lnTo>
                    <a:lnTo>
                      <a:pt x="175736" y="269367"/>
                    </a:lnTo>
                    <a:lnTo>
                      <a:pt x="173165" y="275368"/>
                    </a:lnTo>
                    <a:lnTo>
                      <a:pt x="172307" y="277082"/>
                    </a:lnTo>
                    <a:lnTo>
                      <a:pt x="172307" y="277082"/>
                    </a:lnTo>
                    <a:lnTo>
                      <a:pt x="170688" y="276225"/>
                    </a:lnTo>
                    <a:lnTo>
                      <a:pt x="169831" y="276225"/>
                    </a:lnTo>
                    <a:lnTo>
                      <a:pt x="168974" y="276225"/>
                    </a:lnTo>
                    <a:lnTo>
                      <a:pt x="168974" y="277082"/>
                    </a:lnTo>
                    <a:lnTo>
                      <a:pt x="168116" y="277082"/>
                    </a:lnTo>
                    <a:lnTo>
                      <a:pt x="168116" y="277844"/>
                    </a:lnTo>
                    <a:lnTo>
                      <a:pt x="167259" y="278701"/>
                    </a:lnTo>
                    <a:lnTo>
                      <a:pt x="167259" y="279559"/>
                    </a:lnTo>
                    <a:lnTo>
                      <a:pt x="166402" y="280416"/>
                    </a:lnTo>
                    <a:lnTo>
                      <a:pt x="164687" y="279559"/>
                    </a:lnTo>
                    <a:lnTo>
                      <a:pt x="163830" y="280416"/>
                    </a:lnTo>
                    <a:lnTo>
                      <a:pt x="163830" y="281273"/>
                    </a:lnTo>
                    <a:lnTo>
                      <a:pt x="162973" y="282988"/>
                    </a:lnTo>
                    <a:lnTo>
                      <a:pt x="161354" y="281273"/>
                    </a:lnTo>
                    <a:lnTo>
                      <a:pt x="157925" y="281273"/>
                    </a:lnTo>
                    <a:lnTo>
                      <a:pt x="156210" y="280416"/>
                    </a:lnTo>
                    <a:lnTo>
                      <a:pt x="157067" y="278701"/>
                    </a:lnTo>
                    <a:lnTo>
                      <a:pt x="157067" y="276225"/>
                    </a:lnTo>
                    <a:lnTo>
                      <a:pt x="156210" y="271081"/>
                    </a:lnTo>
                    <a:lnTo>
                      <a:pt x="155353" y="271081"/>
                    </a:lnTo>
                    <a:lnTo>
                      <a:pt x="153638" y="271939"/>
                    </a:lnTo>
                    <a:lnTo>
                      <a:pt x="152781" y="271081"/>
                    </a:lnTo>
                    <a:lnTo>
                      <a:pt x="152019" y="271939"/>
                    </a:lnTo>
                    <a:lnTo>
                      <a:pt x="152019" y="273653"/>
                    </a:lnTo>
                    <a:lnTo>
                      <a:pt x="152019" y="275368"/>
                    </a:lnTo>
                    <a:lnTo>
                      <a:pt x="152781" y="277082"/>
                    </a:lnTo>
                    <a:lnTo>
                      <a:pt x="153638" y="278701"/>
                    </a:lnTo>
                    <a:lnTo>
                      <a:pt x="152781" y="280416"/>
                    </a:lnTo>
                    <a:lnTo>
                      <a:pt x="152019" y="280416"/>
                    </a:lnTo>
                    <a:lnTo>
                      <a:pt x="151162" y="280416"/>
                    </a:lnTo>
                    <a:lnTo>
                      <a:pt x="151162" y="280416"/>
                    </a:lnTo>
                    <a:lnTo>
                      <a:pt x="150305" y="281273"/>
                    </a:lnTo>
                    <a:lnTo>
                      <a:pt x="148590" y="283845"/>
                    </a:lnTo>
                    <a:lnTo>
                      <a:pt x="148590" y="283845"/>
                    </a:lnTo>
                    <a:lnTo>
                      <a:pt x="146876" y="284702"/>
                    </a:lnTo>
                    <a:lnTo>
                      <a:pt x="143447" y="285559"/>
                    </a:lnTo>
                    <a:lnTo>
                      <a:pt x="134969" y="285559"/>
                    </a:lnTo>
                    <a:lnTo>
                      <a:pt x="133255" y="286417"/>
                    </a:lnTo>
                    <a:lnTo>
                      <a:pt x="132493" y="288893"/>
                    </a:lnTo>
                    <a:lnTo>
                      <a:pt x="127349" y="291465"/>
                    </a:lnTo>
                    <a:lnTo>
                      <a:pt x="118872" y="292322"/>
                    </a:lnTo>
                    <a:lnTo>
                      <a:pt x="118872" y="291465"/>
                    </a:lnTo>
                    <a:lnTo>
                      <a:pt x="116300" y="290608"/>
                    </a:lnTo>
                    <a:lnTo>
                      <a:pt x="114586" y="288131"/>
                    </a:lnTo>
                    <a:lnTo>
                      <a:pt x="113728" y="285559"/>
                    </a:lnTo>
                    <a:lnTo>
                      <a:pt x="115443" y="282988"/>
                    </a:lnTo>
                    <a:lnTo>
                      <a:pt x="115443" y="281273"/>
                    </a:lnTo>
                    <a:lnTo>
                      <a:pt x="118015" y="277844"/>
                    </a:lnTo>
                    <a:lnTo>
                      <a:pt x="118015" y="275368"/>
                    </a:lnTo>
                    <a:lnTo>
                      <a:pt x="116300" y="274510"/>
                    </a:lnTo>
                    <a:lnTo>
                      <a:pt x="115443" y="274510"/>
                    </a:lnTo>
                    <a:lnTo>
                      <a:pt x="113728" y="275368"/>
                    </a:lnTo>
                    <a:lnTo>
                      <a:pt x="112109" y="276225"/>
                    </a:lnTo>
                    <a:lnTo>
                      <a:pt x="111252" y="277082"/>
                    </a:lnTo>
                    <a:lnTo>
                      <a:pt x="110395" y="277082"/>
                    </a:lnTo>
                    <a:lnTo>
                      <a:pt x="109538" y="276225"/>
                    </a:lnTo>
                    <a:lnTo>
                      <a:pt x="108680" y="276225"/>
                    </a:lnTo>
                    <a:lnTo>
                      <a:pt x="107823" y="276225"/>
                    </a:lnTo>
                    <a:lnTo>
                      <a:pt x="106109" y="277844"/>
                    </a:lnTo>
                    <a:lnTo>
                      <a:pt x="105251" y="277844"/>
                    </a:lnTo>
                    <a:lnTo>
                      <a:pt x="102775" y="277844"/>
                    </a:lnTo>
                    <a:lnTo>
                      <a:pt x="101918" y="276225"/>
                    </a:lnTo>
                    <a:lnTo>
                      <a:pt x="100203" y="273653"/>
                    </a:lnTo>
                    <a:lnTo>
                      <a:pt x="101060" y="271939"/>
                    </a:lnTo>
                    <a:lnTo>
                      <a:pt x="103537" y="271081"/>
                    </a:lnTo>
                    <a:lnTo>
                      <a:pt x="104394" y="270224"/>
                    </a:lnTo>
                    <a:lnTo>
                      <a:pt x="104394" y="268510"/>
                    </a:lnTo>
                    <a:lnTo>
                      <a:pt x="104394" y="267652"/>
                    </a:lnTo>
                    <a:lnTo>
                      <a:pt x="103537" y="267652"/>
                    </a:lnTo>
                    <a:lnTo>
                      <a:pt x="100203" y="269367"/>
                    </a:lnTo>
                    <a:lnTo>
                      <a:pt x="95917" y="271939"/>
                    </a:lnTo>
                    <a:lnTo>
                      <a:pt x="94202" y="273653"/>
                    </a:lnTo>
                    <a:lnTo>
                      <a:pt x="93345" y="275368"/>
                    </a:lnTo>
                    <a:lnTo>
                      <a:pt x="92583" y="277082"/>
                    </a:lnTo>
                    <a:lnTo>
                      <a:pt x="91726" y="278701"/>
                    </a:lnTo>
                    <a:lnTo>
                      <a:pt x="91726" y="281273"/>
                    </a:lnTo>
                    <a:lnTo>
                      <a:pt x="90869" y="282988"/>
                    </a:lnTo>
                    <a:lnTo>
                      <a:pt x="90011" y="284702"/>
                    </a:lnTo>
                    <a:lnTo>
                      <a:pt x="89154" y="287274"/>
                    </a:lnTo>
                    <a:lnTo>
                      <a:pt x="89154" y="289750"/>
                    </a:lnTo>
                    <a:lnTo>
                      <a:pt x="90011" y="292322"/>
                    </a:lnTo>
                    <a:lnTo>
                      <a:pt x="92583" y="296609"/>
                    </a:lnTo>
                    <a:lnTo>
                      <a:pt x="94202" y="300800"/>
                    </a:lnTo>
                    <a:lnTo>
                      <a:pt x="96774" y="303371"/>
                    </a:lnTo>
                    <a:lnTo>
                      <a:pt x="100203" y="305943"/>
                    </a:lnTo>
                    <a:lnTo>
                      <a:pt x="105251" y="313563"/>
                    </a:lnTo>
                    <a:lnTo>
                      <a:pt x="106966" y="316135"/>
                    </a:lnTo>
                    <a:lnTo>
                      <a:pt x="108680" y="317849"/>
                    </a:lnTo>
                    <a:lnTo>
                      <a:pt x="112109" y="320421"/>
                    </a:lnTo>
                    <a:lnTo>
                      <a:pt x="117158" y="327184"/>
                    </a:lnTo>
                    <a:lnTo>
                      <a:pt x="118872" y="328898"/>
                    </a:lnTo>
                    <a:lnTo>
                      <a:pt x="122301" y="331470"/>
                    </a:lnTo>
                    <a:lnTo>
                      <a:pt x="132493" y="341662"/>
                    </a:lnTo>
                    <a:lnTo>
                      <a:pt x="134969" y="342519"/>
                    </a:lnTo>
                    <a:lnTo>
                      <a:pt x="135827" y="342519"/>
                    </a:lnTo>
                    <a:lnTo>
                      <a:pt x="138398" y="339947"/>
                    </a:lnTo>
                    <a:lnTo>
                      <a:pt x="139256" y="341662"/>
                    </a:lnTo>
                    <a:lnTo>
                      <a:pt x="138398" y="344996"/>
                    </a:lnTo>
                    <a:lnTo>
                      <a:pt x="139256" y="346710"/>
                    </a:lnTo>
                    <a:lnTo>
                      <a:pt x="142589" y="350996"/>
                    </a:lnTo>
                    <a:lnTo>
                      <a:pt x="144304" y="352711"/>
                    </a:lnTo>
                    <a:lnTo>
                      <a:pt x="148590" y="354425"/>
                    </a:lnTo>
                    <a:lnTo>
                      <a:pt x="150305" y="358616"/>
                    </a:lnTo>
                    <a:lnTo>
                      <a:pt x="152781" y="360331"/>
                    </a:lnTo>
                    <a:lnTo>
                      <a:pt x="156210" y="364617"/>
                    </a:lnTo>
                    <a:lnTo>
                      <a:pt x="157925" y="366236"/>
                    </a:lnTo>
                    <a:lnTo>
                      <a:pt x="164687" y="370522"/>
                    </a:lnTo>
                    <a:lnTo>
                      <a:pt x="179165" y="385858"/>
                    </a:lnTo>
                    <a:lnTo>
                      <a:pt x="180880" y="386715"/>
                    </a:lnTo>
                    <a:lnTo>
                      <a:pt x="182499" y="388334"/>
                    </a:lnTo>
                    <a:lnTo>
                      <a:pt x="184214" y="388334"/>
                    </a:lnTo>
                    <a:lnTo>
                      <a:pt x="185071" y="391763"/>
                    </a:lnTo>
                    <a:lnTo>
                      <a:pt x="188500" y="397764"/>
                    </a:lnTo>
                    <a:lnTo>
                      <a:pt x="196120" y="406241"/>
                    </a:lnTo>
                    <a:lnTo>
                      <a:pt x="201263" y="411289"/>
                    </a:lnTo>
                    <a:lnTo>
                      <a:pt x="202025" y="412147"/>
                    </a:lnTo>
                    <a:lnTo>
                      <a:pt x="202883" y="413004"/>
                    </a:lnTo>
                    <a:lnTo>
                      <a:pt x="212217" y="425767"/>
                    </a:lnTo>
                    <a:lnTo>
                      <a:pt x="222409" y="434245"/>
                    </a:lnTo>
                    <a:lnTo>
                      <a:pt x="235172" y="445294"/>
                    </a:lnTo>
                    <a:lnTo>
                      <a:pt x="239459" y="448723"/>
                    </a:lnTo>
                    <a:lnTo>
                      <a:pt x="242792" y="452152"/>
                    </a:lnTo>
                    <a:lnTo>
                      <a:pt x="249650" y="454628"/>
                    </a:lnTo>
                    <a:lnTo>
                      <a:pt x="252127" y="456343"/>
                    </a:lnTo>
                    <a:lnTo>
                      <a:pt x="255556" y="460629"/>
                    </a:lnTo>
                    <a:lnTo>
                      <a:pt x="257270" y="461486"/>
                    </a:lnTo>
                    <a:lnTo>
                      <a:pt x="259842" y="462343"/>
                    </a:lnTo>
                    <a:lnTo>
                      <a:pt x="265748" y="465677"/>
                    </a:lnTo>
                    <a:lnTo>
                      <a:pt x="282702" y="473392"/>
                    </a:lnTo>
                    <a:lnTo>
                      <a:pt x="286988" y="475964"/>
                    </a:lnTo>
                    <a:lnTo>
                      <a:pt x="287846" y="476726"/>
                    </a:lnTo>
                    <a:lnTo>
                      <a:pt x="288703" y="476726"/>
                    </a:lnTo>
                    <a:lnTo>
                      <a:pt x="290322" y="475964"/>
                    </a:lnTo>
                    <a:lnTo>
                      <a:pt x="291179" y="475964"/>
                    </a:lnTo>
                    <a:lnTo>
                      <a:pt x="292894" y="475964"/>
                    </a:lnTo>
                    <a:lnTo>
                      <a:pt x="294608" y="477584"/>
                    </a:lnTo>
                    <a:lnTo>
                      <a:pt x="296323" y="478441"/>
                    </a:lnTo>
                    <a:lnTo>
                      <a:pt x="298895" y="478441"/>
                    </a:lnTo>
                    <a:lnTo>
                      <a:pt x="313277" y="477584"/>
                    </a:lnTo>
                    <a:lnTo>
                      <a:pt x="313277" y="477584"/>
                    </a:lnTo>
                    <a:lnTo>
                      <a:pt x="313277" y="476726"/>
                    </a:lnTo>
                    <a:lnTo>
                      <a:pt x="313277" y="475964"/>
                    </a:lnTo>
                    <a:lnTo>
                      <a:pt x="314135" y="475107"/>
                    </a:lnTo>
                    <a:lnTo>
                      <a:pt x="314135" y="474250"/>
                    </a:lnTo>
                    <a:lnTo>
                      <a:pt x="315849" y="474250"/>
                    </a:lnTo>
                    <a:lnTo>
                      <a:pt x="316706" y="474250"/>
                    </a:lnTo>
                    <a:lnTo>
                      <a:pt x="316706" y="474250"/>
                    </a:lnTo>
                    <a:lnTo>
                      <a:pt x="317564" y="474250"/>
                    </a:lnTo>
                    <a:lnTo>
                      <a:pt x="319278" y="473392"/>
                    </a:lnTo>
                    <a:lnTo>
                      <a:pt x="321755" y="474250"/>
                    </a:lnTo>
                    <a:lnTo>
                      <a:pt x="323469" y="474250"/>
                    </a:lnTo>
                    <a:lnTo>
                      <a:pt x="324326" y="473392"/>
                    </a:lnTo>
                    <a:lnTo>
                      <a:pt x="326041" y="472535"/>
                    </a:lnTo>
                    <a:lnTo>
                      <a:pt x="326898" y="471678"/>
                    </a:lnTo>
                    <a:lnTo>
                      <a:pt x="328613" y="471678"/>
                    </a:lnTo>
                    <a:lnTo>
                      <a:pt x="329375" y="470821"/>
                    </a:lnTo>
                    <a:lnTo>
                      <a:pt x="331946" y="470821"/>
                    </a:lnTo>
                    <a:lnTo>
                      <a:pt x="351473" y="461486"/>
                    </a:lnTo>
                    <a:lnTo>
                      <a:pt x="358331" y="459772"/>
                    </a:lnTo>
                    <a:lnTo>
                      <a:pt x="367665" y="457200"/>
                    </a:lnTo>
                    <a:lnTo>
                      <a:pt x="369284" y="455485"/>
                    </a:lnTo>
                    <a:lnTo>
                      <a:pt x="370142" y="453009"/>
                    </a:lnTo>
                    <a:lnTo>
                      <a:pt x="370999" y="452152"/>
                    </a:lnTo>
                    <a:lnTo>
                      <a:pt x="376142" y="447865"/>
                    </a:lnTo>
                    <a:lnTo>
                      <a:pt x="377000" y="447008"/>
                    </a:lnTo>
                    <a:lnTo>
                      <a:pt x="379476" y="446151"/>
                    </a:lnTo>
                    <a:lnTo>
                      <a:pt x="378619" y="447008"/>
                    </a:lnTo>
                    <a:lnTo>
                      <a:pt x="377857" y="447865"/>
                    </a:lnTo>
                    <a:lnTo>
                      <a:pt x="377000" y="449580"/>
                    </a:lnTo>
                    <a:lnTo>
                      <a:pt x="381191" y="448723"/>
                    </a:lnTo>
                    <a:lnTo>
                      <a:pt x="387191" y="443579"/>
                    </a:lnTo>
                    <a:lnTo>
                      <a:pt x="392240" y="441960"/>
                    </a:lnTo>
                    <a:lnTo>
                      <a:pt x="395669" y="439388"/>
                    </a:lnTo>
                    <a:lnTo>
                      <a:pt x="397383" y="440246"/>
                    </a:lnTo>
                    <a:lnTo>
                      <a:pt x="399002" y="440246"/>
                    </a:lnTo>
                    <a:lnTo>
                      <a:pt x="400717" y="439388"/>
                    </a:lnTo>
                    <a:lnTo>
                      <a:pt x="404146" y="437674"/>
                    </a:lnTo>
                    <a:lnTo>
                      <a:pt x="405860" y="435959"/>
                    </a:lnTo>
                    <a:lnTo>
                      <a:pt x="418529" y="428339"/>
                    </a:lnTo>
                    <a:lnTo>
                      <a:pt x="423672" y="427482"/>
                    </a:lnTo>
                    <a:lnTo>
                      <a:pt x="426244" y="427482"/>
                    </a:lnTo>
                    <a:lnTo>
                      <a:pt x="433007" y="423196"/>
                    </a:lnTo>
                    <a:lnTo>
                      <a:pt x="433864" y="423196"/>
                    </a:lnTo>
                    <a:lnTo>
                      <a:pt x="434721" y="422338"/>
                    </a:lnTo>
                    <a:lnTo>
                      <a:pt x="435578" y="421481"/>
                    </a:lnTo>
                    <a:lnTo>
                      <a:pt x="436436" y="421481"/>
                    </a:lnTo>
                    <a:lnTo>
                      <a:pt x="437293" y="420719"/>
                    </a:lnTo>
                    <a:lnTo>
                      <a:pt x="438912" y="419005"/>
                    </a:lnTo>
                    <a:lnTo>
                      <a:pt x="438912" y="417290"/>
                    </a:lnTo>
                    <a:lnTo>
                      <a:pt x="437293" y="414718"/>
                    </a:lnTo>
                    <a:lnTo>
                      <a:pt x="437293" y="413861"/>
                    </a:lnTo>
                    <a:lnTo>
                      <a:pt x="437293" y="413004"/>
                    </a:lnTo>
                    <a:lnTo>
                      <a:pt x="438055" y="412147"/>
                    </a:lnTo>
                    <a:lnTo>
                      <a:pt x="438055" y="411289"/>
                    </a:lnTo>
                    <a:lnTo>
                      <a:pt x="438055" y="409670"/>
                    </a:lnTo>
                    <a:lnTo>
                      <a:pt x="438912" y="409670"/>
                    </a:lnTo>
                    <a:lnTo>
                      <a:pt x="438912" y="408813"/>
                    </a:lnTo>
                    <a:lnTo>
                      <a:pt x="438912" y="407956"/>
                    </a:lnTo>
                    <a:lnTo>
                      <a:pt x="438912" y="406241"/>
                    </a:lnTo>
                    <a:lnTo>
                      <a:pt x="439769" y="405384"/>
                    </a:lnTo>
                    <a:lnTo>
                      <a:pt x="444056" y="401098"/>
                    </a:lnTo>
                    <a:lnTo>
                      <a:pt x="444913" y="399383"/>
                    </a:lnTo>
                    <a:lnTo>
                      <a:pt x="445770" y="396907"/>
                    </a:lnTo>
                    <a:lnTo>
                      <a:pt x="451675" y="390906"/>
                    </a:lnTo>
                    <a:lnTo>
                      <a:pt x="454247" y="386715"/>
                    </a:lnTo>
                    <a:lnTo>
                      <a:pt x="457581" y="373094"/>
                    </a:lnTo>
                    <a:lnTo>
                      <a:pt x="457581" y="372237"/>
                    </a:lnTo>
                    <a:lnTo>
                      <a:pt x="459296" y="371380"/>
                    </a:lnTo>
                    <a:lnTo>
                      <a:pt x="459296" y="370522"/>
                    </a:lnTo>
                    <a:lnTo>
                      <a:pt x="460153" y="369665"/>
                    </a:lnTo>
                    <a:lnTo>
                      <a:pt x="460153" y="368808"/>
                    </a:lnTo>
                    <a:lnTo>
                      <a:pt x="460153" y="367951"/>
                    </a:lnTo>
                    <a:lnTo>
                      <a:pt x="459296" y="366236"/>
                    </a:lnTo>
                    <a:lnTo>
                      <a:pt x="459296" y="365474"/>
                    </a:lnTo>
                    <a:lnTo>
                      <a:pt x="458438" y="364617"/>
                    </a:lnTo>
                    <a:lnTo>
                      <a:pt x="457581" y="363760"/>
                    </a:lnTo>
                    <a:lnTo>
                      <a:pt x="456819" y="362045"/>
                    </a:lnTo>
                    <a:lnTo>
                      <a:pt x="455962" y="361188"/>
                    </a:lnTo>
                    <a:lnTo>
                      <a:pt x="455105" y="362045"/>
                    </a:lnTo>
                    <a:lnTo>
                      <a:pt x="453390" y="361188"/>
                    </a:lnTo>
                    <a:lnTo>
                      <a:pt x="452533" y="361188"/>
                    </a:lnTo>
                    <a:lnTo>
                      <a:pt x="451675" y="360331"/>
                    </a:lnTo>
                    <a:lnTo>
                      <a:pt x="450818" y="360331"/>
                    </a:lnTo>
                    <a:lnTo>
                      <a:pt x="450818" y="359473"/>
                    </a:lnTo>
                    <a:lnTo>
                      <a:pt x="449104" y="355187"/>
                    </a:lnTo>
                    <a:lnTo>
                      <a:pt x="449104" y="354425"/>
                    </a:lnTo>
                    <a:lnTo>
                      <a:pt x="448247" y="353568"/>
                    </a:lnTo>
                    <a:lnTo>
                      <a:pt x="446627" y="352711"/>
                    </a:lnTo>
                    <a:lnTo>
                      <a:pt x="446627" y="350996"/>
                    </a:lnTo>
                    <a:lnTo>
                      <a:pt x="445770" y="350139"/>
                    </a:lnTo>
                    <a:lnTo>
                      <a:pt x="445770" y="349282"/>
                    </a:lnTo>
                    <a:lnTo>
                      <a:pt x="439769" y="351853"/>
                    </a:lnTo>
                    <a:lnTo>
                      <a:pt x="438055" y="351853"/>
                    </a:lnTo>
                    <a:lnTo>
                      <a:pt x="436436" y="350996"/>
                    </a:lnTo>
                    <a:lnTo>
                      <a:pt x="435578" y="350139"/>
                    </a:lnTo>
                    <a:lnTo>
                      <a:pt x="433007" y="350139"/>
                    </a:lnTo>
                    <a:lnTo>
                      <a:pt x="429578" y="351853"/>
                    </a:lnTo>
                    <a:lnTo>
                      <a:pt x="429578" y="350996"/>
                    </a:lnTo>
                    <a:lnTo>
                      <a:pt x="429578" y="349282"/>
                    </a:lnTo>
                    <a:lnTo>
                      <a:pt x="429578" y="348425"/>
                    </a:lnTo>
                    <a:lnTo>
                      <a:pt x="427863" y="349282"/>
                    </a:lnTo>
                    <a:lnTo>
                      <a:pt x="427863" y="349282"/>
                    </a:lnTo>
                    <a:lnTo>
                      <a:pt x="427101" y="350139"/>
                    </a:lnTo>
                    <a:lnTo>
                      <a:pt x="426244" y="348425"/>
                    </a:lnTo>
                    <a:lnTo>
                      <a:pt x="426244" y="347567"/>
                    </a:lnTo>
                    <a:lnTo>
                      <a:pt x="426244" y="344138"/>
                    </a:lnTo>
                    <a:lnTo>
                      <a:pt x="427101" y="342519"/>
                    </a:lnTo>
                    <a:lnTo>
                      <a:pt x="427863" y="341662"/>
                    </a:lnTo>
                    <a:lnTo>
                      <a:pt x="433864" y="344996"/>
                    </a:lnTo>
                    <a:lnTo>
                      <a:pt x="436436" y="344996"/>
                    </a:lnTo>
                    <a:lnTo>
                      <a:pt x="438912" y="344138"/>
                    </a:lnTo>
                    <a:lnTo>
                      <a:pt x="436436" y="340805"/>
                    </a:lnTo>
                    <a:lnTo>
                      <a:pt x="435578" y="340805"/>
                    </a:lnTo>
                    <a:lnTo>
                      <a:pt x="434721" y="340805"/>
                    </a:lnTo>
                    <a:lnTo>
                      <a:pt x="433864" y="339947"/>
                    </a:lnTo>
                    <a:lnTo>
                      <a:pt x="433007" y="339947"/>
                    </a:lnTo>
                    <a:lnTo>
                      <a:pt x="433007" y="339090"/>
                    </a:lnTo>
                    <a:lnTo>
                      <a:pt x="433864" y="337375"/>
                    </a:lnTo>
                    <a:lnTo>
                      <a:pt x="435578" y="337375"/>
                    </a:lnTo>
                    <a:lnTo>
                      <a:pt x="438055" y="339090"/>
                    </a:lnTo>
                    <a:lnTo>
                      <a:pt x="438912" y="340805"/>
                    </a:lnTo>
                    <a:lnTo>
                      <a:pt x="440626" y="342519"/>
                    </a:lnTo>
                    <a:lnTo>
                      <a:pt x="441484" y="343376"/>
                    </a:lnTo>
                    <a:lnTo>
                      <a:pt x="444913" y="344138"/>
                    </a:lnTo>
                    <a:lnTo>
                      <a:pt x="445770" y="344138"/>
                    </a:lnTo>
                    <a:lnTo>
                      <a:pt x="444913" y="342519"/>
                    </a:lnTo>
                    <a:lnTo>
                      <a:pt x="444913" y="340805"/>
                    </a:lnTo>
                    <a:lnTo>
                      <a:pt x="445770" y="339090"/>
                    </a:lnTo>
                    <a:lnTo>
                      <a:pt x="445770" y="338233"/>
                    </a:lnTo>
                    <a:lnTo>
                      <a:pt x="444056" y="337375"/>
                    </a:lnTo>
                    <a:lnTo>
                      <a:pt x="444913" y="336518"/>
                    </a:lnTo>
                    <a:lnTo>
                      <a:pt x="443198" y="335661"/>
                    </a:lnTo>
                    <a:lnTo>
                      <a:pt x="443198" y="334804"/>
                    </a:lnTo>
                    <a:lnTo>
                      <a:pt x="444056" y="333946"/>
                    </a:lnTo>
                    <a:lnTo>
                      <a:pt x="443198" y="333946"/>
                    </a:lnTo>
                    <a:lnTo>
                      <a:pt x="438912" y="334804"/>
                    </a:lnTo>
                    <a:lnTo>
                      <a:pt x="436436" y="334804"/>
                    </a:lnTo>
                    <a:lnTo>
                      <a:pt x="430435" y="332327"/>
                    </a:lnTo>
                    <a:lnTo>
                      <a:pt x="431292" y="331470"/>
                    </a:lnTo>
                    <a:lnTo>
                      <a:pt x="433007" y="330613"/>
                    </a:lnTo>
                    <a:lnTo>
                      <a:pt x="435578" y="330613"/>
                    </a:lnTo>
                    <a:lnTo>
                      <a:pt x="436436" y="331470"/>
                    </a:lnTo>
                    <a:lnTo>
                      <a:pt x="438055" y="331470"/>
                    </a:lnTo>
                    <a:lnTo>
                      <a:pt x="438055" y="331470"/>
                    </a:lnTo>
                    <a:lnTo>
                      <a:pt x="438912" y="330613"/>
                    </a:lnTo>
                    <a:lnTo>
                      <a:pt x="438912" y="329755"/>
                    </a:lnTo>
                    <a:lnTo>
                      <a:pt x="436436" y="328041"/>
                    </a:lnTo>
                    <a:lnTo>
                      <a:pt x="435578" y="327184"/>
                    </a:lnTo>
                    <a:lnTo>
                      <a:pt x="439769" y="328898"/>
                    </a:lnTo>
                    <a:lnTo>
                      <a:pt x="440626" y="328041"/>
                    </a:lnTo>
                    <a:lnTo>
                      <a:pt x="441484" y="327184"/>
                    </a:lnTo>
                    <a:lnTo>
                      <a:pt x="439769" y="325469"/>
                    </a:lnTo>
                    <a:lnTo>
                      <a:pt x="438055" y="323755"/>
                    </a:lnTo>
                    <a:lnTo>
                      <a:pt x="439769" y="323755"/>
                    </a:lnTo>
                    <a:lnTo>
                      <a:pt x="442341" y="324612"/>
                    </a:lnTo>
                    <a:lnTo>
                      <a:pt x="444056" y="325469"/>
                    </a:lnTo>
                    <a:lnTo>
                      <a:pt x="444913" y="327184"/>
                    </a:lnTo>
                    <a:lnTo>
                      <a:pt x="444913" y="328041"/>
                    </a:lnTo>
                    <a:lnTo>
                      <a:pt x="446627" y="328041"/>
                    </a:lnTo>
                    <a:lnTo>
                      <a:pt x="447389" y="327184"/>
                    </a:lnTo>
                    <a:lnTo>
                      <a:pt x="447389" y="326326"/>
                    </a:lnTo>
                    <a:lnTo>
                      <a:pt x="448247" y="325469"/>
                    </a:lnTo>
                    <a:lnTo>
                      <a:pt x="448247" y="324612"/>
                    </a:lnTo>
                    <a:lnTo>
                      <a:pt x="449104" y="323755"/>
                    </a:lnTo>
                    <a:lnTo>
                      <a:pt x="449961" y="325469"/>
                    </a:lnTo>
                    <a:lnTo>
                      <a:pt x="450818" y="325469"/>
                    </a:lnTo>
                    <a:lnTo>
                      <a:pt x="450818" y="323755"/>
                    </a:lnTo>
                    <a:lnTo>
                      <a:pt x="451675" y="323755"/>
                    </a:lnTo>
                    <a:lnTo>
                      <a:pt x="453390" y="323755"/>
                    </a:lnTo>
                    <a:lnTo>
                      <a:pt x="455105" y="323755"/>
                    </a:lnTo>
                    <a:lnTo>
                      <a:pt x="455962" y="323755"/>
                    </a:lnTo>
                    <a:lnTo>
                      <a:pt x="457581" y="322040"/>
                    </a:lnTo>
                    <a:lnTo>
                      <a:pt x="457581" y="321278"/>
                    </a:lnTo>
                    <a:lnTo>
                      <a:pt x="458438" y="319564"/>
                    </a:lnTo>
                    <a:lnTo>
                      <a:pt x="459296" y="318706"/>
                    </a:lnTo>
                    <a:lnTo>
                      <a:pt x="459296" y="318706"/>
                    </a:lnTo>
                    <a:lnTo>
                      <a:pt x="460153" y="317849"/>
                    </a:lnTo>
                    <a:lnTo>
                      <a:pt x="461010" y="315277"/>
                    </a:lnTo>
                    <a:lnTo>
                      <a:pt x="461867" y="303371"/>
                    </a:lnTo>
                    <a:lnTo>
                      <a:pt x="461010" y="297466"/>
                    </a:lnTo>
                    <a:lnTo>
                      <a:pt x="456819" y="298323"/>
                    </a:lnTo>
                    <a:lnTo>
                      <a:pt x="453390" y="296609"/>
                    </a:lnTo>
                    <a:lnTo>
                      <a:pt x="453390" y="295751"/>
                    </a:lnTo>
                    <a:lnTo>
                      <a:pt x="453390" y="294894"/>
                    </a:lnTo>
                    <a:lnTo>
                      <a:pt x="454247" y="293180"/>
                    </a:lnTo>
                    <a:lnTo>
                      <a:pt x="454247" y="292322"/>
                    </a:lnTo>
                    <a:lnTo>
                      <a:pt x="453390" y="290608"/>
                    </a:lnTo>
                    <a:lnTo>
                      <a:pt x="449961" y="294037"/>
                    </a:lnTo>
                    <a:lnTo>
                      <a:pt x="448247" y="294894"/>
                    </a:lnTo>
                    <a:lnTo>
                      <a:pt x="445770" y="294037"/>
                    </a:lnTo>
                    <a:lnTo>
                      <a:pt x="443198" y="292322"/>
                    </a:lnTo>
                    <a:lnTo>
                      <a:pt x="444913" y="291465"/>
                    </a:lnTo>
                    <a:lnTo>
                      <a:pt x="449961" y="292322"/>
                    </a:lnTo>
                    <a:lnTo>
                      <a:pt x="449104" y="290608"/>
                    </a:lnTo>
                    <a:lnTo>
                      <a:pt x="449961" y="288893"/>
                    </a:lnTo>
                    <a:lnTo>
                      <a:pt x="451675" y="288893"/>
                    </a:lnTo>
                    <a:lnTo>
                      <a:pt x="453390" y="288893"/>
                    </a:lnTo>
                    <a:lnTo>
                      <a:pt x="456819" y="289750"/>
                    </a:lnTo>
                    <a:lnTo>
                      <a:pt x="456819" y="290608"/>
                    </a:lnTo>
                    <a:lnTo>
                      <a:pt x="455962" y="292322"/>
                    </a:lnTo>
                    <a:lnTo>
                      <a:pt x="457581" y="294037"/>
                    </a:lnTo>
                    <a:lnTo>
                      <a:pt x="459296" y="294037"/>
                    </a:lnTo>
                    <a:lnTo>
                      <a:pt x="461010" y="294037"/>
                    </a:lnTo>
                    <a:lnTo>
                      <a:pt x="463582" y="294037"/>
                    </a:lnTo>
                    <a:lnTo>
                      <a:pt x="464439" y="291465"/>
                    </a:lnTo>
                    <a:lnTo>
                      <a:pt x="464439" y="288893"/>
                    </a:lnTo>
                    <a:lnTo>
                      <a:pt x="466154" y="286417"/>
                    </a:lnTo>
                    <a:lnTo>
                      <a:pt x="466916" y="283845"/>
                    </a:lnTo>
                    <a:lnTo>
                      <a:pt x="467773" y="282988"/>
                    </a:lnTo>
                    <a:lnTo>
                      <a:pt x="471202" y="281273"/>
                    </a:lnTo>
                    <a:lnTo>
                      <a:pt x="472059" y="282988"/>
                    </a:lnTo>
                    <a:lnTo>
                      <a:pt x="472059" y="285559"/>
                    </a:lnTo>
                    <a:lnTo>
                      <a:pt x="470345" y="286417"/>
                    </a:lnTo>
                    <a:lnTo>
                      <a:pt x="469487" y="288131"/>
                    </a:lnTo>
                    <a:lnTo>
                      <a:pt x="469487" y="290608"/>
                    </a:lnTo>
                    <a:lnTo>
                      <a:pt x="469487" y="293180"/>
                    </a:lnTo>
                    <a:lnTo>
                      <a:pt x="470345" y="294894"/>
                    </a:lnTo>
                    <a:lnTo>
                      <a:pt x="472916" y="295751"/>
                    </a:lnTo>
                    <a:lnTo>
                      <a:pt x="474631" y="294894"/>
                    </a:lnTo>
                    <a:lnTo>
                      <a:pt x="477107" y="293180"/>
                    </a:lnTo>
                    <a:lnTo>
                      <a:pt x="477965" y="294037"/>
                    </a:lnTo>
                    <a:lnTo>
                      <a:pt x="478822" y="294894"/>
                    </a:lnTo>
                    <a:lnTo>
                      <a:pt x="477107" y="295751"/>
                    </a:lnTo>
                    <a:lnTo>
                      <a:pt x="477965" y="296609"/>
                    </a:lnTo>
                    <a:lnTo>
                      <a:pt x="478822" y="297466"/>
                    </a:lnTo>
                    <a:lnTo>
                      <a:pt x="479679" y="297466"/>
                    </a:lnTo>
                    <a:lnTo>
                      <a:pt x="483108" y="296609"/>
                    </a:lnTo>
                    <a:lnTo>
                      <a:pt x="484823" y="294894"/>
                    </a:lnTo>
                    <a:lnTo>
                      <a:pt x="488156" y="291465"/>
                    </a:lnTo>
                    <a:lnTo>
                      <a:pt x="490728" y="290608"/>
                    </a:lnTo>
                    <a:lnTo>
                      <a:pt x="493300" y="290608"/>
                    </a:lnTo>
                    <a:lnTo>
                      <a:pt x="494157" y="291465"/>
                    </a:lnTo>
                    <a:lnTo>
                      <a:pt x="495872" y="292322"/>
                    </a:lnTo>
                    <a:lnTo>
                      <a:pt x="497491" y="292322"/>
                    </a:lnTo>
                    <a:lnTo>
                      <a:pt x="498348" y="292322"/>
                    </a:lnTo>
                    <a:lnTo>
                      <a:pt x="500063" y="292322"/>
                    </a:lnTo>
                    <a:lnTo>
                      <a:pt x="507683" y="295751"/>
                    </a:lnTo>
                    <a:lnTo>
                      <a:pt x="511112" y="295751"/>
                    </a:lnTo>
                    <a:lnTo>
                      <a:pt x="513683" y="294037"/>
                    </a:lnTo>
                    <a:lnTo>
                      <a:pt x="515398" y="293180"/>
                    </a:lnTo>
                    <a:lnTo>
                      <a:pt x="517874" y="292322"/>
                    </a:lnTo>
                    <a:lnTo>
                      <a:pt x="519589" y="292322"/>
                    </a:lnTo>
                    <a:lnTo>
                      <a:pt x="521303" y="293180"/>
                    </a:lnTo>
                    <a:lnTo>
                      <a:pt x="523018" y="294037"/>
                    </a:lnTo>
                    <a:lnTo>
                      <a:pt x="525590" y="294037"/>
                    </a:lnTo>
                    <a:lnTo>
                      <a:pt x="526352" y="293180"/>
                    </a:lnTo>
                    <a:lnTo>
                      <a:pt x="527209" y="291465"/>
                    </a:lnTo>
                    <a:lnTo>
                      <a:pt x="528923" y="292322"/>
                    </a:lnTo>
                    <a:lnTo>
                      <a:pt x="528923" y="294894"/>
                    </a:lnTo>
                    <a:lnTo>
                      <a:pt x="528923" y="296609"/>
                    </a:lnTo>
                    <a:lnTo>
                      <a:pt x="528066" y="298323"/>
                    </a:lnTo>
                    <a:lnTo>
                      <a:pt x="526352" y="299942"/>
                    </a:lnTo>
                    <a:lnTo>
                      <a:pt x="524732" y="299180"/>
                    </a:lnTo>
                    <a:lnTo>
                      <a:pt x="523018" y="297466"/>
                    </a:lnTo>
                    <a:lnTo>
                      <a:pt x="520446" y="296609"/>
                    </a:lnTo>
                    <a:lnTo>
                      <a:pt x="517017" y="297466"/>
                    </a:lnTo>
                    <a:lnTo>
                      <a:pt x="514541" y="299180"/>
                    </a:lnTo>
                    <a:lnTo>
                      <a:pt x="509397" y="305943"/>
                    </a:lnTo>
                    <a:lnTo>
                      <a:pt x="507683" y="304228"/>
                    </a:lnTo>
                    <a:lnTo>
                      <a:pt x="506825" y="303371"/>
                    </a:lnTo>
                    <a:lnTo>
                      <a:pt x="505206" y="303371"/>
                    </a:lnTo>
                    <a:lnTo>
                      <a:pt x="504349" y="303371"/>
                    </a:lnTo>
                    <a:lnTo>
                      <a:pt x="503492" y="303371"/>
                    </a:lnTo>
                    <a:lnTo>
                      <a:pt x="502634" y="303371"/>
                    </a:lnTo>
                    <a:lnTo>
                      <a:pt x="500920" y="302514"/>
                    </a:lnTo>
                    <a:lnTo>
                      <a:pt x="499205" y="300800"/>
                    </a:lnTo>
                    <a:lnTo>
                      <a:pt x="497491" y="299942"/>
                    </a:lnTo>
                    <a:lnTo>
                      <a:pt x="495014" y="299942"/>
                    </a:lnTo>
                    <a:lnTo>
                      <a:pt x="492443" y="300800"/>
                    </a:lnTo>
                    <a:lnTo>
                      <a:pt x="490728" y="301657"/>
                    </a:lnTo>
                    <a:lnTo>
                      <a:pt x="489014" y="304228"/>
                    </a:lnTo>
                    <a:lnTo>
                      <a:pt x="487299" y="306800"/>
                    </a:lnTo>
                    <a:lnTo>
                      <a:pt x="486537" y="308515"/>
                    </a:lnTo>
                    <a:lnTo>
                      <a:pt x="486537" y="310991"/>
                    </a:lnTo>
                    <a:lnTo>
                      <a:pt x="485680" y="311848"/>
                    </a:lnTo>
                    <a:lnTo>
                      <a:pt x="484823" y="314420"/>
                    </a:lnTo>
                    <a:lnTo>
                      <a:pt x="484823" y="316135"/>
                    </a:lnTo>
                    <a:lnTo>
                      <a:pt x="484823" y="316992"/>
                    </a:lnTo>
                    <a:lnTo>
                      <a:pt x="484823" y="318706"/>
                    </a:lnTo>
                    <a:lnTo>
                      <a:pt x="484823" y="321278"/>
                    </a:lnTo>
                    <a:lnTo>
                      <a:pt x="483108" y="325469"/>
                    </a:lnTo>
                    <a:lnTo>
                      <a:pt x="483108" y="328041"/>
                    </a:lnTo>
                    <a:lnTo>
                      <a:pt x="483108" y="329755"/>
                    </a:lnTo>
                    <a:lnTo>
                      <a:pt x="486537" y="334804"/>
                    </a:lnTo>
                    <a:lnTo>
                      <a:pt x="487299" y="335661"/>
                    </a:lnTo>
                    <a:lnTo>
                      <a:pt x="489014" y="334804"/>
                    </a:lnTo>
                    <a:lnTo>
                      <a:pt x="491585" y="333089"/>
                    </a:lnTo>
                    <a:lnTo>
                      <a:pt x="494157" y="331470"/>
                    </a:lnTo>
                    <a:lnTo>
                      <a:pt x="495014" y="330613"/>
                    </a:lnTo>
                    <a:lnTo>
                      <a:pt x="495872" y="328898"/>
                    </a:lnTo>
                    <a:lnTo>
                      <a:pt x="503492" y="328041"/>
                    </a:lnTo>
                    <a:lnTo>
                      <a:pt x="504349" y="328041"/>
                    </a:lnTo>
                    <a:lnTo>
                      <a:pt x="504349" y="327184"/>
                    </a:lnTo>
                    <a:lnTo>
                      <a:pt x="504349" y="326326"/>
                    </a:lnTo>
                    <a:lnTo>
                      <a:pt x="505206" y="325469"/>
                    </a:lnTo>
                    <a:lnTo>
                      <a:pt x="506063" y="325469"/>
                    </a:lnTo>
                    <a:lnTo>
                      <a:pt x="506825" y="325469"/>
                    </a:lnTo>
                    <a:lnTo>
                      <a:pt x="507683" y="325469"/>
                    </a:lnTo>
                    <a:lnTo>
                      <a:pt x="508540" y="325469"/>
                    </a:lnTo>
                    <a:lnTo>
                      <a:pt x="508540" y="326326"/>
                    </a:lnTo>
                    <a:lnTo>
                      <a:pt x="506063" y="327184"/>
                    </a:lnTo>
                    <a:lnTo>
                      <a:pt x="505206" y="328898"/>
                    </a:lnTo>
                    <a:lnTo>
                      <a:pt x="505206" y="331470"/>
                    </a:lnTo>
                    <a:lnTo>
                      <a:pt x="503492" y="332327"/>
                    </a:lnTo>
                    <a:lnTo>
                      <a:pt x="499205" y="332327"/>
                    </a:lnTo>
                    <a:lnTo>
                      <a:pt x="497491" y="332327"/>
                    </a:lnTo>
                    <a:lnTo>
                      <a:pt x="495872" y="333946"/>
                    </a:lnTo>
                    <a:lnTo>
                      <a:pt x="493300" y="339090"/>
                    </a:lnTo>
                    <a:lnTo>
                      <a:pt x="491585" y="341662"/>
                    </a:lnTo>
                    <a:lnTo>
                      <a:pt x="489871" y="343376"/>
                    </a:lnTo>
                    <a:lnTo>
                      <a:pt x="489014" y="344138"/>
                    </a:lnTo>
                    <a:lnTo>
                      <a:pt x="488156" y="351853"/>
                    </a:lnTo>
                    <a:lnTo>
                      <a:pt x="488156" y="354425"/>
                    </a:lnTo>
                    <a:lnTo>
                      <a:pt x="485680" y="358616"/>
                    </a:lnTo>
                    <a:lnTo>
                      <a:pt x="485680" y="361188"/>
                    </a:lnTo>
                    <a:lnTo>
                      <a:pt x="486537" y="363760"/>
                    </a:lnTo>
                    <a:lnTo>
                      <a:pt x="488156" y="364617"/>
                    </a:lnTo>
                    <a:lnTo>
                      <a:pt x="489871" y="363760"/>
                    </a:lnTo>
                    <a:lnTo>
                      <a:pt x="495014" y="362045"/>
                    </a:lnTo>
                    <a:lnTo>
                      <a:pt x="497491" y="362045"/>
                    </a:lnTo>
                    <a:lnTo>
                      <a:pt x="499205" y="362902"/>
                    </a:lnTo>
                    <a:lnTo>
                      <a:pt x="501777" y="362902"/>
                    </a:lnTo>
                    <a:lnTo>
                      <a:pt x="508540" y="362045"/>
                    </a:lnTo>
                    <a:lnTo>
                      <a:pt x="510254" y="362045"/>
                    </a:lnTo>
                    <a:lnTo>
                      <a:pt x="515398" y="363760"/>
                    </a:lnTo>
                    <a:lnTo>
                      <a:pt x="517874" y="363760"/>
                    </a:lnTo>
                    <a:lnTo>
                      <a:pt x="519589" y="362045"/>
                    </a:lnTo>
                    <a:lnTo>
                      <a:pt x="522161" y="361188"/>
                    </a:lnTo>
                    <a:lnTo>
                      <a:pt x="524732" y="361188"/>
                    </a:lnTo>
                    <a:lnTo>
                      <a:pt x="529781" y="362045"/>
                    </a:lnTo>
                    <a:lnTo>
                      <a:pt x="532352" y="362045"/>
                    </a:lnTo>
                    <a:lnTo>
                      <a:pt x="536543" y="359473"/>
                    </a:lnTo>
                    <a:lnTo>
                      <a:pt x="539115" y="359473"/>
                    </a:lnTo>
                    <a:lnTo>
                      <a:pt x="539972" y="358616"/>
                    </a:lnTo>
                    <a:lnTo>
                      <a:pt x="542544" y="356902"/>
                    </a:lnTo>
                    <a:lnTo>
                      <a:pt x="542544" y="356902"/>
                    </a:lnTo>
                    <a:lnTo>
                      <a:pt x="546735" y="355187"/>
                    </a:lnTo>
                    <a:lnTo>
                      <a:pt x="551021" y="352711"/>
                    </a:lnTo>
                    <a:lnTo>
                      <a:pt x="551879" y="352711"/>
                    </a:lnTo>
                    <a:lnTo>
                      <a:pt x="551879" y="353568"/>
                    </a:lnTo>
                    <a:lnTo>
                      <a:pt x="551879" y="355187"/>
                    </a:lnTo>
                    <a:lnTo>
                      <a:pt x="551021" y="356044"/>
                    </a:lnTo>
                    <a:lnTo>
                      <a:pt x="549307" y="356902"/>
                    </a:lnTo>
                    <a:lnTo>
                      <a:pt x="546735" y="356902"/>
                    </a:lnTo>
                    <a:lnTo>
                      <a:pt x="539972" y="361188"/>
                    </a:lnTo>
                    <a:lnTo>
                      <a:pt x="534067" y="362902"/>
                    </a:lnTo>
                    <a:lnTo>
                      <a:pt x="530638" y="365474"/>
                    </a:lnTo>
                    <a:lnTo>
                      <a:pt x="525590" y="367951"/>
                    </a:lnTo>
                    <a:lnTo>
                      <a:pt x="523875" y="367951"/>
                    </a:lnTo>
                    <a:lnTo>
                      <a:pt x="522161" y="367951"/>
                    </a:lnTo>
                    <a:lnTo>
                      <a:pt x="519589" y="367093"/>
                    </a:lnTo>
                    <a:lnTo>
                      <a:pt x="517874" y="367093"/>
                    </a:lnTo>
                    <a:lnTo>
                      <a:pt x="517017" y="368808"/>
                    </a:lnTo>
                    <a:lnTo>
                      <a:pt x="514541" y="373094"/>
                    </a:lnTo>
                    <a:lnTo>
                      <a:pt x="512826" y="374809"/>
                    </a:lnTo>
                    <a:lnTo>
                      <a:pt x="510254" y="376523"/>
                    </a:lnTo>
                    <a:lnTo>
                      <a:pt x="507683" y="378142"/>
                    </a:lnTo>
                    <a:lnTo>
                      <a:pt x="505206" y="378142"/>
                    </a:lnTo>
                    <a:lnTo>
                      <a:pt x="503492" y="379857"/>
                    </a:lnTo>
                    <a:lnTo>
                      <a:pt x="499205" y="383286"/>
                    </a:lnTo>
                    <a:lnTo>
                      <a:pt x="497491" y="384143"/>
                    </a:lnTo>
                    <a:lnTo>
                      <a:pt x="495872" y="385858"/>
                    </a:lnTo>
                    <a:lnTo>
                      <a:pt x="492443" y="392621"/>
                    </a:lnTo>
                    <a:lnTo>
                      <a:pt x="491585" y="394335"/>
                    </a:lnTo>
                    <a:lnTo>
                      <a:pt x="495014" y="393478"/>
                    </a:lnTo>
                    <a:lnTo>
                      <a:pt x="500920" y="389192"/>
                    </a:lnTo>
                    <a:lnTo>
                      <a:pt x="502634" y="388334"/>
                    </a:lnTo>
                    <a:lnTo>
                      <a:pt x="508540" y="386715"/>
                    </a:lnTo>
                    <a:lnTo>
                      <a:pt x="510254" y="386715"/>
                    </a:lnTo>
                    <a:lnTo>
                      <a:pt x="510254" y="388334"/>
                    </a:lnTo>
                    <a:lnTo>
                      <a:pt x="509397" y="390049"/>
                    </a:lnTo>
                    <a:lnTo>
                      <a:pt x="507683" y="388334"/>
                    </a:lnTo>
                    <a:lnTo>
                      <a:pt x="501777" y="392621"/>
                    </a:lnTo>
                    <a:lnTo>
                      <a:pt x="501777" y="392621"/>
                    </a:lnTo>
                    <a:lnTo>
                      <a:pt x="497491" y="395192"/>
                    </a:lnTo>
                    <a:lnTo>
                      <a:pt x="490728" y="397764"/>
                    </a:lnTo>
                    <a:lnTo>
                      <a:pt x="489871" y="397764"/>
                    </a:lnTo>
                    <a:lnTo>
                      <a:pt x="489871" y="398621"/>
                    </a:lnTo>
                    <a:lnTo>
                      <a:pt x="490728" y="400240"/>
                    </a:lnTo>
                    <a:lnTo>
                      <a:pt x="493300" y="400240"/>
                    </a:lnTo>
                    <a:lnTo>
                      <a:pt x="495872" y="399383"/>
                    </a:lnTo>
                    <a:lnTo>
                      <a:pt x="497491" y="399383"/>
                    </a:lnTo>
                    <a:lnTo>
                      <a:pt x="498348" y="400240"/>
                    </a:lnTo>
                    <a:lnTo>
                      <a:pt x="497491" y="401098"/>
                    </a:lnTo>
                    <a:lnTo>
                      <a:pt x="494157" y="401955"/>
                    </a:lnTo>
                    <a:lnTo>
                      <a:pt x="492443" y="401955"/>
                    </a:lnTo>
                    <a:lnTo>
                      <a:pt x="491585" y="402812"/>
                    </a:lnTo>
                    <a:lnTo>
                      <a:pt x="492443" y="404527"/>
                    </a:lnTo>
                    <a:lnTo>
                      <a:pt x="493300" y="407098"/>
                    </a:lnTo>
                    <a:lnTo>
                      <a:pt x="494157" y="410432"/>
                    </a:lnTo>
                    <a:lnTo>
                      <a:pt x="494157" y="412147"/>
                    </a:lnTo>
                    <a:lnTo>
                      <a:pt x="495872" y="413861"/>
                    </a:lnTo>
                    <a:lnTo>
                      <a:pt x="496634" y="413004"/>
                    </a:lnTo>
                    <a:lnTo>
                      <a:pt x="498348" y="411289"/>
                    </a:lnTo>
                    <a:lnTo>
                      <a:pt x="498348" y="413861"/>
                    </a:lnTo>
                    <a:lnTo>
                      <a:pt x="500063" y="414718"/>
                    </a:lnTo>
                    <a:lnTo>
                      <a:pt x="501777" y="415576"/>
                    </a:lnTo>
                    <a:lnTo>
                      <a:pt x="501777" y="416433"/>
                    </a:lnTo>
                    <a:lnTo>
                      <a:pt x="503492" y="417290"/>
                    </a:lnTo>
                    <a:lnTo>
                      <a:pt x="506825" y="419005"/>
                    </a:lnTo>
                    <a:lnTo>
                      <a:pt x="508540" y="419862"/>
                    </a:lnTo>
                    <a:lnTo>
                      <a:pt x="506825" y="419862"/>
                    </a:lnTo>
                    <a:lnTo>
                      <a:pt x="506063" y="420719"/>
                    </a:lnTo>
                    <a:lnTo>
                      <a:pt x="503492" y="422338"/>
                    </a:lnTo>
                    <a:lnTo>
                      <a:pt x="496634" y="427482"/>
                    </a:lnTo>
                    <a:lnTo>
                      <a:pt x="495014" y="429196"/>
                    </a:lnTo>
                    <a:lnTo>
                      <a:pt x="495014" y="430911"/>
                    </a:lnTo>
                    <a:lnTo>
                      <a:pt x="496634" y="433388"/>
                    </a:lnTo>
                    <a:lnTo>
                      <a:pt x="497491" y="433388"/>
                    </a:lnTo>
                    <a:lnTo>
                      <a:pt x="500063" y="431768"/>
                    </a:lnTo>
                    <a:lnTo>
                      <a:pt x="500920" y="431768"/>
                    </a:lnTo>
                    <a:lnTo>
                      <a:pt x="500920" y="431768"/>
                    </a:lnTo>
                    <a:lnTo>
                      <a:pt x="501777" y="430054"/>
                    </a:lnTo>
                    <a:lnTo>
                      <a:pt x="500920" y="427482"/>
                    </a:lnTo>
                    <a:lnTo>
                      <a:pt x="501777" y="426625"/>
                    </a:lnTo>
                    <a:lnTo>
                      <a:pt x="501777" y="424910"/>
                    </a:lnTo>
                    <a:lnTo>
                      <a:pt x="503492" y="424910"/>
                    </a:lnTo>
                    <a:lnTo>
                      <a:pt x="505206" y="424910"/>
                    </a:lnTo>
                    <a:lnTo>
                      <a:pt x="506063" y="424053"/>
                    </a:lnTo>
                    <a:lnTo>
                      <a:pt x="507683" y="425767"/>
                    </a:lnTo>
                    <a:lnTo>
                      <a:pt x="506825" y="428339"/>
                    </a:lnTo>
                    <a:lnTo>
                      <a:pt x="505206" y="430911"/>
                    </a:lnTo>
                    <a:lnTo>
                      <a:pt x="504349" y="435102"/>
                    </a:lnTo>
                    <a:lnTo>
                      <a:pt x="507683" y="433388"/>
                    </a:lnTo>
                    <a:lnTo>
                      <a:pt x="508540" y="432530"/>
                    </a:lnTo>
                    <a:lnTo>
                      <a:pt x="508540" y="430054"/>
                    </a:lnTo>
                    <a:lnTo>
                      <a:pt x="508540" y="429196"/>
                    </a:lnTo>
                    <a:lnTo>
                      <a:pt x="509397" y="429196"/>
                    </a:lnTo>
                    <a:lnTo>
                      <a:pt x="509397" y="429196"/>
                    </a:lnTo>
                    <a:lnTo>
                      <a:pt x="510254" y="430054"/>
                    </a:lnTo>
                    <a:lnTo>
                      <a:pt x="510254" y="430911"/>
                    </a:lnTo>
                    <a:lnTo>
                      <a:pt x="515398" y="428339"/>
                    </a:lnTo>
                    <a:lnTo>
                      <a:pt x="517017" y="428339"/>
                    </a:lnTo>
                    <a:lnTo>
                      <a:pt x="517017" y="429196"/>
                    </a:lnTo>
                    <a:lnTo>
                      <a:pt x="521303" y="437674"/>
                    </a:lnTo>
                    <a:lnTo>
                      <a:pt x="520446" y="439388"/>
                    </a:lnTo>
                    <a:lnTo>
                      <a:pt x="517874" y="439388"/>
                    </a:lnTo>
                    <a:lnTo>
                      <a:pt x="513683" y="438531"/>
                    </a:lnTo>
                    <a:lnTo>
                      <a:pt x="511969" y="438531"/>
                    </a:lnTo>
                    <a:lnTo>
                      <a:pt x="511969" y="440246"/>
                    </a:lnTo>
                    <a:lnTo>
                      <a:pt x="513683" y="441960"/>
                    </a:lnTo>
                    <a:lnTo>
                      <a:pt x="514541" y="442817"/>
                    </a:lnTo>
                    <a:lnTo>
                      <a:pt x="515398" y="442817"/>
                    </a:lnTo>
                    <a:lnTo>
                      <a:pt x="516160" y="442817"/>
                    </a:lnTo>
                    <a:lnTo>
                      <a:pt x="517017" y="443579"/>
                    </a:lnTo>
                    <a:lnTo>
                      <a:pt x="517874" y="444436"/>
                    </a:lnTo>
                    <a:lnTo>
                      <a:pt x="517874" y="445294"/>
                    </a:lnTo>
                    <a:lnTo>
                      <a:pt x="518732" y="447008"/>
                    </a:lnTo>
                    <a:lnTo>
                      <a:pt x="521303" y="446151"/>
                    </a:lnTo>
                    <a:lnTo>
                      <a:pt x="523875" y="445294"/>
                    </a:lnTo>
                    <a:lnTo>
                      <a:pt x="525590" y="445294"/>
                    </a:lnTo>
                    <a:lnTo>
                      <a:pt x="525590" y="447865"/>
                    </a:lnTo>
                    <a:lnTo>
                      <a:pt x="522161" y="449580"/>
                    </a:lnTo>
                    <a:lnTo>
                      <a:pt x="519589" y="452152"/>
                    </a:lnTo>
                    <a:lnTo>
                      <a:pt x="523018" y="455485"/>
                    </a:lnTo>
                    <a:lnTo>
                      <a:pt x="521303" y="456343"/>
                    </a:lnTo>
                    <a:lnTo>
                      <a:pt x="520446" y="460629"/>
                    </a:lnTo>
                    <a:lnTo>
                      <a:pt x="519589" y="463201"/>
                    </a:lnTo>
                    <a:lnTo>
                      <a:pt x="523875" y="459772"/>
                    </a:lnTo>
                    <a:lnTo>
                      <a:pt x="524732" y="459772"/>
                    </a:lnTo>
                    <a:lnTo>
                      <a:pt x="526352" y="458914"/>
                    </a:lnTo>
                    <a:lnTo>
                      <a:pt x="526352" y="458914"/>
                    </a:lnTo>
                    <a:lnTo>
                      <a:pt x="525590" y="460629"/>
                    </a:lnTo>
                    <a:lnTo>
                      <a:pt x="524732" y="463201"/>
                    </a:lnTo>
                    <a:lnTo>
                      <a:pt x="525590" y="466534"/>
                    </a:lnTo>
                    <a:lnTo>
                      <a:pt x="526352" y="467392"/>
                    </a:lnTo>
                    <a:lnTo>
                      <a:pt x="528923" y="464915"/>
                    </a:lnTo>
                    <a:lnTo>
                      <a:pt x="529781" y="465677"/>
                    </a:lnTo>
                    <a:lnTo>
                      <a:pt x="528923" y="466534"/>
                    </a:lnTo>
                    <a:lnTo>
                      <a:pt x="528923" y="467392"/>
                    </a:lnTo>
                    <a:lnTo>
                      <a:pt x="528923" y="468249"/>
                    </a:lnTo>
                    <a:lnTo>
                      <a:pt x="529781" y="469106"/>
                    </a:lnTo>
                    <a:lnTo>
                      <a:pt x="530638" y="469963"/>
                    </a:lnTo>
                    <a:lnTo>
                      <a:pt x="531495" y="470821"/>
                    </a:lnTo>
                    <a:lnTo>
                      <a:pt x="531495" y="471678"/>
                    </a:lnTo>
                    <a:lnTo>
                      <a:pt x="530638" y="471678"/>
                    </a:lnTo>
                    <a:lnTo>
                      <a:pt x="526352" y="475107"/>
                    </a:lnTo>
                    <a:lnTo>
                      <a:pt x="527209" y="476726"/>
                    </a:lnTo>
                    <a:lnTo>
                      <a:pt x="528066" y="479298"/>
                    </a:lnTo>
                    <a:lnTo>
                      <a:pt x="527209" y="484442"/>
                    </a:lnTo>
                    <a:lnTo>
                      <a:pt x="527209" y="485299"/>
                    </a:lnTo>
                    <a:lnTo>
                      <a:pt x="525590" y="487013"/>
                    </a:lnTo>
                    <a:lnTo>
                      <a:pt x="524732" y="488632"/>
                    </a:lnTo>
                    <a:lnTo>
                      <a:pt x="525590" y="489490"/>
                    </a:lnTo>
                    <a:lnTo>
                      <a:pt x="525590" y="492061"/>
                    </a:lnTo>
                    <a:lnTo>
                      <a:pt x="525590" y="493776"/>
                    </a:lnTo>
                    <a:lnTo>
                      <a:pt x="525590" y="496348"/>
                    </a:lnTo>
                    <a:lnTo>
                      <a:pt x="525590" y="498824"/>
                    </a:lnTo>
                    <a:lnTo>
                      <a:pt x="524732" y="501396"/>
                    </a:lnTo>
                    <a:lnTo>
                      <a:pt x="520446" y="506539"/>
                    </a:lnTo>
                    <a:lnTo>
                      <a:pt x="520446" y="506539"/>
                    </a:lnTo>
                    <a:lnTo>
                      <a:pt x="522161" y="506539"/>
                    </a:lnTo>
                    <a:lnTo>
                      <a:pt x="524732" y="509111"/>
                    </a:lnTo>
                    <a:lnTo>
                      <a:pt x="524732" y="511588"/>
                    </a:lnTo>
                    <a:lnTo>
                      <a:pt x="524732" y="515017"/>
                    </a:lnTo>
                    <a:lnTo>
                      <a:pt x="523018" y="516731"/>
                    </a:lnTo>
                    <a:lnTo>
                      <a:pt x="519589" y="516731"/>
                    </a:lnTo>
                    <a:lnTo>
                      <a:pt x="517874" y="516731"/>
                    </a:lnTo>
                    <a:lnTo>
                      <a:pt x="517874" y="516731"/>
                    </a:lnTo>
                    <a:lnTo>
                      <a:pt x="517017" y="516731"/>
                    </a:lnTo>
                    <a:lnTo>
                      <a:pt x="517017" y="517588"/>
                    </a:lnTo>
                    <a:lnTo>
                      <a:pt x="515398" y="519303"/>
                    </a:lnTo>
                    <a:lnTo>
                      <a:pt x="514541" y="520160"/>
                    </a:lnTo>
                    <a:lnTo>
                      <a:pt x="513683" y="520160"/>
                    </a:lnTo>
                    <a:lnTo>
                      <a:pt x="512826" y="522637"/>
                    </a:lnTo>
                    <a:lnTo>
                      <a:pt x="511969" y="524351"/>
                    </a:lnTo>
                    <a:lnTo>
                      <a:pt x="511112" y="526066"/>
                    </a:lnTo>
                    <a:lnTo>
                      <a:pt x="509397" y="528638"/>
                    </a:lnTo>
                    <a:lnTo>
                      <a:pt x="509397" y="531971"/>
                    </a:lnTo>
                    <a:lnTo>
                      <a:pt x="509397" y="531971"/>
                    </a:lnTo>
                    <a:lnTo>
                      <a:pt x="509397" y="534543"/>
                    </a:lnTo>
                    <a:lnTo>
                      <a:pt x="509397" y="535400"/>
                    </a:lnTo>
                    <a:lnTo>
                      <a:pt x="510254" y="535400"/>
                    </a:lnTo>
                    <a:lnTo>
                      <a:pt x="510254" y="535400"/>
                    </a:lnTo>
                    <a:lnTo>
                      <a:pt x="510254" y="535400"/>
                    </a:lnTo>
                    <a:lnTo>
                      <a:pt x="510254" y="537115"/>
                    </a:lnTo>
                    <a:lnTo>
                      <a:pt x="508540" y="539686"/>
                    </a:lnTo>
                    <a:lnTo>
                      <a:pt x="508540" y="540544"/>
                    </a:lnTo>
                    <a:lnTo>
                      <a:pt x="507683" y="545592"/>
                    </a:lnTo>
                    <a:lnTo>
                      <a:pt x="506063" y="551593"/>
                    </a:lnTo>
                    <a:lnTo>
                      <a:pt x="505206" y="552450"/>
                    </a:lnTo>
                    <a:lnTo>
                      <a:pt x="505206" y="552450"/>
                    </a:lnTo>
                    <a:lnTo>
                      <a:pt x="507683" y="552450"/>
                    </a:lnTo>
                    <a:lnTo>
                      <a:pt x="510254" y="550735"/>
                    </a:lnTo>
                    <a:lnTo>
                      <a:pt x="511112" y="550735"/>
                    </a:lnTo>
                    <a:lnTo>
                      <a:pt x="511969" y="549021"/>
                    </a:lnTo>
                    <a:lnTo>
                      <a:pt x="512826" y="549021"/>
                    </a:lnTo>
                    <a:lnTo>
                      <a:pt x="513683" y="549021"/>
                    </a:lnTo>
                    <a:lnTo>
                      <a:pt x="516160" y="549878"/>
                    </a:lnTo>
                    <a:lnTo>
                      <a:pt x="517017" y="549878"/>
                    </a:lnTo>
                    <a:lnTo>
                      <a:pt x="517017" y="549878"/>
                    </a:lnTo>
                    <a:lnTo>
                      <a:pt x="517874" y="549021"/>
                    </a:lnTo>
                    <a:lnTo>
                      <a:pt x="518732" y="549021"/>
                    </a:lnTo>
                    <a:lnTo>
                      <a:pt x="521303" y="549021"/>
                    </a:lnTo>
                    <a:lnTo>
                      <a:pt x="523875" y="549021"/>
                    </a:lnTo>
                    <a:lnTo>
                      <a:pt x="526352" y="548164"/>
                    </a:lnTo>
                    <a:lnTo>
                      <a:pt x="531495" y="546449"/>
                    </a:lnTo>
                    <a:lnTo>
                      <a:pt x="531495" y="544735"/>
                    </a:lnTo>
                    <a:lnTo>
                      <a:pt x="531495" y="540544"/>
                    </a:lnTo>
                    <a:lnTo>
                      <a:pt x="530638" y="539686"/>
                    </a:lnTo>
                    <a:lnTo>
                      <a:pt x="530638" y="538829"/>
                    </a:lnTo>
                    <a:lnTo>
                      <a:pt x="529781" y="537972"/>
                    </a:lnTo>
                    <a:lnTo>
                      <a:pt x="528923" y="537115"/>
                    </a:lnTo>
                    <a:lnTo>
                      <a:pt x="527209" y="535400"/>
                    </a:lnTo>
                    <a:lnTo>
                      <a:pt x="526352" y="535400"/>
                    </a:lnTo>
                    <a:lnTo>
                      <a:pt x="525590" y="534543"/>
                    </a:lnTo>
                    <a:lnTo>
                      <a:pt x="525590" y="533686"/>
                    </a:lnTo>
                    <a:lnTo>
                      <a:pt x="525590" y="532828"/>
                    </a:lnTo>
                    <a:lnTo>
                      <a:pt x="525590" y="532828"/>
                    </a:lnTo>
                    <a:lnTo>
                      <a:pt x="525590" y="531971"/>
                    </a:lnTo>
                    <a:lnTo>
                      <a:pt x="526352" y="531209"/>
                    </a:lnTo>
                    <a:lnTo>
                      <a:pt x="527209" y="531209"/>
                    </a:lnTo>
                    <a:lnTo>
                      <a:pt x="528066" y="531209"/>
                    </a:lnTo>
                    <a:lnTo>
                      <a:pt x="529781" y="531209"/>
                    </a:lnTo>
                    <a:lnTo>
                      <a:pt x="530638" y="531209"/>
                    </a:lnTo>
                    <a:lnTo>
                      <a:pt x="531495" y="531209"/>
                    </a:lnTo>
                    <a:lnTo>
                      <a:pt x="531495" y="531209"/>
                    </a:lnTo>
                    <a:lnTo>
                      <a:pt x="533210" y="527780"/>
                    </a:lnTo>
                    <a:lnTo>
                      <a:pt x="534067" y="526923"/>
                    </a:lnTo>
                    <a:lnTo>
                      <a:pt x="534067" y="526066"/>
                    </a:lnTo>
                    <a:lnTo>
                      <a:pt x="534924" y="526066"/>
                    </a:lnTo>
                    <a:lnTo>
                      <a:pt x="535781" y="526923"/>
                    </a:lnTo>
                    <a:lnTo>
                      <a:pt x="536543" y="526923"/>
                    </a:lnTo>
                    <a:lnTo>
                      <a:pt x="537401" y="526923"/>
                    </a:lnTo>
                    <a:lnTo>
                      <a:pt x="539972" y="525209"/>
                    </a:lnTo>
                    <a:lnTo>
                      <a:pt x="543401" y="522637"/>
                    </a:lnTo>
                    <a:lnTo>
                      <a:pt x="544259" y="521780"/>
                    </a:lnTo>
                    <a:lnTo>
                      <a:pt x="545116" y="521780"/>
                    </a:lnTo>
                    <a:lnTo>
                      <a:pt x="545878" y="521780"/>
                    </a:lnTo>
                    <a:lnTo>
                      <a:pt x="545878" y="522637"/>
                    </a:lnTo>
                    <a:lnTo>
                      <a:pt x="545878" y="524351"/>
                    </a:lnTo>
                    <a:lnTo>
                      <a:pt x="545878" y="525209"/>
                    </a:lnTo>
                    <a:lnTo>
                      <a:pt x="545878" y="526066"/>
                    </a:lnTo>
                    <a:lnTo>
                      <a:pt x="545878" y="526923"/>
                    </a:lnTo>
                    <a:lnTo>
                      <a:pt x="546735" y="527780"/>
                    </a:lnTo>
                    <a:lnTo>
                      <a:pt x="547592" y="527780"/>
                    </a:lnTo>
                    <a:lnTo>
                      <a:pt x="548450" y="527780"/>
                    </a:lnTo>
                    <a:lnTo>
                      <a:pt x="550164" y="527780"/>
                    </a:lnTo>
                    <a:lnTo>
                      <a:pt x="551021" y="527780"/>
                    </a:lnTo>
                    <a:lnTo>
                      <a:pt x="551021" y="527780"/>
                    </a:lnTo>
                    <a:lnTo>
                      <a:pt x="551021" y="528638"/>
                    </a:lnTo>
                    <a:lnTo>
                      <a:pt x="551021" y="529495"/>
                    </a:lnTo>
                    <a:lnTo>
                      <a:pt x="551021" y="530352"/>
                    </a:lnTo>
                    <a:lnTo>
                      <a:pt x="550164" y="531209"/>
                    </a:lnTo>
                    <a:lnTo>
                      <a:pt x="542544" y="535400"/>
                    </a:lnTo>
                    <a:lnTo>
                      <a:pt x="542544" y="535400"/>
                    </a:lnTo>
                    <a:lnTo>
                      <a:pt x="541687" y="536257"/>
                    </a:lnTo>
                    <a:lnTo>
                      <a:pt x="541687" y="536257"/>
                    </a:lnTo>
                    <a:lnTo>
                      <a:pt x="541687" y="537115"/>
                    </a:lnTo>
                    <a:lnTo>
                      <a:pt x="541687" y="537972"/>
                    </a:lnTo>
                    <a:lnTo>
                      <a:pt x="541687" y="538829"/>
                    </a:lnTo>
                    <a:lnTo>
                      <a:pt x="542544" y="543020"/>
                    </a:lnTo>
                    <a:lnTo>
                      <a:pt x="542544" y="543877"/>
                    </a:lnTo>
                    <a:lnTo>
                      <a:pt x="543401" y="544735"/>
                    </a:lnTo>
                    <a:lnTo>
                      <a:pt x="545116" y="544735"/>
                    </a:lnTo>
                    <a:lnTo>
                      <a:pt x="547592" y="544735"/>
                    </a:lnTo>
                    <a:lnTo>
                      <a:pt x="548450" y="544735"/>
                    </a:lnTo>
                    <a:lnTo>
                      <a:pt x="549307" y="543877"/>
                    </a:lnTo>
                    <a:lnTo>
                      <a:pt x="549307" y="543020"/>
                    </a:lnTo>
                    <a:lnTo>
                      <a:pt x="549307" y="542258"/>
                    </a:lnTo>
                    <a:lnTo>
                      <a:pt x="549307" y="541401"/>
                    </a:lnTo>
                    <a:lnTo>
                      <a:pt x="550164" y="540544"/>
                    </a:lnTo>
                    <a:lnTo>
                      <a:pt x="550164" y="539686"/>
                    </a:lnTo>
                    <a:lnTo>
                      <a:pt x="551021" y="539686"/>
                    </a:lnTo>
                    <a:lnTo>
                      <a:pt x="555308" y="540544"/>
                    </a:lnTo>
                    <a:lnTo>
                      <a:pt x="556070" y="541401"/>
                    </a:lnTo>
                    <a:lnTo>
                      <a:pt x="556927" y="542258"/>
                    </a:lnTo>
                    <a:lnTo>
                      <a:pt x="556070" y="547306"/>
                    </a:lnTo>
                    <a:lnTo>
                      <a:pt x="558641" y="548164"/>
                    </a:lnTo>
                    <a:lnTo>
                      <a:pt x="560356" y="548164"/>
                    </a:lnTo>
                    <a:lnTo>
                      <a:pt x="561213" y="547306"/>
                    </a:lnTo>
                    <a:lnTo>
                      <a:pt x="562928" y="546449"/>
                    </a:lnTo>
                    <a:lnTo>
                      <a:pt x="563785" y="545592"/>
                    </a:lnTo>
                    <a:lnTo>
                      <a:pt x="564642" y="544735"/>
                    </a:lnTo>
                    <a:lnTo>
                      <a:pt x="564642" y="543877"/>
                    </a:lnTo>
                    <a:lnTo>
                      <a:pt x="564642" y="543020"/>
                    </a:lnTo>
                    <a:lnTo>
                      <a:pt x="564642" y="542258"/>
                    </a:lnTo>
                    <a:lnTo>
                      <a:pt x="564642" y="541401"/>
                    </a:lnTo>
                    <a:lnTo>
                      <a:pt x="565404" y="540544"/>
                    </a:lnTo>
                    <a:lnTo>
                      <a:pt x="566261" y="539686"/>
                    </a:lnTo>
                    <a:lnTo>
                      <a:pt x="567119" y="538829"/>
                    </a:lnTo>
                    <a:lnTo>
                      <a:pt x="567976" y="537972"/>
                    </a:lnTo>
                    <a:lnTo>
                      <a:pt x="574834" y="539686"/>
                    </a:lnTo>
                    <a:lnTo>
                      <a:pt x="577310" y="540544"/>
                    </a:lnTo>
                    <a:lnTo>
                      <a:pt x="578168" y="540544"/>
                    </a:lnTo>
                    <a:lnTo>
                      <a:pt x="579882" y="539686"/>
                    </a:lnTo>
                    <a:lnTo>
                      <a:pt x="579882" y="539686"/>
                    </a:lnTo>
                    <a:lnTo>
                      <a:pt x="579882" y="537972"/>
                    </a:lnTo>
                    <a:lnTo>
                      <a:pt x="579882" y="536257"/>
                    </a:lnTo>
                    <a:lnTo>
                      <a:pt x="579882" y="535400"/>
                    </a:lnTo>
                    <a:lnTo>
                      <a:pt x="579882" y="534543"/>
                    </a:lnTo>
                    <a:lnTo>
                      <a:pt x="580739" y="532828"/>
                    </a:lnTo>
                    <a:lnTo>
                      <a:pt x="580739" y="531209"/>
                    </a:lnTo>
                    <a:lnTo>
                      <a:pt x="581597" y="529495"/>
                    </a:lnTo>
                    <a:lnTo>
                      <a:pt x="580739" y="523494"/>
                    </a:lnTo>
                    <a:lnTo>
                      <a:pt x="580739" y="521780"/>
                    </a:lnTo>
                    <a:lnTo>
                      <a:pt x="580739" y="520922"/>
                    </a:lnTo>
                    <a:lnTo>
                      <a:pt x="579882" y="520160"/>
                    </a:lnTo>
                    <a:lnTo>
                      <a:pt x="579882" y="519303"/>
                    </a:lnTo>
                    <a:lnTo>
                      <a:pt x="579025" y="519303"/>
                    </a:lnTo>
                    <a:lnTo>
                      <a:pt x="578168" y="519303"/>
                    </a:lnTo>
                    <a:lnTo>
                      <a:pt x="578168" y="518446"/>
                    </a:lnTo>
                    <a:lnTo>
                      <a:pt x="577310" y="517588"/>
                    </a:lnTo>
                    <a:lnTo>
                      <a:pt x="578168" y="516731"/>
                    </a:lnTo>
                    <a:lnTo>
                      <a:pt x="580739" y="511588"/>
                    </a:lnTo>
                    <a:lnTo>
                      <a:pt x="586645" y="503110"/>
                    </a:lnTo>
                    <a:lnTo>
                      <a:pt x="587502" y="499681"/>
                    </a:lnTo>
                    <a:lnTo>
                      <a:pt x="588359" y="498062"/>
                    </a:lnTo>
                    <a:lnTo>
                      <a:pt x="587502" y="493776"/>
                    </a:lnTo>
                    <a:lnTo>
                      <a:pt x="587502" y="492919"/>
                    </a:lnTo>
                    <a:lnTo>
                      <a:pt x="587502" y="492919"/>
                    </a:lnTo>
                    <a:lnTo>
                      <a:pt x="586645" y="492061"/>
                    </a:lnTo>
                    <a:lnTo>
                      <a:pt x="586645" y="492061"/>
                    </a:lnTo>
                    <a:lnTo>
                      <a:pt x="584930" y="492061"/>
                    </a:lnTo>
                    <a:lnTo>
                      <a:pt x="584168" y="492061"/>
                    </a:lnTo>
                    <a:lnTo>
                      <a:pt x="584168" y="491204"/>
                    </a:lnTo>
                    <a:lnTo>
                      <a:pt x="583311" y="491204"/>
                    </a:lnTo>
                    <a:lnTo>
                      <a:pt x="583311" y="490347"/>
                    </a:lnTo>
                    <a:lnTo>
                      <a:pt x="583311" y="487775"/>
                    </a:lnTo>
                    <a:lnTo>
                      <a:pt x="582454" y="487013"/>
                    </a:lnTo>
                    <a:lnTo>
                      <a:pt x="582454" y="487013"/>
                    </a:lnTo>
                    <a:lnTo>
                      <a:pt x="581597" y="486156"/>
                    </a:lnTo>
                    <a:lnTo>
                      <a:pt x="580739" y="486156"/>
                    </a:lnTo>
                    <a:lnTo>
                      <a:pt x="579882" y="486156"/>
                    </a:lnTo>
                    <a:lnTo>
                      <a:pt x="579025" y="486156"/>
                    </a:lnTo>
                    <a:lnTo>
                      <a:pt x="578168" y="485299"/>
                    </a:lnTo>
                    <a:lnTo>
                      <a:pt x="578168" y="484442"/>
                    </a:lnTo>
                    <a:lnTo>
                      <a:pt x="578168" y="484442"/>
                    </a:lnTo>
                    <a:lnTo>
                      <a:pt x="579025" y="483584"/>
                    </a:lnTo>
                    <a:lnTo>
                      <a:pt x="582454" y="482727"/>
                    </a:lnTo>
                    <a:lnTo>
                      <a:pt x="584168" y="481013"/>
                    </a:lnTo>
                    <a:lnTo>
                      <a:pt x="584930" y="477584"/>
                    </a:lnTo>
                    <a:lnTo>
                      <a:pt x="585788" y="476726"/>
                    </a:lnTo>
                    <a:lnTo>
                      <a:pt x="586645" y="476726"/>
                    </a:lnTo>
                    <a:lnTo>
                      <a:pt x="587502" y="476726"/>
                    </a:lnTo>
                    <a:lnTo>
                      <a:pt x="587502" y="476726"/>
                    </a:lnTo>
                    <a:lnTo>
                      <a:pt x="588359" y="477584"/>
                    </a:lnTo>
                    <a:lnTo>
                      <a:pt x="589217" y="478441"/>
                    </a:lnTo>
                    <a:lnTo>
                      <a:pt x="590074" y="481013"/>
                    </a:lnTo>
                    <a:lnTo>
                      <a:pt x="590931" y="481870"/>
                    </a:lnTo>
                    <a:lnTo>
                      <a:pt x="591788" y="481870"/>
                    </a:lnTo>
                    <a:lnTo>
                      <a:pt x="592646" y="482727"/>
                    </a:lnTo>
                    <a:lnTo>
                      <a:pt x="593503" y="482727"/>
                    </a:lnTo>
                    <a:lnTo>
                      <a:pt x="597694" y="486156"/>
                    </a:lnTo>
                    <a:lnTo>
                      <a:pt x="601123" y="487775"/>
                    </a:lnTo>
                    <a:lnTo>
                      <a:pt x="602837" y="488632"/>
                    </a:lnTo>
                    <a:lnTo>
                      <a:pt x="603695" y="490347"/>
                    </a:lnTo>
                    <a:lnTo>
                      <a:pt x="607028" y="493776"/>
                    </a:lnTo>
                    <a:lnTo>
                      <a:pt x="607028" y="494633"/>
                    </a:lnTo>
                    <a:lnTo>
                      <a:pt x="607886" y="495490"/>
                    </a:lnTo>
                    <a:lnTo>
                      <a:pt x="609600" y="495490"/>
                    </a:lnTo>
                    <a:lnTo>
                      <a:pt x="615506" y="494633"/>
                    </a:lnTo>
                    <a:lnTo>
                      <a:pt x="616363" y="494633"/>
                    </a:lnTo>
                    <a:lnTo>
                      <a:pt x="618935" y="492919"/>
                    </a:lnTo>
                    <a:lnTo>
                      <a:pt x="622363" y="491204"/>
                    </a:lnTo>
                    <a:lnTo>
                      <a:pt x="624078" y="490347"/>
                    </a:lnTo>
                    <a:lnTo>
                      <a:pt x="624840" y="490347"/>
                    </a:lnTo>
                    <a:lnTo>
                      <a:pt x="626555" y="488632"/>
                    </a:lnTo>
                    <a:lnTo>
                      <a:pt x="626555" y="487775"/>
                    </a:lnTo>
                    <a:lnTo>
                      <a:pt x="627412" y="486156"/>
                    </a:lnTo>
                    <a:lnTo>
                      <a:pt x="627412" y="484442"/>
                    </a:lnTo>
                    <a:lnTo>
                      <a:pt x="627412" y="482727"/>
                    </a:lnTo>
                    <a:lnTo>
                      <a:pt x="627412" y="481870"/>
                    </a:lnTo>
                    <a:lnTo>
                      <a:pt x="630841" y="478441"/>
                    </a:lnTo>
                    <a:lnTo>
                      <a:pt x="635889" y="474250"/>
                    </a:lnTo>
                    <a:lnTo>
                      <a:pt x="637604" y="473392"/>
                    </a:lnTo>
                    <a:lnTo>
                      <a:pt x="637604" y="471678"/>
                    </a:lnTo>
                    <a:lnTo>
                      <a:pt x="638461" y="469963"/>
                    </a:lnTo>
                    <a:lnTo>
                      <a:pt x="638461" y="468249"/>
                    </a:lnTo>
                    <a:lnTo>
                      <a:pt x="638461" y="466534"/>
                    </a:lnTo>
                    <a:lnTo>
                      <a:pt x="637604" y="457200"/>
                    </a:lnTo>
                    <a:lnTo>
                      <a:pt x="636746" y="454628"/>
                    </a:lnTo>
                    <a:lnTo>
                      <a:pt x="635032" y="452152"/>
                    </a:lnTo>
                    <a:lnTo>
                      <a:pt x="634175" y="447865"/>
                    </a:lnTo>
                    <a:lnTo>
                      <a:pt x="633413" y="446151"/>
                    </a:lnTo>
                    <a:lnTo>
                      <a:pt x="632555" y="445294"/>
                    </a:lnTo>
                    <a:lnTo>
                      <a:pt x="631698" y="444436"/>
                    </a:lnTo>
                    <a:lnTo>
                      <a:pt x="629984" y="442817"/>
                    </a:lnTo>
                    <a:lnTo>
                      <a:pt x="627412" y="440246"/>
                    </a:lnTo>
                    <a:lnTo>
                      <a:pt x="625697" y="437674"/>
                    </a:lnTo>
                    <a:lnTo>
                      <a:pt x="624840" y="436817"/>
                    </a:lnTo>
                    <a:lnTo>
                      <a:pt x="623221" y="435959"/>
                    </a:lnTo>
                    <a:lnTo>
                      <a:pt x="619792" y="435102"/>
                    </a:lnTo>
                    <a:lnTo>
                      <a:pt x="618935" y="433388"/>
                    </a:lnTo>
                    <a:lnTo>
                      <a:pt x="618077" y="431768"/>
                    </a:lnTo>
                    <a:lnTo>
                      <a:pt x="616363" y="430054"/>
                    </a:lnTo>
                    <a:lnTo>
                      <a:pt x="615506" y="429196"/>
                    </a:lnTo>
                    <a:lnTo>
                      <a:pt x="614648" y="429196"/>
                    </a:lnTo>
                    <a:lnTo>
                      <a:pt x="613029" y="429196"/>
                    </a:lnTo>
                    <a:lnTo>
                      <a:pt x="612172" y="429196"/>
                    </a:lnTo>
                    <a:lnTo>
                      <a:pt x="611315" y="429196"/>
                    </a:lnTo>
                    <a:lnTo>
                      <a:pt x="609600" y="429196"/>
                    </a:lnTo>
                    <a:lnTo>
                      <a:pt x="607886" y="429196"/>
                    </a:lnTo>
                    <a:lnTo>
                      <a:pt x="603695" y="426625"/>
                    </a:lnTo>
                    <a:lnTo>
                      <a:pt x="599408" y="423196"/>
                    </a:lnTo>
                    <a:lnTo>
                      <a:pt x="598551" y="421481"/>
                    </a:lnTo>
                    <a:lnTo>
                      <a:pt x="598551" y="420719"/>
                    </a:lnTo>
                    <a:lnTo>
                      <a:pt x="598551" y="420719"/>
                    </a:lnTo>
                    <a:lnTo>
                      <a:pt x="599408" y="419862"/>
                    </a:lnTo>
                    <a:lnTo>
                      <a:pt x="600266" y="419862"/>
                    </a:lnTo>
                    <a:lnTo>
                      <a:pt x="601123" y="420719"/>
                    </a:lnTo>
                    <a:lnTo>
                      <a:pt x="607886" y="424053"/>
                    </a:lnTo>
                    <a:lnTo>
                      <a:pt x="608743" y="424053"/>
                    </a:lnTo>
                    <a:lnTo>
                      <a:pt x="609600" y="424053"/>
                    </a:lnTo>
                    <a:lnTo>
                      <a:pt x="610457" y="423196"/>
                    </a:lnTo>
                    <a:lnTo>
                      <a:pt x="611315" y="423196"/>
                    </a:lnTo>
                    <a:lnTo>
                      <a:pt x="612172" y="423196"/>
                    </a:lnTo>
                    <a:lnTo>
                      <a:pt x="613029" y="423196"/>
                    </a:lnTo>
                    <a:lnTo>
                      <a:pt x="613886" y="424053"/>
                    </a:lnTo>
                    <a:lnTo>
                      <a:pt x="614648" y="424053"/>
                    </a:lnTo>
                    <a:lnTo>
                      <a:pt x="614648" y="424053"/>
                    </a:lnTo>
                    <a:lnTo>
                      <a:pt x="614648" y="424053"/>
                    </a:lnTo>
                    <a:lnTo>
                      <a:pt x="617220" y="422338"/>
                    </a:lnTo>
                    <a:lnTo>
                      <a:pt x="618077" y="421481"/>
                    </a:lnTo>
                    <a:lnTo>
                      <a:pt x="618935" y="420719"/>
                    </a:lnTo>
                    <a:lnTo>
                      <a:pt x="619792" y="420719"/>
                    </a:lnTo>
                    <a:lnTo>
                      <a:pt x="621506" y="420719"/>
                    </a:lnTo>
                    <a:lnTo>
                      <a:pt x="622363" y="419862"/>
                    </a:lnTo>
                    <a:lnTo>
                      <a:pt x="624078" y="418147"/>
                    </a:lnTo>
                    <a:lnTo>
                      <a:pt x="624840" y="412147"/>
                    </a:lnTo>
                    <a:lnTo>
                      <a:pt x="626555" y="410432"/>
                    </a:lnTo>
                    <a:lnTo>
                      <a:pt x="627412" y="409670"/>
                    </a:lnTo>
                    <a:lnTo>
                      <a:pt x="628269" y="409670"/>
                    </a:lnTo>
                    <a:lnTo>
                      <a:pt x="629984" y="412147"/>
                    </a:lnTo>
                    <a:lnTo>
                      <a:pt x="630841" y="412147"/>
                    </a:lnTo>
                    <a:lnTo>
                      <a:pt x="632555" y="412147"/>
                    </a:lnTo>
                    <a:lnTo>
                      <a:pt x="638461" y="409670"/>
                    </a:lnTo>
                    <a:lnTo>
                      <a:pt x="639318" y="408813"/>
                    </a:lnTo>
                    <a:lnTo>
                      <a:pt x="640175" y="407098"/>
                    </a:lnTo>
                    <a:lnTo>
                      <a:pt x="642747" y="399383"/>
                    </a:lnTo>
                    <a:lnTo>
                      <a:pt x="643604" y="396907"/>
                    </a:lnTo>
                    <a:lnTo>
                      <a:pt x="645224" y="395192"/>
                    </a:lnTo>
                    <a:lnTo>
                      <a:pt x="647795" y="394335"/>
                    </a:lnTo>
                    <a:lnTo>
                      <a:pt x="649510" y="393478"/>
                    </a:lnTo>
                    <a:lnTo>
                      <a:pt x="652082" y="390049"/>
                    </a:lnTo>
                    <a:lnTo>
                      <a:pt x="652939" y="389192"/>
                    </a:lnTo>
                    <a:lnTo>
                      <a:pt x="654558" y="388334"/>
                    </a:lnTo>
                    <a:lnTo>
                      <a:pt x="655415" y="388334"/>
                    </a:lnTo>
                    <a:lnTo>
                      <a:pt x="657987" y="390049"/>
                    </a:lnTo>
                    <a:lnTo>
                      <a:pt x="658844" y="390049"/>
                    </a:lnTo>
                    <a:lnTo>
                      <a:pt x="660559" y="390049"/>
                    </a:lnTo>
                    <a:lnTo>
                      <a:pt x="674942" y="385858"/>
                    </a:lnTo>
                    <a:lnTo>
                      <a:pt x="677513" y="385000"/>
                    </a:lnTo>
                    <a:lnTo>
                      <a:pt x="679228" y="384143"/>
                    </a:lnTo>
                    <a:lnTo>
                      <a:pt x="680942" y="382429"/>
                    </a:lnTo>
                    <a:lnTo>
                      <a:pt x="680942" y="382429"/>
                    </a:lnTo>
                    <a:lnTo>
                      <a:pt x="681800" y="380714"/>
                    </a:lnTo>
                    <a:lnTo>
                      <a:pt x="681800" y="379857"/>
                    </a:lnTo>
                    <a:lnTo>
                      <a:pt x="681800" y="379000"/>
                    </a:lnTo>
                    <a:lnTo>
                      <a:pt x="680942" y="378142"/>
                    </a:lnTo>
                    <a:lnTo>
                      <a:pt x="680942" y="376523"/>
                    </a:lnTo>
                    <a:lnTo>
                      <a:pt x="680085" y="375666"/>
                    </a:lnTo>
                    <a:lnTo>
                      <a:pt x="680085" y="375666"/>
                    </a:lnTo>
                    <a:lnTo>
                      <a:pt x="679228" y="375666"/>
                    </a:lnTo>
                    <a:lnTo>
                      <a:pt x="678371" y="375666"/>
                    </a:lnTo>
                    <a:lnTo>
                      <a:pt x="677513" y="376523"/>
                    </a:lnTo>
                    <a:lnTo>
                      <a:pt x="675799" y="377285"/>
                    </a:lnTo>
                    <a:lnTo>
                      <a:pt x="674942" y="377285"/>
                    </a:lnTo>
                    <a:lnTo>
                      <a:pt x="673322" y="378142"/>
                    </a:lnTo>
                    <a:lnTo>
                      <a:pt x="669893" y="379000"/>
                    </a:lnTo>
                    <a:lnTo>
                      <a:pt x="668179" y="379000"/>
                    </a:lnTo>
                    <a:lnTo>
                      <a:pt x="668179" y="378142"/>
                    </a:lnTo>
                    <a:lnTo>
                      <a:pt x="667322" y="377285"/>
                    </a:lnTo>
                    <a:lnTo>
                      <a:pt x="666464" y="376523"/>
                    </a:lnTo>
                    <a:lnTo>
                      <a:pt x="665607" y="376523"/>
                    </a:lnTo>
                    <a:lnTo>
                      <a:pt x="664750" y="375666"/>
                    </a:lnTo>
                    <a:lnTo>
                      <a:pt x="663131" y="375666"/>
                    </a:lnTo>
                    <a:lnTo>
                      <a:pt x="663131" y="376523"/>
                    </a:lnTo>
                    <a:lnTo>
                      <a:pt x="662273" y="376523"/>
                    </a:lnTo>
                    <a:lnTo>
                      <a:pt x="662273" y="377285"/>
                    </a:lnTo>
                    <a:lnTo>
                      <a:pt x="661416" y="378142"/>
                    </a:lnTo>
                    <a:lnTo>
                      <a:pt x="660559" y="378142"/>
                    </a:lnTo>
                    <a:lnTo>
                      <a:pt x="652939" y="377285"/>
                    </a:lnTo>
                    <a:lnTo>
                      <a:pt x="650367" y="377285"/>
                    </a:lnTo>
                    <a:lnTo>
                      <a:pt x="647795" y="377285"/>
                    </a:lnTo>
                    <a:lnTo>
                      <a:pt x="643604" y="379000"/>
                    </a:lnTo>
                    <a:lnTo>
                      <a:pt x="640175" y="380714"/>
                    </a:lnTo>
                    <a:lnTo>
                      <a:pt x="632555" y="381571"/>
                    </a:lnTo>
                    <a:lnTo>
                      <a:pt x="629126" y="383286"/>
                    </a:lnTo>
                    <a:lnTo>
                      <a:pt x="628269" y="383286"/>
                    </a:lnTo>
                    <a:lnTo>
                      <a:pt x="628269" y="383286"/>
                    </a:lnTo>
                    <a:lnTo>
                      <a:pt x="627412" y="382429"/>
                    </a:lnTo>
                    <a:lnTo>
                      <a:pt x="626555" y="379857"/>
                    </a:lnTo>
                    <a:lnTo>
                      <a:pt x="624840" y="378142"/>
                    </a:lnTo>
                    <a:lnTo>
                      <a:pt x="622363" y="373951"/>
                    </a:lnTo>
                    <a:lnTo>
                      <a:pt x="621506" y="373094"/>
                    </a:lnTo>
                    <a:lnTo>
                      <a:pt x="620649" y="371380"/>
                    </a:lnTo>
                    <a:lnTo>
                      <a:pt x="621506" y="370522"/>
                    </a:lnTo>
                    <a:lnTo>
                      <a:pt x="622363" y="369665"/>
                    </a:lnTo>
                    <a:lnTo>
                      <a:pt x="624840" y="369665"/>
                    </a:lnTo>
                    <a:lnTo>
                      <a:pt x="627412" y="368808"/>
                    </a:lnTo>
                    <a:lnTo>
                      <a:pt x="629126" y="366236"/>
                    </a:lnTo>
                    <a:lnTo>
                      <a:pt x="630841" y="362902"/>
                    </a:lnTo>
                    <a:lnTo>
                      <a:pt x="629984" y="361188"/>
                    </a:lnTo>
                    <a:lnTo>
                      <a:pt x="629126" y="359473"/>
                    </a:lnTo>
                    <a:lnTo>
                      <a:pt x="628269" y="358616"/>
                    </a:lnTo>
                    <a:lnTo>
                      <a:pt x="627412" y="357759"/>
                    </a:lnTo>
                    <a:lnTo>
                      <a:pt x="626555" y="356044"/>
                    </a:lnTo>
                    <a:lnTo>
                      <a:pt x="626555" y="354425"/>
                    </a:lnTo>
                    <a:lnTo>
                      <a:pt x="626555" y="352711"/>
                    </a:lnTo>
                    <a:lnTo>
                      <a:pt x="625697" y="349282"/>
                    </a:lnTo>
                    <a:lnTo>
                      <a:pt x="625697" y="348425"/>
                    </a:lnTo>
                    <a:lnTo>
                      <a:pt x="625697" y="347567"/>
                    </a:lnTo>
                    <a:lnTo>
                      <a:pt x="627412" y="344138"/>
                    </a:lnTo>
                    <a:lnTo>
                      <a:pt x="629126" y="344138"/>
                    </a:lnTo>
                    <a:lnTo>
                      <a:pt x="629984" y="343376"/>
                    </a:lnTo>
                    <a:lnTo>
                      <a:pt x="634175" y="342519"/>
                    </a:lnTo>
                    <a:lnTo>
                      <a:pt x="637604" y="340805"/>
                    </a:lnTo>
                    <a:lnTo>
                      <a:pt x="639318" y="340805"/>
                    </a:lnTo>
                    <a:lnTo>
                      <a:pt x="641890" y="339947"/>
                    </a:lnTo>
                    <a:lnTo>
                      <a:pt x="644366" y="338233"/>
                    </a:lnTo>
                    <a:lnTo>
                      <a:pt x="645224" y="336518"/>
                    </a:lnTo>
                    <a:lnTo>
                      <a:pt x="654558" y="332327"/>
                    </a:lnTo>
                    <a:lnTo>
                      <a:pt x="662273" y="330613"/>
                    </a:lnTo>
                    <a:lnTo>
                      <a:pt x="662273" y="322040"/>
                    </a:lnTo>
                    <a:lnTo>
                      <a:pt x="663893" y="317849"/>
                    </a:lnTo>
                    <a:lnTo>
                      <a:pt x="663893" y="316992"/>
                    </a:lnTo>
                    <a:lnTo>
                      <a:pt x="663131" y="315277"/>
                    </a:lnTo>
                    <a:lnTo>
                      <a:pt x="662273" y="314420"/>
                    </a:lnTo>
                    <a:lnTo>
                      <a:pt x="661416" y="312706"/>
                    </a:lnTo>
                    <a:lnTo>
                      <a:pt x="660559" y="311848"/>
                    </a:lnTo>
                    <a:lnTo>
                      <a:pt x="660559" y="308515"/>
                    </a:lnTo>
                    <a:lnTo>
                      <a:pt x="660559" y="306800"/>
                    </a:lnTo>
                    <a:lnTo>
                      <a:pt x="658844" y="304228"/>
                    </a:lnTo>
                    <a:lnTo>
                      <a:pt x="657987" y="303371"/>
                    </a:lnTo>
                    <a:lnTo>
                      <a:pt x="656273" y="301657"/>
                    </a:lnTo>
                    <a:lnTo>
                      <a:pt x="655415" y="300800"/>
                    </a:lnTo>
                    <a:lnTo>
                      <a:pt x="655415" y="299180"/>
                    </a:lnTo>
                    <a:lnTo>
                      <a:pt x="655415" y="295751"/>
                    </a:lnTo>
                    <a:lnTo>
                      <a:pt x="655415" y="294037"/>
                    </a:lnTo>
                    <a:lnTo>
                      <a:pt x="654558" y="292322"/>
                    </a:lnTo>
                    <a:lnTo>
                      <a:pt x="654558" y="289750"/>
                    </a:lnTo>
                    <a:lnTo>
                      <a:pt x="654558" y="287274"/>
                    </a:lnTo>
                    <a:lnTo>
                      <a:pt x="655415" y="284702"/>
                    </a:lnTo>
                    <a:lnTo>
                      <a:pt x="656273" y="283845"/>
                    </a:lnTo>
                    <a:lnTo>
                      <a:pt x="657130" y="283845"/>
                    </a:lnTo>
                    <a:lnTo>
                      <a:pt x="657987" y="282988"/>
                    </a:lnTo>
                    <a:lnTo>
                      <a:pt x="658844" y="283845"/>
                    </a:lnTo>
                    <a:lnTo>
                      <a:pt x="658844" y="283845"/>
                    </a:lnTo>
                    <a:lnTo>
                      <a:pt x="659702" y="284702"/>
                    </a:lnTo>
                    <a:lnTo>
                      <a:pt x="661416" y="286417"/>
                    </a:lnTo>
                    <a:lnTo>
                      <a:pt x="662273" y="286417"/>
                    </a:lnTo>
                    <a:lnTo>
                      <a:pt x="663131" y="287274"/>
                    </a:lnTo>
                    <a:lnTo>
                      <a:pt x="664750" y="287274"/>
                    </a:lnTo>
                    <a:lnTo>
                      <a:pt x="668179" y="286417"/>
                    </a:lnTo>
                    <a:lnTo>
                      <a:pt x="669893" y="285559"/>
                    </a:lnTo>
                    <a:lnTo>
                      <a:pt x="671608" y="284702"/>
                    </a:lnTo>
                    <a:lnTo>
                      <a:pt x="673322" y="283845"/>
                    </a:lnTo>
                    <a:lnTo>
                      <a:pt x="674084" y="282130"/>
                    </a:lnTo>
                    <a:lnTo>
                      <a:pt x="674942" y="281273"/>
                    </a:lnTo>
                    <a:lnTo>
                      <a:pt x="674942" y="280416"/>
                    </a:lnTo>
                    <a:lnTo>
                      <a:pt x="675799" y="278701"/>
                    </a:lnTo>
                    <a:lnTo>
                      <a:pt x="674942" y="277844"/>
                    </a:lnTo>
                    <a:lnTo>
                      <a:pt x="674084" y="277082"/>
                    </a:lnTo>
                    <a:lnTo>
                      <a:pt x="672465" y="276225"/>
                    </a:lnTo>
                    <a:lnTo>
                      <a:pt x="669893" y="275368"/>
                    </a:lnTo>
                    <a:lnTo>
                      <a:pt x="666464" y="275368"/>
                    </a:lnTo>
                    <a:lnTo>
                      <a:pt x="662273" y="276225"/>
                    </a:lnTo>
                    <a:lnTo>
                      <a:pt x="660559" y="276225"/>
                    </a:lnTo>
                    <a:lnTo>
                      <a:pt x="658844" y="275368"/>
                    </a:lnTo>
                    <a:lnTo>
                      <a:pt x="657130" y="274510"/>
                    </a:lnTo>
                    <a:lnTo>
                      <a:pt x="652082" y="269367"/>
                    </a:lnTo>
                    <a:lnTo>
                      <a:pt x="651224" y="267652"/>
                    </a:lnTo>
                    <a:lnTo>
                      <a:pt x="651224" y="266795"/>
                    </a:lnTo>
                    <a:lnTo>
                      <a:pt x="652082" y="264319"/>
                    </a:lnTo>
                    <a:lnTo>
                      <a:pt x="652939" y="263461"/>
                    </a:lnTo>
                    <a:lnTo>
                      <a:pt x="653701" y="263461"/>
                    </a:lnTo>
                    <a:lnTo>
                      <a:pt x="654558" y="262604"/>
                    </a:lnTo>
                    <a:lnTo>
                      <a:pt x="655415" y="263461"/>
                    </a:lnTo>
                    <a:lnTo>
                      <a:pt x="661416" y="265176"/>
                    </a:lnTo>
                    <a:lnTo>
                      <a:pt x="662273" y="265176"/>
                    </a:lnTo>
                    <a:lnTo>
                      <a:pt x="663893" y="265176"/>
                    </a:lnTo>
                    <a:lnTo>
                      <a:pt x="664750" y="264319"/>
                    </a:lnTo>
                    <a:lnTo>
                      <a:pt x="665607" y="263461"/>
                    </a:lnTo>
                    <a:lnTo>
                      <a:pt x="669893" y="259175"/>
                    </a:lnTo>
                    <a:lnTo>
                      <a:pt x="678371" y="252413"/>
                    </a:lnTo>
                    <a:lnTo>
                      <a:pt x="679228" y="252413"/>
                    </a:lnTo>
                    <a:lnTo>
                      <a:pt x="680942" y="251555"/>
                    </a:lnTo>
                    <a:lnTo>
                      <a:pt x="683419" y="251555"/>
                    </a:lnTo>
                    <a:lnTo>
                      <a:pt x="685133" y="251555"/>
                    </a:lnTo>
                    <a:lnTo>
                      <a:pt x="685990" y="251555"/>
                    </a:lnTo>
                    <a:lnTo>
                      <a:pt x="686848" y="250698"/>
                    </a:lnTo>
                    <a:lnTo>
                      <a:pt x="688562" y="249841"/>
                    </a:lnTo>
                    <a:lnTo>
                      <a:pt x="689420" y="248984"/>
                    </a:lnTo>
                    <a:lnTo>
                      <a:pt x="690277" y="247269"/>
                    </a:lnTo>
                    <a:lnTo>
                      <a:pt x="698754" y="229457"/>
                    </a:lnTo>
                    <a:lnTo>
                      <a:pt x="699611" y="226885"/>
                    </a:lnTo>
                    <a:lnTo>
                      <a:pt x="698754" y="225171"/>
                    </a:lnTo>
                    <a:lnTo>
                      <a:pt x="698754" y="225171"/>
                    </a:lnTo>
                    <a:close/>
                  </a:path>
                </a:pathLst>
              </a:custGeom>
              <a:solidFill>
                <a:srgbClr val="00A039"/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48" name="Freeform: Shape 152">
                <a:extLst>
                  <a:ext uri="{FF2B5EF4-FFF2-40B4-BE49-F238E27FC236}">
                    <a16:creationId xmlns:a16="http://schemas.microsoft.com/office/drawing/2014/main" id="{C87025D6-6079-458D-88B6-9B094743C3A4}"/>
                  </a:ext>
                </a:extLst>
              </p:cNvPr>
              <p:cNvSpPr/>
              <p:nvPr/>
            </p:nvSpPr>
            <p:spPr>
              <a:xfrm>
                <a:off x="5094160" y="4231957"/>
                <a:ext cx="66675" cy="95250"/>
              </a:xfrm>
              <a:custGeom>
                <a:avLst/>
                <a:gdLst>
                  <a:gd name="connsiteX0" fmla="*/ 69533 w 66675"/>
                  <a:gd name="connsiteY0" fmla="*/ 50864 h 95250"/>
                  <a:gd name="connsiteX1" fmla="*/ 69533 w 66675"/>
                  <a:gd name="connsiteY1" fmla="*/ 50006 h 95250"/>
                  <a:gd name="connsiteX2" fmla="*/ 68675 w 66675"/>
                  <a:gd name="connsiteY2" fmla="*/ 49149 h 95250"/>
                  <a:gd name="connsiteX3" fmla="*/ 68675 w 66675"/>
                  <a:gd name="connsiteY3" fmla="*/ 49149 h 95250"/>
                  <a:gd name="connsiteX4" fmla="*/ 65246 w 66675"/>
                  <a:gd name="connsiteY4" fmla="*/ 45815 h 95250"/>
                  <a:gd name="connsiteX5" fmla="*/ 64389 w 66675"/>
                  <a:gd name="connsiteY5" fmla="*/ 44196 h 95250"/>
                  <a:gd name="connsiteX6" fmla="*/ 64389 w 66675"/>
                  <a:gd name="connsiteY6" fmla="*/ 43339 h 95250"/>
                  <a:gd name="connsiteX7" fmla="*/ 64389 w 66675"/>
                  <a:gd name="connsiteY7" fmla="*/ 42482 h 95250"/>
                  <a:gd name="connsiteX8" fmla="*/ 64389 w 66675"/>
                  <a:gd name="connsiteY8" fmla="*/ 40862 h 95250"/>
                  <a:gd name="connsiteX9" fmla="*/ 64389 w 66675"/>
                  <a:gd name="connsiteY9" fmla="*/ 40862 h 95250"/>
                  <a:gd name="connsiteX10" fmla="*/ 64389 w 66675"/>
                  <a:gd name="connsiteY10" fmla="*/ 40005 h 95250"/>
                  <a:gd name="connsiteX11" fmla="*/ 64389 w 66675"/>
                  <a:gd name="connsiteY11" fmla="*/ 39148 h 95250"/>
                  <a:gd name="connsiteX12" fmla="*/ 63437 w 66675"/>
                  <a:gd name="connsiteY12" fmla="*/ 38386 h 95250"/>
                  <a:gd name="connsiteX13" fmla="*/ 62579 w 66675"/>
                  <a:gd name="connsiteY13" fmla="*/ 36671 h 95250"/>
                  <a:gd name="connsiteX14" fmla="*/ 61722 w 66675"/>
                  <a:gd name="connsiteY14" fmla="*/ 35052 h 95250"/>
                  <a:gd name="connsiteX15" fmla="*/ 62579 w 66675"/>
                  <a:gd name="connsiteY15" fmla="*/ 33338 h 95250"/>
                  <a:gd name="connsiteX16" fmla="*/ 64389 w 66675"/>
                  <a:gd name="connsiteY16" fmla="*/ 31718 h 95250"/>
                  <a:gd name="connsiteX17" fmla="*/ 64389 w 66675"/>
                  <a:gd name="connsiteY17" fmla="*/ 30004 h 95250"/>
                  <a:gd name="connsiteX18" fmla="*/ 64389 w 66675"/>
                  <a:gd name="connsiteY18" fmla="*/ 28385 h 95250"/>
                  <a:gd name="connsiteX19" fmla="*/ 63437 w 66675"/>
                  <a:gd name="connsiteY19" fmla="*/ 21717 h 95250"/>
                  <a:gd name="connsiteX20" fmla="*/ 62579 w 66675"/>
                  <a:gd name="connsiteY20" fmla="*/ 18288 h 95250"/>
                  <a:gd name="connsiteX21" fmla="*/ 61722 w 66675"/>
                  <a:gd name="connsiteY21" fmla="*/ 18288 h 95250"/>
                  <a:gd name="connsiteX22" fmla="*/ 60865 w 66675"/>
                  <a:gd name="connsiteY22" fmla="*/ 17526 h 95250"/>
                  <a:gd name="connsiteX23" fmla="*/ 57436 w 66675"/>
                  <a:gd name="connsiteY23" fmla="*/ 15812 h 95250"/>
                  <a:gd name="connsiteX24" fmla="*/ 55626 w 66675"/>
                  <a:gd name="connsiteY24" fmla="*/ 14954 h 95250"/>
                  <a:gd name="connsiteX25" fmla="*/ 54769 w 66675"/>
                  <a:gd name="connsiteY25" fmla="*/ 14192 h 95250"/>
                  <a:gd name="connsiteX26" fmla="*/ 54769 w 66675"/>
                  <a:gd name="connsiteY26" fmla="*/ 14954 h 95250"/>
                  <a:gd name="connsiteX27" fmla="*/ 53054 w 66675"/>
                  <a:gd name="connsiteY27" fmla="*/ 15812 h 95250"/>
                  <a:gd name="connsiteX28" fmla="*/ 52197 w 66675"/>
                  <a:gd name="connsiteY28" fmla="*/ 15812 h 95250"/>
                  <a:gd name="connsiteX29" fmla="*/ 51340 w 66675"/>
                  <a:gd name="connsiteY29" fmla="*/ 16669 h 95250"/>
                  <a:gd name="connsiteX30" fmla="*/ 49625 w 66675"/>
                  <a:gd name="connsiteY30" fmla="*/ 16669 h 95250"/>
                  <a:gd name="connsiteX31" fmla="*/ 48673 w 66675"/>
                  <a:gd name="connsiteY31" fmla="*/ 16669 h 95250"/>
                  <a:gd name="connsiteX32" fmla="*/ 46958 w 66675"/>
                  <a:gd name="connsiteY32" fmla="*/ 15812 h 95250"/>
                  <a:gd name="connsiteX33" fmla="*/ 42672 w 66675"/>
                  <a:gd name="connsiteY33" fmla="*/ 15812 h 95250"/>
                  <a:gd name="connsiteX34" fmla="*/ 35719 w 66675"/>
                  <a:gd name="connsiteY34" fmla="*/ 18288 h 95250"/>
                  <a:gd name="connsiteX35" fmla="*/ 33909 w 66675"/>
                  <a:gd name="connsiteY35" fmla="*/ 19145 h 95250"/>
                  <a:gd name="connsiteX36" fmla="*/ 33052 w 66675"/>
                  <a:gd name="connsiteY36" fmla="*/ 19145 h 95250"/>
                  <a:gd name="connsiteX37" fmla="*/ 31337 w 66675"/>
                  <a:gd name="connsiteY37" fmla="*/ 18288 h 95250"/>
                  <a:gd name="connsiteX38" fmla="*/ 28765 w 66675"/>
                  <a:gd name="connsiteY38" fmla="*/ 16669 h 95250"/>
                  <a:gd name="connsiteX39" fmla="*/ 27813 w 66675"/>
                  <a:gd name="connsiteY39" fmla="*/ 15812 h 95250"/>
                  <a:gd name="connsiteX40" fmla="*/ 26956 w 66675"/>
                  <a:gd name="connsiteY40" fmla="*/ 14192 h 95250"/>
                  <a:gd name="connsiteX41" fmla="*/ 25241 w 66675"/>
                  <a:gd name="connsiteY41" fmla="*/ 8287 h 95250"/>
                  <a:gd name="connsiteX42" fmla="*/ 25241 w 66675"/>
                  <a:gd name="connsiteY42" fmla="*/ 6668 h 95250"/>
                  <a:gd name="connsiteX43" fmla="*/ 24384 w 66675"/>
                  <a:gd name="connsiteY43" fmla="*/ 5810 h 95250"/>
                  <a:gd name="connsiteX44" fmla="*/ 23527 w 66675"/>
                  <a:gd name="connsiteY44" fmla="*/ 4953 h 95250"/>
                  <a:gd name="connsiteX45" fmla="*/ 20860 w 66675"/>
                  <a:gd name="connsiteY45" fmla="*/ 4953 h 95250"/>
                  <a:gd name="connsiteX46" fmla="*/ 19145 w 66675"/>
                  <a:gd name="connsiteY46" fmla="*/ 4191 h 95250"/>
                  <a:gd name="connsiteX47" fmla="*/ 18288 w 66675"/>
                  <a:gd name="connsiteY47" fmla="*/ 4191 h 95250"/>
                  <a:gd name="connsiteX48" fmla="*/ 17431 w 66675"/>
                  <a:gd name="connsiteY48" fmla="*/ 4191 h 95250"/>
                  <a:gd name="connsiteX49" fmla="*/ 17431 w 66675"/>
                  <a:gd name="connsiteY49" fmla="*/ 3334 h 95250"/>
                  <a:gd name="connsiteX50" fmla="*/ 17431 w 66675"/>
                  <a:gd name="connsiteY50" fmla="*/ 2477 h 95250"/>
                  <a:gd name="connsiteX51" fmla="*/ 16573 w 66675"/>
                  <a:gd name="connsiteY51" fmla="*/ 858 h 95250"/>
                  <a:gd name="connsiteX52" fmla="*/ 16573 w 66675"/>
                  <a:gd name="connsiteY52" fmla="*/ 0 h 95250"/>
                  <a:gd name="connsiteX53" fmla="*/ 15716 w 66675"/>
                  <a:gd name="connsiteY53" fmla="*/ 0 h 95250"/>
                  <a:gd name="connsiteX54" fmla="*/ 14859 w 66675"/>
                  <a:gd name="connsiteY54" fmla="*/ 858 h 95250"/>
                  <a:gd name="connsiteX55" fmla="*/ 13906 w 66675"/>
                  <a:gd name="connsiteY55" fmla="*/ 1619 h 95250"/>
                  <a:gd name="connsiteX56" fmla="*/ 13049 w 66675"/>
                  <a:gd name="connsiteY56" fmla="*/ 3334 h 95250"/>
                  <a:gd name="connsiteX57" fmla="*/ 11335 w 66675"/>
                  <a:gd name="connsiteY57" fmla="*/ 4953 h 95250"/>
                  <a:gd name="connsiteX58" fmla="*/ 10477 w 66675"/>
                  <a:gd name="connsiteY58" fmla="*/ 4953 h 95250"/>
                  <a:gd name="connsiteX59" fmla="*/ 9620 w 66675"/>
                  <a:gd name="connsiteY59" fmla="*/ 4953 h 95250"/>
                  <a:gd name="connsiteX60" fmla="*/ 3524 w 66675"/>
                  <a:gd name="connsiteY60" fmla="*/ 4953 h 95250"/>
                  <a:gd name="connsiteX61" fmla="*/ 1810 w 66675"/>
                  <a:gd name="connsiteY61" fmla="*/ 6668 h 95250"/>
                  <a:gd name="connsiteX62" fmla="*/ 0 w 66675"/>
                  <a:gd name="connsiteY62" fmla="*/ 7525 h 95250"/>
                  <a:gd name="connsiteX63" fmla="*/ 0 w 66675"/>
                  <a:gd name="connsiteY63" fmla="*/ 9144 h 95250"/>
                  <a:gd name="connsiteX64" fmla="*/ 0 w 66675"/>
                  <a:gd name="connsiteY64" fmla="*/ 10001 h 95250"/>
                  <a:gd name="connsiteX65" fmla="*/ 952 w 66675"/>
                  <a:gd name="connsiteY65" fmla="*/ 13335 h 95250"/>
                  <a:gd name="connsiteX66" fmla="*/ 2667 w 66675"/>
                  <a:gd name="connsiteY66" fmla="*/ 15812 h 95250"/>
                  <a:gd name="connsiteX67" fmla="*/ 3524 w 66675"/>
                  <a:gd name="connsiteY67" fmla="*/ 17526 h 95250"/>
                  <a:gd name="connsiteX68" fmla="*/ 4381 w 66675"/>
                  <a:gd name="connsiteY68" fmla="*/ 18288 h 95250"/>
                  <a:gd name="connsiteX69" fmla="*/ 5239 w 66675"/>
                  <a:gd name="connsiteY69" fmla="*/ 17526 h 95250"/>
                  <a:gd name="connsiteX70" fmla="*/ 8763 w 66675"/>
                  <a:gd name="connsiteY70" fmla="*/ 14954 h 95250"/>
                  <a:gd name="connsiteX71" fmla="*/ 9620 w 66675"/>
                  <a:gd name="connsiteY71" fmla="*/ 14954 h 95250"/>
                  <a:gd name="connsiteX72" fmla="*/ 10477 w 66675"/>
                  <a:gd name="connsiteY72" fmla="*/ 14192 h 95250"/>
                  <a:gd name="connsiteX73" fmla="*/ 13049 w 66675"/>
                  <a:gd name="connsiteY73" fmla="*/ 13335 h 95250"/>
                  <a:gd name="connsiteX74" fmla="*/ 17431 w 66675"/>
                  <a:gd name="connsiteY74" fmla="*/ 13335 h 95250"/>
                  <a:gd name="connsiteX75" fmla="*/ 17431 w 66675"/>
                  <a:gd name="connsiteY75" fmla="*/ 14192 h 95250"/>
                  <a:gd name="connsiteX76" fmla="*/ 11335 w 66675"/>
                  <a:gd name="connsiteY76" fmla="*/ 15812 h 95250"/>
                  <a:gd name="connsiteX77" fmla="*/ 7906 w 66675"/>
                  <a:gd name="connsiteY77" fmla="*/ 16669 h 95250"/>
                  <a:gd name="connsiteX78" fmla="*/ 6953 w 66675"/>
                  <a:gd name="connsiteY78" fmla="*/ 18288 h 95250"/>
                  <a:gd name="connsiteX79" fmla="*/ 6953 w 66675"/>
                  <a:gd name="connsiteY79" fmla="*/ 19145 h 95250"/>
                  <a:gd name="connsiteX80" fmla="*/ 6096 w 66675"/>
                  <a:gd name="connsiteY80" fmla="*/ 20003 h 95250"/>
                  <a:gd name="connsiteX81" fmla="*/ 5239 w 66675"/>
                  <a:gd name="connsiteY81" fmla="*/ 20860 h 95250"/>
                  <a:gd name="connsiteX82" fmla="*/ 5239 w 66675"/>
                  <a:gd name="connsiteY82" fmla="*/ 22479 h 95250"/>
                  <a:gd name="connsiteX83" fmla="*/ 5239 w 66675"/>
                  <a:gd name="connsiteY83" fmla="*/ 24194 h 95250"/>
                  <a:gd name="connsiteX84" fmla="*/ 6096 w 66675"/>
                  <a:gd name="connsiteY84" fmla="*/ 25051 h 95250"/>
                  <a:gd name="connsiteX85" fmla="*/ 7906 w 66675"/>
                  <a:gd name="connsiteY85" fmla="*/ 27527 h 95250"/>
                  <a:gd name="connsiteX86" fmla="*/ 6953 w 66675"/>
                  <a:gd name="connsiteY86" fmla="*/ 30004 h 95250"/>
                  <a:gd name="connsiteX87" fmla="*/ 8763 w 66675"/>
                  <a:gd name="connsiteY87" fmla="*/ 31718 h 95250"/>
                  <a:gd name="connsiteX88" fmla="*/ 11335 w 66675"/>
                  <a:gd name="connsiteY88" fmla="*/ 32480 h 95250"/>
                  <a:gd name="connsiteX89" fmla="*/ 12192 w 66675"/>
                  <a:gd name="connsiteY89" fmla="*/ 31718 h 95250"/>
                  <a:gd name="connsiteX90" fmla="*/ 20002 w 66675"/>
                  <a:gd name="connsiteY90" fmla="*/ 27527 h 95250"/>
                  <a:gd name="connsiteX91" fmla="*/ 20002 w 66675"/>
                  <a:gd name="connsiteY91" fmla="*/ 28385 h 95250"/>
                  <a:gd name="connsiteX92" fmla="*/ 19145 w 66675"/>
                  <a:gd name="connsiteY92" fmla="*/ 29146 h 95250"/>
                  <a:gd name="connsiteX93" fmla="*/ 19145 w 66675"/>
                  <a:gd name="connsiteY93" fmla="*/ 29146 h 95250"/>
                  <a:gd name="connsiteX94" fmla="*/ 20002 w 66675"/>
                  <a:gd name="connsiteY94" fmla="*/ 30004 h 95250"/>
                  <a:gd name="connsiteX95" fmla="*/ 20860 w 66675"/>
                  <a:gd name="connsiteY95" fmla="*/ 30861 h 95250"/>
                  <a:gd name="connsiteX96" fmla="*/ 15716 w 66675"/>
                  <a:gd name="connsiteY96" fmla="*/ 31718 h 95250"/>
                  <a:gd name="connsiteX97" fmla="*/ 14859 w 66675"/>
                  <a:gd name="connsiteY97" fmla="*/ 31718 h 95250"/>
                  <a:gd name="connsiteX98" fmla="*/ 13906 w 66675"/>
                  <a:gd name="connsiteY98" fmla="*/ 33338 h 95250"/>
                  <a:gd name="connsiteX99" fmla="*/ 13049 w 66675"/>
                  <a:gd name="connsiteY99" fmla="*/ 35052 h 95250"/>
                  <a:gd name="connsiteX100" fmla="*/ 12192 w 66675"/>
                  <a:gd name="connsiteY100" fmla="*/ 35814 h 95250"/>
                  <a:gd name="connsiteX101" fmla="*/ 12192 w 66675"/>
                  <a:gd name="connsiteY101" fmla="*/ 37529 h 95250"/>
                  <a:gd name="connsiteX102" fmla="*/ 13049 w 66675"/>
                  <a:gd name="connsiteY102" fmla="*/ 37529 h 95250"/>
                  <a:gd name="connsiteX103" fmla="*/ 17431 w 66675"/>
                  <a:gd name="connsiteY103" fmla="*/ 37529 h 95250"/>
                  <a:gd name="connsiteX104" fmla="*/ 18288 w 66675"/>
                  <a:gd name="connsiteY104" fmla="*/ 37529 h 95250"/>
                  <a:gd name="connsiteX105" fmla="*/ 19145 w 66675"/>
                  <a:gd name="connsiteY105" fmla="*/ 38386 h 95250"/>
                  <a:gd name="connsiteX106" fmla="*/ 19145 w 66675"/>
                  <a:gd name="connsiteY106" fmla="*/ 39148 h 95250"/>
                  <a:gd name="connsiteX107" fmla="*/ 20002 w 66675"/>
                  <a:gd name="connsiteY107" fmla="*/ 39148 h 95250"/>
                  <a:gd name="connsiteX108" fmla="*/ 21812 w 66675"/>
                  <a:gd name="connsiteY108" fmla="*/ 39148 h 95250"/>
                  <a:gd name="connsiteX109" fmla="*/ 22669 w 66675"/>
                  <a:gd name="connsiteY109" fmla="*/ 39148 h 95250"/>
                  <a:gd name="connsiteX110" fmla="*/ 26956 w 66675"/>
                  <a:gd name="connsiteY110" fmla="*/ 40862 h 95250"/>
                  <a:gd name="connsiteX111" fmla="*/ 27813 w 66675"/>
                  <a:gd name="connsiteY111" fmla="*/ 41720 h 95250"/>
                  <a:gd name="connsiteX112" fmla="*/ 30480 w 66675"/>
                  <a:gd name="connsiteY112" fmla="*/ 45053 h 95250"/>
                  <a:gd name="connsiteX113" fmla="*/ 31337 w 66675"/>
                  <a:gd name="connsiteY113" fmla="*/ 45815 h 95250"/>
                  <a:gd name="connsiteX114" fmla="*/ 31337 w 66675"/>
                  <a:gd name="connsiteY114" fmla="*/ 45815 h 95250"/>
                  <a:gd name="connsiteX115" fmla="*/ 31337 w 66675"/>
                  <a:gd name="connsiteY115" fmla="*/ 46673 h 95250"/>
                  <a:gd name="connsiteX116" fmla="*/ 30480 w 66675"/>
                  <a:gd name="connsiteY116" fmla="*/ 46673 h 95250"/>
                  <a:gd name="connsiteX117" fmla="*/ 30480 w 66675"/>
                  <a:gd name="connsiteY117" fmla="*/ 46673 h 95250"/>
                  <a:gd name="connsiteX118" fmla="*/ 28765 w 66675"/>
                  <a:gd name="connsiteY118" fmla="*/ 44196 h 95250"/>
                  <a:gd name="connsiteX119" fmla="*/ 27813 w 66675"/>
                  <a:gd name="connsiteY119" fmla="*/ 43339 h 95250"/>
                  <a:gd name="connsiteX120" fmla="*/ 24384 w 66675"/>
                  <a:gd name="connsiteY120" fmla="*/ 41720 h 95250"/>
                  <a:gd name="connsiteX121" fmla="*/ 22669 w 66675"/>
                  <a:gd name="connsiteY121" fmla="*/ 43339 h 95250"/>
                  <a:gd name="connsiteX122" fmla="*/ 20860 w 66675"/>
                  <a:gd name="connsiteY122" fmla="*/ 42482 h 95250"/>
                  <a:gd name="connsiteX123" fmla="*/ 19145 w 66675"/>
                  <a:gd name="connsiteY123" fmla="*/ 41720 h 95250"/>
                  <a:gd name="connsiteX124" fmla="*/ 18288 w 66675"/>
                  <a:gd name="connsiteY124" fmla="*/ 42482 h 95250"/>
                  <a:gd name="connsiteX125" fmla="*/ 17431 w 66675"/>
                  <a:gd name="connsiteY125" fmla="*/ 42482 h 95250"/>
                  <a:gd name="connsiteX126" fmla="*/ 10477 w 66675"/>
                  <a:gd name="connsiteY126" fmla="*/ 41720 h 95250"/>
                  <a:gd name="connsiteX127" fmla="*/ 13906 w 66675"/>
                  <a:gd name="connsiteY127" fmla="*/ 45053 h 95250"/>
                  <a:gd name="connsiteX128" fmla="*/ 15716 w 66675"/>
                  <a:gd name="connsiteY128" fmla="*/ 46673 h 95250"/>
                  <a:gd name="connsiteX129" fmla="*/ 18288 w 66675"/>
                  <a:gd name="connsiteY129" fmla="*/ 47530 h 95250"/>
                  <a:gd name="connsiteX130" fmla="*/ 20860 w 66675"/>
                  <a:gd name="connsiteY130" fmla="*/ 47530 h 95250"/>
                  <a:gd name="connsiteX131" fmla="*/ 21812 w 66675"/>
                  <a:gd name="connsiteY131" fmla="*/ 48387 h 95250"/>
                  <a:gd name="connsiteX132" fmla="*/ 23527 w 66675"/>
                  <a:gd name="connsiteY132" fmla="*/ 49149 h 95250"/>
                  <a:gd name="connsiteX133" fmla="*/ 29623 w 66675"/>
                  <a:gd name="connsiteY133" fmla="*/ 70009 h 95250"/>
                  <a:gd name="connsiteX134" fmla="*/ 30480 w 66675"/>
                  <a:gd name="connsiteY134" fmla="*/ 69152 h 95250"/>
                  <a:gd name="connsiteX135" fmla="*/ 31337 w 66675"/>
                  <a:gd name="connsiteY135" fmla="*/ 70866 h 95250"/>
                  <a:gd name="connsiteX136" fmla="*/ 30480 w 66675"/>
                  <a:gd name="connsiteY136" fmla="*/ 71723 h 95250"/>
                  <a:gd name="connsiteX137" fmla="*/ 27813 w 66675"/>
                  <a:gd name="connsiteY137" fmla="*/ 73343 h 95250"/>
                  <a:gd name="connsiteX138" fmla="*/ 26956 w 66675"/>
                  <a:gd name="connsiteY138" fmla="*/ 74200 h 95250"/>
                  <a:gd name="connsiteX139" fmla="*/ 26956 w 66675"/>
                  <a:gd name="connsiteY139" fmla="*/ 75819 h 95250"/>
                  <a:gd name="connsiteX140" fmla="*/ 25241 w 66675"/>
                  <a:gd name="connsiteY140" fmla="*/ 79153 h 95250"/>
                  <a:gd name="connsiteX141" fmla="*/ 31337 w 66675"/>
                  <a:gd name="connsiteY141" fmla="*/ 80867 h 95250"/>
                  <a:gd name="connsiteX142" fmla="*/ 32194 w 66675"/>
                  <a:gd name="connsiteY142" fmla="*/ 81725 h 95250"/>
                  <a:gd name="connsiteX143" fmla="*/ 34766 w 66675"/>
                  <a:gd name="connsiteY143" fmla="*/ 86678 h 95250"/>
                  <a:gd name="connsiteX144" fmla="*/ 36576 w 66675"/>
                  <a:gd name="connsiteY144" fmla="*/ 87535 h 95250"/>
                  <a:gd name="connsiteX145" fmla="*/ 37433 w 66675"/>
                  <a:gd name="connsiteY145" fmla="*/ 87535 h 95250"/>
                  <a:gd name="connsiteX146" fmla="*/ 39148 w 66675"/>
                  <a:gd name="connsiteY146" fmla="*/ 88392 h 95250"/>
                  <a:gd name="connsiteX147" fmla="*/ 39148 w 66675"/>
                  <a:gd name="connsiteY147" fmla="*/ 90011 h 95250"/>
                  <a:gd name="connsiteX148" fmla="*/ 39148 w 66675"/>
                  <a:gd name="connsiteY148" fmla="*/ 93345 h 95250"/>
                  <a:gd name="connsiteX149" fmla="*/ 39148 w 66675"/>
                  <a:gd name="connsiteY149" fmla="*/ 95060 h 95250"/>
                  <a:gd name="connsiteX150" fmla="*/ 39148 w 66675"/>
                  <a:gd name="connsiteY150" fmla="*/ 96679 h 95250"/>
                  <a:gd name="connsiteX151" fmla="*/ 44387 w 66675"/>
                  <a:gd name="connsiteY151" fmla="*/ 99251 h 95250"/>
                  <a:gd name="connsiteX152" fmla="*/ 44387 w 66675"/>
                  <a:gd name="connsiteY152" fmla="*/ 100013 h 95250"/>
                  <a:gd name="connsiteX153" fmla="*/ 46101 w 66675"/>
                  <a:gd name="connsiteY153" fmla="*/ 100013 h 95250"/>
                  <a:gd name="connsiteX154" fmla="*/ 49625 w 66675"/>
                  <a:gd name="connsiteY154" fmla="*/ 98393 h 95250"/>
                  <a:gd name="connsiteX155" fmla="*/ 52197 w 66675"/>
                  <a:gd name="connsiteY155" fmla="*/ 96679 h 95250"/>
                  <a:gd name="connsiteX156" fmla="*/ 53054 w 66675"/>
                  <a:gd name="connsiteY156" fmla="*/ 95917 h 95250"/>
                  <a:gd name="connsiteX157" fmla="*/ 53054 w 66675"/>
                  <a:gd name="connsiteY157" fmla="*/ 95917 h 95250"/>
                  <a:gd name="connsiteX158" fmla="*/ 56483 w 66675"/>
                  <a:gd name="connsiteY158" fmla="*/ 95917 h 95250"/>
                  <a:gd name="connsiteX159" fmla="*/ 57436 w 66675"/>
                  <a:gd name="connsiteY159" fmla="*/ 95917 h 95250"/>
                  <a:gd name="connsiteX160" fmla="*/ 59150 w 66675"/>
                  <a:gd name="connsiteY160" fmla="*/ 95060 h 95250"/>
                  <a:gd name="connsiteX161" fmla="*/ 60865 w 66675"/>
                  <a:gd name="connsiteY161" fmla="*/ 94202 h 95250"/>
                  <a:gd name="connsiteX162" fmla="*/ 62579 w 66675"/>
                  <a:gd name="connsiteY162" fmla="*/ 92583 h 95250"/>
                  <a:gd name="connsiteX163" fmla="*/ 62579 w 66675"/>
                  <a:gd name="connsiteY163" fmla="*/ 92583 h 95250"/>
                  <a:gd name="connsiteX164" fmla="*/ 62579 w 66675"/>
                  <a:gd name="connsiteY164" fmla="*/ 91726 h 95250"/>
                  <a:gd name="connsiteX165" fmla="*/ 63437 w 66675"/>
                  <a:gd name="connsiteY165" fmla="*/ 90011 h 95250"/>
                  <a:gd name="connsiteX166" fmla="*/ 64389 w 66675"/>
                  <a:gd name="connsiteY166" fmla="*/ 87535 h 95250"/>
                  <a:gd name="connsiteX167" fmla="*/ 65246 w 66675"/>
                  <a:gd name="connsiteY167" fmla="*/ 85916 h 95250"/>
                  <a:gd name="connsiteX168" fmla="*/ 65246 w 66675"/>
                  <a:gd name="connsiteY168" fmla="*/ 85058 h 95250"/>
                  <a:gd name="connsiteX169" fmla="*/ 65246 w 66675"/>
                  <a:gd name="connsiteY169" fmla="*/ 84201 h 95250"/>
                  <a:gd name="connsiteX170" fmla="*/ 66104 w 66675"/>
                  <a:gd name="connsiteY170" fmla="*/ 83344 h 95250"/>
                  <a:gd name="connsiteX171" fmla="*/ 66104 w 66675"/>
                  <a:gd name="connsiteY171" fmla="*/ 82582 h 95250"/>
                  <a:gd name="connsiteX172" fmla="*/ 65246 w 66675"/>
                  <a:gd name="connsiteY172" fmla="*/ 78391 h 95250"/>
                  <a:gd name="connsiteX173" fmla="*/ 65246 w 66675"/>
                  <a:gd name="connsiteY173" fmla="*/ 77534 h 95250"/>
                  <a:gd name="connsiteX174" fmla="*/ 65246 w 66675"/>
                  <a:gd name="connsiteY174" fmla="*/ 76676 h 95250"/>
                  <a:gd name="connsiteX175" fmla="*/ 65246 w 66675"/>
                  <a:gd name="connsiteY175" fmla="*/ 75057 h 95250"/>
                  <a:gd name="connsiteX176" fmla="*/ 65246 w 66675"/>
                  <a:gd name="connsiteY176" fmla="*/ 74200 h 95250"/>
                  <a:gd name="connsiteX177" fmla="*/ 67818 w 66675"/>
                  <a:gd name="connsiteY177" fmla="*/ 69152 h 95250"/>
                  <a:gd name="connsiteX178" fmla="*/ 68675 w 66675"/>
                  <a:gd name="connsiteY178" fmla="*/ 67533 h 95250"/>
                  <a:gd name="connsiteX179" fmla="*/ 68675 w 66675"/>
                  <a:gd name="connsiteY179" fmla="*/ 66675 h 95250"/>
                  <a:gd name="connsiteX180" fmla="*/ 68675 w 66675"/>
                  <a:gd name="connsiteY180" fmla="*/ 65818 h 95250"/>
                  <a:gd name="connsiteX181" fmla="*/ 67818 w 66675"/>
                  <a:gd name="connsiteY181" fmla="*/ 65056 h 95250"/>
                  <a:gd name="connsiteX182" fmla="*/ 67818 w 66675"/>
                  <a:gd name="connsiteY182" fmla="*/ 65056 h 95250"/>
                  <a:gd name="connsiteX183" fmla="*/ 66961 w 66675"/>
                  <a:gd name="connsiteY183" fmla="*/ 64199 h 95250"/>
                  <a:gd name="connsiteX184" fmla="*/ 63437 w 66675"/>
                  <a:gd name="connsiteY184" fmla="*/ 62484 h 95250"/>
                  <a:gd name="connsiteX185" fmla="*/ 62579 w 66675"/>
                  <a:gd name="connsiteY185" fmla="*/ 61722 h 95250"/>
                  <a:gd name="connsiteX186" fmla="*/ 62579 w 66675"/>
                  <a:gd name="connsiteY186" fmla="*/ 60865 h 95250"/>
                  <a:gd name="connsiteX187" fmla="*/ 62579 w 66675"/>
                  <a:gd name="connsiteY187" fmla="*/ 60008 h 95250"/>
                  <a:gd name="connsiteX188" fmla="*/ 62579 w 66675"/>
                  <a:gd name="connsiteY188" fmla="*/ 59150 h 95250"/>
                  <a:gd name="connsiteX189" fmla="*/ 63437 w 66675"/>
                  <a:gd name="connsiteY189" fmla="*/ 59150 h 95250"/>
                  <a:gd name="connsiteX190" fmla="*/ 63437 w 66675"/>
                  <a:gd name="connsiteY190" fmla="*/ 59150 h 95250"/>
                  <a:gd name="connsiteX191" fmla="*/ 66961 w 66675"/>
                  <a:gd name="connsiteY191" fmla="*/ 58388 h 95250"/>
                  <a:gd name="connsiteX192" fmla="*/ 67818 w 66675"/>
                  <a:gd name="connsiteY192" fmla="*/ 57531 h 95250"/>
                  <a:gd name="connsiteX193" fmla="*/ 68675 w 66675"/>
                  <a:gd name="connsiteY193" fmla="*/ 57531 h 95250"/>
                  <a:gd name="connsiteX194" fmla="*/ 69533 w 66675"/>
                  <a:gd name="connsiteY194" fmla="*/ 56674 h 95250"/>
                  <a:gd name="connsiteX195" fmla="*/ 69533 w 66675"/>
                  <a:gd name="connsiteY195" fmla="*/ 55054 h 95250"/>
                  <a:gd name="connsiteX196" fmla="*/ 69533 w 66675"/>
                  <a:gd name="connsiteY196" fmla="*/ 50864 h 95250"/>
                  <a:gd name="connsiteX197" fmla="*/ 69533 w 66675"/>
                  <a:gd name="connsiteY197" fmla="*/ 50864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</a:cxnLst>
                <a:rect l="l" t="t" r="r" b="b"/>
                <a:pathLst>
                  <a:path w="66675" h="95250">
                    <a:moveTo>
                      <a:pt x="69533" y="50864"/>
                    </a:moveTo>
                    <a:lnTo>
                      <a:pt x="69533" y="50006"/>
                    </a:lnTo>
                    <a:lnTo>
                      <a:pt x="68675" y="49149"/>
                    </a:lnTo>
                    <a:lnTo>
                      <a:pt x="68675" y="49149"/>
                    </a:lnTo>
                    <a:lnTo>
                      <a:pt x="65246" y="45815"/>
                    </a:lnTo>
                    <a:lnTo>
                      <a:pt x="64389" y="44196"/>
                    </a:lnTo>
                    <a:lnTo>
                      <a:pt x="64389" y="43339"/>
                    </a:lnTo>
                    <a:lnTo>
                      <a:pt x="64389" y="42482"/>
                    </a:lnTo>
                    <a:lnTo>
                      <a:pt x="64389" y="40862"/>
                    </a:lnTo>
                    <a:lnTo>
                      <a:pt x="64389" y="40862"/>
                    </a:lnTo>
                    <a:lnTo>
                      <a:pt x="64389" y="40005"/>
                    </a:lnTo>
                    <a:lnTo>
                      <a:pt x="64389" y="39148"/>
                    </a:lnTo>
                    <a:lnTo>
                      <a:pt x="63437" y="38386"/>
                    </a:lnTo>
                    <a:lnTo>
                      <a:pt x="62579" y="36671"/>
                    </a:lnTo>
                    <a:lnTo>
                      <a:pt x="61722" y="35052"/>
                    </a:lnTo>
                    <a:lnTo>
                      <a:pt x="62579" y="33338"/>
                    </a:lnTo>
                    <a:lnTo>
                      <a:pt x="64389" y="31718"/>
                    </a:lnTo>
                    <a:lnTo>
                      <a:pt x="64389" y="30004"/>
                    </a:lnTo>
                    <a:lnTo>
                      <a:pt x="64389" y="28385"/>
                    </a:lnTo>
                    <a:lnTo>
                      <a:pt x="63437" y="21717"/>
                    </a:lnTo>
                    <a:lnTo>
                      <a:pt x="62579" y="18288"/>
                    </a:lnTo>
                    <a:lnTo>
                      <a:pt x="61722" y="18288"/>
                    </a:lnTo>
                    <a:lnTo>
                      <a:pt x="60865" y="17526"/>
                    </a:lnTo>
                    <a:lnTo>
                      <a:pt x="57436" y="15812"/>
                    </a:lnTo>
                    <a:lnTo>
                      <a:pt x="55626" y="14954"/>
                    </a:lnTo>
                    <a:lnTo>
                      <a:pt x="54769" y="14192"/>
                    </a:lnTo>
                    <a:lnTo>
                      <a:pt x="54769" y="14954"/>
                    </a:lnTo>
                    <a:lnTo>
                      <a:pt x="53054" y="15812"/>
                    </a:lnTo>
                    <a:lnTo>
                      <a:pt x="52197" y="15812"/>
                    </a:lnTo>
                    <a:lnTo>
                      <a:pt x="51340" y="16669"/>
                    </a:lnTo>
                    <a:lnTo>
                      <a:pt x="49625" y="16669"/>
                    </a:lnTo>
                    <a:lnTo>
                      <a:pt x="48673" y="16669"/>
                    </a:lnTo>
                    <a:lnTo>
                      <a:pt x="46958" y="15812"/>
                    </a:lnTo>
                    <a:lnTo>
                      <a:pt x="42672" y="15812"/>
                    </a:lnTo>
                    <a:lnTo>
                      <a:pt x="35719" y="18288"/>
                    </a:lnTo>
                    <a:lnTo>
                      <a:pt x="33909" y="19145"/>
                    </a:lnTo>
                    <a:lnTo>
                      <a:pt x="33052" y="19145"/>
                    </a:lnTo>
                    <a:lnTo>
                      <a:pt x="31337" y="18288"/>
                    </a:lnTo>
                    <a:lnTo>
                      <a:pt x="28765" y="16669"/>
                    </a:lnTo>
                    <a:lnTo>
                      <a:pt x="27813" y="15812"/>
                    </a:lnTo>
                    <a:lnTo>
                      <a:pt x="26956" y="14192"/>
                    </a:lnTo>
                    <a:lnTo>
                      <a:pt x="25241" y="8287"/>
                    </a:lnTo>
                    <a:lnTo>
                      <a:pt x="25241" y="6668"/>
                    </a:lnTo>
                    <a:lnTo>
                      <a:pt x="24384" y="5810"/>
                    </a:lnTo>
                    <a:lnTo>
                      <a:pt x="23527" y="4953"/>
                    </a:lnTo>
                    <a:lnTo>
                      <a:pt x="20860" y="4953"/>
                    </a:lnTo>
                    <a:lnTo>
                      <a:pt x="19145" y="4191"/>
                    </a:lnTo>
                    <a:lnTo>
                      <a:pt x="18288" y="4191"/>
                    </a:lnTo>
                    <a:lnTo>
                      <a:pt x="17431" y="4191"/>
                    </a:lnTo>
                    <a:lnTo>
                      <a:pt x="17431" y="3334"/>
                    </a:lnTo>
                    <a:lnTo>
                      <a:pt x="17431" y="2477"/>
                    </a:lnTo>
                    <a:lnTo>
                      <a:pt x="16573" y="858"/>
                    </a:lnTo>
                    <a:lnTo>
                      <a:pt x="16573" y="0"/>
                    </a:lnTo>
                    <a:lnTo>
                      <a:pt x="15716" y="0"/>
                    </a:lnTo>
                    <a:lnTo>
                      <a:pt x="14859" y="858"/>
                    </a:lnTo>
                    <a:lnTo>
                      <a:pt x="13906" y="1619"/>
                    </a:lnTo>
                    <a:lnTo>
                      <a:pt x="13049" y="3334"/>
                    </a:lnTo>
                    <a:lnTo>
                      <a:pt x="11335" y="4953"/>
                    </a:lnTo>
                    <a:lnTo>
                      <a:pt x="10477" y="4953"/>
                    </a:lnTo>
                    <a:lnTo>
                      <a:pt x="9620" y="4953"/>
                    </a:lnTo>
                    <a:lnTo>
                      <a:pt x="3524" y="4953"/>
                    </a:lnTo>
                    <a:lnTo>
                      <a:pt x="1810" y="6668"/>
                    </a:lnTo>
                    <a:lnTo>
                      <a:pt x="0" y="7525"/>
                    </a:lnTo>
                    <a:lnTo>
                      <a:pt x="0" y="9144"/>
                    </a:lnTo>
                    <a:lnTo>
                      <a:pt x="0" y="10001"/>
                    </a:lnTo>
                    <a:lnTo>
                      <a:pt x="952" y="13335"/>
                    </a:lnTo>
                    <a:lnTo>
                      <a:pt x="2667" y="15812"/>
                    </a:lnTo>
                    <a:lnTo>
                      <a:pt x="3524" y="17526"/>
                    </a:lnTo>
                    <a:lnTo>
                      <a:pt x="4381" y="18288"/>
                    </a:lnTo>
                    <a:lnTo>
                      <a:pt x="5239" y="17526"/>
                    </a:lnTo>
                    <a:lnTo>
                      <a:pt x="8763" y="14954"/>
                    </a:lnTo>
                    <a:lnTo>
                      <a:pt x="9620" y="14954"/>
                    </a:lnTo>
                    <a:lnTo>
                      <a:pt x="10477" y="14192"/>
                    </a:lnTo>
                    <a:lnTo>
                      <a:pt x="13049" y="13335"/>
                    </a:lnTo>
                    <a:lnTo>
                      <a:pt x="17431" y="13335"/>
                    </a:lnTo>
                    <a:lnTo>
                      <a:pt x="17431" y="14192"/>
                    </a:lnTo>
                    <a:lnTo>
                      <a:pt x="11335" y="15812"/>
                    </a:lnTo>
                    <a:lnTo>
                      <a:pt x="7906" y="16669"/>
                    </a:lnTo>
                    <a:lnTo>
                      <a:pt x="6953" y="18288"/>
                    </a:lnTo>
                    <a:lnTo>
                      <a:pt x="6953" y="19145"/>
                    </a:lnTo>
                    <a:lnTo>
                      <a:pt x="6096" y="20003"/>
                    </a:lnTo>
                    <a:lnTo>
                      <a:pt x="5239" y="20860"/>
                    </a:lnTo>
                    <a:lnTo>
                      <a:pt x="5239" y="22479"/>
                    </a:lnTo>
                    <a:lnTo>
                      <a:pt x="5239" y="24194"/>
                    </a:lnTo>
                    <a:lnTo>
                      <a:pt x="6096" y="25051"/>
                    </a:lnTo>
                    <a:lnTo>
                      <a:pt x="7906" y="27527"/>
                    </a:lnTo>
                    <a:lnTo>
                      <a:pt x="6953" y="30004"/>
                    </a:lnTo>
                    <a:lnTo>
                      <a:pt x="8763" y="31718"/>
                    </a:lnTo>
                    <a:lnTo>
                      <a:pt x="11335" y="32480"/>
                    </a:lnTo>
                    <a:lnTo>
                      <a:pt x="12192" y="31718"/>
                    </a:lnTo>
                    <a:lnTo>
                      <a:pt x="20002" y="27527"/>
                    </a:lnTo>
                    <a:lnTo>
                      <a:pt x="20002" y="28385"/>
                    </a:lnTo>
                    <a:lnTo>
                      <a:pt x="19145" y="29146"/>
                    </a:lnTo>
                    <a:lnTo>
                      <a:pt x="19145" y="29146"/>
                    </a:lnTo>
                    <a:lnTo>
                      <a:pt x="20002" y="30004"/>
                    </a:lnTo>
                    <a:lnTo>
                      <a:pt x="20860" y="30861"/>
                    </a:lnTo>
                    <a:lnTo>
                      <a:pt x="15716" y="31718"/>
                    </a:lnTo>
                    <a:lnTo>
                      <a:pt x="14859" y="31718"/>
                    </a:lnTo>
                    <a:lnTo>
                      <a:pt x="13906" y="33338"/>
                    </a:lnTo>
                    <a:lnTo>
                      <a:pt x="13049" y="35052"/>
                    </a:lnTo>
                    <a:lnTo>
                      <a:pt x="12192" y="35814"/>
                    </a:lnTo>
                    <a:lnTo>
                      <a:pt x="12192" y="37529"/>
                    </a:lnTo>
                    <a:lnTo>
                      <a:pt x="13049" y="37529"/>
                    </a:lnTo>
                    <a:lnTo>
                      <a:pt x="17431" y="37529"/>
                    </a:lnTo>
                    <a:lnTo>
                      <a:pt x="18288" y="37529"/>
                    </a:lnTo>
                    <a:lnTo>
                      <a:pt x="19145" y="38386"/>
                    </a:lnTo>
                    <a:lnTo>
                      <a:pt x="19145" y="39148"/>
                    </a:lnTo>
                    <a:lnTo>
                      <a:pt x="20002" y="39148"/>
                    </a:lnTo>
                    <a:lnTo>
                      <a:pt x="21812" y="39148"/>
                    </a:lnTo>
                    <a:lnTo>
                      <a:pt x="22669" y="39148"/>
                    </a:lnTo>
                    <a:lnTo>
                      <a:pt x="26956" y="40862"/>
                    </a:lnTo>
                    <a:lnTo>
                      <a:pt x="27813" y="41720"/>
                    </a:lnTo>
                    <a:lnTo>
                      <a:pt x="30480" y="45053"/>
                    </a:lnTo>
                    <a:lnTo>
                      <a:pt x="31337" y="45815"/>
                    </a:lnTo>
                    <a:lnTo>
                      <a:pt x="31337" y="45815"/>
                    </a:lnTo>
                    <a:lnTo>
                      <a:pt x="31337" y="46673"/>
                    </a:lnTo>
                    <a:lnTo>
                      <a:pt x="30480" y="46673"/>
                    </a:lnTo>
                    <a:lnTo>
                      <a:pt x="30480" y="46673"/>
                    </a:lnTo>
                    <a:lnTo>
                      <a:pt x="28765" y="44196"/>
                    </a:lnTo>
                    <a:lnTo>
                      <a:pt x="27813" y="43339"/>
                    </a:lnTo>
                    <a:lnTo>
                      <a:pt x="24384" y="41720"/>
                    </a:lnTo>
                    <a:lnTo>
                      <a:pt x="22669" y="43339"/>
                    </a:lnTo>
                    <a:lnTo>
                      <a:pt x="20860" y="42482"/>
                    </a:lnTo>
                    <a:lnTo>
                      <a:pt x="19145" y="41720"/>
                    </a:lnTo>
                    <a:lnTo>
                      <a:pt x="18288" y="42482"/>
                    </a:lnTo>
                    <a:lnTo>
                      <a:pt x="17431" y="42482"/>
                    </a:lnTo>
                    <a:lnTo>
                      <a:pt x="10477" y="41720"/>
                    </a:lnTo>
                    <a:lnTo>
                      <a:pt x="13906" y="45053"/>
                    </a:lnTo>
                    <a:lnTo>
                      <a:pt x="15716" y="46673"/>
                    </a:lnTo>
                    <a:lnTo>
                      <a:pt x="18288" y="47530"/>
                    </a:lnTo>
                    <a:lnTo>
                      <a:pt x="20860" y="47530"/>
                    </a:lnTo>
                    <a:lnTo>
                      <a:pt x="21812" y="48387"/>
                    </a:lnTo>
                    <a:lnTo>
                      <a:pt x="23527" y="49149"/>
                    </a:lnTo>
                    <a:lnTo>
                      <a:pt x="29623" y="70009"/>
                    </a:lnTo>
                    <a:lnTo>
                      <a:pt x="30480" y="69152"/>
                    </a:lnTo>
                    <a:lnTo>
                      <a:pt x="31337" y="70866"/>
                    </a:lnTo>
                    <a:lnTo>
                      <a:pt x="30480" y="71723"/>
                    </a:lnTo>
                    <a:lnTo>
                      <a:pt x="27813" y="73343"/>
                    </a:lnTo>
                    <a:lnTo>
                      <a:pt x="26956" y="74200"/>
                    </a:lnTo>
                    <a:lnTo>
                      <a:pt x="26956" y="75819"/>
                    </a:lnTo>
                    <a:lnTo>
                      <a:pt x="25241" y="79153"/>
                    </a:lnTo>
                    <a:lnTo>
                      <a:pt x="31337" y="80867"/>
                    </a:lnTo>
                    <a:lnTo>
                      <a:pt x="32194" y="81725"/>
                    </a:lnTo>
                    <a:lnTo>
                      <a:pt x="34766" y="86678"/>
                    </a:lnTo>
                    <a:lnTo>
                      <a:pt x="36576" y="87535"/>
                    </a:lnTo>
                    <a:lnTo>
                      <a:pt x="37433" y="87535"/>
                    </a:lnTo>
                    <a:lnTo>
                      <a:pt x="39148" y="88392"/>
                    </a:lnTo>
                    <a:lnTo>
                      <a:pt x="39148" y="90011"/>
                    </a:lnTo>
                    <a:lnTo>
                      <a:pt x="39148" y="93345"/>
                    </a:lnTo>
                    <a:lnTo>
                      <a:pt x="39148" y="95060"/>
                    </a:lnTo>
                    <a:lnTo>
                      <a:pt x="39148" y="96679"/>
                    </a:lnTo>
                    <a:lnTo>
                      <a:pt x="44387" y="99251"/>
                    </a:lnTo>
                    <a:lnTo>
                      <a:pt x="44387" y="100013"/>
                    </a:lnTo>
                    <a:lnTo>
                      <a:pt x="46101" y="100013"/>
                    </a:lnTo>
                    <a:lnTo>
                      <a:pt x="49625" y="98393"/>
                    </a:lnTo>
                    <a:lnTo>
                      <a:pt x="52197" y="96679"/>
                    </a:lnTo>
                    <a:lnTo>
                      <a:pt x="53054" y="95917"/>
                    </a:lnTo>
                    <a:lnTo>
                      <a:pt x="53054" y="95917"/>
                    </a:lnTo>
                    <a:lnTo>
                      <a:pt x="56483" y="95917"/>
                    </a:lnTo>
                    <a:lnTo>
                      <a:pt x="57436" y="95917"/>
                    </a:lnTo>
                    <a:lnTo>
                      <a:pt x="59150" y="95060"/>
                    </a:lnTo>
                    <a:lnTo>
                      <a:pt x="60865" y="94202"/>
                    </a:lnTo>
                    <a:lnTo>
                      <a:pt x="62579" y="92583"/>
                    </a:lnTo>
                    <a:lnTo>
                      <a:pt x="62579" y="92583"/>
                    </a:lnTo>
                    <a:lnTo>
                      <a:pt x="62579" y="91726"/>
                    </a:lnTo>
                    <a:lnTo>
                      <a:pt x="63437" y="90011"/>
                    </a:lnTo>
                    <a:lnTo>
                      <a:pt x="64389" y="87535"/>
                    </a:lnTo>
                    <a:lnTo>
                      <a:pt x="65246" y="85916"/>
                    </a:lnTo>
                    <a:lnTo>
                      <a:pt x="65246" y="85058"/>
                    </a:lnTo>
                    <a:lnTo>
                      <a:pt x="65246" y="84201"/>
                    </a:lnTo>
                    <a:lnTo>
                      <a:pt x="66104" y="83344"/>
                    </a:lnTo>
                    <a:lnTo>
                      <a:pt x="66104" y="82582"/>
                    </a:lnTo>
                    <a:lnTo>
                      <a:pt x="65246" y="78391"/>
                    </a:lnTo>
                    <a:lnTo>
                      <a:pt x="65246" y="77534"/>
                    </a:lnTo>
                    <a:lnTo>
                      <a:pt x="65246" y="76676"/>
                    </a:lnTo>
                    <a:lnTo>
                      <a:pt x="65246" y="75057"/>
                    </a:lnTo>
                    <a:lnTo>
                      <a:pt x="65246" y="74200"/>
                    </a:lnTo>
                    <a:lnTo>
                      <a:pt x="67818" y="69152"/>
                    </a:lnTo>
                    <a:lnTo>
                      <a:pt x="68675" y="67533"/>
                    </a:lnTo>
                    <a:lnTo>
                      <a:pt x="68675" y="66675"/>
                    </a:lnTo>
                    <a:lnTo>
                      <a:pt x="68675" y="65818"/>
                    </a:lnTo>
                    <a:lnTo>
                      <a:pt x="67818" y="65056"/>
                    </a:lnTo>
                    <a:lnTo>
                      <a:pt x="67818" y="65056"/>
                    </a:lnTo>
                    <a:lnTo>
                      <a:pt x="66961" y="64199"/>
                    </a:lnTo>
                    <a:lnTo>
                      <a:pt x="63437" y="62484"/>
                    </a:lnTo>
                    <a:lnTo>
                      <a:pt x="62579" y="61722"/>
                    </a:lnTo>
                    <a:lnTo>
                      <a:pt x="62579" y="60865"/>
                    </a:lnTo>
                    <a:lnTo>
                      <a:pt x="62579" y="60008"/>
                    </a:lnTo>
                    <a:lnTo>
                      <a:pt x="62579" y="59150"/>
                    </a:lnTo>
                    <a:lnTo>
                      <a:pt x="63437" y="59150"/>
                    </a:lnTo>
                    <a:lnTo>
                      <a:pt x="63437" y="59150"/>
                    </a:lnTo>
                    <a:lnTo>
                      <a:pt x="66961" y="58388"/>
                    </a:lnTo>
                    <a:lnTo>
                      <a:pt x="67818" y="57531"/>
                    </a:lnTo>
                    <a:lnTo>
                      <a:pt x="68675" y="57531"/>
                    </a:lnTo>
                    <a:lnTo>
                      <a:pt x="69533" y="56674"/>
                    </a:lnTo>
                    <a:lnTo>
                      <a:pt x="69533" y="55054"/>
                    </a:lnTo>
                    <a:lnTo>
                      <a:pt x="69533" y="50864"/>
                    </a:lnTo>
                    <a:lnTo>
                      <a:pt x="69533" y="50864"/>
                    </a:lnTo>
                    <a:close/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49" name="Freeform: Shape 153">
                <a:extLst>
                  <a:ext uri="{FF2B5EF4-FFF2-40B4-BE49-F238E27FC236}">
                    <a16:creationId xmlns:a16="http://schemas.microsoft.com/office/drawing/2014/main" id="{1BCD9977-06F9-4798-88A5-D314B81AA046}"/>
                  </a:ext>
                </a:extLst>
              </p:cNvPr>
              <p:cNvSpPr/>
              <p:nvPr/>
            </p:nvSpPr>
            <p:spPr>
              <a:xfrm>
                <a:off x="5819870" y="3253168"/>
                <a:ext cx="447675" cy="742950"/>
              </a:xfrm>
              <a:custGeom>
                <a:avLst/>
                <a:gdLst>
                  <a:gd name="connsiteX0" fmla="*/ 451104 w 447675"/>
                  <a:gd name="connsiteY0" fmla="*/ 147257 h 742950"/>
                  <a:gd name="connsiteX1" fmla="*/ 451104 w 447675"/>
                  <a:gd name="connsiteY1" fmla="*/ 145637 h 742950"/>
                  <a:gd name="connsiteX2" fmla="*/ 450247 w 447675"/>
                  <a:gd name="connsiteY2" fmla="*/ 143923 h 742950"/>
                  <a:gd name="connsiteX3" fmla="*/ 449390 w 447675"/>
                  <a:gd name="connsiteY3" fmla="*/ 142208 h 742950"/>
                  <a:gd name="connsiteX4" fmla="*/ 449390 w 447675"/>
                  <a:gd name="connsiteY4" fmla="*/ 139732 h 742950"/>
                  <a:gd name="connsiteX5" fmla="*/ 448532 w 447675"/>
                  <a:gd name="connsiteY5" fmla="*/ 138875 h 742950"/>
                  <a:gd name="connsiteX6" fmla="*/ 447675 w 447675"/>
                  <a:gd name="connsiteY6" fmla="*/ 138017 h 742950"/>
                  <a:gd name="connsiteX7" fmla="*/ 445103 w 447675"/>
                  <a:gd name="connsiteY7" fmla="*/ 136303 h 742950"/>
                  <a:gd name="connsiteX8" fmla="*/ 443484 w 447675"/>
                  <a:gd name="connsiteY8" fmla="*/ 136303 h 742950"/>
                  <a:gd name="connsiteX9" fmla="*/ 442627 w 447675"/>
                  <a:gd name="connsiteY9" fmla="*/ 136303 h 742950"/>
                  <a:gd name="connsiteX10" fmla="*/ 441770 w 447675"/>
                  <a:gd name="connsiteY10" fmla="*/ 136303 h 742950"/>
                  <a:gd name="connsiteX11" fmla="*/ 440912 w 447675"/>
                  <a:gd name="connsiteY11" fmla="*/ 136303 h 742950"/>
                  <a:gd name="connsiteX12" fmla="*/ 440055 w 447675"/>
                  <a:gd name="connsiteY12" fmla="*/ 136303 h 742950"/>
                  <a:gd name="connsiteX13" fmla="*/ 439198 w 447675"/>
                  <a:gd name="connsiteY13" fmla="*/ 137160 h 742950"/>
                  <a:gd name="connsiteX14" fmla="*/ 438341 w 447675"/>
                  <a:gd name="connsiteY14" fmla="*/ 137160 h 742950"/>
                  <a:gd name="connsiteX15" fmla="*/ 437483 w 447675"/>
                  <a:gd name="connsiteY15" fmla="*/ 137160 h 742950"/>
                  <a:gd name="connsiteX16" fmla="*/ 436721 w 447675"/>
                  <a:gd name="connsiteY16" fmla="*/ 137160 h 742950"/>
                  <a:gd name="connsiteX17" fmla="*/ 435007 w 447675"/>
                  <a:gd name="connsiteY17" fmla="*/ 136303 h 742950"/>
                  <a:gd name="connsiteX18" fmla="*/ 434150 w 447675"/>
                  <a:gd name="connsiteY18" fmla="*/ 136303 h 742950"/>
                  <a:gd name="connsiteX19" fmla="*/ 430721 w 447675"/>
                  <a:gd name="connsiteY19" fmla="*/ 133731 h 742950"/>
                  <a:gd name="connsiteX20" fmla="*/ 429101 w 447675"/>
                  <a:gd name="connsiteY20" fmla="*/ 133731 h 742950"/>
                  <a:gd name="connsiteX21" fmla="*/ 429101 w 447675"/>
                  <a:gd name="connsiteY21" fmla="*/ 133731 h 742950"/>
                  <a:gd name="connsiteX22" fmla="*/ 429101 w 447675"/>
                  <a:gd name="connsiteY22" fmla="*/ 134588 h 742950"/>
                  <a:gd name="connsiteX23" fmla="*/ 429101 w 447675"/>
                  <a:gd name="connsiteY23" fmla="*/ 136303 h 742950"/>
                  <a:gd name="connsiteX24" fmla="*/ 429101 w 447675"/>
                  <a:gd name="connsiteY24" fmla="*/ 136303 h 742950"/>
                  <a:gd name="connsiteX25" fmla="*/ 429101 w 447675"/>
                  <a:gd name="connsiteY25" fmla="*/ 136303 h 742950"/>
                  <a:gd name="connsiteX26" fmla="*/ 428244 w 447675"/>
                  <a:gd name="connsiteY26" fmla="*/ 137160 h 742950"/>
                  <a:gd name="connsiteX27" fmla="*/ 428244 w 447675"/>
                  <a:gd name="connsiteY27" fmla="*/ 137160 h 742950"/>
                  <a:gd name="connsiteX28" fmla="*/ 427387 w 447675"/>
                  <a:gd name="connsiteY28" fmla="*/ 138017 h 742950"/>
                  <a:gd name="connsiteX29" fmla="*/ 426530 w 447675"/>
                  <a:gd name="connsiteY29" fmla="*/ 137160 h 742950"/>
                  <a:gd name="connsiteX30" fmla="*/ 425672 w 447675"/>
                  <a:gd name="connsiteY30" fmla="*/ 137160 h 742950"/>
                  <a:gd name="connsiteX31" fmla="*/ 425672 w 447675"/>
                  <a:gd name="connsiteY31" fmla="*/ 136303 h 742950"/>
                  <a:gd name="connsiteX32" fmla="*/ 424815 w 447675"/>
                  <a:gd name="connsiteY32" fmla="*/ 136303 h 742950"/>
                  <a:gd name="connsiteX33" fmla="*/ 424815 w 447675"/>
                  <a:gd name="connsiteY33" fmla="*/ 134588 h 742950"/>
                  <a:gd name="connsiteX34" fmla="*/ 423958 w 447675"/>
                  <a:gd name="connsiteY34" fmla="*/ 132112 h 742950"/>
                  <a:gd name="connsiteX35" fmla="*/ 423100 w 447675"/>
                  <a:gd name="connsiteY35" fmla="*/ 129540 h 742950"/>
                  <a:gd name="connsiteX36" fmla="*/ 423100 w 447675"/>
                  <a:gd name="connsiteY36" fmla="*/ 127826 h 742950"/>
                  <a:gd name="connsiteX37" fmla="*/ 422339 w 447675"/>
                  <a:gd name="connsiteY37" fmla="*/ 126111 h 742950"/>
                  <a:gd name="connsiteX38" fmla="*/ 421481 w 447675"/>
                  <a:gd name="connsiteY38" fmla="*/ 125254 h 742950"/>
                  <a:gd name="connsiteX39" fmla="*/ 417195 w 447675"/>
                  <a:gd name="connsiteY39" fmla="*/ 121920 h 742950"/>
                  <a:gd name="connsiteX40" fmla="*/ 415481 w 447675"/>
                  <a:gd name="connsiteY40" fmla="*/ 118491 h 742950"/>
                  <a:gd name="connsiteX41" fmla="*/ 414719 w 447675"/>
                  <a:gd name="connsiteY41" fmla="*/ 114300 h 742950"/>
                  <a:gd name="connsiteX42" fmla="*/ 416338 w 447675"/>
                  <a:gd name="connsiteY42" fmla="*/ 109252 h 742950"/>
                  <a:gd name="connsiteX43" fmla="*/ 417195 w 447675"/>
                  <a:gd name="connsiteY43" fmla="*/ 99917 h 742950"/>
                  <a:gd name="connsiteX44" fmla="*/ 415481 w 447675"/>
                  <a:gd name="connsiteY44" fmla="*/ 94012 h 742950"/>
                  <a:gd name="connsiteX45" fmla="*/ 414719 w 447675"/>
                  <a:gd name="connsiteY45" fmla="*/ 92297 h 742950"/>
                  <a:gd name="connsiteX46" fmla="*/ 414719 w 447675"/>
                  <a:gd name="connsiteY46" fmla="*/ 90583 h 742950"/>
                  <a:gd name="connsiteX47" fmla="*/ 413004 w 447675"/>
                  <a:gd name="connsiteY47" fmla="*/ 89726 h 742950"/>
                  <a:gd name="connsiteX48" fmla="*/ 412147 w 447675"/>
                  <a:gd name="connsiteY48" fmla="*/ 89726 h 742950"/>
                  <a:gd name="connsiteX49" fmla="*/ 412147 w 447675"/>
                  <a:gd name="connsiteY49" fmla="*/ 90583 h 742950"/>
                  <a:gd name="connsiteX50" fmla="*/ 408718 w 447675"/>
                  <a:gd name="connsiteY50" fmla="*/ 93155 h 742950"/>
                  <a:gd name="connsiteX51" fmla="*/ 407861 w 447675"/>
                  <a:gd name="connsiteY51" fmla="*/ 93155 h 742950"/>
                  <a:gd name="connsiteX52" fmla="*/ 407861 w 447675"/>
                  <a:gd name="connsiteY52" fmla="*/ 93155 h 742950"/>
                  <a:gd name="connsiteX53" fmla="*/ 407099 w 447675"/>
                  <a:gd name="connsiteY53" fmla="*/ 93155 h 742950"/>
                  <a:gd name="connsiteX54" fmla="*/ 407099 w 447675"/>
                  <a:gd name="connsiteY54" fmla="*/ 92297 h 742950"/>
                  <a:gd name="connsiteX55" fmla="*/ 406241 w 447675"/>
                  <a:gd name="connsiteY55" fmla="*/ 90583 h 742950"/>
                  <a:gd name="connsiteX56" fmla="*/ 406241 w 447675"/>
                  <a:gd name="connsiteY56" fmla="*/ 88868 h 742950"/>
                  <a:gd name="connsiteX57" fmla="*/ 406241 w 447675"/>
                  <a:gd name="connsiteY57" fmla="*/ 88011 h 742950"/>
                  <a:gd name="connsiteX58" fmla="*/ 407099 w 447675"/>
                  <a:gd name="connsiteY58" fmla="*/ 84677 h 742950"/>
                  <a:gd name="connsiteX59" fmla="*/ 407099 w 447675"/>
                  <a:gd name="connsiteY59" fmla="*/ 83820 h 742950"/>
                  <a:gd name="connsiteX60" fmla="*/ 407099 w 447675"/>
                  <a:gd name="connsiteY60" fmla="*/ 82106 h 742950"/>
                  <a:gd name="connsiteX61" fmla="*/ 407099 w 447675"/>
                  <a:gd name="connsiteY61" fmla="*/ 81248 h 742950"/>
                  <a:gd name="connsiteX62" fmla="*/ 407099 w 447675"/>
                  <a:gd name="connsiteY62" fmla="*/ 80391 h 742950"/>
                  <a:gd name="connsiteX63" fmla="*/ 407099 w 447675"/>
                  <a:gd name="connsiteY63" fmla="*/ 79629 h 742950"/>
                  <a:gd name="connsiteX64" fmla="*/ 407861 w 447675"/>
                  <a:gd name="connsiteY64" fmla="*/ 78772 h 742950"/>
                  <a:gd name="connsiteX65" fmla="*/ 407861 w 447675"/>
                  <a:gd name="connsiteY65" fmla="*/ 77915 h 742950"/>
                  <a:gd name="connsiteX66" fmla="*/ 412147 w 447675"/>
                  <a:gd name="connsiteY66" fmla="*/ 74486 h 742950"/>
                  <a:gd name="connsiteX67" fmla="*/ 413004 w 447675"/>
                  <a:gd name="connsiteY67" fmla="*/ 72866 h 742950"/>
                  <a:gd name="connsiteX68" fmla="*/ 413861 w 447675"/>
                  <a:gd name="connsiteY68" fmla="*/ 71152 h 742950"/>
                  <a:gd name="connsiteX69" fmla="*/ 413861 w 447675"/>
                  <a:gd name="connsiteY69" fmla="*/ 70295 h 742950"/>
                  <a:gd name="connsiteX70" fmla="*/ 414719 w 447675"/>
                  <a:gd name="connsiteY70" fmla="*/ 69437 h 742950"/>
                  <a:gd name="connsiteX71" fmla="*/ 413861 w 447675"/>
                  <a:gd name="connsiteY71" fmla="*/ 68580 h 742950"/>
                  <a:gd name="connsiteX72" fmla="*/ 412147 w 447675"/>
                  <a:gd name="connsiteY72" fmla="*/ 65246 h 742950"/>
                  <a:gd name="connsiteX73" fmla="*/ 412147 w 447675"/>
                  <a:gd name="connsiteY73" fmla="*/ 63532 h 742950"/>
                  <a:gd name="connsiteX74" fmla="*/ 412147 w 447675"/>
                  <a:gd name="connsiteY74" fmla="*/ 61817 h 742950"/>
                  <a:gd name="connsiteX75" fmla="*/ 411290 w 447675"/>
                  <a:gd name="connsiteY75" fmla="*/ 60960 h 742950"/>
                  <a:gd name="connsiteX76" fmla="*/ 411290 w 447675"/>
                  <a:gd name="connsiteY76" fmla="*/ 60103 h 742950"/>
                  <a:gd name="connsiteX77" fmla="*/ 410432 w 447675"/>
                  <a:gd name="connsiteY77" fmla="*/ 59246 h 742950"/>
                  <a:gd name="connsiteX78" fmla="*/ 409575 w 447675"/>
                  <a:gd name="connsiteY78" fmla="*/ 59246 h 742950"/>
                  <a:gd name="connsiteX79" fmla="*/ 408718 w 447675"/>
                  <a:gd name="connsiteY79" fmla="*/ 60103 h 742950"/>
                  <a:gd name="connsiteX80" fmla="*/ 407099 w 447675"/>
                  <a:gd name="connsiteY80" fmla="*/ 60960 h 742950"/>
                  <a:gd name="connsiteX81" fmla="*/ 406241 w 447675"/>
                  <a:gd name="connsiteY81" fmla="*/ 60960 h 742950"/>
                  <a:gd name="connsiteX82" fmla="*/ 405384 w 447675"/>
                  <a:gd name="connsiteY82" fmla="*/ 60960 h 742950"/>
                  <a:gd name="connsiteX83" fmla="*/ 404527 w 447675"/>
                  <a:gd name="connsiteY83" fmla="*/ 61817 h 742950"/>
                  <a:gd name="connsiteX84" fmla="*/ 404527 w 447675"/>
                  <a:gd name="connsiteY84" fmla="*/ 61817 h 742950"/>
                  <a:gd name="connsiteX85" fmla="*/ 403670 w 447675"/>
                  <a:gd name="connsiteY85" fmla="*/ 62675 h 742950"/>
                  <a:gd name="connsiteX86" fmla="*/ 403670 w 447675"/>
                  <a:gd name="connsiteY86" fmla="*/ 62675 h 742950"/>
                  <a:gd name="connsiteX87" fmla="*/ 403670 w 447675"/>
                  <a:gd name="connsiteY87" fmla="*/ 63532 h 742950"/>
                  <a:gd name="connsiteX88" fmla="*/ 403670 w 447675"/>
                  <a:gd name="connsiteY88" fmla="*/ 65246 h 742950"/>
                  <a:gd name="connsiteX89" fmla="*/ 403670 w 447675"/>
                  <a:gd name="connsiteY89" fmla="*/ 67723 h 742950"/>
                  <a:gd name="connsiteX90" fmla="*/ 403670 w 447675"/>
                  <a:gd name="connsiteY90" fmla="*/ 68580 h 742950"/>
                  <a:gd name="connsiteX91" fmla="*/ 403670 w 447675"/>
                  <a:gd name="connsiteY91" fmla="*/ 68580 h 742950"/>
                  <a:gd name="connsiteX92" fmla="*/ 403670 w 447675"/>
                  <a:gd name="connsiteY92" fmla="*/ 68580 h 742950"/>
                  <a:gd name="connsiteX93" fmla="*/ 402812 w 447675"/>
                  <a:gd name="connsiteY93" fmla="*/ 68580 h 742950"/>
                  <a:gd name="connsiteX94" fmla="*/ 401955 w 447675"/>
                  <a:gd name="connsiteY94" fmla="*/ 68580 h 742950"/>
                  <a:gd name="connsiteX95" fmla="*/ 395192 w 447675"/>
                  <a:gd name="connsiteY95" fmla="*/ 66008 h 742950"/>
                  <a:gd name="connsiteX96" fmla="*/ 394335 w 447675"/>
                  <a:gd name="connsiteY96" fmla="*/ 66008 h 742950"/>
                  <a:gd name="connsiteX97" fmla="*/ 393478 w 447675"/>
                  <a:gd name="connsiteY97" fmla="*/ 66008 h 742950"/>
                  <a:gd name="connsiteX98" fmla="*/ 392716 w 447675"/>
                  <a:gd name="connsiteY98" fmla="*/ 66008 h 742950"/>
                  <a:gd name="connsiteX99" fmla="*/ 390144 w 447675"/>
                  <a:gd name="connsiteY99" fmla="*/ 66008 h 742950"/>
                  <a:gd name="connsiteX100" fmla="*/ 389287 w 447675"/>
                  <a:gd name="connsiteY100" fmla="*/ 66008 h 742950"/>
                  <a:gd name="connsiteX101" fmla="*/ 388430 w 447675"/>
                  <a:gd name="connsiteY101" fmla="*/ 66008 h 742950"/>
                  <a:gd name="connsiteX102" fmla="*/ 387572 w 447675"/>
                  <a:gd name="connsiteY102" fmla="*/ 66008 h 742950"/>
                  <a:gd name="connsiteX103" fmla="*/ 385858 w 447675"/>
                  <a:gd name="connsiteY103" fmla="*/ 65246 h 742950"/>
                  <a:gd name="connsiteX104" fmla="*/ 385096 w 447675"/>
                  <a:gd name="connsiteY104" fmla="*/ 64389 h 742950"/>
                  <a:gd name="connsiteX105" fmla="*/ 384239 w 447675"/>
                  <a:gd name="connsiteY105" fmla="*/ 61817 h 742950"/>
                  <a:gd name="connsiteX106" fmla="*/ 383381 w 447675"/>
                  <a:gd name="connsiteY106" fmla="*/ 58388 h 742950"/>
                  <a:gd name="connsiteX107" fmla="*/ 381667 w 447675"/>
                  <a:gd name="connsiteY107" fmla="*/ 55912 h 742950"/>
                  <a:gd name="connsiteX108" fmla="*/ 381667 w 447675"/>
                  <a:gd name="connsiteY108" fmla="*/ 54197 h 742950"/>
                  <a:gd name="connsiteX109" fmla="*/ 381667 w 447675"/>
                  <a:gd name="connsiteY109" fmla="*/ 53340 h 742950"/>
                  <a:gd name="connsiteX110" fmla="*/ 381667 w 447675"/>
                  <a:gd name="connsiteY110" fmla="*/ 52483 h 742950"/>
                  <a:gd name="connsiteX111" fmla="*/ 383381 w 447675"/>
                  <a:gd name="connsiteY111" fmla="*/ 49149 h 742950"/>
                  <a:gd name="connsiteX112" fmla="*/ 383381 w 447675"/>
                  <a:gd name="connsiteY112" fmla="*/ 48292 h 742950"/>
                  <a:gd name="connsiteX113" fmla="*/ 383381 w 447675"/>
                  <a:gd name="connsiteY113" fmla="*/ 46577 h 742950"/>
                  <a:gd name="connsiteX114" fmla="*/ 382524 w 447675"/>
                  <a:gd name="connsiteY114" fmla="*/ 45720 h 742950"/>
                  <a:gd name="connsiteX115" fmla="*/ 380810 w 447675"/>
                  <a:gd name="connsiteY115" fmla="*/ 40672 h 742950"/>
                  <a:gd name="connsiteX116" fmla="*/ 379095 w 447675"/>
                  <a:gd name="connsiteY116" fmla="*/ 38100 h 742950"/>
                  <a:gd name="connsiteX117" fmla="*/ 363855 w 447675"/>
                  <a:gd name="connsiteY117" fmla="*/ 24575 h 742950"/>
                  <a:gd name="connsiteX118" fmla="*/ 362236 w 447675"/>
                  <a:gd name="connsiteY118" fmla="*/ 22003 h 742950"/>
                  <a:gd name="connsiteX119" fmla="*/ 361379 w 447675"/>
                  <a:gd name="connsiteY119" fmla="*/ 20383 h 742950"/>
                  <a:gd name="connsiteX120" fmla="*/ 360521 w 447675"/>
                  <a:gd name="connsiteY120" fmla="*/ 18669 h 742950"/>
                  <a:gd name="connsiteX121" fmla="*/ 360521 w 447675"/>
                  <a:gd name="connsiteY121" fmla="*/ 16955 h 742950"/>
                  <a:gd name="connsiteX122" fmla="*/ 359664 w 447675"/>
                  <a:gd name="connsiteY122" fmla="*/ 15240 h 742950"/>
                  <a:gd name="connsiteX123" fmla="*/ 360521 w 447675"/>
                  <a:gd name="connsiteY123" fmla="*/ 10192 h 742950"/>
                  <a:gd name="connsiteX124" fmla="*/ 359664 w 447675"/>
                  <a:gd name="connsiteY124" fmla="*/ 8477 h 742950"/>
                  <a:gd name="connsiteX125" fmla="*/ 359664 w 447675"/>
                  <a:gd name="connsiteY125" fmla="*/ 7620 h 742950"/>
                  <a:gd name="connsiteX126" fmla="*/ 358807 w 447675"/>
                  <a:gd name="connsiteY126" fmla="*/ 6763 h 742950"/>
                  <a:gd name="connsiteX127" fmla="*/ 354616 w 447675"/>
                  <a:gd name="connsiteY127" fmla="*/ 4286 h 742950"/>
                  <a:gd name="connsiteX128" fmla="*/ 352901 w 447675"/>
                  <a:gd name="connsiteY128" fmla="*/ 2572 h 742950"/>
                  <a:gd name="connsiteX129" fmla="*/ 352044 w 447675"/>
                  <a:gd name="connsiteY129" fmla="*/ 2572 h 742950"/>
                  <a:gd name="connsiteX130" fmla="*/ 351187 w 447675"/>
                  <a:gd name="connsiteY130" fmla="*/ 1715 h 742950"/>
                  <a:gd name="connsiteX131" fmla="*/ 345281 w 447675"/>
                  <a:gd name="connsiteY131" fmla="*/ 1715 h 742950"/>
                  <a:gd name="connsiteX132" fmla="*/ 339376 w 447675"/>
                  <a:gd name="connsiteY132" fmla="*/ 0 h 742950"/>
                  <a:gd name="connsiteX133" fmla="*/ 338519 w 447675"/>
                  <a:gd name="connsiteY133" fmla="*/ 1715 h 742950"/>
                  <a:gd name="connsiteX134" fmla="*/ 336804 w 447675"/>
                  <a:gd name="connsiteY134" fmla="*/ 6001 h 742950"/>
                  <a:gd name="connsiteX135" fmla="*/ 336804 w 447675"/>
                  <a:gd name="connsiteY135" fmla="*/ 6763 h 742950"/>
                  <a:gd name="connsiteX136" fmla="*/ 335947 w 447675"/>
                  <a:gd name="connsiteY136" fmla="*/ 7620 h 742950"/>
                  <a:gd name="connsiteX137" fmla="*/ 331756 w 447675"/>
                  <a:gd name="connsiteY137" fmla="*/ 9335 h 742950"/>
                  <a:gd name="connsiteX138" fmla="*/ 330899 w 447675"/>
                  <a:gd name="connsiteY138" fmla="*/ 11049 h 742950"/>
                  <a:gd name="connsiteX139" fmla="*/ 330899 w 447675"/>
                  <a:gd name="connsiteY139" fmla="*/ 12764 h 742950"/>
                  <a:gd name="connsiteX140" fmla="*/ 330041 w 447675"/>
                  <a:gd name="connsiteY140" fmla="*/ 16097 h 742950"/>
                  <a:gd name="connsiteX141" fmla="*/ 330041 w 447675"/>
                  <a:gd name="connsiteY141" fmla="*/ 16955 h 742950"/>
                  <a:gd name="connsiteX142" fmla="*/ 330041 w 447675"/>
                  <a:gd name="connsiteY142" fmla="*/ 16955 h 742950"/>
                  <a:gd name="connsiteX143" fmla="*/ 327470 w 447675"/>
                  <a:gd name="connsiteY143" fmla="*/ 21146 h 742950"/>
                  <a:gd name="connsiteX144" fmla="*/ 326708 w 447675"/>
                  <a:gd name="connsiteY144" fmla="*/ 22003 h 742950"/>
                  <a:gd name="connsiteX145" fmla="*/ 325850 w 447675"/>
                  <a:gd name="connsiteY145" fmla="*/ 22860 h 742950"/>
                  <a:gd name="connsiteX146" fmla="*/ 324993 w 447675"/>
                  <a:gd name="connsiteY146" fmla="*/ 23717 h 742950"/>
                  <a:gd name="connsiteX147" fmla="*/ 322421 w 447675"/>
                  <a:gd name="connsiteY147" fmla="*/ 24575 h 742950"/>
                  <a:gd name="connsiteX148" fmla="*/ 319850 w 447675"/>
                  <a:gd name="connsiteY148" fmla="*/ 25432 h 742950"/>
                  <a:gd name="connsiteX149" fmla="*/ 318230 w 447675"/>
                  <a:gd name="connsiteY149" fmla="*/ 25432 h 742950"/>
                  <a:gd name="connsiteX150" fmla="*/ 314801 w 447675"/>
                  <a:gd name="connsiteY150" fmla="*/ 27146 h 742950"/>
                  <a:gd name="connsiteX151" fmla="*/ 313944 w 447675"/>
                  <a:gd name="connsiteY151" fmla="*/ 27146 h 742950"/>
                  <a:gd name="connsiteX152" fmla="*/ 312230 w 447675"/>
                  <a:gd name="connsiteY152" fmla="*/ 27146 h 742950"/>
                  <a:gd name="connsiteX153" fmla="*/ 307181 w 447675"/>
                  <a:gd name="connsiteY153" fmla="*/ 26289 h 742950"/>
                  <a:gd name="connsiteX154" fmla="*/ 302990 w 447675"/>
                  <a:gd name="connsiteY154" fmla="*/ 26289 h 742950"/>
                  <a:gd name="connsiteX155" fmla="*/ 299561 w 447675"/>
                  <a:gd name="connsiteY155" fmla="*/ 27146 h 742950"/>
                  <a:gd name="connsiteX156" fmla="*/ 298704 w 447675"/>
                  <a:gd name="connsiteY156" fmla="*/ 27146 h 742950"/>
                  <a:gd name="connsiteX157" fmla="*/ 295370 w 447675"/>
                  <a:gd name="connsiteY157" fmla="*/ 26289 h 742950"/>
                  <a:gd name="connsiteX158" fmla="*/ 292799 w 447675"/>
                  <a:gd name="connsiteY158" fmla="*/ 25432 h 742950"/>
                  <a:gd name="connsiteX159" fmla="*/ 290227 w 447675"/>
                  <a:gd name="connsiteY159" fmla="*/ 23717 h 742950"/>
                  <a:gd name="connsiteX160" fmla="*/ 284321 w 447675"/>
                  <a:gd name="connsiteY160" fmla="*/ 17812 h 742950"/>
                  <a:gd name="connsiteX161" fmla="*/ 280130 w 447675"/>
                  <a:gd name="connsiteY161" fmla="*/ 16955 h 742950"/>
                  <a:gd name="connsiteX162" fmla="*/ 279273 w 447675"/>
                  <a:gd name="connsiteY162" fmla="*/ 19526 h 742950"/>
                  <a:gd name="connsiteX163" fmla="*/ 279273 w 447675"/>
                  <a:gd name="connsiteY163" fmla="*/ 19526 h 742950"/>
                  <a:gd name="connsiteX164" fmla="*/ 278416 w 447675"/>
                  <a:gd name="connsiteY164" fmla="*/ 21146 h 742950"/>
                  <a:gd name="connsiteX165" fmla="*/ 278416 w 447675"/>
                  <a:gd name="connsiteY165" fmla="*/ 22860 h 742950"/>
                  <a:gd name="connsiteX166" fmla="*/ 278416 w 447675"/>
                  <a:gd name="connsiteY166" fmla="*/ 23717 h 742950"/>
                  <a:gd name="connsiteX167" fmla="*/ 276701 w 447675"/>
                  <a:gd name="connsiteY167" fmla="*/ 25432 h 742950"/>
                  <a:gd name="connsiteX168" fmla="*/ 273368 w 447675"/>
                  <a:gd name="connsiteY168" fmla="*/ 27146 h 742950"/>
                  <a:gd name="connsiteX169" fmla="*/ 271653 w 447675"/>
                  <a:gd name="connsiteY169" fmla="*/ 28004 h 742950"/>
                  <a:gd name="connsiteX170" fmla="*/ 268224 w 447675"/>
                  <a:gd name="connsiteY170" fmla="*/ 28004 h 742950"/>
                  <a:gd name="connsiteX171" fmla="*/ 265748 w 447675"/>
                  <a:gd name="connsiteY171" fmla="*/ 28766 h 742950"/>
                  <a:gd name="connsiteX172" fmla="*/ 264890 w 447675"/>
                  <a:gd name="connsiteY172" fmla="*/ 30480 h 742950"/>
                  <a:gd name="connsiteX173" fmla="*/ 264033 w 447675"/>
                  <a:gd name="connsiteY173" fmla="*/ 32195 h 742950"/>
                  <a:gd name="connsiteX174" fmla="*/ 264033 w 447675"/>
                  <a:gd name="connsiteY174" fmla="*/ 33909 h 742950"/>
                  <a:gd name="connsiteX175" fmla="*/ 264033 w 447675"/>
                  <a:gd name="connsiteY175" fmla="*/ 35624 h 742950"/>
                  <a:gd name="connsiteX176" fmla="*/ 263176 w 447675"/>
                  <a:gd name="connsiteY176" fmla="*/ 36386 h 742950"/>
                  <a:gd name="connsiteX177" fmla="*/ 259842 w 447675"/>
                  <a:gd name="connsiteY177" fmla="*/ 38100 h 742950"/>
                  <a:gd name="connsiteX178" fmla="*/ 254699 w 447675"/>
                  <a:gd name="connsiteY178" fmla="*/ 39815 h 742950"/>
                  <a:gd name="connsiteX179" fmla="*/ 253079 w 447675"/>
                  <a:gd name="connsiteY179" fmla="*/ 41529 h 742950"/>
                  <a:gd name="connsiteX180" fmla="*/ 252222 w 447675"/>
                  <a:gd name="connsiteY180" fmla="*/ 42386 h 742950"/>
                  <a:gd name="connsiteX181" fmla="*/ 250508 w 447675"/>
                  <a:gd name="connsiteY181" fmla="*/ 43244 h 742950"/>
                  <a:gd name="connsiteX182" fmla="*/ 247079 w 447675"/>
                  <a:gd name="connsiteY182" fmla="*/ 44006 h 742950"/>
                  <a:gd name="connsiteX183" fmla="*/ 237839 w 447675"/>
                  <a:gd name="connsiteY183" fmla="*/ 42386 h 742950"/>
                  <a:gd name="connsiteX184" fmla="*/ 220885 w 447675"/>
                  <a:gd name="connsiteY184" fmla="*/ 42386 h 742950"/>
                  <a:gd name="connsiteX185" fmla="*/ 219170 w 447675"/>
                  <a:gd name="connsiteY185" fmla="*/ 42386 h 742950"/>
                  <a:gd name="connsiteX186" fmla="*/ 214122 w 447675"/>
                  <a:gd name="connsiteY186" fmla="*/ 40672 h 742950"/>
                  <a:gd name="connsiteX187" fmla="*/ 203930 w 447675"/>
                  <a:gd name="connsiteY187" fmla="*/ 40672 h 742950"/>
                  <a:gd name="connsiteX188" fmla="*/ 200597 w 447675"/>
                  <a:gd name="connsiteY188" fmla="*/ 40672 h 742950"/>
                  <a:gd name="connsiteX189" fmla="*/ 195453 w 447675"/>
                  <a:gd name="connsiteY189" fmla="*/ 37243 h 742950"/>
                  <a:gd name="connsiteX190" fmla="*/ 192977 w 447675"/>
                  <a:gd name="connsiteY190" fmla="*/ 36386 h 742950"/>
                  <a:gd name="connsiteX191" fmla="*/ 185357 w 447675"/>
                  <a:gd name="connsiteY191" fmla="*/ 35624 h 742950"/>
                  <a:gd name="connsiteX192" fmla="*/ 181928 w 447675"/>
                  <a:gd name="connsiteY192" fmla="*/ 37243 h 742950"/>
                  <a:gd name="connsiteX193" fmla="*/ 176879 w 447675"/>
                  <a:gd name="connsiteY193" fmla="*/ 39815 h 742950"/>
                  <a:gd name="connsiteX194" fmla="*/ 174308 w 447675"/>
                  <a:gd name="connsiteY194" fmla="*/ 41529 h 742950"/>
                  <a:gd name="connsiteX195" fmla="*/ 170974 w 447675"/>
                  <a:gd name="connsiteY195" fmla="*/ 41529 h 742950"/>
                  <a:gd name="connsiteX196" fmla="*/ 167545 w 447675"/>
                  <a:gd name="connsiteY196" fmla="*/ 40672 h 742950"/>
                  <a:gd name="connsiteX197" fmla="*/ 164211 w 447675"/>
                  <a:gd name="connsiteY197" fmla="*/ 38100 h 742950"/>
                  <a:gd name="connsiteX198" fmla="*/ 159068 w 447675"/>
                  <a:gd name="connsiteY198" fmla="*/ 32195 h 742950"/>
                  <a:gd name="connsiteX199" fmla="*/ 157448 w 447675"/>
                  <a:gd name="connsiteY199" fmla="*/ 30480 h 742950"/>
                  <a:gd name="connsiteX200" fmla="*/ 152305 w 447675"/>
                  <a:gd name="connsiteY200" fmla="*/ 30480 h 742950"/>
                  <a:gd name="connsiteX201" fmla="*/ 149828 w 447675"/>
                  <a:gd name="connsiteY201" fmla="*/ 33052 h 742950"/>
                  <a:gd name="connsiteX202" fmla="*/ 151448 w 447675"/>
                  <a:gd name="connsiteY202" fmla="*/ 33909 h 742950"/>
                  <a:gd name="connsiteX203" fmla="*/ 151448 w 447675"/>
                  <a:gd name="connsiteY203" fmla="*/ 35624 h 742950"/>
                  <a:gd name="connsiteX204" fmla="*/ 150590 w 447675"/>
                  <a:gd name="connsiteY204" fmla="*/ 36386 h 742950"/>
                  <a:gd name="connsiteX205" fmla="*/ 150590 w 447675"/>
                  <a:gd name="connsiteY205" fmla="*/ 38100 h 742950"/>
                  <a:gd name="connsiteX206" fmla="*/ 152305 w 447675"/>
                  <a:gd name="connsiteY206" fmla="*/ 39815 h 742950"/>
                  <a:gd name="connsiteX207" fmla="*/ 154877 w 447675"/>
                  <a:gd name="connsiteY207" fmla="*/ 47435 h 742950"/>
                  <a:gd name="connsiteX208" fmla="*/ 156591 w 447675"/>
                  <a:gd name="connsiteY208" fmla="*/ 50006 h 742950"/>
                  <a:gd name="connsiteX209" fmla="*/ 157448 w 447675"/>
                  <a:gd name="connsiteY209" fmla="*/ 51626 h 742950"/>
                  <a:gd name="connsiteX210" fmla="*/ 157448 w 447675"/>
                  <a:gd name="connsiteY210" fmla="*/ 54197 h 742950"/>
                  <a:gd name="connsiteX211" fmla="*/ 156591 w 447675"/>
                  <a:gd name="connsiteY211" fmla="*/ 55055 h 742950"/>
                  <a:gd name="connsiteX212" fmla="*/ 155734 w 447675"/>
                  <a:gd name="connsiteY212" fmla="*/ 56769 h 742950"/>
                  <a:gd name="connsiteX213" fmla="*/ 154019 w 447675"/>
                  <a:gd name="connsiteY213" fmla="*/ 59246 h 742950"/>
                  <a:gd name="connsiteX214" fmla="*/ 153162 w 447675"/>
                  <a:gd name="connsiteY214" fmla="*/ 59246 h 742950"/>
                  <a:gd name="connsiteX215" fmla="*/ 150590 w 447675"/>
                  <a:gd name="connsiteY215" fmla="*/ 60103 h 742950"/>
                  <a:gd name="connsiteX216" fmla="*/ 149828 w 447675"/>
                  <a:gd name="connsiteY216" fmla="*/ 61817 h 742950"/>
                  <a:gd name="connsiteX217" fmla="*/ 149828 w 447675"/>
                  <a:gd name="connsiteY217" fmla="*/ 66008 h 742950"/>
                  <a:gd name="connsiteX218" fmla="*/ 148971 w 447675"/>
                  <a:gd name="connsiteY218" fmla="*/ 66866 h 742950"/>
                  <a:gd name="connsiteX219" fmla="*/ 148114 w 447675"/>
                  <a:gd name="connsiteY219" fmla="*/ 67723 h 742950"/>
                  <a:gd name="connsiteX220" fmla="*/ 147257 w 447675"/>
                  <a:gd name="connsiteY220" fmla="*/ 68580 h 742950"/>
                  <a:gd name="connsiteX221" fmla="*/ 147257 w 447675"/>
                  <a:gd name="connsiteY221" fmla="*/ 69437 h 742950"/>
                  <a:gd name="connsiteX222" fmla="*/ 147257 w 447675"/>
                  <a:gd name="connsiteY222" fmla="*/ 70295 h 742950"/>
                  <a:gd name="connsiteX223" fmla="*/ 148114 w 447675"/>
                  <a:gd name="connsiteY223" fmla="*/ 72866 h 742950"/>
                  <a:gd name="connsiteX224" fmla="*/ 149828 w 447675"/>
                  <a:gd name="connsiteY224" fmla="*/ 74486 h 742950"/>
                  <a:gd name="connsiteX225" fmla="*/ 149828 w 447675"/>
                  <a:gd name="connsiteY225" fmla="*/ 77057 h 742950"/>
                  <a:gd name="connsiteX226" fmla="*/ 150590 w 447675"/>
                  <a:gd name="connsiteY226" fmla="*/ 77915 h 742950"/>
                  <a:gd name="connsiteX227" fmla="*/ 153162 w 447675"/>
                  <a:gd name="connsiteY227" fmla="*/ 78772 h 742950"/>
                  <a:gd name="connsiteX228" fmla="*/ 154019 w 447675"/>
                  <a:gd name="connsiteY228" fmla="*/ 77915 h 742950"/>
                  <a:gd name="connsiteX229" fmla="*/ 157448 w 447675"/>
                  <a:gd name="connsiteY229" fmla="*/ 76200 h 742950"/>
                  <a:gd name="connsiteX230" fmla="*/ 160782 w 447675"/>
                  <a:gd name="connsiteY230" fmla="*/ 74486 h 742950"/>
                  <a:gd name="connsiteX231" fmla="*/ 162497 w 447675"/>
                  <a:gd name="connsiteY231" fmla="*/ 72866 h 742950"/>
                  <a:gd name="connsiteX232" fmla="*/ 164211 w 447675"/>
                  <a:gd name="connsiteY232" fmla="*/ 72009 h 742950"/>
                  <a:gd name="connsiteX233" fmla="*/ 165830 w 447675"/>
                  <a:gd name="connsiteY233" fmla="*/ 72009 h 742950"/>
                  <a:gd name="connsiteX234" fmla="*/ 167545 w 447675"/>
                  <a:gd name="connsiteY234" fmla="*/ 72009 h 742950"/>
                  <a:gd name="connsiteX235" fmla="*/ 170117 w 447675"/>
                  <a:gd name="connsiteY235" fmla="*/ 72866 h 742950"/>
                  <a:gd name="connsiteX236" fmla="*/ 176879 w 447675"/>
                  <a:gd name="connsiteY236" fmla="*/ 76200 h 742950"/>
                  <a:gd name="connsiteX237" fmla="*/ 181928 w 447675"/>
                  <a:gd name="connsiteY237" fmla="*/ 76200 h 742950"/>
                  <a:gd name="connsiteX238" fmla="*/ 183642 w 447675"/>
                  <a:gd name="connsiteY238" fmla="*/ 77057 h 742950"/>
                  <a:gd name="connsiteX239" fmla="*/ 187071 w 447675"/>
                  <a:gd name="connsiteY239" fmla="*/ 80391 h 742950"/>
                  <a:gd name="connsiteX240" fmla="*/ 189548 w 447675"/>
                  <a:gd name="connsiteY240" fmla="*/ 86392 h 742950"/>
                  <a:gd name="connsiteX241" fmla="*/ 191262 w 447675"/>
                  <a:gd name="connsiteY241" fmla="*/ 88868 h 742950"/>
                  <a:gd name="connsiteX242" fmla="*/ 192977 w 447675"/>
                  <a:gd name="connsiteY242" fmla="*/ 89726 h 742950"/>
                  <a:gd name="connsiteX243" fmla="*/ 193834 w 447675"/>
                  <a:gd name="connsiteY243" fmla="*/ 89726 h 742950"/>
                  <a:gd name="connsiteX244" fmla="*/ 194596 w 447675"/>
                  <a:gd name="connsiteY244" fmla="*/ 89726 h 742950"/>
                  <a:gd name="connsiteX245" fmla="*/ 195453 w 447675"/>
                  <a:gd name="connsiteY245" fmla="*/ 91440 h 742950"/>
                  <a:gd name="connsiteX246" fmla="*/ 196310 w 447675"/>
                  <a:gd name="connsiteY246" fmla="*/ 92297 h 742950"/>
                  <a:gd name="connsiteX247" fmla="*/ 197168 w 447675"/>
                  <a:gd name="connsiteY247" fmla="*/ 93155 h 742950"/>
                  <a:gd name="connsiteX248" fmla="*/ 203073 w 447675"/>
                  <a:gd name="connsiteY248" fmla="*/ 92297 h 742950"/>
                  <a:gd name="connsiteX249" fmla="*/ 204788 w 447675"/>
                  <a:gd name="connsiteY249" fmla="*/ 92297 h 742950"/>
                  <a:gd name="connsiteX250" fmla="*/ 205645 w 447675"/>
                  <a:gd name="connsiteY250" fmla="*/ 93155 h 742950"/>
                  <a:gd name="connsiteX251" fmla="*/ 207359 w 447675"/>
                  <a:gd name="connsiteY251" fmla="*/ 94869 h 742950"/>
                  <a:gd name="connsiteX252" fmla="*/ 211550 w 447675"/>
                  <a:gd name="connsiteY252" fmla="*/ 97346 h 742950"/>
                  <a:gd name="connsiteX253" fmla="*/ 212408 w 447675"/>
                  <a:gd name="connsiteY253" fmla="*/ 99917 h 742950"/>
                  <a:gd name="connsiteX254" fmla="*/ 213265 w 447675"/>
                  <a:gd name="connsiteY254" fmla="*/ 101632 h 742950"/>
                  <a:gd name="connsiteX255" fmla="*/ 209836 w 447675"/>
                  <a:gd name="connsiteY255" fmla="*/ 111728 h 742950"/>
                  <a:gd name="connsiteX256" fmla="*/ 209074 w 447675"/>
                  <a:gd name="connsiteY256" fmla="*/ 116015 h 742950"/>
                  <a:gd name="connsiteX257" fmla="*/ 209074 w 447675"/>
                  <a:gd name="connsiteY257" fmla="*/ 118491 h 742950"/>
                  <a:gd name="connsiteX258" fmla="*/ 207359 w 447675"/>
                  <a:gd name="connsiteY258" fmla="*/ 122777 h 742950"/>
                  <a:gd name="connsiteX259" fmla="*/ 206502 w 447675"/>
                  <a:gd name="connsiteY259" fmla="*/ 125254 h 742950"/>
                  <a:gd name="connsiteX260" fmla="*/ 203930 w 447675"/>
                  <a:gd name="connsiteY260" fmla="*/ 124492 h 742950"/>
                  <a:gd name="connsiteX261" fmla="*/ 202216 w 447675"/>
                  <a:gd name="connsiteY261" fmla="*/ 124492 h 742950"/>
                  <a:gd name="connsiteX262" fmla="*/ 199739 w 447675"/>
                  <a:gd name="connsiteY262" fmla="*/ 124492 h 742950"/>
                  <a:gd name="connsiteX263" fmla="*/ 194596 w 447675"/>
                  <a:gd name="connsiteY263" fmla="*/ 127826 h 742950"/>
                  <a:gd name="connsiteX264" fmla="*/ 188690 w 447675"/>
                  <a:gd name="connsiteY264" fmla="*/ 129540 h 742950"/>
                  <a:gd name="connsiteX265" fmla="*/ 186214 w 447675"/>
                  <a:gd name="connsiteY265" fmla="*/ 131255 h 742950"/>
                  <a:gd name="connsiteX266" fmla="*/ 185357 w 447675"/>
                  <a:gd name="connsiteY266" fmla="*/ 134588 h 742950"/>
                  <a:gd name="connsiteX267" fmla="*/ 184499 w 447675"/>
                  <a:gd name="connsiteY267" fmla="*/ 136303 h 742950"/>
                  <a:gd name="connsiteX268" fmla="*/ 186214 w 447675"/>
                  <a:gd name="connsiteY268" fmla="*/ 140494 h 742950"/>
                  <a:gd name="connsiteX269" fmla="*/ 185357 w 447675"/>
                  <a:gd name="connsiteY269" fmla="*/ 143066 h 742950"/>
                  <a:gd name="connsiteX270" fmla="*/ 181928 w 447675"/>
                  <a:gd name="connsiteY270" fmla="*/ 146495 h 742950"/>
                  <a:gd name="connsiteX271" fmla="*/ 176879 w 447675"/>
                  <a:gd name="connsiteY271" fmla="*/ 150686 h 742950"/>
                  <a:gd name="connsiteX272" fmla="*/ 175165 w 447675"/>
                  <a:gd name="connsiteY272" fmla="*/ 151543 h 742950"/>
                  <a:gd name="connsiteX273" fmla="*/ 170974 w 447675"/>
                  <a:gd name="connsiteY273" fmla="*/ 153257 h 742950"/>
                  <a:gd name="connsiteX274" fmla="*/ 168402 w 447675"/>
                  <a:gd name="connsiteY274" fmla="*/ 154115 h 742950"/>
                  <a:gd name="connsiteX275" fmla="*/ 167545 w 447675"/>
                  <a:gd name="connsiteY275" fmla="*/ 155734 h 742950"/>
                  <a:gd name="connsiteX276" fmla="*/ 167545 w 447675"/>
                  <a:gd name="connsiteY276" fmla="*/ 158306 h 742950"/>
                  <a:gd name="connsiteX277" fmla="*/ 168402 w 447675"/>
                  <a:gd name="connsiteY277" fmla="*/ 162497 h 742950"/>
                  <a:gd name="connsiteX278" fmla="*/ 168402 w 447675"/>
                  <a:gd name="connsiteY278" fmla="*/ 166783 h 742950"/>
                  <a:gd name="connsiteX279" fmla="*/ 166688 w 447675"/>
                  <a:gd name="connsiteY279" fmla="*/ 169355 h 742950"/>
                  <a:gd name="connsiteX280" fmla="*/ 165830 w 447675"/>
                  <a:gd name="connsiteY280" fmla="*/ 170117 h 742950"/>
                  <a:gd name="connsiteX281" fmla="*/ 165830 w 447675"/>
                  <a:gd name="connsiteY281" fmla="*/ 171831 h 742950"/>
                  <a:gd name="connsiteX282" fmla="*/ 166688 w 447675"/>
                  <a:gd name="connsiteY282" fmla="*/ 174403 h 742950"/>
                  <a:gd name="connsiteX283" fmla="*/ 166688 w 447675"/>
                  <a:gd name="connsiteY283" fmla="*/ 176117 h 742950"/>
                  <a:gd name="connsiteX284" fmla="*/ 165068 w 447675"/>
                  <a:gd name="connsiteY284" fmla="*/ 177737 h 742950"/>
                  <a:gd name="connsiteX285" fmla="*/ 161639 w 447675"/>
                  <a:gd name="connsiteY285" fmla="*/ 178594 h 742950"/>
                  <a:gd name="connsiteX286" fmla="*/ 155734 w 447675"/>
                  <a:gd name="connsiteY286" fmla="*/ 182880 h 742950"/>
                  <a:gd name="connsiteX287" fmla="*/ 154019 w 447675"/>
                  <a:gd name="connsiteY287" fmla="*/ 185357 h 742950"/>
                  <a:gd name="connsiteX288" fmla="*/ 153162 w 447675"/>
                  <a:gd name="connsiteY288" fmla="*/ 187071 h 742950"/>
                  <a:gd name="connsiteX289" fmla="*/ 153162 w 447675"/>
                  <a:gd name="connsiteY289" fmla="*/ 188786 h 742950"/>
                  <a:gd name="connsiteX290" fmla="*/ 152305 w 447675"/>
                  <a:gd name="connsiteY290" fmla="*/ 189643 h 742950"/>
                  <a:gd name="connsiteX291" fmla="*/ 150590 w 447675"/>
                  <a:gd name="connsiteY291" fmla="*/ 191357 h 742950"/>
                  <a:gd name="connsiteX292" fmla="*/ 148114 w 447675"/>
                  <a:gd name="connsiteY292" fmla="*/ 192119 h 742950"/>
                  <a:gd name="connsiteX293" fmla="*/ 145542 w 447675"/>
                  <a:gd name="connsiteY293" fmla="*/ 192119 h 742950"/>
                  <a:gd name="connsiteX294" fmla="*/ 143066 w 447675"/>
                  <a:gd name="connsiteY294" fmla="*/ 192977 h 742950"/>
                  <a:gd name="connsiteX295" fmla="*/ 141351 w 447675"/>
                  <a:gd name="connsiteY295" fmla="*/ 193834 h 742950"/>
                  <a:gd name="connsiteX296" fmla="*/ 137922 w 447675"/>
                  <a:gd name="connsiteY296" fmla="*/ 195548 h 742950"/>
                  <a:gd name="connsiteX297" fmla="*/ 136208 w 447675"/>
                  <a:gd name="connsiteY297" fmla="*/ 198120 h 742950"/>
                  <a:gd name="connsiteX298" fmla="*/ 134588 w 447675"/>
                  <a:gd name="connsiteY298" fmla="*/ 198977 h 742950"/>
                  <a:gd name="connsiteX299" fmla="*/ 132017 w 447675"/>
                  <a:gd name="connsiteY299" fmla="*/ 200597 h 742950"/>
                  <a:gd name="connsiteX300" fmla="*/ 131159 w 447675"/>
                  <a:gd name="connsiteY300" fmla="*/ 201454 h 742950"/>
                  <a:gd name="connsiteX301" fmla="*/ 129445 w 447675"/>
                  <a:gd name="connsiteY301" fmla="*/ 203168 h 742950"/>
                  <a:gd name="connsiteX302" fmla="*/ 127825 w 447675"/>
                  <a:gd name="connsiteY302" fmla="*/ 203168 h 742950"/>
                  <a:gd name="connsiteX303" fmla="*/ 126111 w 447675"/>
                  <a:gd name="connsiteY303" fmla="*/ 202311 h 742950"/>
                  <a:gd name="connsiteX304" fmla="*/ 124397 w 447675"/>
                  <a:gd name="connsiteY304" fmla="*/ 198120 h 742950"/>
                  <a:gd name="connsiteX305" fmla="*/ 122682 w 447675"/>
                  <a:gd name="connsiteY305" fmla="*/ 196406 h 742950"/>
                  <a:gd name="connsiteX306" fmla="*/ 121063 w 447675"/>
                  <a:gd name="connsiteY306" fmla="*/ 196406 h 742950"/>
                  <a:gd name="connsiteX307" fmla="*/ 120206 w 447675"/>
                  <a:gd name="connsiteY307" fmla="*/ 196406 h 742950"/>
                  <a:gd name="connsiteX308" fmla="*/ 116777 w 447675"/>
                  <a:gd name="connsiteY308" fmla="*/ 198120 h 742950"/>
                  <a:gd name="connsiteX309" fmla="*/ 114205 w 447675"/>
                  <a:gd name="connsiteY309" fmla="*/ 198977 h 742950"/>
                  <a:gd name="connsiteX310" fmla="*/ 112586 w 447675"/>
                  <a:gd name="connsiteY310" fmla="*/ 199739 h 742950"/>
                  <a:gd name="connsiteX311" fmla="*/ 110014 w 447675"/>
                  <a:gd name="connsiteY311" fmla="*/ 201454 h 742950"/>
                  <a:gd name="connsiteX312" fmla="*/ 107442 w 447675"/>
                  <a:gd name="connsiteY312" fmla="*/ 202311 h 742950"/>
                  <a:gd name="connsiteX313" fmla="*/ 106585 w 447675"/>
                  <a:gd name="connsiteY313" fmla="*/ 202311 h 742950"/>
                  <a:gd name="connsiteX314" fmla="*/ 104966 w 447675"/>
                  <a:gd name="connsiteY314" fmla="*/ 201454 h 742950"/>
                  <a:gd name="connsiteX315" fmla="*/ 104108 w 447675"/>
                  <a:gd name="connsiteY315" fmla="*/ 198977 h 742950"/>
                  <a:gd name="connsiteX316" fmla="*/ 104108 w 447675"/>
                  <a:gd name="connsiteY316" fmla="*/ 198120 h 742950"/>
                  <a:gd name="connsiteX317" fmla="*/ 102394 w 447675"/>
                  <a:gd name="connsiteY317" fmla="*/ 198120 h 742950"/>
                  <a:gd name="connsiteX318" fmla="*/ 101537 w 447675"/>
                  <a:gd name="connsiteY318" fmla="*/ 198120 h 742950"/>
                  <a:gd name="connsiteX319" fmla="*/ 99822 w 447675"/>
                  <a:gd name="connsiteY319" fmla="*/ 199739 h 742950"/>
                  <a:gd name="connsiteX320" fmla="*/ 96488 w 447675"/>
                  <a:gd name="connsiteY320" fmla="*/ 204883 h 742950"/>
                  <a:gd name="connsiteX321" fmla="*/ 95631 w 447675"/>
                  <a:gd name="connsiteY321" fmla="*/ 207359 h 742950"/>
                  <a:gd name="connsiteX322" fmla="*/ 94774 w 447675"/>
                  <a:gd name="connsiteY322" fmla="*/ 211646 h 742950"/>
                  <a:gd name="connsiteX323" fmla="*/ 95631 w 447675"/>
                  <a:gd name="connsiteY323" fmla="*/ 214979 h 742950"/>
                  <a:gd name="connsiteX324" fmla="*/ 95631 w 447675"/>
                  <a:gd name="connsiteY324" fmla="*/ 218408 h 742950"/>
                  <a:gd name="connsiteX325" fmla="*/ 94774 w 447675"/>
                  <a:gd name="connsiteY325" fmla="*/ 220123 h 742950"/>
                  <a:gd name="connsiteX326" fmla="*/ 92202 w 447675"/>
                  <a:gd name="connsiteY326" fmla="*/ 225171 h 742950"/>
                  <a:gd name="connsiteX327" fmla="*/ 88011 w 447675"/>
                  <a:gd name="connsiteY327" fmla="*/ 227743 h 742950"/>
                  <a:gd name="connsiteX328" fmla="*/ 86297 w 447675"/>
                  <a:gd name="connsiteY328" fmla="*/ 228600 h 742950"/>
                  <a:gd name="connsiteX329" fmla="*/ 85439 w 447675"/>
                  <a:gd name="connsiteY329" fmla="*/ 230219 h 742950"/>
                  <a:gd name="connsiteX330" fmla="*/ 84582 w 447675"/>
                  <a:gd name="connsiteY330" fmla="*/ 231934 h 742950"/>
                  <a:gd name="connsiteX331" fmla="*/ 83820 w 447675"/>
                  <a:gd name="connsiteY331" fmla="*/ 238697 h 742950"/>
                  <a:gd name="connsiteX332" fmla="*/ 83820 w 447675"/>
                  <a:gd name="connsiteY332" fmla="*/ 239554 h 742950"/>
                  <a:gd name="connsiteX333" fmla="*/ 82963 w 447675"/>
                  <a:gd name="connsiteY333" fmla="*/ 240411 h 742950"/>
                  <a:gd name="connsiteX334" fmla="*/ 80391 w 447675"/>
                  <a:gd name="connsiteY334" fmla="*/ 241268 h 742950"/>
                  <a:gd name="connsiteX335" fmla="*/ 80391 w 447675"/>
                  <a:gd name="connsiteY335" fmla="*/ 241268 h 742950"/>
                  <a:gd name="connsiteX336" fmla="*/ 80391 w 447675"/>
                  <a:gd name="connsiteY336" fmla="*/ 242126 h 742950"/>
                  <a:gd name="connsiteX337" fmla="*/ 81248 w 447675"/>
                  <a:gd name="connsiteY337" fmla="*/ 244602 h 742950"/>
                  <a:gd name="connsiteX338" fmla="*/ 82106 w 447675"/>
                  <a:gd name="connsiteY338" fmla="*/ 246317 h 742950"/>
                  <a:gd name="connsiteX339" fmla="*/ 82106 w 447675"/>
                  <a:gd name="connsiteY339" fmla="*/ 248031 h 742950"/>
                  <a:gd name="connsiteX340" fmla="*/ 81248 w 447675"/>
                  <a:gd name="connsiteY340" fmla="*/ 248888 h 742950"/>
                  <a:gd name="connsiteX341" fmla="*/ 80391 w 447675"/>
                  <a:gd name="connsiteY341" fmla="*/ 249746 h 742950"/>
                  <a:gd name="connsiteX342" fmla="*/ 79534 w 447675"/>
                  <a:gd name="connsiteY342" fmla="*/ 248888 h 742950"/>
                  <a:gd name="connsiteX343" fmla="*/ 76200 w 447675"/>
                  <a:gd name="connsiteY343" fmla="*/ 244602 h 742950"/>
                  <a:gd name="connsiteX344" fmla="*/ 74486 w 447675"/>
                  <a:gd name="connsiteY344" fmla="*/ 243745 h 742950"/>
                  <a:gd name="connsiteX345" fmla="*/ 72771 w 447675"/>
                  <a:gd name="connsiteY345" fmla="*/ 243745 h 742950"/>
                  <a:gd name="connsiteX346" fmla="*/ 71057 w 447675"/>
                  <a:gd name="connsiteY346" fmla="*/ 245459 h 742950"/>
                  <a:gd name="connsiteX347" fmla="*/ 69437 w 447675"/>
                  <a:gd name="connsiteY347" fmla="*/ 248031 h 742950"/>
                  <a:gd name="connsiteX348" fmla="*/ 64294 w 447675"/>
                  <a:gd name="connsiteY348" fmla="*/ 258223 h 742950"/>
                  <a:gd name="connsiteX349" fmla="*/ 63437 w 447675"/>
                  <a:gd name="connsiteY349" fmla="*/ 260699 h 742950"/>
                  <a:gd name="connsiteX350" fmla="*/ 63437 w 447675"/>
                  <a:gd name="connsiteY350" fmla="*/ 265843 h 742950"/>
                  <a:gd name="connsiteX351" fmla="*/ 64294 w 447675"/>
                  <a:gd name="connsiteY351" fmla="*/ 273368 h 742950"/>
                  <a:gd name="connsiteX352" fmla="*/ 62579 w 447675"/>
                  <a:gd name="connsiteY352" fmla="*/ 278511 h 742950"/>
                  <a:gd name="connsiteX353" fmla="*/ 60103 w 447675"/>
                  <a:gd name="connsiteY353" fmla="*/ 281845 h 742950"/>
                  <a:gd name="connsiteX354" fmla="*/ 58388 w 447675"/>
                  <a:gd name="connsiteY354" fmla="*/ 283559 h 742950"/>
                  <a:gd name="connsiteX355" fmla="*/ 54959 w 447675"/>
                  <a:gd name="connsiteY355" fmla="*/ 284417 h 742950"/>
                  <a:gd name="connsiteX356" fmla="*/ 53340 w 447675"/>
                  <a:gd name="connsiteY356" fmla="*/ 286131 h 742950"/>
                  <a:gd name="connsiteX357" fmla="*/ 52483 w 447675"/>
                  <a:gd name="connsiteY357" fmla="*/ 288608 h 742950"/>
                  <a:gd name="connsiteX358" fmla="*/ 51625 w 447675"/>
                  <a:gd name="connsiteY358" fmla="*/ 300514 h 742950"/>
                  <a:gd name="connsiteX359" fmla="*/ 50768 w 447675"/>
                  <a:gd name="connsiteY359" fmla="*/ 302228 h 742950"/>
                  <a:gd name="connsiteX360" fmla="*/ 50768 w 447675"/>
                  <a:gd name="connsiteY360" fmla="*/ 303848 h 742950"/>
                  <a:gd name="connsiteX361" fmla="*/ 51625 w 447675"/>
                  <a:gd name="connsiteY361" fmla="*/ 314897 h 742950"/>
                  <a:gd name="connsiteX362" fmla="*/ 50768 w 447675"/>
                  <a:gd name="connsiteY362" fmla="*/ 317468 h 742950"/>
                  <a:gd name="connsiteX363" fmla="*/ 49054 w 447675"/>
                  <a:gd name="connsiteY363" fmla="*/ 321659 h 742950"/>
                  <a:gd name="connsiteX364" fmla="*/ 48197 w 447675"/>
                  <a:gd name="connsiteY364" fmla="*/ 325850 h 742950"/>
                  <a:gd name="connsiteX365" fmla="*/ 46577 w 447675"/>
                  <a:gd name="connsiteY365" fmla="*/ 331851 h 742950"/>
                  <a:gd name="connsiteX366" fmla="*/ 46577 w 447675"/>
                  <a:gd name="connsiteY366" fmla="*/ 337757 h 742950"/>
                  <a:gd name="connsiteX367" fmla="*/ 44863 w 447675"/>
                  <a:gd name="connsiteY367" fmla="*/ 340233 h 742950"/>
                  <a:gd name="connsiteX368" fmla="*/ 42291 w 447675"/>
                  <a:gd name="connsiteY368" fmla="*/ 343662 h 742950"/>
                  <a:gd name="connsiteX369" fmla="*/ 40577 w 447675"/>
                  <a:gd name="connsiteY369" fmla="*/ 344519 h 742950"/>
                  <a:gd name="connsiteX370" fmla="*/ 32195 w 447675"/>
                  <a:gd name="connsiteY370" fmla="*/ 348710 h 742950"/>
                  <a:gd name="connsiteX371" fmla="*/ 25432 w 447675"/>
                  <a:gd name="connsiteY371" fmla="*/ 353854 h 742950"/>
                  <a:gd name="connsiteX372" fmla="*/ 23717 w 447675"/>
                  <a:gd name="connsiteY372" fmla="*/ 354711 h 742950"/>
                  <a:gd name="connsiteX373" fmla="*/ 22860 w 447675"/>
                  <a:gd name="connsiteY373" fmla="*/ 355473 h 742950"/>
                  <a:gd name="connsiteX374" fmla="*/ 22003 w 447675"/>
                  <a:gd name="connsiteY374" fmla="*/ 357188 h 742950"/>
                  <a:gd name="connsiteX375" fmla="*/ 22003 w 447675"/>
                  <a:gd name="connsiteY375" fmla="*/ 358045 h 742950"/>
                  <a:gd name="connsiteX376" fmla="*/ 21146 w 447675"/>
                  <a:gd name="connsiteY376" fmla="*/ 365665 h 742950"/>
                  <a:gd name="connsiteX377" fmla="*/ 19431 w 447675"/>
                  <a:gd name="connsiteY377" fmla="*/ 369856 h 742950"/>
                  <a:gd name="connsiteX378" fmla="*/ 19431 w 447675"/>
                  <a:gd name="connsiteY378" fmla="*/ 371570 h 742950"/>
                  <a:gd name="connsiteX379" fmla="*/ 19431 w 447675"/>
                  <a:gd name="connsiteY379" fmla="*/ 373285 h 742950"/>
                  <a:gd name="connsiteX380" fmla="*/ 20288 w 447675"/>
                  <a:gd name="connsiteY380" fmla="*/ 375857 h 742950"/>
                  <a:gd name="connsiteX381" fmla="*/ 21146 w 447675"/>
                  <a:gd name="connsiteY381" fmla="*/ 378333 h 742950"/>
                  <a:gd name="connsiteX382" fmla="*/ 22003 w 447675"/>
                  <a:gd name="connsiteY382" fmla="*/ 379190 h 742950"/>
                  <a:gd name="connsiteX383" fmla="*/ 22860 w 447675"/>
                  <a:gd name="connsiteY383" fmla="*/ 380048 h 742950"/>
                  <a:gd name="connsiteX384" fmla="*/ 23717 w 447675"/>
                  <a:gd name="connsiteY384" fmla="*/ 380905 h 742950"/>
                  <a:gd name="connsiteX385" fmla="*/ 24575 w 447675"/>
                  <a:gd name="connsiteY385" fmla="*/ 380905 h 742950"/>
                  <a:gd name="connsiteX386" fmla="*/ 25432 w 447675"/>
                  <a:gd name="connsiteY386" fmla="*/ 381762 h 742950"/>
                  <a:gd name="connsiteX387" fmla="*/ 26194 w 447675"/>
                  <a:gd name="connsiteY387" fmla="*/ 381762 h 742950"/>
                  <a:gd name="connsiteX388" fmla="*/ 27051 w 447675"/>
                  <a:gd name="connsiteY388" fmla="*/ 380905 h 742950"/>
                  <a:gd name="connsiteX389" fmla="*/ 28766 w 447675"/>
                  <a:gd name="connsiteY389" fmla="*/ 380905 h 742950"/>
                  <a:gd name="connsiteX390" fmla="*/ 29623 w 447675"/>
                  <a:gd name="connsiteY390" fmla="*/ 380048 h 742950"/>
                  <a:gd name="connsiteX391" fmla="*/ 30480 w 447675"/>
                  <a:gd name="connsiteY391" fmla="*/ 380905 h 742950"/>
                  <a:gd name="connsiteX392" fmla="*/ 31337 w 447675"/>
                  <a:gd name="connsiteY392" fmla="*/ 380905 h 742950"/>
                  <a:gd name="connsiteX393" fmla="*/ 32195 w 447675"/>
                  <a:gd name="connsiteY393" fmla="*/ 381762 h 742950"/>
                  <a:gd name="connsiteX394" fmla="*/ 32195 w 447675"/>
                  <a:gd name="connsiteY394" fmla="*/ 382619 h 742950"/>
                  <a:gd name="connsiteX395" fmla="*/ 32957 w 447675"/>
                  <a:gd name="connsiteY395" fmla="*/ 384334 h 742950"/>
                  <a:gd name="connsiteX396" fmla="*/ 32957 w 447675"/>
                  <a:gd name="connsiteY396" fmla="*/ 385096 h 742950"/>
                  <a:gd name="connsiteX397" fmla="*/ 32957 w 447675"/>
                  <a:gd name="connsiteY397" fmla="*/ 387668 h 742950"/>
                  <a:gd name="connsiteX398" fmla="*/ 32957 w 447675"/>
                  <a:gd name="connsiteY398" fmla="*/ 398717 h 742950"/>
                  <a:gd name="connsiteX399" fmla="*/ 34671 w 447675"/>
                  <a:gd name="connsiteY399" fmla="*/ 408813 h 742950"/>
                  <a:gd name="connsiteX400" fmla="*/ 34671 w 447675"/>
                  <a:gd name="connsiteY400" fmla="*/ 410528 h 742950"/>
                  <a:gd name="connsiteX401" fmla="*/ 33814 w 447675"/>
                  <a:gd name="connsiteY401" fmla="*/ 411385 h 742950"/>
                  <a:gd name="connsiteX402" fmla="*/ 32957 w 447675"/>
                  <a:gd name="connsiteY402" fmla="*/ 412242 h 742950"/>
                  <a:gd name="connsiteX403" fmla="*/ 28766 w 447675"/>
                  <a:gd name="connsiteY403" fmla="*/ 414719 h 742950"/>
                  <a:gd name="connsiteX404" fmla="*/ 27908 w 447675"/>
                  <a:gd name="connsiteY404" fmla="*/ 414719 h 742950"/>
                  <a:gd name="connsiteX405" fmla="*/ 27051 w 447675"/>
                  <a:gd name="connsiteY405" fmla="*/ 416433 h 742950"/>
                  <a:gd name="connsiteX406" fmla="*/ 26194 w 447675"/>
                  <a:gd name="connsiteY406" fmla="*/ 418148 h 742950"/>
                  <a:gd name="connsiteX407" fmla="*/ 26194 w 447675"/>
                  <a:gd name="connsiteY407" fmla="*/ 419005 h 742950"/>
                  <a:gd name="connsiteX408" fmla="*/ 26194 w 447675"/>
                  <a:gd name="connsiteY408" fmla="*/ 419862 h 742950"/>
                  <a:gd name="connsiteX409" fmla="*/ 26194 w 447675"/>
                  <a:gd name="connsiteY409" fmla="*/ 420719 h 742950"/>
                  <a:gd name="connsiteX410" fmla="*/ 27051 w 447675"/>
                  <a:gd name="connsiteY410" fmla="*/ 420719 h 742950"/>
                  <a:gd name="connsiteX411" fmla="*/ 27051 w 447675"/>
                  <a:gd name="connsiteY411" fmla="*/ 421577 h 742950"/>
                  <a:gd name="connsiteX412" fmla="*/ 27908 w 447675"/>
                  <a:gd name="connsiteY412" fmla="*/ 421577 h 742950"/>
                  <a:gd name="connsiteX413" fmla="*/ 29623 w 447675"/>
                  <a:gd name="connsiteY413" fmla="*/ 421577 h 742950"/>
                  <a:gd name="connsiteX414" fmla="*/ 30480 w 447675"/>
                  <a:gd name="connsiteY414" fmla="*/ 420719 h 742950"/>
                  <a:gd name="connsiteX415" fmla="*/ 32195 w 447675"/>
                  <a:gd name="connsiteY415" fmla="*/ 419862 h 742950"/>
                  <a:gd name="connsiteX416" fmla="*/ 33814 w 447675"/>
                  <a:gd name="connsiteY416" fmla="*/ 418148 h 742950"/>
                  <a:gd name="connsiteX417" fmla="*/ 34671 w 447675"/>
                  <a:gd name="connsiteY417" fmla="*/ 418148 h 742950"/>
                  <a:gd name="connsiteX418" fmla="*/ 35528 w 447675"/>
                  <a:gd name="connsiteY418" fmla="*/ 418148 h 742950"/>
                  <a:gd name="connsiteX419" fmla="*/ 36386 w 447675"/>
                  <a:gd name="connsiteY419" fmla="*/ 418148 h 742950"/>
                  <a:gd name="connsiteX420" fmla="*/ 38100 w 447675"/>
                  <a:gd name="connsiteY420" fmla="*/ 419005 h 742950"/>
                  <a:gd name="connsiteX421" fmla="*/ 38957 w 447675"/>
                  <a:gd name="connsiteY421" fmla="*/ 419005 h 742950"/>
                  <a:gd name="connsiteX422" fmla="*/ 38957 w 447675"/>
                  <a:gd name="connsiteY422" fmla="*/ 419862 h 742950"/>
                  <a:gd name="connsiteX423" fmla="*/ 39815 w 447675"/>
                  <a:gd name="connsiteY423" fmla="*/ 419862 h 742950"/>
                  <a:gd name="connsiteX424" fmla="*/ 40577 w 447675"/>
                  <a:gd name="connsiteY424" fmla="*/ 420719 h 742950"/>
                  <a:gd name="connsiteX425" fmla="*/ 40577 w 447675"/>
                  <a:gd name="connsiteY425" fmla="*/ 421577 h 742950"/>
                  <a:gd name="connsiteX426" fmla="*/ 39815 w 447675"/>
                  <a:gd name="connsiteY426" fmla="*/ 421577 h 742950"/>
                  <a:gd name="connsiteX427" fmla="*/ 39815 w 447675"/>
                  <a:gd name="connsiteY427" fmla="*/ 426625 h 742950"/>
                  <a:gd name="connsiteX428" fmla="*/ 39815 w 447675"/>
                  <a:gd name="connsiteY428" fmla="*/ 427482 h 742950"/>
                  <a:gd name="connsiteX429" fmla="*/ 40577 w 447675"/>
                  <a:gd name="connsiteY429" fmla="*/ 428339 h 742950"/>
                  <a:gd name="connsiteX430" fmla="*/ 40577 w 447675"/>
                  <a:gd name="connsiteY430" fmla="*/ 429101 h 742950"/>
                  <a:gd name="connsiteX431" fmla="*/ 41434 w 447675"/>
                  <a:gd name="connsiteY431" fmla="*/ 430816 h 742950"/>
                  <a:gd name="connsiteX432" fmla="*/ 40577 w 447675"/>
                  <a:gd name="connsiteY432" fmla="*/ 431673 h 742950"/>
                  <a:gd name="connsiteX433" fmla="*/ 40577 w 447675"/>
                  <a:gd name="connsiteY433" fmla="*/ 433388 h 742950"/>
                  <a:gd name="connsiteX434" fmla="*/ 39815 w 447675"/>
                  <a:gd name="connsiteY434" fmla="*/ 435102 h 742950"/>
                  <a:gd name="connsiteX435" fmla="*/ 38957 w 447675"/>
                  <a:gd name="connsiteY435" fmla="*/ 435959 h 742950"/>
                  <a:gd name="connsiteX436" fmla="*/ 38957 w 447675"/>
                  <a:gd name="connsiteY436" fmla="*/ 443579 h 742950"/>
                  <a:gd name="connsiteX437" fmla="*/ 38957 w 447675"/>
                  <a:gd name="connsiteY437" fmla="*/ 445199 h 742950"/>
                  <a:gd name="connsiteX438" fmla="*/ 39815 w 447675"/>
                  <a:gd name="connsiteY438" fmla="*/ 446913 h 742950"/>
                  <a:gd name="connsiteX439" fmla="*/ 39815 w 447675"/>
                  <a:gd name="connsiteY439" fmla="*/ 447770 h 742950"/>
                  <a:gd name="connsiteX440" fmla="*/ 40577 w 447675"/>
                  <a:gd name="connsiteY440" fmla="*/ 450342 h 742950"/>
                  <a:gd name="connsiteX441" fmla="*/ 40577 w 447675"/>
                  <a:gd name="connsiteY441" fmla="*/ 451199 h 742950"/>
                  <a:gd name="connsiteX442" fmla="*/ 39815 w 447675"/>
                  <a:gd name="connsiteY442" fmla="*/ 451961 h 742950"/>
                  <a:gd name="connsiteX443" fmla="*/ 39815 w 447675"/>
                  <a:gd name="connsiteY443" fmla="*/ 452819 h 742950"/>
                  <a:gd name="connsiteX444" fmla="*/ 37243 w 447675"/>
                  <a:gd name="connsiteY444" fmla="*/ 453676 h 742950"/>
                  <a:gd name="connsiteX445" fmla="*/ 36386 w 447675"/>
                  <a:gd name="connsiteY445" fmla="*/ 453676 h 742950"/>
                  <a:gd name="connsiteX446" fmla="*/ 34671 w 447675"/>
                  <a:gd name="connsiteY446" fmla="*/ 454533 h 742950"/>
                  <a:gd name="connsiteX447" fmla="*/ 32195 w 447675"/>
                  <a:gd name="connsiteY447" fmla="*/ 457962 h 742950"/>
                  <a:gd name="connsiteX448" fmla="*/ 30480 w 447675"/>
                  <a:gd name="connsiteY448" fmla="*/ 458724 h 742950"/>
                  <a:gd name="connsiteX449" fmla="*/ 28766 w 447675"/>
                  <a:gd name="connsiteY449" fmla="*/ 459581 h 742950"/>
                  <a:gd name="connsiteX450" fmla="*/ 27908 w 447675"/>
                  <a:gd name="connsiteY450" fmla="*/ 459581 h 742950"/>
                  <a:gd name="connsiteX451" fmla="*/ 22003 w 447675"/>
                  <a:gd name="connsiteY451" fmla="*/ 460439 h 742950"/>
                  <a:gd name="connsiteX452" fmla="*/ 20288 w 447675"/>
                  <a:gd name="connsiteY452" fmla="*/ 460439 h 742950"/>
                  <a:gd name="connsiteX453" fmla="*/ 19431 w 447675"/>
                  <a:gd name="connsiteY453" fmla="*/ 461296 h 742950"/>
                  <a:gd name="connsiteX454" fmla="*/ 18574 w 447675"/>
                  <a:gd name="connsiteY454" fmla="*/ 463010 h 742950"/>
                  <a:gd name="connsiteX455" fmla="*/ 17812 w 447675"/>
                  <a:gd name="connsiteY455" fmla="*/ 464725 h 742950"/>
                  <a:gd name="connsiteX456" fmla="*/ 18574 w 447675"/>
                  <a:gd name="connsiteY456" fmla="*/ 465582 h 742950"/>
                  <a:gd name="connsiteX457" fmla="*/ 18574 w 447675"/>
                  <a:gd name="connsiteY457" fmla="*/ 467201 h 742950"/>
                  <a:gd name="connsiteX458" fmla="*/ 16954 w 447675"/>
                  <a:gd name="connsiteY458" fmla="*/ 471488 h 742950"/>
                  <a:gd name="connsiteX459" fmla="*/ 16954 w 447675"/>
                  <a:gd name="connsiteY459" fmla="*/ 472345 h 742950"/>
                  <a:gd name="connsiteX460" fmla="*/ 17812 w 447675"/>
                  <a:gd name="connsiteY460" fmla="*/ 473202 h 742950"/>
                  <a:gd name="connsiteX461" fmla="*/ 18574 w 447675"/>
                  <a:gd name="connsiteY461" fmla="*/ 473202 h 742950"/>
                  <a:gd name="connsiteX462" fmla="*/ 27051 w 447675"/>
                  <a:gd name="connsiteY462" fmla="*/ 473964 h 742950"/>
                  <a:gd name="connsiteX463" fmla="*/ 27908 w 447675"/>
                  <a:gd name="connsiteY463" fmla="*/ 473964 h 742950"/>
                  <a:gd name="connsiteX464" fmla="*/ 28766 w 447675"/>
                  <a:gd name="connsiteY464" fmla="*/ 473964 h 742950"/>
                  <a:gd name="connsiteX465" fmla="*/ 29623 w 447675"/>
                  <a:gd name="connsiteY465" fmla="*/ 474821 h 742950"/>
                  <a:gd name="connsiteX466" fmla="*/ 32957 w 447675"/>
                  <a:gd name="connsiteY466" fmla="*/ 481584 h 742950"/>
                  <a:gd name="connsiteX467" fmla="*/ 32957 w 447675"/>
                  <a:gd name="connsiteY467" fmla="*/ 485013 h 742950"/>
                  <a:gd name="connsiteX468" fmla="*/ 32957 w 447675"/>
                  <a:gd name="connsiteY468" fmla="*/ 485870 h 742950"/>
                  <a:gd name="connsiteX469" fmla="*/ 32957 w 447675"/>
                  <a:gd name="connsiteY469" fmla="*/ 486728 h 742950"/>
                  <a:gd name="connsiteX470" fmla="*/ 32195 w 447675"/>
                  <a:gd name="connsiteY470" fmla="*/ 487585 h 742950"/>
                  <a:gd name="connsiteX471" fmla="*/ 31337 w 447675"/>
                  <a:gd name="connsiteY471" fmla="*/ 490061 h 742950"/>
                  <a:gd name="connsiteX472" fmla="*/ 30480 w 447675"/>
                  <a:gd name="connsiteY472" fmla="*/ 496824 h 742950"/>
                  <a:gd name="connsiteX473" fmla="*/ 30480 w 447675"/>
                  <a:gd name="connsiteY473" fmla="*/ 498539 h 742950"/>
                  <a:gd name="connsiteX474" fmla="*/ 30480 w 447675"/>
                  <a:gd name="connsiteY474" fmla="*/ 499396 h 742950"/>
                  <a:gd name="connsiteX475" fmla="*/ 29623 w 447675"/>
                  <a:gd name="connsiteY475" fmla="*/ 500253 h 742950"/>
                  <a:gd name="connsiteX476" fmla="*/ 28766 w 447675"/>
                  <a:gd name="connsiteY476" fmla="*/ 500253 h 742950"/>
                  <a:gd name="connsiteX477" fmla="*/ 27908 w 447675"/>
                  <a:gd name="connsiteY477" fmla="*/ 499396 h 742950"/>
                  <a:gd name="connsiteX478" fmla="*/ 26194 w 447675"/>
                  <a:gd name="connsiteY478" fmla="*/ 499396 h 742950"/>
                  <a:gd name="connsiteX479" fmla="*/ 22860 w 447675"/>
                  <a:gd name="connsiteY479" fmla="*/ 497681 h 742950"/>
                  <a:gd name="connsiteX480" fmla="*/ 22003 w 447675"/>
                  <a:gd name="connsiteY480" fmla="*/ 496824 h 742950"/>
                  <a:gd name="connsiteX481" fmla="*/ 21146 w 447675"/>
                  <a:gd name="connsiteY481" fmla="*/ 497681 h 742950"/>
                  <a:gd name="connsiteX482" fmla="*/ 20288 w 447675"/>
                  <a:gd name="connsiteY482" fmla="*/ 498539 h 742950"/>
                  <a:gd name="connsiteX483" fmla="*/ 19431 w 447675"/>
                  <a:gd name="connsiteY483" fmla="*/ 500253 h 742950"/>
                  <a:gd name="connsiteX484" fmla="*/ 18574 w 447675"/>
                  <a:gd name="connsiteY484" fmla="*/ 501968 h 742950"/>
                  <a:gd name="connsiteX485" fmla="*/ 18574 w 447675"/>
                  <a:gd name="connsiteY485" fmla="*/ 502825 h 742950"/>
                  <a:gd name="connsiteX486" fmla="*/ 18574 w 447675"/>
                  <a:gd name="connsiteY486" fmla="*/ 503587 h 742950"/>
                  <a:gd name="connsiteX487" fmla="*/ 19431 w 447675"/>
                  <a:gd name="connsiteY487" fmla="*/ 503587 h 742950"/>
                  <a:gd name="connsiteX488" fmla="*/ 19431 w 447675"/>
                  <a:gd name="connsiteY488" fmla="*/ 504444 h 742950"/>
                  <a:gd name="connsiteX489" fmla="*/ 20288 w 447675"/>
                  <a:gd name="connsiteY489" fmla="*/ 504444 h 742950"/>
                  <a:gd name="connsiteX490" fmla="*/ 23717 w 447675"/>
                  <a:gd name="connsiteY490" fmla="*/ 505301 h 742950"/>
                  <a:gd name="connsiteX491" fmla="*/ 24575 w 447675"/>
                  <a:gd name="connsiteY491" fmla="*/ 505301 h 742950"/>
                  <a:gd name="connsiteX492" fmla="*/ 25432 w 447675"/>
                  <a:gd name="connsiteY492" fmla="*/ 506159 h 742950"/>
                  <a:gd name="connsiteX493" fmla="*/ 25432 w 447675"/>
                  <a:gd name="connsiteY493" fmla="*/ 507016 h 742950"/>
                  <a:gd name="connsiteX494" fmla="*/ 24575 w 447675"/>
                  <a:gd name="connsiteY494" fmla="*/ 508730 h 742950"/>
                  <a:gd name="connsiteX495" fmla="*/ 24575 w 447675"/>
                  <a:gd name="connsiteY495" fmla="*/ 509588 h 742950"/>
                  <a:gd name="connsiteX496" fmla="*/ 23717 w 447675"/>
                  <a:gd name="connsiteY496" fmla="*/ 509588 h 742950"/>
                  <a:gd name="connsiteX497" fmla="*/ 23717 w 447675"/>
                  <a:gd name="connsiteY497" fmla="*/ 510445 h 742950"/>
                  <a:gd name="connsiteX498" fmla="*/ 22860 w 447675"/>
                  <a:gd name="connsiteY498" fmla="*/ 511207 h 742950"/>
                  <a:gd name="connsiteX499" fmla="*/ 21146 w 447675"/>
                  <a:gd name="connsiteY499" fmla="*/ 512064 h 742950"/>
                  <a:gd name="connsiteX500" fmla="*/ 18574 w 447675"/>
                  <a:gd name="connsiteY500" fmla="*/ 512064 h 742950"/>
                  <a:gd name="connsiteX501" fmla="*/ 17812 w 447675"/>
                  <a:gd name="connsiteY501" fmla="*/ 512921 h 742950"/>
                  <a:gd name="connsiteX502" fmla="*/ 16954 w 447675"/>
                  <a:gd name="connsiteY502" fmla="*/ 513779 h 742950"/>
                  <a:gd name="connsiteX503" fmla="*/ 16954 w 447675"/>
                  <a:gd name="connsiteY503" fmla="*/ 514636 h 742950"/>
                  <a:gd name="connsiteX504" fmla="*/ 16954 w 447675"/>
                  <a:gd name="connsiteY504" fmla="*/ 515493 h 742950"/>
                  <a:gd name="connsiteX505" fmla="*/ 17812 w 447675"/>
                  <a:gd name="connsiteY505" fmla="*/ 516350 h 742950"/>
                  <a:gd name="connsiteX506" fmla="*/ 19431 w 447675"/>
                  <a:gd name="connsiteY506" fmla="*/ 516350 h 742950"/>
                  <a:gd name="connsiteX507" fmla="*/ 22003 w 447675"/>
                  <a:gd name="connsiteY507" fmla="*/ 517208 h 742950"/>
                  <a:gd name="connsiteX508" fmla="*/ 23717 w 447675"/>
                  <a:gd name="connsiteY508" fmla="*/ 517208 h 742950"/>
                  <a:gd name="connsiteX509" fmla="*/ 24575 w 447675"/>
                  <a:gd name="connsiteY509" fmla="*/ 517208 h 742950"/>
                  <a:gd name="connsiteX510" fmla="*/ 25432 w 447675"/>
                  <a:gd name="connsiteY510" fmla="*/ 517208 h 742950"/>
                  <a:gd name="connsiteX511" fmla="*/ 25432 w 447675"/>
                  <a:gd name="connsiteY511" fmla="*/ 517208 h 742950"/>
                  <a:gd name="connsiteX512" fmla="*/ 25432 w 447675"/>
                  <a:gd name="connsiteY512" fmla="*/ 516350 h 742950"/>
                  <a:gd name="connsiteX513" fmla="*/ 25432 w 447675"/>
                  <a:gd name="connsiteY513" fmla="*/ 516350 h 742950"/>
                  <a:gd name="connsiteX514" fmla="*/ 25432 w 447675"/>
                  <a:gd name="connsiteY514" fmla="*/ 515493 h 742950"/>
                  <a:gd name="connsiteX515" fmla="*/ 25432 w 447675"/>
                  <a:gd name="connsiteY515" fmla="*/ 514636 h 742950"/>
                  <a:gd name="connsiteX516" fmla="*/ 25432 w 447675"/>
                  <a:gd name="connsiteY516" fmla="*/ 514636 h 742950"/>
                  <a:gd name="connsiteX517" fmla="*/ 25432 w 447675"/>
                  <a:gd name="connsiteY517" fmla="*/ 513779 h 742950"/>
                  <a:gd name="connsiteX518" fmla="*/ 26194 w 447675"/>
                  <a:gd name="connsiteY518" fmla="*/ 512921 h 742950"/>
                  <a:gd name="connsiteX519" fmla="*/ 27051 w 447675"/>
                  <a:gd name="connsiteY519" fmla="*/ 512064 h 742950"/>
                  <a:gd name="connsiteX520" fmla="*/ 27908 w 447675"/>
                  <a:gd name="connsiteY520" fmla="*/ 512064 h 742950"/>
                  <a:gd name="connsiteX521" fmla="*/ 28766 w 447675"/>
                  <a:gd name="connsiteY521" fmla="*/ 512064 h 742950"/>
                  <a:gd name="connsiteX522" fmla="*/ 29623 w 447675"/>
                  <a:gd name="connsiteY522" fmla="*/ 512064 h 742950"/>
                  <a:gd name="connsiteX523" fmla="*/ 30480 w 447675"/>
                  <a:gd name="connsiteY523" fmla="*/ 512064 h 742950"/>
                  <a:gd name="connsiteX524" fmla="*/ 31337 w 447675"/>
                  <a:gd name="connsiteY524" fmla="*/ 513779 h 742950"/>
                  <a:gd name="connsiteX525" fmla="*/ 32195 w 447675"/>
                  <a:gd name="connsiteY525" fmla="*/ 514636 h 742950"/>
                  <a:gd name="connsiteX526" fmla="*/ 32957 w 447675"/>
                  <a:gd name="connsiteY526" fmla="*/ 518827 h 742950"/>
                  <a:gd name="connsiteX527" fmla="*/ 33814 w 447675"/>
                  <a:gd name="connsiteY527" fmla="*/ 520541 h 742950"/>
                  <a:gd name="connsiteX528" fmla="*/ 34671 w 447675"/>
                  <a:gd name="connsiteY528" fmla="*/ 522256 h 742950"/>
                  <a:gd name="connsiteX529" fmla="*/ 36386 w 447675"/>
                  <a:gd name="connsiteY529" fmla="*/ 523113 h 742950"/>
                  <a:gd name="connsiteX530" fmla="*/ 38100 w 447675"/>
                  <a:gd name="connsiteY530" fmla="*/ 523970 h 742950"/>
                  <a:gd name="connsiteX531" fmla="*/ 42291 w 447675"/>
                  <a:gd name="connsiteY531" fmla="*/ 524828 h 742950"/>
                  <a:gd name="connsiteX532" fmla="*/ 43148 w 447675"/>
                  <a:gd name="connsiteY532" fmla="*/ 524828 h 742950"/>
                  <a:gd name="connsiteX533" fmla="*/ 44006 w 447675"/>
                  <a:gd name="connsiteY533" fmla="*/ 525590 h 742950"/>
                  <a:gd name="connsiteX534" fmla="*/ 44863 w 447675"/>
                  <a:gd name="connsiteY534" fmla="*/ 526447 h 742950"/>
                  <a:gd name="connsiteX535" fmla="*/ 45720 w 447675"/>
                  <a:gd name="connsiteY535" fmla="*/ 528161 h 742950"/>
                  <a:gd name="connsiteX536" fmla="*/ 47435 w 447675"/>
                  <a:gd name="connsiteY536" fmla="*/ 534067 h 742950"/>
                  <a:gd name="connsiteX537" fmla="*/ 47435 w 447675"/>
                  <a:gd name="connsiteY537" fmla="*/ 535781 h 742950"/>
                  <a:gd name="connsiteX538" fmla="*/ 49054 w 447675"/>
                  <a:gd name="connsiteY538" fmla="*/ 537496 h 742950"/>
                  <a:gd name="connsiteX539" fmla="*/ 49911 w 447675"/>
                  <a:gd name="connsiteY539" fmla="*/ 537496 h 742950"/>
                  <a:gd name="connsiteX540" fmla="*/ 55817 w 447675"/>
                  <a:gd name="connsiteY540" fmla="*/ 539210 h 742950"/>
                  <a:gd name="connsiteX541" fmla="*/ 57531 w 447675"/>
                  <a:gd name="connsiteY541" fmla="*/ 540068 h 742950"/>
                  <a:gd name="connsiteX542" fmla="*/ 60103 w 447675"/>
                  <a:gd name="connsiteY542" fmla="*/ 542544 h 742950"/>
                  <a:gd name="connsiteX543" fmla="*/ 60960 w 447675"/>
                  <a:gd name="connsiteY543" fmla="*/ 542544 h 742950"/>
                  <a:gd name="connsiteX544" fmla="*/ 62579 w 447675"/>
                  <a:gd name="connsiteY544" fmla="*/ 542544 h 742950"/>
                  <a:gd name="connsiteX545" fmla="*/ 63437 w 447675"/>
                  <a:gd name="connsiteY545" fmla="*/ 543401 h 742950"/>
                  <a:gd name="connsiteX546" fmla="*/ 64294 w 447675"/>
                  <a:gd name="connsiteY546" fmla="*/ 543401 h 742950"/>
                  <a:gd name="connsiteX547" fmla="*/ 66008 w 447675"/>
                  <a:gd name="connsiteY547" fmla="*/ 545116 h 742950"/>
                  <a:gd name="connsiteX548" fmla="*/ 68580 w 447675"/>
                  <a:gd name="connsiteY548" fmla="*/ 547592 h 742950"/>
                  <a:gd name="connsiteX549" fmla="*/ 70199 w 447675"/>
                  <a:gd name="connsiteY549" fmla="*/ 550164 h 742950"/>
                  <a:gd name="connsiteX550" fmla="*/ 70199 w 447675"/>
                  <a:gd name="connsiteY550" fmla="*/ 552736 h 742950"/>
                  <a:gd name="connsiteX551" fmla="*/ 70199 w 447675"/>
                  <a:gd name="connsiteY551" fmla="*/ 554450 h 742950"/>
                  <a:gd name="connsiteX552" fmla="*/ 69437 w 447675"/>
                  <a:gd name="connsiteY552" fmla="*/ 556070 h 742950"/>
                  <a:gd name="connsiteX553" fmla="*/ 68580 w 447675"/>
                  <a:gd name="connsiteY553" fmla="*/ 556927 h 742950"/>
                  <a:gd name="connsiteX554" fmla="*/ 67723 w 447675"/>
                  <a:gd name="connsiteY554" fmla="*/ 557784 h 742950"/>
                  <a:gd name="connsiteX555" fmla="*/ 66008 w 447675"/>
                  <a:gd name="connsiteY555" fmla="*/ 558641 h 742950"/>
                  <a:gd name="connsiteX556" fmla="*/ 62579 w 447675"/>
                  <a:gd name="connsiteY556" fmla="*/ 558641 h 742950"/>
                  <a:gd name="connsiteX557" fmla="*/ 60960 w 447675"/>
                  <a:gd name="connsiteY557" fmla="*/ 559499 h 742950"/>
                  <a:gd name="connsiteX558" fmla="*/ 60103 w 447675"/>
                  <a:gd name="connsiteY558" fmla="*/ 559499 h 742950"/>
                  <a:gd name="connsiteX559" fmla="*/ 60103 w 447675"/>
                  <a:gd name="connsiteY559" fmla="*/ 561213 h 742950"/>
                  <a:gd name="connsiteX560" fmla="*/ 60103 w 447675"/>
                  <a:gd name="connsiteY560" fmla="*/ 562070 h 742950"/>
                  <a:gd name="connsiteX561" fmla="*/ 62579 w 447675"/>
                  <a:gd name="connsiteY561" fmla="*/ 564547 h 742950"/>
                  <a:gd name="connsiteX562" fmla="*/ 63437 w 447675"/>
                  <a:gd name="connsiteY562" fmla="*/ 566261 h 742950"/>
                  <a:gd name="connsiteX563" fmla="*/ 63437 w 447675"/>
                  <a:gd name="connsiteY563" fmla="*/ 567976 h 742950"/>
                  <a:gd name="connsiteX564" fmla="*/ 62579 w 447675"/>
                  <a:gd name="connsiteY564" fmla="*/ 568833 h 742950"/>
                  <a:gd name="connsiteX565" fmla="*/ 58388 w 447675"/>
                  <a:gd name="connsiteY565" fmla="*/ 570452 h 742950"/>
                  <a:gd name="connsiteX566" fmla="*/ 55817 w 447675"/>
                  <a:gd name="connsiteY566" fmla="*/ 572167 h 742950"/>
                  <a:gd name="connsiteX567" fmla="*/ 54197 w 447675"/>
                  <a:gd name="connsiteY567" fmla="*/ 573024 h 742950"/>
                  <a:gd name="connsiteX568" fmla="*/ 53340 w 447675"/>
                  <a:gd name="connsiteY568" fmla="*/ 574739 h 742950"/>
                  <a:gd name="connsiteX569" fmla="*/ 51625 w 447675"/>
                  <a:gd name="connsiteY569" fmla="*/ 576453 h 742950"/>
                  <a:gd name="connsiteX570" fmla="*/ 50768 w 447675"/>
                  <a:gd name="connsiteY570" fmla="*/ 576453 h 742950"/>
                  <a:gd name="connsiteX571" fmla="*/ 50768 w 447675"/>
                  <a:gd name="connsiteY571" fmla="*/ 576453 h 742950"/>
                  <a:gd name="connsiteX572" fmla="*/ 49911 w 447675"/>
                  <a:gd name="connsiteY572" fmla="*/ 574739 h 742950"/>
                  <a:gd name="connsiteX573" fmla="*/ 47435 w 447675"/>
                  <a:gd name="connsiteY573" fmla="*/ 570452 h 742950"/>
                  <a:gd name="connsiteX574" fmla="*/ 46577 w 447675"/>
                  <a:gd name="connsiteY574" fmla="*/ 569690 h 742950"/>
                  <a:gd name="connsiteX575" fmla="*/ 44006 w 447675"/>
                  <a:gd name="connsiteY575" fmla="*/ 569690 h 742950"/>
                  <a:gd name="connsiteX576" fmla="*/ 41434 w 447675"/>
                  <a:gd name="connsiteY576" fmla="*/ 569690 h 742950"/>
                  <a:gd name="connsiteX577" fmla="*/ 39815 w 447675"/>
                  <a:gd name="connsiteY577" fmla="*/ 569690 h 742950"/>
                  <a:gd name="connsiteX578" fmla="*/ 38100 w 447675"/>
                  <a:gd name="connsiteY578" fmla="*/ 567119 h 742950"/>
                  <a:gd name="connsiteX579" fmla="*/ 36386 w 447675"/>
                  <a:gd name="connsiteY579" fmla="*/ 562070 h 742950"/>
                  <a:gd name="connsiteX580" fmla="*/ 34671 w 447675"/>
                  <a:gd name="connsiteY580" fmla="*/ 561213 h 742950"/>
                  <a:gd name="connsiteX581" fmla="*/ 32957 w 447675"/>
                  <a:gd name="connsiteY581" fmla="*/ 562070 h 742950"/>
                  <a:gd name="connsiteX582" fmla="*/ 31337 w 447675"/>
                  <a:gd name="connsiteY582" fmla="*/ 562832 h 742950"/>
                  <a:gd name="connsiteX583" fmla="*/ 29623 w 447675"/>
                  <a:gd name="connsiteY583" fmla="*/ 565404 h 742950"/>
                  <a:gd name="connsiteX584" fmla="*/ 28766 w 447675"/>
                  <a:gd name="connsiteY584" fmla="*/ 566261 h 742950"/>
                  <a:gd name="connsiteX585" fmla="*/ 27908 w 447675"/>
                  <a:gd name="connsiteY585" fmla="*/ 567119 h 742950"/>
                  <a:gd name="connsiteX586" fmla="*/ 25432 w 447675"/>
                  <a:gd name="connsiteY586" fmla="*/ 567976 h 742950"/>
                  <a:gd name="connsiteX587" fmla="*/ 24575 w 447675"/>
                  <a:gd name="connsiteY587" fmla="*/ 568833 h 742950"/>
                  <a:gd name="connsiteX588" fmla="*/ 23717 w 447675"/>
                  <a:gd name="connsiteY588" fmla="*/ 569690 h 742950"/>
                  <a:gd name="connsiteX589" fmla="*/ 22003 w 447675"/>
                  <a:gd name="connsiteY589" fmla="*/ 573881 h 742950"/>
                  <a:gd name="connsiteX590" fmla="*/ 21146 w 447675"/>
                  <a:gd name="connsiteY590" fmla="*/ 575596 h 742950"/>
                  <a:gd name="connsiteX591" fmla="*/ 19431 w 447675"/>
                  <a:gd name="connsiteY591" fmla="*/ 576453 h 742950"/>
                  <a:gd name="connsiteX592" fmla="*/ 16954 w 447675"/>
                  <a:gd name="connsiteY592" fmla="*/ 577310 h 742950"/>
                  <a:gd name="connsiteX593" fmla="*/ 16097 w 447675"/>
                  <a:gd name="connsiteY593" fmla="*/ 578072 h 742950"/>
                  <a:gd name="connsiteX594" fmla="*/ 15240 w 447675"/>
                  <a:gd name="connsiteY594" fmla="*/ 579787 h 742950"/>
                  <a:gd name="connsiteX595" fmla="*/ 12668 w 447675"/>
                  <a:gd name="connsiteY595" fmla="*/ 589121 h 742950"/>
                  <a:gd name="connsiteX596" fmla="*/ 12668 w 447675"/>
                  <a:gd name="connsiteY596" fmla="*/ 590836 h 742950"/>
                  <a:gd name="connsiteX597" fmla="*/ 11811 w 447675"/>
                  <a:gd name="connsiteY597" fmla="*/ 593312 h 742950"/>
                  <a:gd name="connsiteX598" fmla="*/ 9335 w 447675"/>
                  <a:gd name="connsiteY598" fmla="*/ 597599 h 742950"/>
                  <a:gd name="connsiteX599" fmla="*/ 3429 w 447675"/>
                  <a:gd name="connsiteY599" fmla="*/ 604361 h 742950"/>
                  <a:gd name="connsiteX600" fmla="*/ 1715 w 447675"/>
                  <a:gd name="connsiteY600" fmla="*/ 609410 h 742950"/>
                  <a:gd name="connsiteX601" fmla="*/ 1715 w 447675"/>
                  <a:gd name="connsiteY601" fmla="*/ 612839 h 742950"/>
                  <a:gd name="connsiteX602" fmla="*/ 2572 w 447675"/>
                  <a:gd name="connsiteY602" fmla="*/ 616172 h 742950"/>
                  <a:gd name="connsiteX603" fmla="*/ 9335 w 447675"/>
                  <a:gd name="connsiteY603" fmla="*/ 623792 h 742950"/>
                  <a:gd name="connsiteX604" fmla="*/ 10192 w 447675"/>
                  <a:gd name="connsiteY604" fmla="*/ 626364 h 742950"/>
                  <a:gd name="connsiteX605" fmla="*/ 8477 w 447675"/>
                  <a:gd name="connsiteY605" fmla="*/ 628936 h 742950"/>
                  <a:gd name="connsiteX606" fmla="*/ 1715 w 447675"/>
                  <a:gd name="connsiteY606" fmla="*/ 632270 h 742950"/>
                  <a:gd name="connsiteX607" fmla="*/ 857 w 447675"/>
                  <a:gd name="connsiteY607" fmla="*/ 633984 h 742950"/>
                  <a:gd name="connsiteX608" fmla="*/ 0 w 447675"/>
                  <a:gd name="connsiteY608" fmla="*/ 634841 h 742950"/>
                  <a:gd name="connsiteX609" fmla="*/ 0 w 447675"/>
                  <a:gd name="connsiteY609" fmla="*/ 636556 h 742950"/>
                  <a:gd name="connsiteX610" fmla="*/ 857 w 447675"/>
                  <a:gd name="connsiteY610" fmla="*/ 638175 h 742950"/>
                  <a:gd name="connsiteX611" fmla="*/ 1715 w 447675"/>
                  <a:gd name="connsiteY611" fmla="*/ 639890 h 742950"/>
                  <a:gd name="connsiteX612" fmla="*/ 2572 w 447675"/>
                  <a:gd name="connsiteY612" fmla="*/ 639890 h 742950"/>
                  <a:gd name="connsiteX613" fmla="*/ 4191 w 447675"/>
                  <a:gd name="connsiteY613" fmla="*/ 639890 h 742950"/>
                  <a:gd name="connsiteX614" fmla="*/ 5048 w 447675"/>
                  <a:gd name="connsiteY614" fmla="*/ 640747 h 742950"/>
                  <a:gd name="connsiteX615" fmla="*/ 5906 w 447675"/>
                  <a:gd name="connsiteY615" fmla="*/ 642461 h 742950"/>
                  <a:gd name="connsiteX616" fmla="*/ 5906 w 447675"/>
                  <a:gd name="connsiteY616" fmla="*/ 643319 h 742950"/>
                  <a:gd name="connsiteX617" fmla="*/ 6763 w 447675"/>
                  <a:gd name="connsiteY617" fmla="*/ 644938 h 742950"/>
                  <a:gd name="connsiteX618" fmla="*/ 6763 w 447675"/>
                  <a:gd name="connsiteY618" fmla="*/ 646652 h 742950"/>
                  <a:gd name="connsiteX619" fmla="*/ 6763 w 447675"/>
                  <a:gd name="connsiteY619" fmla="*/ 648367 h 742950"/>
                  <a:gd name="connsiteX620" fmla="*/ 7620 w 447675"/>
                  <a:gd name="connsiteY620" fmla="*/ 649224 h 742950"/>
                  <a:gd name="connsiteX621" fmla="*/ 8477 w 447675"/>
                  <a:gd name="connsiteY621" fmla="*/ 650939 h 742950"/>
                  <a:gd name="connsiteX622" fmla="*/ 9335 w 447675"/>
                  <a:gd name="connsiteY622" fmla="*/ 651701 h 742950"/>
                  <a:gd name="connsiteX623" fmla="*/ 10192 w 447675"/>
                  <a:gd name="connsiteY623" fmla="*/ 653415 h 742950"/>
                  <a:gd name="connsiteX624" fmla="*/ 10192 w 447675"/>
                  <a:gd name="connsiteY624" fmla="*/ 654272 h 742950"/>
                  <a:gd name="connsiteX625" fmla="*/ 11811 w 447675"/>
                  <a:gd name="connsiteY625" fmla="*/ 653415 h 742950"/>
                  <a:gd name="connsiteX626" fmla="*/ 12668 w 447675"/>
                  <a:gd name="connsiteY626" fmla="*/ 651701 h 742950"/>
                  <a:gd name="connsiteX627" fmla="*/ 12668 w 447675"/>
                  <a:gd name="connsiteY627" fmla="*/ 650939 h 742950"/>
                  <a:gd name="connsiteX628" fmla="*/ 13525 w 447675"/>
                  <a:gd name="connsiteY628" fmla="*/ 651701 h 742950"/>
                  <a:gd name="connsiteX629" fmla="*/ 14383 w 447675"/>
                  <a:gd name="connsiteY629" fmla="*/ 652558 h 742950"/>
                  <a:gd name="connsiteX630" fmla="*/ 15240 w 447675"/>
                  <a:gd name="connsiteY630" fmla="*/ 654272 h 742950"/>
                  <a:gd name="connsiteX631" fmla="*/ 16954 w 447675"/>
                  <a:gd name="connsiteY631" fmla="*/ 654272 h 742950"/>
                  <a:gd name="connsiteX632" fmla="*/ 18574 w 447675"/>
                  <a:gd name="connsiteY632" fmla="*/ 653415 h 742950"/>
                  <a:gd name="connsiteX633" fmla="*/ 22860 w 447675"/>
                  <a:gd name="connsiteY633" fmla="*/ 652558 h 742950"/>
                  <a:gd name="connsiteX634" fmla="*/ 25432 w 447675"/>
                  <a:gd name="connsiteY634" fmla="*/ 652558 h 742950"/>
                  <a:gd name="connsiteX635" fmla="*/ 27051 w 447675"/>
                  <a:gd name="connsiteY635" fmla="*/ 653415 h 742950"/>
                  <a:gd name="connsiteX636" fmla="*/ 28766 w 447675"/>
                  <a:gd name="connsiteY636" fmla="*/ 655130 h 742950"/>
                  <a:gd name="connsiteX637" fmla="*/ 29623 w 447675"/>
                  <a:gd name="connsiteY637" fmla="*/ 655987 h 742950"/>
                  <a:gd name="connsiteX638" fmla="*/ 32195 w 447675"/>
                  <a:gd name="connsiteY638" fmla="*/ 656844 h 742950"/>
                  <a:gd name="connsiteX639" fmla="*/ 33814 w 447675"/>
                  <a:gd name="connsiteY639" fmla="*/ 657701 h 742950"/>
                  <a:gd name="connsiteX640" fmla="*/ 35528 w 447675"/>
                  <a:gd name="connsiteY640" fmla="*/ 660178 h 742950"/>
                  <a:gd name="connsiteX641" fmla="*/ 40577 w 447675"/>
                  <a:gd name="connsiteY641" fmla="*/ 665321 h 742950"/>
                  <a:gd name="connsiteX642" fmla="*/ 42291 w 447675"/>
                  <a:gd name="connsiteY642" fmla="*/ 667798 h 742950"/>
                  <a:gd name="connsiteX643" fmla="*/ 44863 w 447675"/>
                  <a:gd name="connsiteY643" fmla="*/ 670370 h 742950"/>
                  <a:gd name="connsiteX644" fmla="*/ 46577 w 447675"/>
                  <a:gd name="connsiteY644" fmla="*/ 672941 h 742950"/>
                  <a:gd name="connsiteX645" fmla="*/ 48197 w 447675"/>
                  <a:gd name="connsiteY645" fmla="*/ 674561 h 742950"/>
                  <a:gd name="connsiteX646" fmla="*/ 49054 w 447675"/>
                  <a:gd name="connsiteY646" fmla="*/ 676275 h 742950"/>
                  <a:gd name="connsiteX647" fmla="*/ 49911 w 447675"/>
                  <a:gd name="connsiteY647" fmla="*/ 677990 h 742950"/>
                  <a:gd name="connsiteX648" fmla="*/ 50768 w 447675"/>
                  <a:gd name="connsiteY648" fmla="*/ 682181 h 742950"/>
                  <a:gd name="connsiteX649" fmla="*/ 54197 w 447675"/>
                  <a:gd name="connsiteY649" fmla="*/ 688181 h 742950"/>
                  <a:gd name="connsiteX650" fmla="*/ 56674 w 447675"/>
                  <a:gd name="connsiteY650" fmla="*/ 692372 h 742950"/>
                  <a:gd name="connsiteX651" fmla="*/ 56674 w 447675"/>
                  <a:gd name="connsiteY651" fmla="*/ 694087 h 742950"/>
                  <a:gd name="connsiteX652" fmla="*/ 56674 w 447675"/>
                  <a:gd name="connsiteY652" fmla="*/ 694944 h 742950"/>
                  <a:gd name="connsiteX653" fmla="*/ 56674 w 447675"/>
                  <a:gd name="connsiteY653" fmla="*/ 695801 h 742950"/>
                  <a:gd name="connsiteX654" fmla="*/ 55817 w 447675"/>
                  <a:gd name="connsiteY654" fmla="*/ 696563 h 742950"/>
                  <a:gd name="connsiteX655" fmla="*/ 54197 w 447675"/>
                  <a:gd name="connsiteY655" fmla="*/ 697421 h 742950"/>
                  <a:gd name="connsiteX656" fmla="*/ 53340 w 447675"/>
                  <a:gd name="connsiteY656" fmla="*/ 697421 h 742950"/>
                  <a:gd name="connsiteX657" fmla="*/ 52483 w 447675"/>
                  <a:gd name="connsiteY657" fmla="*/ 698278 h 742950"/>
                  <a:gd name="connsiteX658" fmla="*/ 52483 w 447675"/>
                  <a:gd name="connsiteY658" fmla="*/ 699992 h 742950"/>
                  <a:gd name="connsiteX659" fmla="*/ 52483 w 447675"/>
                  <a:gd name="connsiteY659" fmla="*/ 700850 h 742950"/>
                  <a:gd name="connsiteX660" fmla="*/ 52483 w 447675"/>
                  <a:gd name="connsiteY660" fmla="*/ 702564 h 742950"/>
                  <a:gd name="connsiteX661" fmla="*/ 53340 w 447675"/>
                  <a:gd name="connsiteY661" fmla="*/ 703421 h 742950"/>
                  <a:gd name="connsiteX662" fmla="*/ 54959 w 447675"/>
                  <a:gd name="connsiteY662" fmla="*/ 703421 h 742950"/>
                  <a:gd name="connsiteX663" fmla="*/ 57531 w 447675"/>
                  <a:gd name="connsiteY663" fmla="*/ 703421 h 742950"/>
                  <a:gd name="connsiteX664" fmla="*/ 58388 w 447675"/>
                  <a:gd name="connsiteY664" fmla="*/ 703421 h 742950"/>
                  <a:gd name="connsiteX665" fmla="*/ 59246 w 447675"/>
                  <a:gd name="connsiteY665" fmla="*/ 702564 h 742950"/>
                  <a:gd name="connsiteX666" fmla="*/ 60103 w 447675"/>
                  <a:gd name="connsiteY666" fmla="*/ 702564 h 742950"/>
                  <a:gd name="connsiteX667" fmla="*/ 60103 w 447675"/>
                  <a:gd name="connsiteY667" fmla="*/ 701707 h 742950"/>
                  <a:gd name="connsiteX668" fmla="*/ 60960 w 447675"/>
                  <a:gd name="connsiteY668" fmla="*/ 701707 h 742950"/>
                  <a:gd name="connsiteX669" fmla="*/ 60960 w 447675"/>
                  <a:gd name="connsiteY669" fmla="*/ 699135 h 742950"/>
                  <a:gd name="connsiteX670" fmla="*/ 61817 w 447675"/>
                  <a:gd name="connsiteY670" fmla="*/ 698278 h 742950"/>
                  <a:gd name="connsiteX671" fmla="*/ 61817 w 447675"/>
                  <a:gd name="connsiteY671" fmla="*/ 698278 h 742950"/>
                  <a:gd name="connsiteX672" fmla="*/ 62579 w 447675"/>
                  <a:gd name="connsiteY672" fmla="*/ 697421 h 742950"/>
                  <a:gd name="connsiteX673" fmla="*/ 63437 w 447675"/>
                  <a:gd name="connsiteY673" fmla="*/ 697421 h 742950"/>
                  <a:gd name="connsiteX674" fmla="*/ 65151 w 447675"/>
                  <a:gd name="connsiteY674" fmla="*/ 698278 h 742950"/>
                  <a:gd name="connsiteX675" fmla="*/ 65151 w 447675"/>
                  <a:gd name="connsiteY675" fmla="*/ 699992 h 742950"/>
                  <a:gd name="connsiteX676" fmla="*/ 66008 w 447675"/>
                  <a:gd name="connsiteY676" fmla="*/ 701707 h 742950"/>
                  <a:gd name="connsiteX677" fmla="*/ 66008 w 447675"/>
                  <a:gd name="connsiteY677" fmla="*/ 702564 h 742950"/>
                  <a:gd name="connsiteX678" fmla="*/ 66008 w 447675"/>
                  <a:gd name="connsiteY678" fmla="*/ 704183 h 742950"/>
                  <a:gd name="connsiteX679" fmla="*/ 66866 w 447675"/>
                  <a:gd name="connsiteY679" fmla="*/ 705898 h 742950"/>
                  <a:gd name="connsiteX680" fmla="*/ 67723 w 447675"/>
                  <a:gd name="connsiteY680" fmla="*/ 706755 h 742950"/>
                  <a:gd name="connsiteX681" fmla="*/ 69437 w 447675"/>
                  <a:gd name="connsiteY681" fmla="*/ 706755 h 742950"/>
                  <a:gd name="connsiteX682" fmla="*/ 70199 w 447675"/>
                  <a:gd name="connsiteY682" fmla="*/ 705898 h 742950"/>
                  <a:gd name="connsiteX683" fmla="*/ 73628 w 447675"/>
                  <a:gd name="connsiteY683" fmla="*/ 705041 h 742950"/>
                  <a:gd name="connsiteX684" fmla="*/ 74486 w 447675"/>
                  <a:gd name="connsiteY684" fmla="*/ 704183 h 742950"/>
                  <a:gd name="connsiteX685" fmla="*/ 76200 w 447675"/>
                  <a:gd name="connsiteY685" fmla="*/ 705041 h 742950"/>
                  <a:gd name="connsiteX686" fmla="*/ 77057 w 447675"/>
                  <a:gd name="connsiteY686" fmla="*/ 705041 h 742950"/>
                  <a:gd name="connsiteX687" fmla="*/ 77819 w 447675"/>
                  <a:gd name="connsiteY687" fmla="*/ 705898 h 742950"/>
                  <a:gd name="connsiteX688" fmla="*/ 77057 w 447675"/>
                  <a:gd name="connsiteY688" fmla="*/ 707612 h 742950"/>
                  <a:gd name="connsiteX689" fmla="*/ 76200 w 447675"/>
                  <a:gd name="connsiteY689" fmla="*/ 709327 h 742950"/>
                  <a:gd name="connsiteX690" fmla="*/ 75343 w 447675"/>
                  <a:gd name="connsiteY690" fmla="*/ 710946 h 742950"/>
                  <a:gd name="connsiteX691" fmla="*/ 75343 w 447675"/>
                  <a:gd name="connsiteY691" fmla="*/ 712661 h 742950"/>
                  <a:gd name="connsiteX692" fmla="*/ 75343 w 447675"/>
                  <a:gd name="connsiteY692" fmla="*/ 715232 h 742950"/>
                  <a:gd name="connsiteX693" fmla="*/ 75343 w 447675"/>
                  <a:gd name="connsiteY693" fmla="*/ 716947 h 742950"/>
                  <a:gd name="connsiteX694" fmla="*/ 76200 w 447675"/>
                  <a:gd name="connsiteY694" fmla="*/ 719423 h 742950"/>
                  <a:gd name="connsiteX695" fmla="*/ 77057 w 447675"/>
                  <a:gd name="connsiteY695" fmla="*/ 721138 h 742950"/>
                  <a:gd name="connsiteX696" fmla="*/ 78677 w 447675"/>
                  <a:gd name="connsiteY696" fmla="*/ 724567 h 742950"/>
                  <a:gd name="connsiteX697" fmla="*/ 79534 w 447675"/>
                  <a:gd name="connsiteY697" fmla="*/ 726186 h 742950"/>
                  <a:gd name="connsiteX698" fmla="*/ 80391 w 447675"/>
                  <a:gd name="connsiteY698" fmla="*/ 740569 h 742950"/>
                  <a:gd name="connsiteX699" fmla="*/ 82106 w 447675"/>
                  <a:gd name="connsiteY699" fmla="*/ 744855 h 742950"/>
                  <a:gd name="connsiteX700" fmla="*/ 83820 w 447675"/>
                  <a:gd name="connsiteY700" fmla="*/ 747427 h 742950"/>
                  <a:gd name="connsiteX701" fmla="*/ 85439 w 447675"/>
                  <a:gd name="connsiteY701" fmla="*/ 748189 h 742950"/>
                  <a:gd name="connsiteX702" fmla="*/ 87154 w 447675"/>
                  <a:gd name="connsiteY702" fmla="*/ 748189 h 742950"/>
                  <a:gd name="connsiteX703" fmla="*/ 88011 w 447675"/>
                  <a:gd name="connsiteY703" fmla="*/ 747427 h 742950"/>
                  <a:gd name="connsiteX704" fmla="*/ 90583 w 447675"/>
                  <a:gd name="connsiteY704" fmla="*/ 745712 h 742950"/>
                  <a:gd name="connsiteX705" fmla="*/ 93917 w 447675"/>
                  <a:gd name="connsiteY705" fmla="*/ 743998 h 742950"/>
                  <a:gd name="connsiteX706" fmla="*/ 96488 w 447675"/>
                  <a:gd name="connsiteY706" fmla="*/ 742283 h 742950"/>
                  <a:gd name="connsiteX707" fmla="*/ 98203 w 447675"/>
                  <a:gd name="connsiteY707" fmla="*/ 741426 h 742950"/>
                  <a:gd name="connsiteX708" fmla="*/ 99060 w 447675"/>
                  <a:gd name="connsiteY708" fmla="*/ 741426 h 742950"/>
                  <a:gd name="connsiteX709" fmla="*/ 99822 w 447675"/>
                  <a:gd name="connsiteY709" fmla="*/ 741426 h 742950"/>
                  <a:gd name="connsiteX710" fmla="*/ 101537 w 447675"/>
                  <a:gd name="connsiteY710" fmla="*/ 741426 h 742950"/>
                  <a:gd name="connsiteX711" fmla="*/ 104108 w 447675"/>
                  <a:gd name="connsiteY711" fmla="*/ 743141 h 742950"/>
                  <a:gd name="connsiteX712" fmla="*/ 106585 w 447675"/>
                  <a:gd name="connsiteY712" fmla="*/ 744855 h 742950"/>
                  <a:gd name="connsiteX713" fmla="*/ 109157 w 447675"/>
                  <a:gd name="connsiteY713" fmla="*/ 744855 h 742950"/>
                  <a:gd name="connsiteX714" fmla="*/ 111728 w 447675"/>
                  <a:gd name="connsiteY714" fmla="*/ 744855 h 742950"/>
                  <a:gd name="connsiteX715" fmla="*/ 116777 w 447675"/>
                  <a:gd name="connsiteY715" fmla="*/ 743998 h 742950"/>
                  <a:gd name="connsiteX716" fmla="*/ 125254 w 447675"/>
                  <a:gd name="connsiteY716" fmla="*/ 744855 h 742950"/>
                  <a:gd name="connsiteX717" fmla="*/ 125254 w 447675"/>
                  <a:gd name="connsiteY717" fmla="*/ 743141 h 742950"/>
                  <a:gd name="connsiteX718" fmla="*/ 125254 w 447675"/>
                  <a:gd name="connsiteY718" fmla="*/ 741426 h 742950"/>
                  <a:gd name="connsiteX719" fmla="*/ 125254 w 447675"/>
                  <a:gd name="connsiteY719" fmla="*/ 738950 h 742950"/>
                  <a:gd name="connsiteX720" fmla="*/ 125254 w 447675"/>
                  <a:gd name="connsiteY720" fmla="*/ 737235 h 742950"/>
                  <a:gd name="connsiteX721" fmla="*/ 125254 w 447675"/>
                  <a:gd name="connsiteY721" fmla="*/ 736378 h 742950"/>
                  <a:gd name="connsiteX722" fmla="*/ 126111 w 447675"/>
                  <a:gd name="connsiteY722" fmla="*/ 736378 h 742950"/>
                  <a:gd name="connsiteX723" fmla="*/ 126111 w 447675"/>
                  <a:gd name="connsiteY723" fmla="*/ 735521 h 742950"/>
                  <a:gd name="connsiteX724" fmla="*/ 126968 w 447675"/>
                  <a:gd name="connsiteY724" fmla="*/ 735521 h 742950"/>
                  <a:gd name="connsiteX725" fmla="*/ 127825 w 447675"/>
                  <a:gd name="connsiteY725" fmla="*/ 735521 h 742950"/>
                  <a:gd name="connsiteX726" fmla="*/ 127825 w 447675"/>
                  <a:gd name="connsiteY726" fmla="*/ 735521 h 742950"/>
                  <a:gd name="connsiteX727" fmla="*/ 128588 w 447675"/>
                  <a:gd name="connsiteY727" fmla="*/ 736378 h 742950"/>
                  <a:gd name="connsiteX728" fmla="*/ 129445 w 447675"/>
                  <a:gd name="connsiteY728" fmla="*/ 736378 h 742950"/>
                  <a:gd name="connsiteX729" fmla="*/ 129445 w 447675"/>
                  <a:gd name="connsiteY729" fmla="*/ 736378 h 742950"/>
                  <a:gd name="connsiteX730" fmla="*/ 130302 w 447675"/>
                  <a:gd name="connsiteY730" fmla="*/ 736378 h 742950"/>
                  <a:gd name="connsiteX731" fmla="*/ 130302 w 447675"/>
                  <a:gd name="connsiteY731" fmla="*/ 736378 h 742950"/>
                  <a:gd name="connsiteX732" fmla="*/ 131159 w 447675"/>
                  <a:gd name="connsiteY732" fmla="*/ 735521 h 742950"/>
                  <a:gd name="connsiteX733" fmla="*/ 131159 w 447675"/>
                  <a:gd name="connsiteY733" fmla="*/ 734663 h 742950"/>
                  <a:gd name="connsiteX734" fmla="*/ 131159 w 447675"/>
                  <a:gd name="connsiteY734" fmla="*/ 733806 h 742950"/>
                  <a:gd name="connsiteX735" fmla="*/ 131159 w 447675"/>
                  <a:gd name="connsiteY735" fmla="*/ 732187 h 742950"/>
                  <a:gd name="connsiteX736" fmla="*/ 132017 w 447675"/>
                  <a:gd name="connsiteY736" fmla="*/ 731330 h 742950"/>
                  <a:gd name="connsiteX737" fmla="*/ 132017 w 447675"/>
                  <a:gd name="connsiteY737" fmla="*/ 729615 h 742950"/>
                  <a:gd name="connsiteX738" fmla="*/ 132874 w 447675"/>
                  <a:gd name="connsiteY738" fmla="*/ 728758 h 742950"/>
                  <a:gd name="connsiteX739" fmla="*/ 133731 w 447675"/>
                  <a:gd name="connsiteY739" fmla="*/ 727901 h 742950"/>
                  <a:gd name="connsiteX740" fmla="*/ 134588 w 447675"/>
                  <a:gd name="connsiteY740" fmla="*/ 727043 h 742950"/>
                  <a:gd name="connsiteX741" fmla="*/ 134588 w 447675"/>
                  <a:gd name="connsiteY741" fmla="*/ 725424 h 742950"/>
                  <a:gd name="connsiteX742" fmla="*/ 135446 w 447675"/>
                  <a:gd name="connsiteY742" fmla="*/ 722852 h 742950"/>
                  <a:gd name="connsiteX743" fmla="*/ 135446 w 447675"/>
                  <a:gd name="connsiteY743" fmla="*/ 719423 h 742950"/>
                  <a:gd name="connsiteX744" fmla="*/ 134588 w 447675"/>
                  <a:gd name="connsiteY744" fmla="*/ 717804 h 742950"/>
                  <a:gd name="connsiteX745" fmla="*/ 134588 w 447675"/>
                  <a:gd name="connsiteY745" fmla="*/ 717804 h 742950"/>
                  <a:gd name="connsiteX746" fmla="*/ 135446 w 447675"/>
                  <a:gd name="connsiteY746" fmla="*/ 716090 h 742950"/>
                  <a:gd name="connsiteX747" fmla="*/ 135446 w 447675"/>
                  <a:gd name="connsiteY747" fmla="*/ 715232 h 742950"/>
                  <a:gd name="connsiteX748" fmla="*/ 136208 w 447675"/>
                  <a:gd name="connsiteY748" fmla="*/ 714375 h 742950"/>
                  <a:gd name="connsiteX749" fmla="*/ 137065 w 447675"/>
                  <a:gd name="connsiteY749" fmla="*/ 713518 h 742950"/>
                  <a:gd name="connsiteX750" fmla="*/ 137065 w 447675"/>
                  <a:gd name="connsiteY750" fmla="*/ 713518 h 742950"/>
                  <a:gd name="connsiteX751" fmla="*/ 137922 w 447675"/>
                  <a:gd name="connsiteY751" fmla="*/ 712661 h 742950"/>
                  <a:gd name="connsiteX752" fmla="*/ 138779 w 447675"/>
                  <a:gd name="connsiteY752" fmla="*/ 709327 h 742950"/>
                  <a:gd name="connsiteX753" fmla="*/ 138779 w 447675"/>
                  <a:gd name="connsiteY753" fmla="*/ 706755 h 742950"/>
                  <a:gd name="connsiteX754" fmla="*/ 139637 w 447675"/>
                  <a:gd name="connsiteY754" fmla="*/ 705041 h 742950"/>
                  <a:gd name="connsiteX755" fmla="*/ 139637 w 447675"/>
                  <a:gd name="connsiteY755" fmla="*/ 704183 h 742950"/>
                  <a:gd name="connsiteX756" fmla="*/ 139637 w 447675"/>
                  <a:gd name="connsiteY756" fmla="*/ 702564 h 742950"/>
                  <a:gd name="connsiteX757" fmla="*/ 138779 w 447675"/>
                  <a:gd name="connsiteY757" fmla="*/ 700850 h 742950"/>
                  <a:gd name="connsiteX758" fmla="*/ 138779 w 447675"/>
                  <a:gd name="connsiteY758" fmla="*/ 700850 h 742950"/>
                  <a:gd name="connsiteX759" fmla="*/ 138779 w 447675"/>
                  <a:gd name="connsiteY759" fmla="*/ 699992 h 742950"/>
                  <a:gd name="connsiteX760" fmla="*/ 138779 w 447675"/>
                  <a:gd name="connsiteY760" fmla="*/ 699135 h 742950"/>
                  <a:gd name="connsiteX761" fmla="*/ 138779 w 447675"/>
                  <a:gd name="connsiteY761" fmla="*/ 698278 h 742950"/>
                  <a:gd name="connsiteX762" fmla="*/ 139637 w 447675"/>
                  <a:gd name="connsiteY762" fmla="*/ 697421 h 742950"/>
                  <a:gd name="connsiteX763" fmla="*/ 140494 w 447675"/>
                  <a:gd name="connsiteY763" fmla="*/ 695801 h 742950"/>
                  <a:gd name="connsiteX764" fmla="*/ 141351 w 447675"/>
                  <a:gd name="connsiteY764" fmla="*/ 692372 h 742950"/>
                  <a:gd name="connsiteX765" fmla="*/ 142208 w 447675"/>
                  <a:gd name="connsiteY765" fmla="*/ 691515 h 742950"/>
                  <a:gd name="connsiteX766" fmla="*/ 143066 w 447675"/>
                  <a:gd name="connsiteY766" fmla="*/ 691515 h 742950"/>
                  <a:gd name="connsiteX767" fmla="*/ 143066 w 447675"/>
                  <a:gd name="connsiteY767" fmla="*/ 691515 h 742950"/>
                  <a:gd name="connsiteX768" fmla="*/ 143828 w 447675"/>
                  <a:gd name="connsiteY768" fmla="*/ 691515 h 742950"/>
                  <a:gd name="connsiteX769" fmla="*/ 145542 w 447675"/>
                  <a:gd name="connsiteY769" fmla="*/ 691515 h 742950"/>
                  <a:gd name="connsiteX770" fmla="*/ 147257 w 447675"/>
                  <a:gd name="connsiteY770" fmla="*/ 690658 h 742950"/>
                  <a:gd name="connsiteX771" fmla="*/ 152305 w 447675"/>
                  <a:gd name="connsiteY771" fmla="*/ 688943 h 742950"/>
                  <a:gd name="connsiteX772" fmla="*/ 154019 w 447675"/>
                  <a:gd name="connsiteY772" fmla="*/ 688181 h 742950"/>
                  <a:gd name="connsiteX773" fmla="*/ 154877 w 447675"/>
                  <a:gd name="connsiteY773" fmla="*/ 687324 h 742950"/>
                  <a:gd name="connsiteX774" fmla="*/ 155734 w 447675"/>
                  <a:gd name="connsiteY774" fmla="*/ 684752 h 742950"/>
                  <a:gd name="connsiteX775" fmla="*/ 156591 w 447675"/>
                  <a:gd name="connsiteY775" fmla="*/ 684752 h 742950"/>
                  <a:gd name="connsiteX776" fmla="*/ 157448 w 447675"/>
                  <a:gd name="connsiteY776" fmla="*/ 683895 h 742950"/>
                  <a:gd name="connsiteX777" fmla="*/ 158210 w 447675"/>
                  <a:gd name="connsiteY777" fmla="*/ 683895 h 742950"/>
                  <a:gd name="connsiteX778" fmla="*/ 160782 w 447675"/>
                  <a:gd name="connsiteY778" fmla="*/ 683038 h 742950"/>
                  <a:gd name="connsiteX779" fmla="*/ 161639 w 447675"/>
                  <a:gd name="connsiteY779" fmla="*/ 683038 h 742950"/>
                  <a:gd name="connsiteX780" fmla="*/ 162497 w 447675"/>
                  <a:gd name="connsiteY780" fmla="*/ 682181 h 742950"/>
                  <a:gd name="connsiteX781" fmla="*/ 163354 w 447675"/>
                  <a:gd name="connsiteY781" fmla="*/ 681323 h 742950"/>
                  <a:gd name="connsiteX782" fmla="*/ 166688 w 447675"/>
                  <a:gd name="connsiteY782" fmla="*/ 674561 h 742950"/>
                  <a:gd name="connsiteX783" fmla="*/ 169259 w 447675"/>
                  <a:gd name="connsiteY783" fmla="*/ 672084 h 742950"/>
                  <a:gd name="connsiteX784" fmla="*/ 170974 w 447675"/>
                  <a:gd name="connsiteY784" fmla="*/ 670370 h 742950"/>
                  <a:gd name="connsiteX785" fmla="*/ 175165 w 447675"/>
                  <a:gd name="connsiteY785" fmla="*/ 666941 h 742950"/>
                  <a:gd name="connsiteX786" fmla="*/ 177737 w 447675"/>
                  <a:gd name="connsiteY786" fmla="*/ 663607 h 742950"/>
                  <a:gd name="connsiteX787" fmla="*/ 180213 w 447675"/>
                  <a:gd name="connsiteY787" fmla="*/ 661892 h 742950"/>
                  <a:gd name="connsiteX788" fmla="*/ 182785 w 447675"/>
                  <a:gd name="connsiteY788" fmla="*/ 659321 h 742950"/>
                  <a:gd name="connsiteX789" fmla="*/ 183642 w 447675"/>
                  <a:gd name="connsiteY789" fmla="*/ 658559 h 742950"/>
                  <a:gd name="connsiteX790" fmla="*/ 184499 w 447675"/>
                  <a:gd name="connsiteY790" fmla="*/ 658559 h 742950"/>
                  <a:gd name="connsiteX791" fmla="*/ 185357 w 447675"/>
                  <a:gd name="connsiteY791" fmla="*/ 657701 h 742950"/>
                  <a:gd name="connsiteX792" fmla="*/ 186214 w 447675"/>
                  <a:gd name="connsiteY792" fmla="*/ 656844 h 742950"/>
                  <a:gd name="connsiteX793" fmla="*/ 186214 w 447675"/>
                  <a:gd name="connsiteY793" fmla="*/ 655987 h 742950"/>
                  <a:gd name="connsiteX794" fmla="*/ 186214 w 447675"/>
                  <a:gd name="connsiteY794" fmla="*/ 654272 h 742950"/>
                  <a:gd name="connsiteX795" fmla="*/ 185357 w 447675"/>
                  <a:gd name="connsiteY795" fmla="*/ 652558 h 742950"/>
                  <a:gd name="connsiteX796" fmla="*/ 182785 w 447675"/>
                  <a:gd name="connsiteY796" fmla="*/ 651701 h 742950"/>
                  <a:gd name="connsiteX797" fmla="*/ 181928 w 447675"/>
                  <a:gd name="connsiteY797" fmla="*/ 650939 h 742950"/>
                  <a:gd name="connsiteX798" fmla="*/ 181070 w 447675"/>
                  <a:gd name="connsiteY798" fmla="*/ 650939 h 742950"/>
                  <a:gd name="connsiteX799" fmla="*/ 181070 w 447675"/>
                  <a:gd name="connsiteY799" fmla="*/ 650081 h 742950"/>
                  <a:gd name="connsiteX800" fmla="*/ 181070 w 447675"/>
                  <a:gd name="connsiteY800" fmla="*/ 649224 h 742950"/>
                  <a:gd name="connsiteX801" fmla="*/ 181928 w 447675"/>
                  <a:gd name="connsiteY801" fmla="*/ 648367 h 742950"/>
                  <a:gd name="connsiteX802" fmla="*/ 182785 w 447675"/>
                  <a:gd name="connsiteY802" fmla="*/ 648367 h 742950"/>
                  <a:gd name="connsiteX803" fmla="*/ 183642 w 447675"/>
                  <a:gd name="connsiteY803" fmla="*/ 647510 h 742950"/>
                  <a:gd name="connsiteX804" fmla="*/ 184499 w 447675"/>
                  <a:gd name="connsiteY804" fmla="*/ 647510 h 742950"/>
                  <a:gd name="connsiteX805" fmla="*/ 185357 w 447675"/>
                  <a:gd name="connsiteY805" fmla="*/ 647510 h 742950"/>
                  <a:gd name="connsiteX806" fmla="*/ 186214 w 447675"/>
                  <a:gd name="connsiteY806" fmla="*/ 646652 h 742950"/>
                  <a:gd name="connsiteX807" fmla="*/ 187833 w 447675"/>
                  <a:gd name="connsiteY807" fmla="*/ 644081 h 742950"/>
                  <a:gd name="connsiteX808" fmla="*/ 188690 w 447675"/>
                  <a:gd name="connsiteY808" fmla="*/ 643319 h 742950"/>
                  <a:gd name="connsiteX809" fmla="*/ 189548 w 447675"/>
                  <a:gd name="connsiteY809" fmla="*/ 642461 h 742950"/>
                  <a:gd name="connsiteX810" fmla="*/ 191262 w 447675"/>
                  <a:gd name="connsiteY810" fmla="*/ 641604 h 742950"/>
                  <a:gd name="connsiteX811" fmla="*/ 192119 w 447675"/>
                  <a:gd name="connsiteY811" fmla="*/ 640747 h 742950"/>
                  <a:gd name="connsiteX812" fmla="*/ 192977 w 447675"/>
                  <a:gd name="connsiteY812" fmla="*/ 640747 h 742950"/>
                  <a:gd name="connsiteX813" fmla="*/ 197168 w 447675"/>
                  <a:gd name="connsiteY813" fmla="*/ 640747 h 742950"/>
                  <a:gd name="connsiteX814" fmla="*/ 198882 w 447675"/>
                  <a:gd name="connsiteY814" fmla="*/ 639890 h 742950"/>
                  <a:gd name="connsiteX815" fmla="*/ 199739 w 447675"/>
                  <a:gd name="connsiteY815" fmla="*/ 639032 h 742950"/>
                  <a:gd name="connsiteX816" fmla="*/ 200597 w 447675"/>
                  <a:gd name="connsiteY816" fmla="*/ 638175 h 742950"/>
                  <a:gd name="connsiteX817" fmla="*/ 202216 w 447675"/>
                  <a:gd name="connsiteY817" fmla="*/ 633984 h 742950"/>
                  <a:gd name="connsiteX818" fmla="*/ 202216 w 447675"/>
                  <a:gd name="connsiteY818" fmla="*/ 633984 h 742950"/>
                  <a:gd name="connsiteX819" fmla="*/ 203073 w 447675"/>
                  <a:gd name="connsiteY819" fmla="*/ 633127 h 742950"/>
                  <a:gd name="connsiteX820" fmla="*/ 203073 w 447675"/>
                  <a:gd name="connsiteY820" fmla="*/ 633127 h 742950"/>
                  <a:gd name="connsiteX821" fmla="*/ 203930 w 447675"/>
                  <a:gd name="connsiteY821" fmla="*/ 633984 h 742950"/>
                  <a:gd name="connsiteX822" fmla="*/ 205645 w 447675"/>
                  <a:gd name="connsiteY822" fmla="*/ 634841 h 742950"/>
                  <a:gd name="connsiteX823" fmla="*/ 206502 w 447675"/>
                  <a:gd name="connsiteY823" fmla="*/ 635699 h 742950"/>
                  <a:gd name="connsiteX824" fmla="*/ 207359 w 447675"/>
                  <a:gd name="connsiteY824" fmla="*/ 635699 h 742950"/>
                  <a:gd name="connsiteX825" fmla="*/ 208217 w 447675"/>
                  <a:gd name="connsiteY825" fmla="*/ 633984 h 742950"/>
                  <a:gd name="connsiteX826" fmla="*/ 209074 w 447675"/>
                  <a:gd name="connsiteY826" fmla="*/ 632270 h 742950"/>
                  <a:gd name="connsiteX827" fmla="*/ 209074 w 447675"/>
                  <a:gd name="connsiteY827" fmla="*/ 631412 h 742950"/>
                  <a:gd name="connsiteX828" fmla="*/ 209074 w 447675"/>
                  <a:gd name="connsiteY828" fmla="*/ 630555 h 742950"/>
                  <a:gd name="connsiteX829" fmla="*/ 209836 w 447675"/>
                  <a:gd name="connsiteY829" fmla="*/ 625507 h 742950"/>
                  <a:gd name="connsiteX830" fmla="*/ 209836 w 447675"/>
                  <a:gd name="connsiteY830" fmla="*/ 622078 h 742950"/>
                  <a:gd name="connsiteX831" fmla="*/ 210693 w 447675"/>
                  <a:gd name="connsiteY831" fmla="*/ 621316 h 742950"/>
                  <a:gd name="connsiteX832" fmla="*/ 210693 w 447675"/>
                  <a:gd name="connsiteY832" fmla="*/ 620459 h 742950"/>
                  <a:gd name="connsiteX833" fmla="*/ 211550 w 447675"/>
                  <a:gd name="connsiteY833" fmla="*/ 619601 h 742950"/>
                  <a:gd name="connsiteX834" fmla="*/ 211550 w 447675"/>
                  <a:gd name="connsiteY834" fmla="*/ 619601 h 742950"/>
                  <a:gd name="connsiteX835" fmla="*/ 212408 w 447675"/>
                  <a:gd name="connsiteY835" fmla="*/ 618744 h 742950"/>
                  <a:gd name="connsiteX836" fmla="*/ 212408 w 447675"/>
                  <a:gd name="connsiteY836" fmla="*/ 618744 h 742950"/>
                  <a:gd name="connsiteX837" fmla="*/ 213265 w 447675"/>
                  <a:gd name="connsiteY837" fmla="*/ 617887 h 742950"/>
                  <a:gd name="connsiteX838" fmla="*/ 215837 w 447675"/>
                  <a:gd name="connsiteY838" fmla="*/ 617030 h 742950"/>
                  <a:gd name="connsiteX839" fmla="*/ 216599 w 447675"/>
                  <a:gd name="connsiteY839" fmla="*/ 617030 h 742950"/>
                  <a:gd name="connsiteX840" fmla="*/ 216599 w 447675"/>
                  <a:gd name="connsiteY840" fmla="*/ 616172 h 742950"/>
                  <a:gd name="connsiteX841" fmla="*/ 217456 w 447675"/>
                  <a:gd name="connsiteY841" fmla="*/ 614458 h 742950"/>
                  <a:gd name="connsiteX842" fmla="*/ 216599 w 447675"/>
                  <a:gd name="connsiteY842" fmla="*/ 606933 h 742950"/>
                  <a:gd name="connsiteX843" fmla="*/ 216599 w 447675"/>
                  <a:gd name="connsiteY843" fmla="*/ 606076 h 742950"/>
                  <a:gd name="connsiteX844" fmla="*/ 216599 w 447675"/>
                  <a:gd name="connsiteY844" fmla="*/ 605219 h 742950"/>
                  <a:gd name="connsiteX845" fmla="*/ 216599 w 447675"/>
                  <a:gd name="connsiteY845" fmla="*/ 604361 h 742950"/>
                  <a:gd name="connsiteX846" fmla="*/ 214979 w 447675"/>
                  <a:gd name="connsiteY846" fmla="*/ 601790 h 742950"/>
                  <a:gd name="connsiteX847" fmla="*/ 214122 w 447675"/>
                  <a:gd name="connsiteY847" fmla="*/ 600075 h 742950"/>
                  <a:gd name="connsiteX848" fmla="*/ 214122 w 447675"/>
                  <a:gd name="connsiteY848" fmla="*/ 596741 h 742950"/>
                  <a:gd name="connsiteX849" fmla="*/ 213265 w 447675"/>
                  <a:gd name="connsiteY849" fmla="*/ 595884 h 742950"/>
                  <a:gd name="connsiteX850" fmla="*/ 212408 w 447675"/>
                  <a:gd name="connsiteY850" fmla="*/ 595027 h 742950"/>
                  <a:gd name="connsiteX851" fmla="*/ 209836 w 447675"/>
                  <a:gd name="connsiteY851" fmla="*/ 593312 h 742950"/>
                  <a:gd name="connsiteX852" fmla="*/ 209836 w 447675"/>
                  <a:gd name="connsiteY852" fmla="*/ 592455 h 742950"/>
                  <a:gd name="connsiteX853" fmla="*/ 209836 w 447675"/>
                  <a:gd name="connsiteY853" fmla="*/ 591693 h 742950"/>
                  <a:gd name="connsiteX854" fmla="*/ 210693 w 447675"/>
                  <a:gd name="connsiteY854" fmla="*/ 589121 h 742950"/>
                  <a:gd name="connsiteX855" fmla="*/ 210693 w 447675"/>
                  <a:gd name="connsiteY855" fmla="*/ 587407 h 742950"/>
                  <a:gd name="connsiteX856" fmla="*/ 210693 w 447675"/>
                  <a:gd name="connsiteY856" fmla="*/ 585692 h 742950"/>
                  <a:gd name="connsiteX857" fmla="*/ 209074 w 447675"/>
                  <a:gd name="connsiteY857" fmla="*/ 583216 h 742950"/>
                  <a:gd name="connsiteX858" fmla="*/ 208217 w 447675"/>
                  <a:gd name="connsiteY858" fmla="*/ 582359 h 742950"/>
                  <a:gd name="connsiteX859" fmla="*/ 208217 w 447675"/>
                  <a:gd name="connsiteY859" fmla="*/ 580644 h 742950"/>
                  <a:gd name="connsiteX860" fmla="*/ 208217 w 447675"/>
                  <a:gd name="connsiteY860" fmla="*/ 578072 h 742950"/>
                  <a:gd name="connsiteX861" fmla="*/ 208217 w 447675"/>
                  <a:gd name="connsiteY861" fmla="*/ 576453 h 742950"/>
                  <a:gd name="connsiteX862" fmla="*/ 209074 w 447675"/>
                  <a:gd name="connsiteY862" fmla="*/ 575596 h 742950"/>
                  <a:gd name="connsiteX863" fmla="*/ 210693 w 447675"/>
                  <a:gd name="connsiteY863" fmla="*/ 571310 h 742950"/>
                  <a:gd name="connsiteX864" fmla="*/ 210693 w 447675"/>
                  <a:gd name="connsiteY864" fmla="*/ 569690 h 742950"/>
                  <a:gd name="connsiteX865" fmla="*/ 210693 w 447675"/>
                  <a:gd name="connsiteY865" fmla="*/ 568833 h 742950"/>
                  <a:gd name="connsiteX866" fmla="*/ 209836 w 447675"/>
                  <a:gd name="connsiteY866" fmla="*/ 567976 h 742950"/>
                  <a:gd name="connsiteX867" fmla="*/ 208217 w 447675"/>
                  <a:gd name="connsiteY867" fmla="*/ 566261 h 742950"/>
                  <a:gd name="connsiteX868" fmla="*/ 207359 w 447675"/>
                  <a:gd name="connsiteY868" fmla="*/ 566261 h 742950"/>
                  <a:gd name="connsiteX869" fmla="*/ 207359 w 447675"/>
                  <a:gd name="connsiteY869" fmla="*/ 565404 h 742950"/>
                  <a:gd name="connsiteX870" fmla="*/ 207359 w 447675"/>
                  <a:gd name="connsiteY870" fmla="*/ 564547 h 742950"/>
                  <a:gd name="connsiteX871" fmla="*/ 208217 w 447675"/>
                  <a:gd name="connsiteY871" fmla="*/ 563690 h 742950"/>
                  <a:gd name="connsiteX872" fmla="*/ 209836 w 447675"/>
                  <a:gd name="connsiteY872" fmla="*/ 562832 h 742950"/>
                  <a:gd name="connsiteX873" fmla="*/ 210693 w 447675"/>
                  <a:gd name="connsiteY873" fmla="*/ 562070 h 742950"/>
                  <a:gd name="connsiteX874" fmla="*/ 210693 w 447675"/>
                  <a:gd name="connsiteY874" fmla="*/ 560356 h 742950"/>
                  <a:gd name="connsiteX875" fmla="*/ 210693 w 447675"/>
                  <a:gd name="connsiteY875" fmla="*/ 559499 h 742950"/>
                  <a:gd name="connsiteX876" fmla="*/ 209836 w 447675"/>
                  <a:gd name="connsiteY876" fmla="*/ 557784 h 742950"/>
                  <a:gd name="connsiteX877" fmla="*/ 209074 w 447675"/>
                  <a:gd name="connsiteY877" fmla="*/ 556927 h 742950"/>
                  <a:gd name="connsiteX878" fmla="*/ 208217 w 447675"/>
                  <a:gd name="connsiteY878" fmla="*/ 556927 h 742950"/>
                  <a:gd name="connsiteX879" fmla="*/ 204788 w 447675"/>
                  <a:gd name="connsiteY879" fmla="*/ 556070 h 742950"/>
                  <a:gd name="connsiteX880" fmla="*/ 203930 w 447675"/>
                  <a:gd name="connsiteY880" fmla="*/ 556070 h 742950"/>
                  <a:gd name="connsiteX881" fmla="*/ 203930 w 447675"/>
                  <a:gd name="connsiteY881" fmla="*/ 555212 h 742950"/>
                  <a:gd name="connsiteX882" fmla="*/ 203073 w 447675"/>
                  <a:gd name="connsiteY882" fmla="*/ 555212 h 742950"/>
                  <a:gd name="connsiteX883" fmla="*/ 201454 w 447675"/>
                  <a:gd name="connsiteY883" fmla="*/ 551021 h 742950"/>
                  <a:gd name="connsiteX884" fmla="*/ 201454 w 447675"/>
                  <a:gd name="connsiteY884" fmla="*/ 550164 h 742950"/>
                  <a:gd name="connsiteX885" fmla="*/ 200597 w 447675"/>
                  <a:gd name="connsiteY885" fmla="*/ 549307 h 742950"/>
                  <a:gd name="connsiteX886" fmla="*/ 199739 w 447675"/>
                  <a:gd name="connsiteY886" fmla="*/ 549307 h 742950"/>
                  <a:gd name="connsiteX887" fmla="*/ 196310 w 447675"/>
                  <a:gd name="connsiteY887" fmla="*/ 548450 h 742950"/>
                  <a:gd name="connsiteX888" fmla="*/ 195453 w 447675"/>
                  <a:gd name="connsiteY888" fmla="*/ 547592 h 742950"/>
                  <a:gd name="connsiteX889" fmla="*/ 195453 w 447675"/>
                  <a:gd name="connsiteY889" fmla="*/ 546830 h 742950"/>
                  <a:gd name="connsiteX890" fmla="*/ 195453 w 447675"/>
                  <a:gd name="connsiteY890" fmla="*/ 537496 h 742950"/>
                  <a:gd name="connsiteX891" fmla="*/ 196310 w 447675"/>
                  <a:gd name="connsiteY891" fmla="*/ 534067 h 742950"/>
                  <a:gd name="connsiteX892" fmla="*/ 196310 w 447675"/>
                  <a:gd name="connsiteY892" fmla="*/ 532448 h 742950"/>
                  <a:gd name="connsiteX893" fmla="*/ 196310 w 447675"/>
                  <a:gd name="connsiteY893" fmla="*/ 530733 h 742950"/>
                  <a:gd name="connsiteX894" fmla="*/ 195453 w 447675"/>
                  <a:gd name="connsiteY894" fmla="*/ 528161 h 742950"/>
                  <a:gd name="connsiteX895" fmla="*/ 195453 w 447675"/>
                  <a:gd name="connsiteY895" fmla="*/ 525590 h 742950"/>
                  <a:gd name="connsiteX896" fmla="*/ 195453 w 447675"/>
                  <a:gd name="connsiteY896" fmla="*/ 523113 h 742950"/>
                  <a:gd name="connsiteX897" fmla="*/ 196310 w 447675"/>
                  <a:gd name="connsiteY897" fmla="*/ 518827 h 742950"/>
                  <a:gd name="connsiteX898" fmla="*/ 196310 w 447675"/>
                  <a:gd name="connsiteY898" fmla="*/ 517208 h 742950"/>
                  <a:gd name="connsiteX899" fmla="*/ 195453 w 447675"/>
                  <a:gd name="connsiteY899" fmla="*/ 516350 h 742950"/>
                  <a:gd name="connsiteX900" fmla="*/ 193834 w 447675"/>
                  <a:gd name="connsiteY900" fmla="*/ 515493 h 742950"/>
                  <a:gd name="connsiteX901" fmla="*/ 192977 w 447675"/>
                  <a:gd name="connsiteY901" fmla="*/ 515493 h 742950"/>
                  <a:gd name="connsiteX902" fmla="*/ 189548 w 447675"/>
                  <a:gd name="connsiteY902" fmla="*/ 514636 h 742950"/>
                  <a:gd name="connsiteX903" fmla="*/ 188690 w 447675"/>
                  <a:gd name="connsiteY903" fmla="*/ 514636 h 742950"/>
                  <a:gd name="connsiteX904" fmla="*/ 187833 w 447675"/>
                  <a:gd name="connsiteY904" fmla="*/ 513779 h 742950"/>
                  <a:gd name="connsiteX905" fmla="*/ 187071 w 447675"/>
                  <a:gd name="connsiteY905" fmla="*/ 512921 h 742950"/>
                  <a:gd name="connsiteX906" fmla="*/ 186214 w 447675"/>
                  <a:gd name="connsiteY906" fmla="*/ 510445 h 742950"/>
                  <a:gd name="connsiteX907" fmla="*/ 185357 w 447675"/>
                  <a:gd name="connsiteY907" fmla="*/ 508730 h 742950"/>
                  <a:gd name="connsiteX908" fmla="*/ 184499 w 447675"/>
                  <a:gd name="connsiteY908" fmla="*/ 507873 h 742950"/>
                  <a:gd name="connsiteX909" fmla="*/ 175165 w 447675"/>
                  <a:gd name="connsiteY909" fmla="*/ 502825 h 742950"/>
                  <a:gd name="connsiteX910" fmla="*/ 173450 w 447675"/>
                  <a:gd name="connsiteY910" fmla="*/ 501968 h 742950"/>
                  <a:gd name="connsiteX911" fmla="*/ 172593 w 447675"/>
                  <a:gd name="connsiteY911" fmla="*/ 500253 h 742950"/>
                  <a:gd name="connsiteX912" fmla="*/ 171831 w 447675"/>
                  <a:gd name="connsiteY912" fmla="*/ 499396 h 742950"/>
                  <a:gd name="connsiteX913" fmla="*/ 171831 w 447675"/>
                  <a:gd name="connsiteY913" fmla="*/ 497681 h 742950"/>
                  <a:gd name="connsiteX914" fmla="*/ 171831 w 447675"/>
                  <a:gd name="connsiteY914" fmla="*/ 496824 h 742950"/>
                  <a:gd name="connsiteX915" fmla="*/ 171831 w 447675"/>
                  <a:gd name="connsiteY915" fmla="*/ 495205 h 742950"/>
                  <a:gd name="connsiteX916" fmla="*/ 171831 w 447675"/>
                  <a:gd name="connsiteY916" fmla="*/ 494348 h 742950"/>
                  <a:gd name="connsiteX917" fmla="*/ 176879 w 447675"/>
                  <a:gd name="connsiteY917" fmla="*/ 485870 h 742950"/>
                  <a:gd name="connsiteX918" fmla="*/ 177737 w 447675"/>
                  <a:gd name="connsiteY918" fmla="*/ 485013 h 742950"/>
                  <a:gd name="connsiteX919" fmla="*/ 178594 w 447675"/>
                  <a:gd name="connsiteY919" fmla="*/ 484156 h 742950"/>
                  <a:gd name="connsiteX920" fmla="*/ 181070 w 447675"/>
                  <a:gd name="connsiteY920" fmla="*/ 483299 h 742950"/>
                  <a:gd name="connsiteX921" fmla="*/ 184499 w 447675"/>
                  <a:gd name="connsiteY921" fmla="*/ 479108 h 742950"/>
                  <a:gd name="connsiteX922" fmla="*/ 185357 w 447675"/>
                  <a:gd name="connsiteY922" fmla="*/ 478250 h 742950"/>
                  <a:gd name="connsiteX923" fmla="*/ 186214 w 447675"/>
                  <a:gd name="connsiteY923" fmla="*/ 478250 h 742950"/>
                  <a:gd name="connsiteX924" fmla="*/ 187071 w 447675"/>
                  <a:gd name="connsiteY924" fmla="*/ 478250 h 742950"/>
                  <a:gd name="connsiteX925" fmla="*/ 187833 w 447675"/>
                  <a:gd name="connsiteY925" fmla="*/ 479108 h 742950"/>
                  <a:gd name="connsiteX926" fmla="*/ 192977 w 447675"/>
                  <a:gd name="connsiteY926" fmla="*/ 485013 h 742950"/>
                  <a:gd name="connsiteX927" fmla="*/ 193834 w 447675"/>
                  <a:gd name="connsiteY927" fmla="*/ 485870 h 742950"/>
                  <a:gd name="connsiteX928" fmla="*/ 193834 w 447675"/>
                  <a:gd name="connsiteY928" fmla="*/ 486728 h 742950"/>
                  <a:gd name="connsiteX929" fmla="*/ 193834 w 447675"/>
                  <a:gd name="connsiteY929" fmla="*/ 487585 h 742950"/>
                  <a:gd name="connsiteX930" fmla="*/ 193834 w 447675"/>
                  <a:gd name="connsiteY930" fmla="*/ 488347 h 742950"/>
                  <a:gd name="connsiteX931" fmla="*/ 194596 w 447675"/>
                  <a:gd name="connsiteY931" fmla="*/ 489204 h 742950"/>
                  <a:gd name="connsiteX932" fmla="*/ 195453 w 447675"/>
                  <a:gd name="connsiteY932" fmla="*/ 489204 h 742950"/>
                  <a:gd name="connsiteX933" fmla="*/ 196310 w 447675"/>
                  <a:gd name="connsiteY933" fmla="*/ 488347 h 742950"/>
                  <a:gd name="connsiteX934" fmla="*/ 197168 w 447675"/>
                  <a:gd name="connsiteY934" fmla="*/ 488347 h 742950"/>
                  <a:gd name="connsiteX935" fmla="*/ 197168 w 447675"/>
                  <a:gd name="connsiteY935" fmla="*/ 487585 h 742950"/>
                  <a:gd name="connsiteX936" fmla="*/ 198882 w 447675"/>
                  <a:gd name="connsiteY936" fmla="*/ 485870 h 742950"/>
                  <a:gd name="connsiteX937" fmla="*/ 198882 w 447675"/>
                  <a:gd name="connsiteY937" fmla="*/ 485013 h 742950"/>
                  <a:gd name="connsiteX938" fmla="*/ 199739 w 447675"/>
                  <a:gd name="connsiteY938" fmla="*/ 484156 h 742950"/>
                  <a:gd name="connsiteX939" fmla="*/ 199739 w 447675"/>
                  <a:gd name="connsiteY939" fmla="*/ 483299 h 742950"/>
                  <a:gd name="connsiteX940" fmla="*/ 200597 w 447675"/>
                  <a:gd name="connsiteY940" fmla="*/ 483299 h 742950"/>
                  <a:gd name="connsiteX941" fmla="*/ 201454 w 447675"/>
                  <a:gd name="connsiteY941" fmla="*/ 483299 h 742950"/>
                  <a:gd name="connsiteX942" fmla="*/ 201454 w 447675"/>
                  <a:gd name="connsiteY942" fmla="*/ 483299 h 742950"/>
                  <a:gd name="connsiteX943" fmla="*/ 202216 w 447675"/>
                  <a:gd name="connsiteY943" fmla="*/ 484156 h 742950"/>
                  <a:gd name="connsiteX944" fmla="*/ 202216 w 447675"/>
                  <a:gd name="connsiteY944" fmla="*/ 484156 h 742950"/>
                  <a:gd name="connsiteX945" fmla="*/ 206502 w 447675"/>
                  <a:gd name="connsiteY945" fmla="*/ 487585 h 742950"/>
                  <a:gd name="connsiteX946" fmla="*/ 207359 w 447675"/>
                  <a:gd name="connsiteY946" fmla="*/ 489204 h 742950"/>
                  <a:gd name="connsiteX947" fmla="*/ 208217 w 447675"/>
                  <a:gd name="connsiteY947" fmla="*/ 489204 h 742950"/>
                  <a:gd name="connsiteX948" fmla="*/ 209074 w 447675"/>
                  <a:gd name="connsiteY948" fmla="*/ 490061 h 742950"/>
                  <a:gd name="connsiteX949" fmla="*/ 209074 w 447675"/>
                  <a:gd name="connsiteY949" fmla="*/ 490919 h 742950"/>
                  <a:gd name="connsiteX950" fmla="*/ 209074 w 447675"/>
                  <a:gd name="connsiteY950" fmla="*/ 490919 h 742950"/>
                  <a:gd name="connsiteX951" fmla="*/ 209836 w 447675"/>
                  <a:gd name="connsiteY951" fmla="*/ 491776 h 742950"/>
                  <a:gd name="connsiteX952" fmla="*/ 209836 w 447675"/>
                  <a:gd name="connsiteY952" fmla="*/ 492633 h 742950"/>
                  <a:gd name="connsiteX953" fmla="*/ 209836 w 447675"/>
                  <a:gd name="connsiteY953" fmla="*/ 492633 h 742950"/>
                  <a:gd name="connsiteX954" fmla="*/ 210693 w 447675"/>
                  <a:gd name="connsiteY954" fmla="*/ 492633 h 742950"/>
                  <a:gd name="connsiteX955" fmla="*/ 212408 w 447675"/>
                  <a:gd name="connsiteY955" fmla="*/ 492633 h 742950"/>
                  <a:gd name="connsiteX956" fmla="*/ 214122 w 447675"/>
                  <a:gd name="connsiteY956" fmla="*/ 492633 h 742950"/>
                  <a:gd name="connsiteX957" fmla="*/ 214979 w 447675"/>
                  <a:gd name="connsiteY957" fmla="*/ 492633 h 742950"/>
                  <a:gd name="connsiteX958" fmla="*/ 215837 w 447675"/>
                  <a:gd name="connsiteY958" fmla="*/ 493490 h 742950"/>
                  <a:gd name="connsiteX959" fmla="*/ 217456 w 447675"/>
                  <a:gd name="connsiteY959" fmla="*/ 495205 h 742950"/>
                  <a:gd name="connsiteX960" fmla="*/ 224219 w 447675"/>
                  <a:gd name="connsiteY960" fmla="*/ 509588 h 742950"/>
                  <a:gd name="connsiteX961" fmla="*/ 225076 w 447675"/>
                  <a:gd name="connsiteY961" fmla="*/ 510445 h 742950"/>
                  <a:gd name="connsiteX962" fmla="*/ 225933 w 447675"/>
                  <a:gd name="connsiteY962" fmla="*/ 511207 h 742950"/>
                  <a:gd name="connsiteX963" fmla="*/ 226790 w 447675"/>
                  <a:gd name="connsiteY963" fmla="*/ 510445 h 742950"/>
                  <a:gd name="connsiteX964" fmla="*/ 227648 w 447675"/>
                  <a:gd name="connsiteY964" fmla="*/ 509588 h 742950"/>
                  <a:gd name="connsiteX965" fmla="*/ 228505 w 447675"/>
                  <a:gd name="connsiteY965" fmla="*/ 506159 h 742950"/>
                  <a:gd name="connsiteX966" fmla="*/ 229362 w 447675"/>
                  <a:gd name="connsiteY966" fmla="*/ 505301 h 742950"/>
                  <a:gd name="connsiteX967" fmla="*/ 229362 w 447675"/>
                  <a:gd name="connsiteY967" fmla="*/ 505301 h 742950"/>
                  <a:gd name="connsiteX968" fmla="*/ 230219 w 447675"/>
                  <a:gd name="connsiteY968" fmla="*/ 504444 h 742950"/>
                  <a:gd name="connsiteX969" fmla="*/ 231077 w 447675"/>
                  <a:gd name="connsiteY969" fmla="*/ 504444 h 742950"/>
                  <a:gd name="connsiteX970" fmla="*/ 231839 w 447675"/>
                  <a:gd name="connsiteY970" fmla="*/ 503587 h 742950"/>
                  <a:gd name="connsiteX971" fmla="*/ 232696 w 447675"/>
                  <a:gd name="connsiteY971" fmla="*/ 503587 h 742950"/>
                  <a:gd name="connsiteX972" fmla="*/ 234410 w 447675"/>
                  <a:gd name="connsiteY972" fmla="*/ 503587 h 742950"/>
                  <a:gd name="connsiteX973" fmla="*/ 244602 w 447675"/>
                  <a:gd name="connsiteY973" fmla="*/ 505301 h 742950"/>
                  <a:gd name="connsiteX974" fmla="*/ 246221 w 447675"/>
                  <a:gd name="connsiteY974" fmla="*/ 505301 h 742950"/>
                  <a:gd name="connsiteX975" fmla="*/ 248793 w 447675"/>
                  <a:gd name="connsiteY975" fmla="*/ 507016 h 742950"/>
                  <a:gd name="connsiteX976" fmla="*/ 250508 w 447675"/>
                  <a:gd name="connsiteY976" fmla="*/ 507873 h 742950"/>
                  <a:gd name="connsiteX977" fmla="*/ 253841 w 447675"/>
                  <a:gd name="connsiteY977" fmla="*/ 507873 h 742950"/>
                  <a:gd name="connsiteX978" fmla="*/ 255556 w 447675"/>
                  <a:gd name="connsiteY978" fmla="*/ 507873 h 742950"/>
                  <a:gd name="connsiteX979" fmla="*/ 256413 w 447675"/>
                  <a:gd name="connsiteY979" fmla="*/ 508730 h 742950"/>
                  <a:gd name="connsiteX980" fmla="*/ 255556 w 447675"/>
                  <a:gd name="connsiteY980" fmla="*/ 509588 h 742950"/>
                  <a:gd name="connsiteX981" fmla="*/ 255556 w 447675"/>
                  <a:gd name="connsiteY981" fmla="*/ 510445 h 742950"/>
                  <a:gd name="connsiteX982" fmla="*/ 255556 w 447675"/>
                  <a:gd name="connsiteY982" fmla="*/ 512064 h 742950"/>
                  <a:gd name="connsiteX983" fmla="*/ 254699 w 447675"/>
                  <a:gd name="connsiteY983" fmla="*/ 512921 h 742950"/>
                  <a:gd name="connsiteX984" fmla="*/ 255556 w 447675"/>
                  <a:gd name="connsiteY984" fmla="*/ 514636 h 742950"/>
                  <a:gd name="connsiteX985" fmla="*/ 255556 w 447675"/>
                  <a:gd name="connsiteY985" fmla="*/ 515493 h 742950"/>
                  <a:gd name="connsiteX986" fmla="*/ 255556 w 447675"/>
                  <a:gd name="connsiteY986" fmla="*/ 516350 h 742950"/>
                  <a:gd name="connsiteX987" fmla="*/ 255556 w 447675"/>
                  <a:gd name="connsiteY987" fmla="*/ 517208 h 742950"/>
                  <a:gd name="connsiteX988" fmla="*/ 255556 w 447675"/>
                  <a:gd name="connsiteY988" fmla="*/ 517208 h 742950"/>
                  <a:gd name="connsiteX989" fmla="*/ 257270 w 447675"/>
                  <a:gd name="connsiteY989" fmla="*/ 517208 h 742950"/>
                  <a:gd name="connsiteX990" fmla="*/ 258128 w 447675"/>
                  <a:gd name="connsiteY990" fmla="*/ 516350 h 742950"/>
                  <a:gd name="connsiteX991" fmla="*/ 262319 w 447675"/>
                  <a:gd name="connsiteY991" fmla="*/ 512921 h 742950"/>
                  <a:gd name="connsiteX992" fmla="*/ 264033 w 447675"/>
                  <a:gd name="connsiteY992" fmla="*/ 512064 h 742950"/>
                  <a:gd name="connsiteX993" fmla="*/ 264890 w 447675"/>
                  <a:gd name="connsiteY993" fmla="*/ 512064 h 742950"/>
                  <a:gd name="connsiteX994" fmla="*/ 267462 w 447675"/>
                  <a:gd name="connsiteY994" fmla="*/ 511207 h 742950"/>
                  <a:gd name="connsiteX995" fmla="*/ 268224 w 447675"/>
                  <a:gd name="connsiteY995" fmla="*/ 510445 h 742950"/>
                  <a:gd name="connsiteX996" fmla="*/ 269939 w 447675"/>
                  <a:gd name="connsiteY996" fmla="*/ 508730 h 742950"/>
                  <a:gd name="connsiteX997" fmla="*/ 270796 w 447675"/>
                  <a:gd name="connsiteY997" fmla="*/ 507873 h 742950"/>
                  <a:gd name="connsiteX998" fmla="*/ 270796 w 447675"/>
                  <a:gd name="connsiteY998" fmla="*/ 507016 h 742950"/>
                  <a:gd name="connsiteX999" fmla="*/ 269939 w 447675"/>
                  <a:gd name="connsiteY999" fmla="*/ 506159 h 742950"/>
                  <a:gd name="connsiteX1000" fmla="*/ 268224 w 447675"/>
                  <a:gd name="connsiteY1000" fmla="*/ 504444 h 742950"/>
                  <a:gd name="connsiteX1001" fmla="*/ 268224 w 447675"/>
                  <a:gd name="connsiteY1001" fmla="*/ 503587 h 742950"/>
                  <a:gd name="connsiteX1002" fmla="*/ 267462 w 447675"/>
                  <a:gd name="connsiteY1002" fmla="*/ 503587 h 742950"/>
                  <a:gd name="connsiteX1003" fmla="*/ 267462 w 447675"/>
                  <a:gd name="connsiteY1003" fmla="*/ 502825 h 742950"/>
                  <a:gd name="connsiteX1004" fmla="*/ 267462 w 447675"/>
                  <a:gd name="connsiteY1004" fmla="*/ 501110 h 742950"/>
                  <a:gd name="connsiteX1005" fmla="*/ 269081 w 447675"/>
                  <a:gd name="connsiteY1005" fmla="*/ 495967 h 742950"/>
                  <a:gd name="connsiteX1006" fmla="*/ 269081 w 447675"/>
                  <a:gd name="connsiteY1006" fmla="*/ 493490 h 742950"/>
                  <a:gd name="connsiteX1007" fmla="*/ 269081 w 447675"/>
                  <a:gd name="connsiteY1007" fmla="*/ 492633 h 742950"/>
                  <a:gd name="connsiteX1008" fmla="*/ 269081 w 447675"/>
                  <a:gd name="connsiteY1008" fmla="*/ 490061 h 742950"/>
                  <a:gd name="connsiteX1009" fmla="*/ 269081 w 447675"/>
                  <a:gd name="connsiteY1009" fmla="*/ 490061 h 742950"/>
                  <a:gd name="connsiteX1010" fmla="*/ 268224 w 447675"/>
                  <a:gd name="connsiteY1010" fmla="*/ 490061 h 742950"/>
                  <a:gd name="connsiteX1011" fmla="*/ 268224 w 447675"/>
                  <a:gd name="connsiteY1011" fmla="*/ 490061 h 742950"/>
                  <a:gd name="connsiteX1012" fmla="*/ 265748 w 447675"/>
                  <a:gd name="connsiteY1012" fmla="*/ 490061 h 742950"/>
                  <a:gd name="connsiteX1013" fmla="*/ 264033 w 447675"/>
                  <a:gd name="connsiteY1013" fmla="*/ 490061 h 742950"/>
                  <a:gd name="connsiteX1014" fmla="*/ 263176 w 447675"/>
                  <a:gd name="connsiteY1014" fmla="*/ 490061 h 742950"/>
                  <a:gd name="connsiteX1015" fmla="*/ 263176 w 447675"/>
                  <a:gd name="connsiteY1015" fmla="*/ 490061 h 742950"/>
                  <a:gd name="connsiteX1016" fmla="*/ 262319 w 447675"/>
                  <a:gd name="connsiteY1016" fmla="*/ 490061 h 742950"/>
                  <a:gd name="connsiteX1017" fmla="*/ 262319 w 447675"/>
                  <a:gd name="connsiteY1017" fmla="*/ 490061 h 742950"/>
                  <a:gd name="connsiteX1018" fmla="*/ 261461 w 447675"/>
                  <a:gd name="connsiteY1018" fmla="*/ 490919 h 742950"/>
                  <a:gd name="connsiteX1019" fmla="*/ 260699 w 447675"/>
                  <a:gd name="connsiteY1019" fmla="*/ 491776 h 742950"/>
                  <a:gd name="connsiteX1020" fmla="*/ 259842 w 447675"/>
                  <a:gd name="connsiteY1020" fmla="*/ 491776 h 742950"/>
                  <a:gd name="connsiteX1021" fmla="*/ 258985 w 447675"/>
                  <a:gd name="connsiteY1021" fmla="*/ 491776 h 742950"/>
                  <a:gd name="connsiteX1022" fmla="*/ 258128 w 447675"/>
                  <a:gd name="connsiteY1022" fmla="*/ 490919 h 742950"/>
                  <a:gd name="connsiteX1023" fmla="*/ 257270 w 447675"/>
                  <a:gd name="connsiteY1023" fmla="*/ 490919 h 742950"/>
                  <a:gd name="connsiteX1024" fmla="*/ 257270 w 447675"/>
                  <a:gd name="connsiteY1024" fmla="*/ 490061 h 742950"/>
                  <a:gd name="connsiteX1025" fmla="*/ 255556 w 447675"/>
                  <a:gd name="connsiteY1025" fmla="*/ 488347 h 742950"/>
                  <a:gd name="connsiteX1026" fmla="*/ 254699 w 447675"/>
                  <a:gd name="connsiteY1026" fmla="*/ 488347 h 742950"/>
                  <a:gd name="connsiteX1027" fmla="*/ 254699 w 447675"/>
                  <a:gd name="connsiteY1027" fmla="*/ 487585 h 742950"/>
                  <a:gd name="connsiteX1028" fmla="*/ 253841 w 447675"/>
                  <a:gd name="connsiteY1028" fmla="*/ 487585 h 742950"/>
                  <a:gd name="connsiteX1029" fmla="*/ 253079 w 447675"/>
                  <a:gd name="connsiteY1029" fmla="*/ 487585 h 742950"/>
                  <a:gd name="connsiteX1030" fmla="*/ 247936 w 447675"/>
                  <a:gd name="connsiteY1030" fmla="*/ 487585 h 742950"/>
                  <a:gd name="connsiteX1031" fmla="*/ 247079 w 447675"/>
                  <a:gd name="connsiteY1031" fmla="*/ 487585 h 742950"/>
                  <a:gd name="connsiteX1032" fmla="*/ 246221 w 447675"/>
                  <a:gd name="connsiteY1032" fmla="*/ 487585 h 742950"/>
                  <a:gd name="connsiteX1033" fmla="*/ 246221 w 447675"/>
                  <a:gd name="connsiteY1033" fmla="*/ 487585 h 742950"/>
                  <a:gd name="connsiteX1034" fmla="*/ 243745 w 447675"/>
                  <a:gd name="connsiteY1034" fmla="*/ 485870 h 742950"/>
                  <a:gd name="connsiteX1035" fmla="*/ 242888 w 447675"/>
                  <a:gd name="connsiteY1035" fmla="*/ 485013 h 742950"/>
                  <a:gd name="connsiteX1036" fmla="*/ 237839 w 447675"/>
                  <a:gd name="connsiteY1036" fmla="*/ 482441 h 742950"/>
                  <a:gd name="connsiteX1037" fmla="*/ 237839 w 447675"/>
                  <a:gd name="connsiteY1037" fmla="*/ 481584 h 742950"/>
                  <a:gd name="connsiteX1038" fmla="*/ 237839 w 447675"/>
                  <a:gd name="connsiteY1038" fmla="*/ 479108 h 742950"/>
                  <a:gd name="connsiteX1039" fmla="*/ 240316 w 447675"/>
                  <a:gd name="connsiteY1039" fmla="*/ 471488 h 742950"/>
                  <a:gd name="connsiteX1040" fmla="*/ 240316 w 447675"/>
                  <a:gd name="connsiteY1040" fmla="*/ 469773 h 742950"/>
                  <a:gd name="connsiteX1041" fmla="*/ 240316 w 447675"/>
                  <a:gd name="connsiteY1041" fmla="*/ 467201 h 742950"/>
                  <a:gd name="connsiteX1042" fmla="*/ 239459 w 447675"/>
                  <a:gd name="connsiteY1042" fmla="*/ 462153 h 742950"/>
                  <a:gd name="connsiteX1043" fmla="*/ 239459 w 447675"/>
                  <a:gd name="connsiteY1043" fmla="*/ 456248 h 742950"/>
                  <a:gd name="connsiteX1044" fmla="*/ 238697 w 447675"/>
                  <a:gd name="connsiteY1044" fmla="*/ 454533 h 742950"/>
                  <a:gd name="connsiteX1045" fmla="*/ 238697 w 447675"/>
                  <a:gd name="connsiteY1045" fmla="*/ 453676 h 742950"/>
                  <a:gd name="connsiteX1046" fmla="*/ 237839 w 447675"/>
                  <a:gd name="connsiteY1046" fmla="*/ 452819 h 742950"/>
                  <a:gd name="connsiteX1047" fmla="*/ 237839 w 447675"/>
                  <a:gd name="connsiteY1047" fmla="*/ 451961 h 742950"/>
                  <a:gd name="connsiteX1048" fmla="*/ 237839 w 447675"/>
                  <a:gd name="connsiteY1048" fmla="*/ 450342 h 742950"/>
                  <a:gd name="connsiteX1049" fmla="*/ 238697 w 447675"/>
                  <a:gd name="connsiteY1049" fmla="*/ 440150 h 742950"/>
                  <a:gd name="connsiteX1050" fmla="*/ 238697 w 447675"/>
                  <a:gd name="connsiteY1050" fmla="*/ 437579 h 742950"/>
                  <a:gd name="connsiteX1051" fmla="*/ 237839 w 447675"/>
                  <a:gd name="connsiteY1051" fmla="*/ 435959 h 742950"/>
                  <a:gd name="connsiteX1052" fmla="*/ 237839 w 447675"/>
                  <a:gd name="connsiteY1052" fmla="*/ 436721 h 742950"/>
                  <a:gd name="connsiteX1053" fmla="*/ 236982 w 447675"/>
                  <a:gd name="connsiteY1053" fmla="*/ 436721 h 742950"/>
                  <a:gd name="connsiteX1054" fmla="*/ 236125 w 447675"/>
                  <a:gd name="connsiteY1054" fmla="*/ 437579 h 742950"/>
                  <a:gd name="connsiteX1055" fmla="*/ 236125 w 447675"/>
                  <a:gd name="connsiteY1055" fmla="*/ 437579 h 742950"/>
                  <a:gd name="connsiteX1056" fmla="*/ 235268 w 447675"/>
                  <a:gd name="connsiteY1056" fmla="*/ 436721 h 742950"/>
                  <a:gd name="connsiteX1057" fmla="*/ 234410 w 447675"/>
                  <a:gd name="connsiteY1057" fmla="*/ 435959 h 742950"/>
                  <a:gd name="connsiteX1058" fmla="*/ 234410 w 447675"/>
                  <a:gd name="connsiteY1058" fmla="*/ 433388 h 742950"/>
                  <a:gd name="connsiteX1059" fmla="*/ 234410 w 447675"/>
                  <a:gd name="connsiteY1059" fmla="*/ 431673 h 742950"/>
                  <a:gd name="connsiteX1060" fmla="*/ 234410 w 447675"/>
                  <a:gd name="connsiteY1060" fmla="*/ 431673 h 742950"/>
                  <a:gd name="connsiteX1061" fmla="*/ 233553 w 447675"/>
                  <a:gd name="connsiteY1061" fmla="*/ 430816 h 742950"/>
                  <a:gd name="connsiteX1062" fmla="*/ 232696 w 447675"/>
                  <a:gd name="connsiteY1062" fmla="*/ 430816 h 742950"/>
                  <a:gd name="connsiteX1063" fmla="*/ 232696 w 447675"/>
                  <a:gd name="connsiteY1063" fmla="*/ 431673 h 742950"/>
                  <a:gd name="connsiteX1064" fmla="*/ 232696 w 447675"/>
                  <a:gd name="connsiteY1064" fmla="*/ 431673 h 742950"/>
                  <a:gd name="connsiteX1065" fmla="*/ 231839 w 447675"/>
                  <a:gd name="connsiteY1065" fmla="*/ 431673 h 742950"/>
                  <a:gd name="connsiteX1066" fmla="*/ 231839 w 447675"/>
                  <a:gd name="connsiteY1066" fmla="*/ 431673 h 742950"/>
                  <a:gd name="connsiteX1067" fmla="*/ 231839 w 447675"/>
                  <a:gd name="connsiteY1067" fmla="*/ 431673 h 742950"/>
                  <a:gd name="connsiteX1068" fmla="*/ 231839 w 447675"/>
                  <a:gd name="connsiteY1068" fmla="*/ 431673 h 742950"/>
                  <a:gd name="connsiteX1069" fmla="*/ 230219 w 447675"/>
                  <a:gd name="connsiteY1069" fmla="*/ 428339 h 742950"/>
                  <a:gd name="connsiteX1070" fmla="*/ 229362 w 447675"/>
                  <a:gd name="connsiteY1070" fmla="*/ 426625 h 742950"/>
                  <a:gd name="connsiteX1071" fmla="*/ 229362 w 447675"/>
                  <a:gd name="connsiteY1071" fmla="*/ 424910 h 742950"/>
                  <a:gd name="connsiteX1072" fmla="*/ 231839 w 447675"/>
                  <a:gd name="connsiteY1072" fmla="*/ 417290 h 742950"/>
                  <a:gd name="connsiteX1073" fmla="*/ 231839 w 447675"/>
                  <a:gd name="connsiteY1073" fmla="*/ 415576 h 742950"/>
                  <a:gd name="connsiteX1074" fmla="*/ 232696 w 447675"/>
                  <a:gd name="connsiteY1074" fmla="*/ 413099 h 742950"/>
                  <a:gd name="connsiteX1075" fmla="*/ 232696 w 447675"/>
                  <a:gd name="connsiteY1075" fmla="*/ 412242 h 742950"/>
                  <a:gd name="connsiteX1076" fmla="*/ 232696 w 447675"/>
                  <a:gd name="connsiteY1076" fmla="*/ 410528 h 742950"/>
                  <a:gd name="connsiteX1077" fmla="*/ 231839 w 447675"/>
                  <a:gd name="connsiteY1077" fmla="*/ 408813 h 742950"/>
                  <a:gd name="connsiteX1078" fmla="*/ 231839 w 447675"/>
                  <a:gd name="connsiteY1078" fmla="*/ 407956 h 742950"/>
                  <a:gd name="connsiteX1079" fmla="*/ 231077 w 447675"/>
                  <a:gd name="connsiteY1079" fmla="*/ 405479 h 742950"/>
                  <a:gd name="connsiteX1080" fmla="*/ 230219 w 447675"/>
                  <a:gd name="connsiteY1080" fmla="*/ 403765 h 742950"/>
                  <a:gd name="connsiteX1081" fmla="*/ 230219 w 447675"/>
                  <a:gd name="connsiteY1081" fmla="*/ 402908 h 742950"/>
                  <a:gd name="connsiteX1082" fmla="*/ 230219 w 447675"/>
                  <a:gd name="connsiteY1082" fmla="*/ 389382 h 742950"/>
                  <a:gd name="connsiteX1083" fmla="*/ 230219 w 447675"/>
                  <a:gd name="connsiteY1083" fmla="*/ 388525 h 742950"/>
                  <a:gd name="connsiteX1084" fmla="*/ 230219 w 447675"/>
                  <a:gd name="connsiteY1084" fmla="*/ 387668 h 742950"/>
                  <a:gd name="connsiteX1085" fmla="*/ 230219 w 447675"/>
                  <a:gd name="connsiteY1085" fmla="*/ 387668 h 742950"/>
                  <a:gd name="connsiteX1086" fmla="*/ 231077 w 447675"/>
                  <a:gd name="connsiteY1086" fmla="*/ 386810 h 742950"/>
                  <a:gd name="connsiteX1087" fmla="*/ 231839 w 447675"/>
                  <a:gd name="connsiteY1087" fmla="*/ 386810 h 742950"/>
                  <a:gd name="connsiteX1088" fmla="*/ 231839 w 447675"/>
                  <a:gd name="connsiteY1088" fmla="*/ 386810 h 742950"/>
                  <a:gd name="connsiteX1089" fmla="*/ 236125 w 447675"/>
                  <a:gd name="connsiteY1089" fmla="*/ 387668 h 742950"/>
                  <a:gd name="connsiteX1090" fmla="*/ 236125 w 447675"/>
                  <a:gd name="connsiteY1090" fmla="*/ 387668 h 742950"/>
                  <a:gd name="connsiteX1091" fmla="*/ 236982 w 447675"/>
                  <a:gd name="connsiteY1091" fmla="*/ 388525 h 742950"/>
                  <a:gd name="connsiteX1092" fmla="*/ 236982 w 447675"/>
                  <a:gd name="connsiteY1092" fmla="*/ 389382 h 742950"/>
                  <a:gd name="connsiteX1093" fmla="*/ 236982 w 447675"/>
                  <a:gd name="connsiteY1093" fmla="*/ 389382 h 742950"/>
                  <a:gd name="connsiteX1094" fmla="*/ 236982 w 447675"/>
                  <a:gd name="connsiteY1094" fmla="*/ 391097 h 742950"/>
                  <a:gd name="connsiteX1095" fmla="*/ 236982 w 447675"/>
                  <a:gd name="connsiteY1095" fmla="*/ 391859 h 742950"/>
                  <a:gd name="connsiteX1096" fmla="*/ 236982 w 447675"/>
                  <a:gd name="connsiteY1096" fmla="*/ 391859 h 742950"/>
                  <a:gd name="connsiteX1097" fmla="*/ 237839 w 447675"/>
                  <a:gd name="connsiteY1097" fmla="*/ 392716 h 742950"/>
                  <a:gd name="connsiteX1098" fmla="*/ 237839 w 447675"/>
                  <a:gd name="connsiteY1098" fmla="*/ 392716 h 742950"/>
                  <a:gd name="connsiteX1099" fmla="*/ 238697 w 447675"/>
                  <a:gd name="connsiteY1099" fmla="*/ 392716 h 742950"/>
                  <a:gd name="connsiteX1100" fmla="*/ 240316 w 447675"/>
                  <a:gd name="connsiteY1100" fmla="*/ 391859 h 742950"/>
                  <a:gd name="connsiteX1101" fmla="*/ 242030 w 447675"/>
                  <a:gd name="connsiteY1101" fmla="*/ 391097 h 742950"/>
                  <a:gd name="connsiteX1102" fmla="*/ 242888 w 447675"/>
                  <a:gd name="connsiteY1102" fmla="*/ 390239 h 742950"/>
                  <a:gd name="connsiteX1103" fmla="*/ 244602 w 447675"/>
                  <a:gd name="connsiteY1103" fmla="*/ 388525 h 742950"/>
                  <a:gd name="connsiteX1104" fmla="*/ 246221 w 447675"/>
                  <a:gd name="connsiteY1104" fmla="*/ 385953 h 742950"/>
                  <a:gd name="connsiteX1105" fmla="*/ 247079 w 447675"/>
                  <a:gd name="connsiteY1105" fmla="*/ 384334 h 742950"/>
                  <a:gd name="connsiteX1106" fmla="*/ 248793 w 447675"/>
                  <a:gd name="connsiteY1106" fmla="*/ 381762 h 742950"/>
                  <a:gd name="connsiteX1107" fmla="*/ 249650 w 447675"/>
                  <a:gd name="connsiteY1107" fmla="*/ 381762 h 742950"/>
                  <a:gd name="connsiteX1108" fmla="*/ 250508 w 447675"/>
                  <a:gd name="connsiteY1108" fmla="*/ 380905 h 742950"/>
                  <a:gd name="connsiteX1109" fmla="*/ 251365 w 447675"/>
                  <a:gd name="connsiteY1109" fmla="*/ 380905 h 742950"/>
                  <a:gd name="connsiteX1110" fmla="*/ 252222 w 447675"/>
                  <a:gd name="connsiteY1110" fmla="*/ 380048 h 742950"/>
                  <a:gd name="connsiteX1111" fmla="*/ 253841 w 447675"/>
                  <a:gd name="connsiteY1111" fmla="*/ 378333 h 742950"/>
                  <a:gd name="connsiteX1112" fmla="*/ 258985 w 447675"/>
                  <a:gd name="connsiteY1112" fmla="*/ 369856 h 742950"/>
                  <a:gd name="connsiteX1113" fmla="*/ 261461 w 447675"/>
                  <a:gd name="connsiteY1113" fmla="*/ 363950 h 742950"/>
                  <a:gd name="connsiteX1114" fmla="*/ 263176 w 447675"/>
                  <a:gd name="connsiteY1114" fmla="*/ 360617 h 742950"/>
                  <a:gd name="connsiteX1115" fmla="*/ 263176 w 447675"/>
                  <a:gd name="connsiteY1115" fmla="*/ 358902 h 742950"/>
                  <a:gd name="connsiteX1116" fmla="*/ 263176 w 447675"/>
                  <a:gd name="connsiteY1116" fmla="*/ 357188 h 742950"/>
                  <a:gd name="connsiteX1117" fmla="*/ 263176 w 447675"/>
                  <a:gd name="connsiteY1117" fmla="*/ 356330 h 742950"/>
                  <a:gd name="connsiteX1118" fmla="*/ 263176 w 447675"/>
                  <a:gd name="connsiteY1118" fmla="*/ 356330 h 742950"/>
                  <a:gd name="connsiteX1119" fmla="*/ 263176 w 447675"/>
                  <a:gd name="connsiteY1119" fmla="*/ 355473 h 742950"/>
                  <a:gd name="connsiteX1120" fmla="*/ 264033 w 447675"/>
                  <a:gd name="connsiteY1120" fmla="*/ 355473 h 742950"/>
                  <a:gd name="connsiteX1121" fmla="*/ 265748 w 447675"/>
                  <a:gd name="connsiteY1121" fmla="*/ 354711 h 742950"/>
                  <a:gd name="connsiteX1122" fmla="*/ 275082 w 447675"/>
                  <a:gd name="connsiteY1122" fmla="*/ 354711 h 742950"/>
                  <a:gd name="connsiteX1123" fmla="*/ 275844 w 447675"/>
                  <a:gd name="connsiteY1123" fmla="*/ 354711 h 742950"/>
                  <a:gd name="connsiteX1124" fmla="*/ 276701 w 447675"/>
                  <a:gd name="connsiteY1124" fmla="*/ 354711 h 742950"/>
                  <a:gd name="connsiteX1125" fmla="*/ 277559 w 447675"/>
                  <a:gd name="connsiteY1125" fmla="*/ 355473 h 742950"/>
                  <a:gd name="connsiteX1126" fmla="*/ 278416 w 447675"/>
                  <a:gd name="connsiteY1126" fmla="*/ 356330 h 742950"/>
                  <a:gd name="connsiteX1127" fmla="*/ 279273 w 447675"/>
                  <a:gd name="connsiteY1127" fmla="*/ 356330 h 742950"/>
                  <a:gd name="connsiteX1128" fmla="*/ 280130 w 447675"/>
                  <a:gd name="connsiteY1128" fmla="*/ 355473 h 742950"/>
                  <a:gd name="connsiteX1129" fmla="*/ 281845 w 447675"/>
                  <a:gd name="connsiteY1129" fmla="*/ 354711 h 742950"/>
                  <a:gd name="connsiteX1130" fmla="*/ 282702 w 447675"/>
                  <a:gd name="connsiteY1130" fmla="*/ 354711 h 742950"/>
                  <a:gd name="connsiteX1131" fmla="*/ 285179 w 447675"/>
                  <a:gd name="connsiteY1131" fmla="*/ 353854 h 742950"/>
                  <a:gd name="connsiteX1132" fmla="*/ 286893 w 447675"/>
                  <a:gd name="connsiteY1132" fmla="*/ 353854 h 742950"/>
                  <a:gd name="connsiteX1133" fmla="*/ 298704 w 447675"/>
                  <a:gd name="connsiteY1133" fmla="*/ 352139 h 742950"/>
                  <a:gd name="connsiteX1134" fmla="*/ 299561 w 447675"/>
                  <a:gd name="connsiteY1134" fmla="*/ 352139 h 742950"/>
                  <a:gd name="connsiteX1135" fmla="*/ 301276 w 447675"/>
                  <a:gd name="connsiteY1135" fmla="*/ 352997 h 742950"/>
                  <a:gd name="connsiteX1136" fmla="*/ 302133 w 447675"/>
                  <a:gd name="connsiteY1136" fmla="*/ 354711 h 742950"/>
                  <a:gd name="connsiteX1137" fmla="*/ 302133 w 447675"/>
                  <a:gd name="connsiteY1137" fmla="*/ 354711 h 742950"/>
                  <a:gd name="connsiteX1138" fmla="*/ 302990 w 447675"/>
                  <a:gd name="connsiteY1138" fmla="*/ 355473 h 742950"/>
                  <a:gd name="connsiteX1139" fmla="*/ 304705 w 447675"/>
                  <a:gd name="connsiteY1139" fmla="*/ 355473 h 742950"/>
                  <a:gd name="connsiteX1140" fmla="*/ 305467 w 447675"/>
                  <a:gd name="connsiteY1140" fmla="*/ 356330 h 742950"/>
                  <a:gd name="connsiteX1141" fmla="*/ 306324 w 447675"/>
                  <a:gd name="connsiteY1141" fmla="*/ 356330 h 742950"/>
                  <a:gd name="connsiteX1142" fmla="*/ 308039 w 447675"/>
                  <a:gd name="connsiteY1142" fmla="*/ 357188 h 742950"/>
                  <a:gd name="connsiteX1143" fmla="*/ 308896 w 447675"/>
                  <a:gd name="connsiteY1143" fmla="*/ 358902 h 742950"/>
                  <a:gd name="connsiteX1144" fmla="*/ 309753 w 447675"/>
                  <a:gd name="connsiteY1144" fmla="*/ 359759 h 742950"/>
                  <a:gd name="connsiteX1145" fmla="*/ 310610 w 447675"/>
                  <a:gd name="connsiteY1145" fmla="*/ 359759 h 742950"/>
                  <a:gd name="connsiteX1146" fmla="*/ 316516 w 447675"/>
                  <a:gd name="connsiteY1146" fmla="*/ 358902 h 742950"/>
                  <a:gd name="connsiteX1147" fmla="*/ 318230 w 447675"/>
                  <a:gd name="connsiteY1147" fmla="*/ 358902 h 742950"/>
                  <a:gd name="connsiteX1148" fmla="*/ 319850 w 447675"/>
                  <a:gd name="connsiteY1148" fmla="*/ 358045 h 742950"/>
                  <a:gd name="connsiteX1149" fmla="*/ 321564 w 447675"/>
                  <a:gd name="connsiteY1149" fmla="*/ 356330 h 742950"/>
                  <a:gd name="connsiteX1150" fmla="*/ 323279 w 447675"/>
                  <a:gd name="connsiteY1150" fmla="*/ 355473 h 742950"/>
                  <a:gd name="connsiteX1151" fmla="*/ 324136 w 447675"/>
                  <a:gd name="connsiteY1151" fmla="*/ 352997 h 742950"/>
                  <a:gd name="connsiteX1152" fmla="*/ 327470 w 447675"/>
                  <a:gd name="connsiteY1152" fmla="*/ 343662 h 742950"/>
                  <a:gd name="connsiteX1153" fmla="*/ 328327 w 447675"/>
                  <a:gd name="connsiteY1153" fmla="*/ 341948 h 742950"/>
                  <a:gd name="connsiteX1154" fmla="*/ 330899 w 447675"/>
                  <a:gd name="connsiteY1154" fmla="*/ 339471 h 742950"/>
                  <a:gd name="connsiteX1155" fmla="*/ 330899 w 447675"/>
                  <a:gd name="connsiteY1155" fmla="*/ 337757 h 742950"/>
                  <a:gd name="connsiteX1156" fmla="*/ 330899 w 447675"/>
                  <a:gd name="connsiteY1156" fmla="*/ 336899 h 742950"/>
                  <a:gd name="connsiteX1157" fmla="*/ 330899 w 447675"/>
                  <a:gd name="connsiteY1157" fmla="*/ 336899 h 742950"/>
                  <a:gd name="connsiteX1158" fmla="*/ 330899 w 447675"/>
                  <a:gd name="connsiteY1158" fmla="*/ 336899 h 742950"/>
                  <a:gd name="connsiteX1159" fmla="*/ 330899 w 447675"/>
                  <a:gd name="connsiteY1159" fmla="*/ 336042 h 742950"/>
                  <a:gd name="connsiteX1160" fmla="*/ 330899 w 447675"/>
                  <a:gd name="connsiteY1160" fmla="*/ 335185 h 742950"/>
                  <a:gd name="connsiteX1161" fmla="*/ 330899 w 447675"/>
                  <a:gd name="connsiteY1161" fmla="*/ 333470 h 742950"/>
                  <a:gd name="connsiteX1162" fmla="*/ 331756 w 447675"/>
                  <a:gd name="connsiteY1162" fmla="*/ 332613 h 742950"/>
                  <a:gd name="connsiteX1163" fmla="*/ 332613 w 447675"/>
                  <a:gd name="connsiteY1163" fmla="*/ 331851 h 742950"/>
                  <a:gd name="connsiteX1164" fmla="*/ 333470 w 447675"/>
                  <a:gd name="connsiteY1164" fmla="*/ 330994 h 742950"/>
                  <a:gd name="connsiteX1165" fmla="*/ 334232 w 447675"/>
                  <a:gd name="connsiteY1165" fmla="*/ 330994 h 742950"/>
                  <a:gd name="connsiteX1166" fmla="*/ 335090 w 447675"/>
                  <a:gd name="connsiteY1166" fmla="*/ 330994 h 742950"/>
                  <a:gd name="connsiteX1167" fmla="*/ 340233 w 447675"/>
                  <a:gd name="connsiteY1167" fmla="*/ 332613 h 742950"/>
                  <a:gd name="connsiteX1168" fmla="*/ 341090 w 447675"/>
                  <a:gd name="connsiteY1168" fmla="*/ 333470 h 742950"/>
                  <a:gd name="connsiteX1169" fmla="*/ 341852 w 447675"/>
                  <a:gd name="connsiteY1169" fmla="*/ 333470 h 742950"/>
                  <a:gd name="connsiteX1170" fmla="*/ 343567 w 447675"/>
                  <a:gd name="connsiteY1170" fmla="*/ 333470 h 742950"/>
                  <a:gd name="connsiteX1171" fmla="*/ 344424 w 447675"/>
                  <a:gd name="connsiteY1171" fmla="*/ 333470 h 742950"/>
                  <a:gd name="connsiteX1172" fmla="*/ 344424 w 447675"/>
                  <a:gd name="connsiteY1172" fmla="*/ 332613 h 742950"/>
                  <a:gd name="connsiteX1173" fmla="*/ 345281 w 447675"/>
                  <a:gd name="connsiteY1173" fmla="*/ 330994 h 742950"/>
                  <a:gd name="connsiteX1174" fmla="*/ 345281 w 447675"/>
                  <a:gd name="connsiteY1174" fmla="*/ 328422 h 742950"/>
                  <a:gd name="connsiteX1175" fmla="*/ 344424 w 447675"/>
                  <a:gd name="connsiteY1175" fmla="*/ 327565 h 742950"/>
                  <a:gd name="connsiteX1176" fmla="*/ 344424 w 447675"/>
                  <a:gd name="connsiteY1176" fmla="*/ 325850 h 742950"/>
                  <a:gd name="connsiteX1177" fmla="*/ 343567 w 447675"/>
                  <a:gd name="connsiteY1177" fmla="*/ 325088 h 742950"/>
                  <a:gd name="connsiteX1178" fmla="*/ 340233 w 447675"/>
                  <a:gd name="connsiteY1178" fmla="*/ 321659 h 742950"/>
                  <a:gd name="connsiteX1179" fmla="*/ 339376 w 447675"/>
                  <a:gd name="connsiteY1179" fmla="*/ 320802 h 742950"/>
                  <a:gd name="connsiteX1180" fmla="*/ 338519 w 447675"/>
                  <a:gd name="connsiteY1180" fmla="*/ 319945 h 742950"/>
                  <a:gd name="connsiteX1181" fmla="*/ 338519 w 447675"/>
                  <a:gd name="connsiteY1181" fmla="*/ 318230 h 742950"/>
                  <a:gd name="connsiteX1182" fmla="*/ 338519 w 447675"/>
                  <a:gd name="connsiteY1182" fmla="*/ 315754 h 742950"/>
                  <a:gd name="connsiteX1183" fmla="*/ 338519 w 447675"/>
                  <a:gd name="connsiteY1183" fmla="*/ 314039 h 742950"/>
                  <a:gd name="connsiteX1184" fmla="*/ 339376 w 447675"/>
                  <a:gd name="connsiteY1184" fmla="*/ 312325 h 742950"/>
                  <a:gd name="connsiteX1185" fmla="*/ 340233 w 447675"/>
                  <a:gd name="connsiteY1185" fmla="*/ 308134 h 742950"/>
                  <a:gd name="connsiteX1186" fmla="*/ 340233 w 447675"/>
                  <a:gd name="connsiteY1186" fmla="*/ 307277 h 742950"/>
                  <a:gd name="connsiteX1187" fmla="*/ 341090 w 447675"/>
                  <a:gd name="connsiteY1187" fmla="*/ 304705 h 742950"/>
                  <a:gd name="connsiteX1188" fmla="*/ 351187 w 447675"/>
                  <a:gd name="connsiteY1188" fmla="*/ 288608 h 742950"/>
                  <a:gd name="connsiteX1189" fmla="*/ 352901 w 447675"/>
                  <a:gd name="connsiteY1189" fmla="*/ 285274 h 742950"/>
                  <a:gd name="connsiteX1190" fmla="*/ 353759 w 447675"/>
                  <a:gd name="connsiteY1190" fmla="*/ 282702 h 742950"/>
                  <a:gd name="connsiteX1191" fmla="*/ 353759 w 447675"/>
                  <a:gd name="connsiteY1191" fmla="*/ 280226 h 742950"/>
                  <a:gd name="connsiteX1192" fmla="*/ 353759 w 447675"/>
                  <a:gd name="connsiteY1192" fmla="*/ 278511 h 742950"/>
                  <a:gd name="connsiteX1193" fmla="*/ 354616 w 447675"/>
                  <a:gd name="connsiteY1193" fmla="*/ 277654 h 742950"/>
                  <a:gd name="connsiteX1194" fmla="*/ 356235 w 447675"/>
                  <a:gd name="connsiteY1194" fmla="*/ 277654 h 742950"/>
                  <a:gd name="connsiteX1195" fmla="*/ 357092 w 447675"/>
                  <a:gd name="connsiteY1195" fmla="*/ 278511 h 742950"/>
                  <a:gd name="connsiteX1196" fmla="*/ 357092 w 447675"/>
                  <a:gd name="connsiteY1196" fmla="*/ 278511 h 742950"/>
                  <a:gd name="connsiteX1197" fmla="*/ 357950 w 447675"/>
                  <a:gd name="connsiteY1197" fmla="*/ 279368 h 742950"/>
                  <a:gd name="connsiteX1198" fmla="*/ 358807 w 447675"/>
                  <a:gd name="connsiteY1198" fmla="*/ 279368 h 742950"/>
                  <a:gd name="connsiteX1199" fmla="*/ 359664 w 447675"/>
                  <a:gd name="connsiteY1199" fmla="*/ 278511 h 742950"/>
                  <a:gd name="connsiteX1200" fmla="*/ 359664 w 447675"/>
                  <a:gd name="connsiteY1200" fmla="*/ 277654 h 742950"/>
                  <a:gd name="connsiteX1201" fmla="*/ 359664 w 447675"/>
                  <a:gd name="connsiteY1201" fmla="*/ 275939 h 742950"/>
                  <a:gd name="connsiteX1202" fmla="*/ 359664 w 447675"/>
                  <a:gd name="connsiteY1202" fmla="*/ 275082 h 742950"/>
                  <a:gd name="connsiteX1203" fmla="*/ 360521 w 447675"/>
                  <a:gd name="connsiteY1203" fmla="*/ 275082 h 742950"/>
                  <a:gd name="connsiteX1204" fmla="*/ 362236 w 447675"/>
                  <a:gd name="connsiteY1204" fmla="*/ 275082 h 742950"/>
                  <a:gd name="connsiteX1205" fmla="*/ 363093 w 447675"/>
                  <a:gd name="connsiteY1205" fmla="*/ 275082 h 742950"/>
                  <a:gd name="connsiteX1206" fmla="*/ 363855 w 447675"/>
                  <a:gd name="connsiteY1206" fmla="*/ 275082 h 742950"/>
                  <a:gd name="connsiteX1207" fmla="*/ 364712 w 447675"/>
                  <a:gd name="connsiteY1207" fmla="*/ 272606 h 742950"/>
                  <a:gd name="connsiteX1208" fmla="*/ 363855 w 447675"/>
                  <a:gd name="connsiteY1208" fmla="*/ 270891 h 742950"/>
                  <a:gd name="connsiteX1209" fmla="*/ 363855 w 447675"/>
                  <a:gd name="connsiteY1209" fmla="*/ 270034 h 742950"/>
                  <a:gd name="connsiteX1210" fmla="*/ 363855 w 447675"/>
                  <a:gd name="connsiteY1210" fmla="*/ 269177 h 742950"/>
                  <a:gd name="connsiteX1211" fmla="*/ 365570 w 447675"/>
                  <a:gd name="connsiteY1211" fmla="*/ 265843 h 742950"/>
                  <a:gd name="connsiteX1212" fmla="*/ 365570 w 447675"/>
                  <a:gd name="connsiteY1212" fmla="*/ 264986 h 742950"/>
                  <a:gd name="connsiteX1213" fmla="*/ 365570 w 447675"/>
                  <a:gd name="connsiteY1213" fmla="*/ 264128 h 742950"/>
                  <a:gd name="connsiteX1214" fmla="*/ 364712 w 447675"/>
                  <a:gd name="connsiteY1214" fmla="*/ 263271 h 742950"/>
                  <a:gd name="connsiteX1215" fmla="*/ 363855 w 447675"/>
                  <a:gd name="connsiteY1215" fmla="*/ 263271 h 742950"/>
                  <a:gd name="connsiteX1216" fmla="*/ 360521 w 447675"/>
                  <a:gd name="connsiteY1216" fmla="*/ 261557 h 742950"/>
                  <a:gd name="connsiteX1217" fmla="*/ 359664 w 447675"/>
                  <a:gd name="connsiteY1217" fmla="*/ 260699 h 742950"/>
                  <a:gd name="connsiteX1218" fmla="*/ 359664 w 447675"/>
                  <a:gd name="connsiteY1218" fmla="*/ 259842 h 742950"/>
                  <a:gd name="connsiteX1219" fmla="*/ 358807 w 447675"/>
                  <a:gd name="connsiteY1219" fmla="*/ 258223 h 742950"/>
                  <a:gd name="connsiteX1220" fmla="*/ 358807 w 447675"/>
                  <a:gd name="connsiteY1220" fmla="*/ 257366 h 742950"/>
                  <a:gd name="connsiteX1221" fmla="*/ 359664 w 447675"/>
                  <a:gd name="connsiteY1221" fmla="*/ 253079 h 742950"/>
                  <a:gd name="connsiteX1222" fmla="*/ 359664 w 447675"/>
                  <a:gd name="connsiteY1222" fmla="*/ 251365 h 742950"/>
                  <a:gd name="connsiteX1223" fmla="*/ 360521 w 447675"/>
                  <a:gd name="connsiteY1223" fmla="*/ 251365 h 742950"/>
                  <a:gd name="connsiteX1224" fmla="*/ 362236 w 447675"/>
                  <a:gd name="connsiteY1224" fmla="*/ 249746 h 742950"/>
                  <a:gd name="connsiteX1225" fmla="*/ 363855 w 447675"/>
                  <a:gd name="connsiteY1225" fmla="*/ 249746 h 742950"/>
                  <a:gd name="connsiteX1226" fmla="*/ 364712 w 447675"/>
                  <a:gd name="connsiteY1226" fmla="*/ 248888 h 742950"/>
                  <a:gd name="connsiteX1227" fmla="*/ 365570 w 447675"/>
                  <a:gd name="connsiteY1227" fmla="*/ 248031 h 742950"/>
                  <a:gd name="connsiteX1228" fmla="*/ 365570 w 447675"/>
                  <a:gd name="connsiteY1228" fmla="*/ 247174 h 742950"/>
                  <a:gd name="connsiteX1229" fmla="*/ 364712 w 447675"/>
                  <a:gd name="connsiteY1229" fmla="*/ 246317 h 742950"/>
                  <a:gd name="connsiteX1230" fmla="*/ 364712 w 447675"/>
                  <a:gd name="connsiteY1230" fmla="*/ 245459 h 742950"/>
                  <a:gd name="connsiteX1231" fmla="*/ 363855 w 447675"/>
                  <a:gd name="connsiteY1231" fmla="*/ 245459 h 742950"/>
                  <a:gd name="connsiteX1232" fmla="*/ 363093 w 447675"/>
                  <a:gd name="connsiteY1232" fmla="*/ 243745 h 742950"/>
                  <a:gd name="connsiteX1233" fmla="*/ 362236 w 447675"/>
                  <a:gd name="connsiteY1233" fmla="*/ 242983 h 742950"/>
                  <a:gd name="connsiteX1234" fmla="*/ 363093 w 447675"/>
                  <a:gd name="connsiteY1234" fmla="*/ 242126 h 742950"/>
                  <a:gd name="connsiteX1235" fmla="*/ 363855 w 447675"/>
                  <a:gd name="connsiteY1235" fmla="*/ 239554 h 742950"/>
                  <a:gd name="connsiteX1236" fmla="*/ 368999 w 447675"/>
                  <a:gd name="connsiteY1236" fmla="*/ 231934 h 742950"/>
                  <a:gd name="connsiteX1237" fmla="*/ 371475 w 447675"/>
                  <a:gd name="connsiteY1237" fmla="*/ 230219 h 742950"/>
                  <a:gd name="connsiteX1238" fmla="*/ 373190 w 447675"/>
                  <a:gd name="connsiteY1238" fmla="*/ 228600 h 742950"/>
                  <a:gd name="connsiteX1239" fmla="*/ 375761 w 447675"/>
                  <a:gd name="connsiteY1239" fmla="*/ 226886 h 742950"/>
                  <a:gd name="connsiteX1240" fmla="*/ 381667 w 447675"/>
                  <a:gd name="connsiteY1240" fmla="*/ 225171 h 742950"/>
                  <a:gd name="connsiteX1241" fmla="*/ 383381 w 447675"/>
                  <a:gd name="connsiteY1241" fmla="*/ 224314 h 742950"/>
                  <a:gd name="connsiteX1242" fmla="*/ 392716 w 447675"/>
                  <a:gd name="connsiteY1242" fmla="*/ 215837 h 742950"/>
                  <a:gd name="connsiteX1243" fmla="*/ 395192 w 447675"/>
                  <a:gd name="connsiteY1243" fmla="*/ 214122 h 742950"/>
                  <a:gd name="connsiteX1244" fmla="*/ 399479 w 447675"/>
                  <a:gd name="connsiteY1244" fmla="*/ 212503 h 742950"/>
                  <a:gd name="connsiteX1245" fmla="*/ 403670 w 447675"/>
                  <a:gd name="connsiteY1245" fmla="*/ 212503 h 742950"/>
                  <a:gd name="connsiteX1246" fmla="*/ 405384 w 447675"/>
                  <a:gd name="connsiteY1246" fmla="*/ 211646 h 742950"/>
                  <a:gd name="connsiteX1247" fmla="*/ 406241 w 447675"/>
                  <a:gd name="connsiteY1247" fmla="*/ 210788 h 742950"/>
                  <a:gd name="connsiteX1248" fmla="*/ 407861 w 447675"/>
                  <a:gd name="connsiteY1248" fmla="*/ 209931 h 742950"/>
                  <a:gd name="connsiteX1249" fmla="*/ 411290 w 447675"/>
                  <a:gd name="connsiteY1249" fmla="*/ 206502 h 742950"/>
                  <a:gd name="connsiteX1250" fmla="*/ 411290 w 447675"/>
                  <a:gd name="connsiteY1250" fmla="*/ 205740 h 742950"/>
                  <a:gd name="connsiteX1251" fmla="*/ 412147 w 447675"/>
                  <a:gd name="connsiteY1251" fmla="*/ 204883 h 742950"/>
                  <a:gd name="connsiteX1252" fmla="*/ 412147 w 447675"/>
                  <a:gd name="connsiteY1252" fmla="*/ 204026 h 742950"/>
                  <a:gd name="connsiteX1253" fmla="*/ 412147 w 447675"/>
                  <a:gd name="connsiteY1253" fmla="*/ 203168 h 742950"/>
                  <a:gd name="connsiteX1254" fmla="*/ 412147 w 447675"/>
                  <a:gd name="connsiteY1254" fmla="*/ 201454 h 742950"/>
                  <a:gd name="connsiteX1255" fmla="*/ 412147 w 447675"/>
                  <a:gd name="connsiteY1255" fmla="*/ 199739 h 742950"/>
                  <a:gd name="connsiteX1256" fmla="*/ 411290 w 447675"/>
                  <a:gd name="connsiteY1256" fmla="*/ 198120 h 742950"/>
                  <a:gd name="connsiteX1257" fmla="*/ 409575 w 447675"/>
                  <a:gd name="connsiteY1257" fmla="*/ 193834 h 742950"/>
                  <a:gd name="connsiteX1258" fmla="*/ 409575 w 447675"/>
                  <a:gd name="connsiteY1258" fmla="*/ 192977 h 742950"/>
                  <a:gd name="connsiteX1259" fmla="*/ 409575 w 447675"/>
                  <a:gd name="connsiteY1259" fmla="*/ 191357 h 742950"/>
                  <a:gd name="connsiteX1260" fmla="*/ 410432 w 447675"/>
                  <a:gd name="connsiteY1260" fmla="*/ 189643 h 742950"/>
                  <a:gd name="connsiteX1261" fmla="*/ 410432 w 447675"/>
                  <a:gd name="connsiteY1261" fmla="*/ 187071 h 742950"/>
                  <a:gd name="connsiteX1262" fmla="*/ 411290 w 447675"/>
                  <a:gd name="connsiteY1262" fmla="*/ 186214 h 742950"/>
                  <a:gd name="connsiteX1263" fmla="*/ 411290 w 447675"/>
                  <a:gd name="connsiteY1263" fmla="*/ 185357 h 742950"/>
                  <a:gd name="connsiteX1264" fmla="*/ 412147 w 447675"/>
                  <a:gd name="connsiteY1264" fmla="*/ 185357 h 742950"/>
                  <a:gd name="connsiteX1265" fmla="*/ 412147 w 447675"/>
                  <a:gd name="connsiteY1265" fmla="*/ 184499 h 742950"/>
                  <a:gd name="connsiteX1266" fmla="*/ 413861 w 447675"/>
                  <a:gd name="connsiteY1266" fmla="*/ 183737 h 742950"/>
                  <a:gd name="connsiteX1267" fmla="*/ 414719 w 447675"/>
                  <a:gd name="connsiteY1267" fmla="*/ 183737 h 742950"/>
                  <a:gd name="connsiteX1268" fmla="*/ 415481 w 447675"/>
                  <a:gd name="connsiteY1268" fmla="*/ 182880 h 742950"/>
                  <a:gd name="connsiteX1269" fmla="*/ 417195 w 447675"/>
                  <a:gd name="connsiteY1269" fmla="*/ 180308 h 742950"/>
                  <a:gd name="connsiteX1270" fmla="*/ 418910 w 447675"/>
                  <a:gd name="connsiteY1270" fmla="*/ 179451 h 742950"/>
                  <a:gd name="connsiteX1271" fmla="*/ 419767 w 447675"/>
                  <a:gd name="connsiteY1271" fmla="*/ 179451 h 742950"/>
                  <a:gd name="connsiteX1272" fmla="*/ 423100 w 447675"/>
                  <a:gd name="connsiteY1272" fmla="*/ 179451 h 742950"/>
                  <a:gd name="connsiteX1273" fmla="*/ 423958 w 447675"/>
                  <a:gd name="connsiteY1273" fmla="*/ 179451 h 742950"/>
                  <a:gd name="connsiteX1274" fmla="*/ 424815 w 447675"/>
                  <a:gd name="connsiteY1274" fmla="*/ 178594 h 742950"/>
                  <a:gd name="connsiteX1275" fmla="*/ 425672 w 447675"/>
                  <a:gd name="connsiteY1275" fmla="*/ 178594 h 742950"/>
                  <a:gd name="connsiteX1276" fmla="*/ 428244 w 447675"/>
                  <a:gd name="connsiteY1276" fmla="*/ 176117 h 742950"/>
                  <a:gd name="connsiteX1277" fmla="*/ 433292 w 447675"/>
                  <a:gd name="connsiteY1277" fmla="*/ 171831 h 742950"/>
                  <a:gd name="connsiteX1278" fmla="*/ 434150 w 447675"/>
                  <a:gd name="connsiteY1278" fmla="*/ 170974 h 742950"/>
                  <a:gd name="connsiteX1279" fmla="*/ 435007 w 447675"/>
                  <a:gd name="connsiteY1279" fmla="*/ 170117 h 742950"/>
                  <a:gd name="connsiteX1280" fmla="*/ 436721 w 447675"/>
                  <a:gd name="connsiteY1280" fmla="*/ 164211 h 742950"/>
                  <a:gd name="connsiteX1281" fmla="*/ 437483 w 447675"/>
                  <a:gd name="connsiteY1281" fmla="*/ 163354 h 742950"/>
                  <a:gd name="connsiteX1282" fmla="*/ 437483 w 447675"/>
                  <a:gd name="connsiteY1282" fmla="*/ 162497 h 742950"/>
                  <a:gd name="connsiteX1283" fmla="*/ 438341 w 447675"/>
                  <a:gd name="connsiteY1283" fmla="*/ 161735 h 742950"/>
                  <a:gd name="connsiteX1284" fmla="*/ 439198 w 447675"/>
                  <a:gd name="connsiteY1284" fmla="*/ 160877 h 742950"/>
                  <a:gd name="connsiteX1285" fmla="*/ 441770 w 447675"/>
                  <a:gd name="connsiteY1285" fmla="*/ 160020 h 742950"/>
                  <a:gd name="connsiteX1286" fmla="*/ 441770 w 447675"/>
                  <a:gd name="connsiteY1286" fmla="*/ 160020 h 742950"/>
                  <a:gd name="connsiteX1287" fmla="*/ 443484 w 447675"/>
                  <a:gd name="connsiteY1287" fmla="*/ 158306 h 742950"/>
                  <a:gd name="connsiteX1288" fmla="*/ 444341 w 447675"/>
                  <a:gd name="connsiteY1288" fmla="*/ 157448 h 742950"/>
                  <a:gd name="connsiteX1289" fmla="*/ 448532 w 447675"/>
                  <a:gd name="connsiteY1289" fmla="*/ 154115 h 742950"/>
                  <a:gd name="connsiteX1290" fmla="*/ 450247 w 447675"/>
                  <a:gd name="connsiteY1290" fmla="*/ 153257 h 742950"/>
                  <a:gd name="connsiteX1291" fmla="*/ 451104 w 447675"/>
                  <a:gd name="connsiteY1291" fmla="*/ 151543 h 742950"/>
                  <a:gd name="connsiteX1292" fmla="*/ 451866 w 447675"/>
                  <a:gd name="connsiteY1292" fmla="*/ 149828 h 742950"/>
                  <a:gd name="connsiteX1293" fmla="*/ 451866 w 447675"/>
                  <a:gd name="connsiteY1293" fmla="*/ 148971 h 742950"/>
                  <a:gd name="connsiteX1294" fmla="*/ 451104 w 447675"/>
                  <a:gd name="connsiteY1294" fmla="*/ 147257 h 742950"/>
                  <a:gd name="connsiteX1295" fmla="*/ 451104 w 447675"/>
                  <a:gd name="connsiteY1295" fmla="*/ 147257 h 742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</a:cxnLst>
                <a:rect l="l" t="t" r="r" b="b"/>
                <a:pathLst>
                  <a:path w="447675" h="742950">
                    <a:moveTo>
                      <a:pt x="451104" y="147257"/>
                    </a:moveTo>
                    <a:lnTo>
                      <a:pt x="451104" y="145637"/>
                    </a:lnTo>
                    <a:lnTo>
                      <a:pt x="450247" y="143923"/>
                    </a:lnTo>
                    <a:lnTo>
                      <a:pt x="449390" y="142208"/>
                    </a:lnTo>
                    <a:lnTo>
                      <a:pt x="449390" y="139732"/>
                    </a:lnTo>
                    <a:lnTo>
                      <a:pt x="448532" y="138875"/>
                    </a:lnTo>
                    <a:lnTo>
                      <a:pt x="447675" y="138017"/>
                    </a:lnTo>
                    <a:lnTo>
                      <a:pt x="445103" y="136303"/>
                    </a:lnTo>
                    <a:lnTo>
                      <a:pt x="443484" y="136303"/>
                    </a:lnTo>
                    <a:lnTo>
                      <a:pt x="442627" y="136303"/>
                    </a:lnTo>
                    <a:lnTo>
                      <a:pt x="441770" y="136303"/>
                    </a:lnTo>
                    <a:lnTo>
                      <a:pt x="440912" y="136303"/>
                    </a:lnTo>
                    <a:lnTo>
                      <a:pt x="440055" y="136303"/>
                    </a:lnTo>
                    <a:lnTo>
                      <a:pt x="439198" y="137160"/>
                    </a:lnTo>
                    <a:lnTo>
                      <a:pt x="438341" y="137160"/>
                    </a:lnTo>
                    <a:lnTo>
                      <a:pt x="437483" y="137160"/>
                    </a:lnTo>
                    <a:lnTo>
                      <a:pt x="436721" y="137160"/>
                    </a:lnTo>
                    <a:lnTo>
                      <a:pt x="435007" y="136303"/>
                    </a:lnTo>
                    <a:lnTo>
                      <a:pt x="434150" y="136303"/>
                    </a:lnTo>
                    <a:lnTo>
                      <a:pt x="430721" y="133731"/>
                    </a:lnTo>
                    <a:lnTo>
                      <a:pt x="429101" y="133731"/>
                    </a:lnTo>
                    <a:lnTo>
                      <a:pt x="429101" y="133731"/>
                    </a:lnTo>
                    <a:lnTo>
                      <a:pt x="429101" y="134588"/>
                    </a:lnTo>
                    <a:lnTo>
                      <a:pt x="429101" y="136303"/>
                    </a:lnTo>
                    <a:lnTo>
                      <a:pt x="429101" y="136303"/>
                    </a:lnTo>
                    <a:lnTo>
                      <a:pt x="429101" y="136303"/>
                    </a:lnTo>
                    <a:lnTo>
                      <a:pt x="428244" y="137160"/>
                    </a:lnTo>
                    <a:lnTo>
                      <a:pt x="428244" y="137160"/>
                    </a:lnTo>
                    <a:lnTo>
                      <a:pt x="427387" y="138017"/>
                    </a:lnTo>
                    <a:lnTo>
                      <a:pt x="426530" y="137160"/>
                    </a:lnTo>
                    <a:lnTo>
                      <a:pt x="425672" y="137160"/>
                    </a:lnTo>
                    <a:lnTo>
                      <a:pt x="425672" y="136303"/>
                    </a:lnTo>
                    <a:lnTo>
                      <a:pt x="424815" y="136303"/>
                    </a:lnTo>
                    <a:lnTo>
                      <a:pt x="424815" y="134588"/>
                    </a:lnTo>
                    <a:lnTo>
                      <a:pt x="423958" y="132112"/>
                    </a:lnTo>
                    <a:lnTo>
                      <a:pt x="423100" y="129540"/>
                    </a:lnTo>
                    <a:lnTo>
                      <a:pt x="423100" y="127826"/>
                    </a:lnTo>
                    <a:lnTo>
                      <a:pt x="422339" y="126111"/>
                    </a:lnTo>
                    <a:lnTo>
                      <a:pt x="421481" y="125254"/>
                    </a:lnTo>
                    <a:lnTo>
                      <a:pt x="417195" y="121920"/>
                    </a:lnTo>
                    <a:lnTo>
                      <a:pt x="415481" y="118491"/>
                    </a:lnTo>
                    <a:lnTo>
                      <a:pt x="414719" y="114300"/>
                    </a:lnTo>
                    <a:lnTo>
                      <a:pt x="416338" y="109252"/>
                    </a:lnTo>
                    <a:lnTo>
                      <a:pt x="417195" y="99917"/>
                    </a:lnTo>
                    <a:lnTo>
                      <a:pt x="415481" y="94012"/>
                    </a:lnTo>
                    <a:lnTo>
                      <a:pt x="414719" y="92297"/>
                    </a:lnTo>
                    <a:lnTo>
                      <a:pt x="414719" y="90583"/>
                    </a:lnTo>
                    <a:lnTo>
                      <a:pt x="413004" y="89726"/>
                    </a:lnTo>
                    <a:lnTo>
                      <a:pt x="412147" y="89726"/>
                    </a:lnTo>
                    <a:lnTo>
                      <a:pt x="412147" y="90583"/>
                    </a:lnTo>
                    <a:lnTo>
                      <a:pt x="408718" y="93155"/>
                    </a:lnTo>
                    <a:lnTo>
                      <a:pt x="407861" y="93155"/>
                    </a:lnTo>
                    <a:lnTo>
                      <a:pt x="407861" y="93155"/>
                    </a:lnTo>
                    <a:lnTo>
                      <a:pt x="407099" y="93155"/>
                    </a:lnTo>
                    <a:lnTo>
                      <a:pt x="407099" y="92297"/>
                    </a:lnTo>
                    <a:lnTo>
                      <a:pt x="406241" y="90583"/>
                    </a:lnTo>
                    <a:lnTo>
                      <a:pt x="406241" y="88868"/>
                    </a:lnTo>
                    <a:lnTo>
                      <a:pt x="406241" y="88011"/>
                    </a:lnTo>
                    <a:lnTo>
                      <a:pt x="407099" y="84677"/>
                    </a:lnTo>
                    <a:lnTo>
                      <a:pt x="407099" y="83820"/>
                    </a:lnTo>
                    <a:lnTo>
                      <a:pt x="407099" y="82106"/>
                    </a:lnTo>
                    <a:lnTo>
                      <a:pt x="407099" y="81248"/>
                    </a:lnTo>
                    <a:lnTo>
                      <a:pt x="407099" y="80391"/>
                    </a:lnTo>
                    <a:lnTo>
                      <a:pt x="407099" y="79629"/>
                    </a:lnTo>
                    <a:lnTo>
                      <a:pt x="407861" y="78772"/>
                    </a:lnTo>
                    <a:lnTo>
                      <a:pt x="407861" y="77915"/>
                    </a:lnTo>
                    <a:lnTo>
                      <a:pt x="412147" y="74486"/>
                    </a:lnTo>
                    <a:lnTo>
                      <a:pt x="413004" y="72866"/>
                    </a:lnTo>
                    <a:lnTo>
                      <a:pt x="413861" y="71152"/>
                    </a:lnTo>
                    <a:lnTo>
                      <a:pt x="413861" y="70295"/>
                    </a:lnTo>
                    <a:lnTo>
                      <a:pt x="414719" y="69437"/>
                    </a:lnTo>
                    <a:lnTo>
                      <a:pt x="413861" y="68580"/>
                    </a:lnTo>
                    <a:lnTo>
                      <a:pt x="412147" y="65246"/>
                    </a:lnTo>
                    <a:lnTo>
                      <a:pt x="412147" y="63532"/>
                    </a:lnTo>
                    <a:lnTo>
                      <a:pt x="412147" y="61817"/>
                    </a:lnTo>
                    <a:lnTo>
                      <a:pt x="411290" y="60960"/>
                    </a:lnTo>
                    <a:lnTo>
                      <a:pt x="411290" y="60103"/>
                    </a:lnTo>
                    <a:lnTo>
                      <a:pt x="410432" y="59246"/>
                    </a:lnTo>
                    <a:lnTo>
                      <a:pt x="409575" y="59246"/>
                    </a:lnTo>
                    <a:lnTo>
                      <a:pt x="408718" y="60103"/>
                    </a:lnTo>
                    <a:lnTo>
                      <a:pt x="407099" y="60960"/>
                    </a:lnTo>
                    <a:lnTo>
                      <a:pt x="406241" y="60960"/>
                    </a:lnTo>
                    <a:lnTo>
                      <a:pt x="405384" y="60960"/>
                    </a:lnTo>
                    <a:lnTo>
                      <a:pt x="404527" y="61817"/>
                    </a:lnTo>
                    <a:lnTo>
                      <a:pt x="404527" y="61817"/>
                    </a:lnTo>
                    <a:lnTo>
                      <a:pt x="403670" y="62675"/>
                    </a:lnTo>
                    <a:lnTo>
                      <a:pt x="403670" y="62675"/>
                    </a:lnTo>
                    <a:lnTo>
                      <a:pt x="403670" y="63532"/>
                    </a:lnTo>
                    <a:lnTo>
                      <a:pt x="403670" y="65246"/>
                    </a:lnTo>
                    <a:lnTo>
                      <a:pt x="403670" y="67723"/>
                    </a:lnTo>
                    <a:lnTo>
                      <a:pt x="403670" y="68580"/>
                    </a:lnTo>
                    <a:lnTo>
                      <a:pt x="403670" y="68580"/>
                    </a:lnTo>
                    <a:lnTo>
                      <a:pt x="403670" y="68580"/>
                    </a:lnTo>
                    <a:lnTo>
                      <a:pt x="402812" y="68580"/>
                    </a:lnTo>
                    <a:lnTo>
                      <a:pt x="401955" y="68580"/>
                    </a:lnTo>
                    <a:lnTo>
                      <a:pt x="395192" y="66008"/>
                    </a:lnTo>
                    <a:lnTo>
                      <a:pt x="394335" y="66008"/>
                    </a:lnTo>
                    <a:lnTo>
                      <a:pt x="393478" y="66008"/>
                    </a:lnTo>
                    <a:lnTo>
                      <a:pt x="392716" y="66008"/>
                    </a:lnTo>
                    <a:lnTo>
                      <a:pt x="390144" y="66008"/>
                    </a:lnTo>
                    <a:lnTo>
                      <a:pt x="389287" y="66008"/>
                    </a:lnTo>
                    <a:lnTo>
                      <a:pt x="388430" y="66008"/>
                    </a:lnTo>
                    <a:lnTo>
                      <a:pt x="387572" y="66008"/>
                    </a:lnTo>
                    <a:lnTo>
                      <a:pt x="385858" y="65246"/>
                    </a:lnTo>
                    <a:lnTo>
                      <a:pt x="385096" y="64389"/>
                    </a:lnTo>
                    <a:lnTo>
                      <a:pt x="384239" y="61817"/>
                    </a:lnTo>
                    <a:lnTo>
                      <a:pt x="383381" y="58388"/>
                    </a:lnTo>
                    <a:lnTo>
                      <a:pt x="381667" y="55912"/>
                    </a:lnTo>
                    <a:lnTo>
                      <a:pt x="381667" y="54197"/>
                    </a:lnTo>
                    <a:lnTo>
                      <a:pt x="381667" y="53340"/>
                    </a:lnTo>
                    <a:lnTo>
                      <a:pt x="381667" y="52483"/>
                    </a:lnTo>
                    <a:lnTo>
                      <a:pt x="383381" y="49149"/>
                    </a:lnTo>
                    <a:lnTo>
                      <a:pt x="383381" y="48292"/>
                    </a:lnTo>
                    <a:lnTo>
                      <a:pt x="383381" y="46577"/>
                    </a:lnTo>
                    <a:lnTo>
                      <a:pt x="382524" y="45720"/>
                    </a:lnTo>
                    <a:lnTo>
                      <a:pt x="380810" y="40672"/>
                    </a:lnTo>
                    <a:lnTo>
                      <a:pt x="379095" y="38100"/>
                    </a:lnTo>
                    <a:lnTo>
                      <a:pt x="363855" y="24575"/>
                    </a:lnTo>
                    <a:lnTo>
                      <a:pt x="362236" y="22003"/>
                    </a:lnTo>
                    <a:lnTo>
                      <a:pt x="361379" y="20383"/>
                    </a:lnTo>
                    <a:lnTo>
                      <a:pt x="360521" y="18669"/>
                    </a:lnTo>
                    <a:lnTo>
                      <a:pt x="360521" y="16955"/>
                    </a:lnTo>
                    <a:lnTo>
                      <a:pt x="359664" y="15240"/>
                    </a:lnTo>
                    <a:lnTo>
                      <a:pt x="360521" y="10192"/>
                    </a:lnTo>
                    <a:lnTo>
                      <a:pt x="359664" y="8477"/>
                    </a:lnTo>
                    <a:lnTo>
                      <a:pt x="359664" y="7620"/>
                    </a:lnTo>
                    <a:lnTo>
                      <a:pt x="358807" y="6763"/>
                    </a:lnTo>
                    <a:lnTo>
                      <a:pt x="354616" y="4286"/>
                    </a:lnTo>
                    <a:lnTo>
                      <a:pt x="352901" y="2572"/>
                    </a:lnTo>
                    <a:lnTo>
                      <a:pt x="352044" y="2572"/>
                    </a:lnTo>
                    <a:lnTo>
                      <a:pt x="351187" y="1715"/>
                    </a:lnTo>
                    <a:lnTo>
                      <a:pt x="345281" y="1715"/>
                    </a:lnTo>
                    <a:lnTo>
                      <a:pt x="339376" y="0"/>
                    </a:lnTo>
                    <a:lnTo>
                      <a:pt x="338519" y="1715"/>
                    </a:lnTo>
                    <a:lnTo>
                      <a:pt x="336804" y="6001"/>
                    </a:lnTo>
                    <a:lnTo>
                      <a:pt x="336804" y="6763"/>
                    </a:lnTo>
                    <a:lnTo>
                      <a:pt x="335947" y="7620"/>
                    </a:lnTo>
                    <a:lnTo>
                      <a:pt x="331756" y="9335"/>
                    </a:lnTo>
                    <a:lnTo>
                      <a:pt x="330899" y="11049"/>
                    </a:lnTo>
                    <a:lnTo>
                      <a:pt x="330899" y="12764"/>
                    </a:lnTo>
                    <a:lnTo>
                      <a:pt x="330041" y="16097"/>
                    </a:lnTo>
                    <a:lnTo>
                      <a:pt x="330041" y="16955"/>
                    </a:lnTo>
                    <a:lnTo>
                      <a:pt x="330041" y="16955"/>
                    </a:lnTo>
                    <a:lnTo>
                      <a:pt x="327470" y="21146"/>
                    </a:lnTo>
                    <a:lnTo>
                      <a:pt x="326708" y="22003"/>
                    </a:lnTo>
                    <a:lnTo>
                      <a:pt x="325850" y="22860"/>
                    </a:lnTo>
                    <a:lnTo>
                      <a:pt x="324993" y="23717"/>
                    </a:lnTo>
                    <a:lnTo>
                      <a:pt x="322421" y="24575"/>
                    </a:lnTo>
                    <a:lnTo>
                      <a:pt x="319850" y="25432"/>
                    </a:lnTo>
                    <a:lnTo>
                      <a:pt x="318230" y="25432"/>
                    </a:lnTo>
                    <a:lnTo>
                      <a:pt x="314801" y="27146"/>
                    </a:lnTo>
                    <a:lnTo>
                      <a:pt x="313944" y="27146"/>
                    </a:lnTo>
                    <a:lnTo>
                      <a:pt x="312230" y="27146"/>
                    </a:lnTo>
                    <a:lnTo>
                      <a:pt x="307181" y="26289"/>
                    </a:lnTo>
                    <a:lnTo>
                      <a:pt x="302990" y="26289"/>
                    </a:lnTo>
                    <a:lnTo>
                      <a:pt x="299561" y="27146"/>
                    </a:lnTo>
                    <a:lnTo>
                      <a:pt x="298704" y="27146"/>
                    </a:lnTo>
                    <a:lnTo>
                      <a:pt x="295370" y="26289"/>
                    </a:lnTo>
                    <a:lnTo>
                      <a:pt x="292799" y="25432"/>
                    </a:lnTo>
                    <a:lnTo>
                      <a:pt x="290227" y="23717"/>
                    </a:lnTo>
                    <a:lnTo>
                      <a:pt x="284321" y="17812"/>
                    </a:lnTo>
                    <a:lnTo>
                      <a:pt x="280130" y="16955"/>
                    </a:lnTo>
                    <a:lnTo>
                      <a:pt x="279273" y="19526"/>
                    </a:lnTo>
                    <a:lnTo>
                      <a:pt x="279273" y="19526"/>
                    </a:lnTo>
                    <a:lnTo>
                      <a:pt x="278416" y="21146"/>
                    </a:lnTo>
                    <a:lnTo>
                      <a:pt x="278416" y="22860"/>
                    </a:lnTo>
                    <a:lnTo>
                      <a:pt x="278416" y="23717"/>
                    </a:lnTo>
                    <a:lnTo>
                      <a:pt x="276701" y="25432"/>
                    </a:lnTo>
                    <a:lnTo>
                      <a:pt x="273368" y="27146"/>
                    </a:lnTo>
                    <a:lnTo>
                      <a:pt x="271653" y="28004"/>
                    </a:lnTo>
                    <a:lnTo>
                      <a:pt x="268224" y="28004"/>
                    </a:lnTo>
                    <a:lnTo>
                      <a:pt x="265748" y="28766"/>
                    </a:lnTo>
                    <a:lnTo>
                      <a:pt x="264890" y="30480"/>
                    </a:lnTo>
                    <a:lnTo>
                      <a:pt x="264033" y="32195"/>
                    </a:lnTo>
                    <a:lnTo>
                      <a:pt x="264033" y="33909"/>
                    </a:lnTo>
                    <a:lnTo>
                      <a:pt x="264033" y="35624"/>
                    </a:lnTo>
                    <a:lnTo>
                      <a:pt x="263176" y="36386"/>
                    </a:lnTo>
                    <a:lnTo>
                      <a:pt x="259842" y="38100"/>
                    </a:lnTo>
                    <a:lnTo>
                      <a:pt x="254699" y="39815"/>
                    </a:lnTo>
                    <a:lnTo>
                      <a:pt x="253079" y="41529"/>
                    </a:lnTo>
                    <a:lnTo>
                      <a:pt x="252222" y="42386"/>
                    </a:lnTo>
                    <a:lnTo>
                      <a:pt x="250508" y="43244"/>
                    </a:lnTo>
                    <a:lnTo>
                      <a:pt x="247079" y="44006"/>
                    </a:lnTo>
                    <a:lnTo>
                      <a:pt x="237839" y="42386"/>
                    </a:lnTo>
                    <a:lnTo>
                      <a:pt x="220885" y="42386"/>
                    </a:lnTo>
                    <a:lnTo>
                      <a:pt x="219170" y="42386"/>
                    </a:lnTo>
                    <a:lnTo>
                      <a:pt x="214122" y="40672"/>
                    </a:lnTo>
                    <a:lnTo>
                      <a:pt x="203930" y="40672"/>
                    </a:lnTo>
                    <a:lnTo>
                      <a:pt x="200597" y="40672"/>
                    </a:lnTo>
                    <a:lnTo>
                      <a:pt x="195453" y="37243"/>
                    </a:lnTo>
                    <a:lnTo>
                      <a:pt x="192977" y="36386"/>
                    </a:lnTo>
                    <a:lnTo>
                      <a:pt x="185357" y="35624"/>
                    </a:lnTo>
                    <a:lnTo>
                      <a:pt x="181928" y="37243"/>
                    </a:lnTo>
                    <a:lnTo>
                      <a:pt x="176879" y="39815"/>
                    </a:lnTo>
                    <a:lnTo>
                      <a:pt x="174308" y="41529"/>
                    </a:lnTo>
                    <a:lnTo>
                      <a:pt x="170974" y="41529"/>
                    </a:lnTo>
                    <a:lnTo>
                      <a:pt x="167545" y="40672"/>
                    </a:lnTo>
                    <a:lnTo>
                      <a:pt x="164211" y="38100"/>
                    </a:lnTo>
                    <a:lnTo>
                      <a:pt x="159068" y="32195"/>
                    </a:lnTo>
                    <a:lnTo>
                      <a:pt x="157448" y="30480"/>
                    </a:lnTo>
                    <a:lnTo>
                      <a:pt x="152305" y="30480"/>
                    </a:lnTo>
                    <a:lnTo>
                      <a:pt x="149828" y="33052"/>
                    </a:lnTo>
                    <a:lnTo>
                      <a:pt x="151448" y="33909"/>
                    </a:lnTo>
                    <a:lnTo>
                      <a:pt x="151448" y="35624"/>
                    </a:lnTo>
                    <a:lnTo>
                      <a:pt x="150590" y="36386"/>
                    </a:lnTo>
                    <a:lnTo>
                      <a:pt x="150590" y="38100"/>
                    </a:lnTo>
                    <a:lnTo>
                      <a:pt x="152305" y="39815"/>
                    </a:lnTo>
                    <a:lnTo>
                      <a:pt x="154877" y="47435"/>
                    </a:lnTo>
                    <a:lnTo>
                      <a:pt x="156591" y="50006"/>
                    </a:lnTo>
                    <a:lnTo>
                      <a:pt x="157448" y="51626"/>
                    </a:lnTo>
                    <a:lnTo>
                      <a:pt x="157448" y="54197"/>
                    </a:lnTo>
                    <a:lnTo>
                      <a:pt x="156591" y="55055"/>
                    </a:lnTo>
                    <a:lnTo>
                      <a:pt x="155734" y="56769"/>
                    </a:lnTo>
                    <a:lnTo>
                      <a:pt x="154019" y="59246"/>
                    </a:lnTo>
                    <a:lnTo>
                      <a:pt x="153162" y="59246"/>
                    </a:lnTo>
                    <a:lnTo>
                      <a:pt x="150590" y="60103"/>
                    </a:lnTo>
                    <a:lnTo>
                      <a:pt x="149828" y="61817"/>
                    </a:lnTo>
                    <a:lnTo>
                      <a:pt x="149828" y="66008"/>
                    </a:lnTo>
                    <a:lnTo>
                      <a:pt x="148971" y="66866"/>
                    </a:lnTo>
                    <a:lnTo>
                      <a:pt x="148114" y="67723"/>
                    </a:lnTo>
                    <a:lnTo>
                      <a:pt x="147257" y="68580"/>
                    </a:lnTo>
                    <a:lnTo>
                      <a:pt x="147257" y="69437"/>
                    </a:lnTo>
                    <a:lnTo>
                      <a:pt x="147257" y="70295"/>
                    </a:lnTo>
                    <a:lnTo>
                      <a:pt x="148114" y="72866"/>
                    </a:lnTo>
                    <a:lnTo>
                      <a:pt x="149828" y="74486"/>
                    </a:lnTo>
                    <a:lnTo>
                      <a:pt x="149828" y="77057"/>
                    </a:lnTo>
                    <a:lnTo>
                      <a:pt x="150590" y="77915"/>
                    </a:lnTo>
                    <a:lnTo>
                      <a:pt x="153162" y="78772"/>
                    </a:lnTo>
                    <a:lnTo>
                      <a:pt x="154019" y="77915"/>
                    </a:lnTo>
                    <a:lnTo>
                      <a:pt x="157448" y="76200"/>
                    </a:lnTo>
                    <a:lnTo>
                      <a:pt x="160782" y="74486"/>
                    </a:lnTo>
                    <a:lnTo>
                      <a:pt x="162497" y="72866"/>
                    </a:lnTo>
                    <a:lnTo>
                      <a:pt x="164211" y="72009"/>
                    </a:lnTo>
                    <a:lnTo>
                      <a:pt x="165830" y="72009"/>
                    </a:lnTo>
                    <a:lnTo>
                      <a:pt x="167545" y="72009"/>
                    </a:lnTo>
                    <a:lnTo>
                      <a:pt x="170117" y="72866"/>
                    </a:lnTo>
                    <a:lnTo>
                      <a:pt x="176879" y="76200"/>
                    </a:lnTo>
                    <a:lnTo>
                      <a:pt x="181928" y="76200"/>
                    </a:lnTo>
                    <a:lnTo>
                      <a:pt x="183642" y="77057"/>
                    </a:lnTo>
                    <a:lnTo>
                      <a:pt x="187071" y="80391"/>
                    </a:lnTo>
                    <a:lnTo>
                      <a:pt x="189548" y="86392"/>
                    </a:lnTo>
                    <a:lnTo>
                      <a:pt x="191262" y="88868"/>
                    </a:lnTo>
                    <a:lnTo>
                      <a:pt x="192977" y="89726"/>
                    </a:lnTo>
                    <a:lnTo>
                      <a:pt x="193834" y="89726"/>
                    </a:lnTo>
                    <a:lnTo>
                      <a:pt x="194596" y="89726"/>
                    </a:lnTo>
                    <a:lnTo>
                      <a:pt x="195453" y="91440"/>
                    </a:lnTo>
                    <a:lnTo>
                      <a:pt x="196310" y="92297"/>
                    </a:lnTo>
                    <a:lnTo>
                      <a:pt x="197168" y="93155"/>
                    </a:lnTo>
                    <a:lnTo>
                      <a:pt x="203073" y="92297"/>
                    </a:lnTo>
                    <a:lnTo>
                      <a:pt x="204788" y="92297"/>
                    </a:lnTo>
                    <a:lnTo>
                      <a:pt x="205645" y="93155"/>
                    </a:lnTo>
                    <a:lnTo>
                      <a:pt x="207359" y="94869"/>
                    </a:lnTo>
                    <a:lnTo>
                      <a:pt x="211550" y="97346"/>
                    </a:lnTo>
                    <a:lnTo>
                      <a:pt x="212408" y="99917"/>
                    </a:lnTo>
                    <a:lnTo>
                      <a:pt x="213265" y="101632"/>
                    </a:lnTo>
                    <a:lnTo>
                      <a:pt x="209836" y="111728"/>
                    </a:lnTo>
                    <a:lnTo>
                      <a:pt x="209074" y="116015"/>
                    </a:lnTo>
                    <a:lnTo>
                      <a:pt x="209074" y="118491"/>
                    </a:lnTo>
                    <a:lnTo>
                      <a:pt x="207359" y="122777"/>
                    </a:lnTo>
                    <a:lnTo>
                      <a:pt x="206502" y="125254"/>
                    </a:lnTo>
                    <a:lnTo>
                      <a:pt x="203930" y="124492"/>
                    </a:lnTo>
                    <a:lnTo>
                      <a:pt x="202216" y="124492"/>
                    </a:lnTo>
                    <a:lnTo>
                      <a:pt x="199739" y="124492"/>
                    </a:lnTo>
                    <a:lnTo>
                      <a:pt x="194596" y="127826"/>
                    </a:lnTo>
                    <a:lnTo>
                      <a:pt x="188690" y="129540"/>
                    </a:lnTo>
                    <a:lnTo>
                      <a:pt x="186214" y="131255"/>
                    </a:lnTo>
                    <a:lnTo>
                      <a:pt x="185357" y="134588"/>
                    </a:lnTo>
                    <a:lnTo>
                      <a:pt x="184499" y="136303"/>
                    </a:lnTo>
                    <a:lnTo>
                      <a:pt x="186214" y="140494"/>
                    </a:lnTo>
                    <a:lnTo>
                      <a:pt x="185357" y="143066"/>
                    </a:lnTo>
                    <a:lnTo>
                      <a:pt x="181928" y="146495"/>
                    </a:lnTo>
                    <a:lnTo>
                      <a:pt x="176879" y="150686"/>
                    </a:lnTo>
                    <a:lnTo>
                      <a:pt x="175165" y="151543"/>
                    </a:lnTo>
                    <a:lnTo>
                      <a:pt x="170974" y="153257"/>
                    </a:lnTo>
                    <a:lnTo>
                      <a:pt x="168402" y="154115"/>
                    </a:lnTo>
                    <a:lnTo>
                      <a:pt x="167545" y="155734"/>
                    </a:lnTo>
                    <a:lnTo>
                      <a:pt x="167545" y="158306"/>
                    </a:lnTo>
                    <a:lnTo>
                      <a:pt x="168402" y="162497"/>
                    </a:lnTo>
                    <a:lnTo>
                      <a:pt x="168402" y="166783"/>
                    </a:lnTo>
                    <a:lnTo>
                      <a:pt x="166688" y="169355"/>
                    </a:lnTo>
                    <a:lnTo>
                      <a:pt x="165830" y="170117"/>
                    </a:lnTo>
                    <a:lnTo>
                      <a:pt x="165830" y="171831"/>
                    </a:lnTo>
                    <a:lnTo>
                      <a:pt x="166688" y="174403"/>
                    </a:lnTo>
                    <a:lnTo>
                      <a:pt x="166688" y="176117"/>
                    </a:lnTo>
                    <a:lnTo>
                      <a:pt x="165068" y="177737"/>
                    </a:lnTo>
                    <a:lnTo>
                      <a:pt x="161639" y="178594"/>
                    </a:lnTo>
                    <a:lnTo>
                      <a:pt x="155734" y="182880"/>
                    </a:lnTo>
                    <a:lnTo>
                      <a:pt x="154019" y="185357"/>
                    </a:lnTo>
                    <a:lnTo>
                      <a:pt x="153162" y="187071"/>
                    </a:lnTo>
                    <a:lnTo>
                      <a:pt x="153162" y="188786"/>
                    </a:lnTo>
                    <a:lnTo>
                      <a:pt x="152305" y="189643"/>
                    </a:lnTo>
                    <a:lnTo>
                      <a:pt x="150590" y="191357"/>
                    </a:lnTo>
                    <a:lnTo>
                      <a:pt x="148114" y="192119"/>
                    </a:lnTo>
                    <a:lnTo>
                      <a:pt x="145542" y="192119"/>
                    </a:lnTo>
                    <a:lnTo>
                      <a:pt x="143066" y="192977"/>
                    </a:lnTo>
                    <a:lnTo>
                      <a:pt x="141351" y="193834"/>
                    </a:lnTo>
                    <a:lnTo>
                      <a:pt x="137922" y="195548"/>
                    </a:lnTo>
                    <a:lnTo>
                      <a:pt x="136208" y="198120"/>
                    </a:lnTo>
                    <a:lnTo>
                      <a:pt x="134588" y="198977"/>
                    </a:lnTo>
                    <a:lnTo>
                      <a:pt x="132017" y="200597"/>
                    </a:lnTo>
                    <a:lnTo>
                      <a:pt x="131159" y="201454"/>
                    </a:lnTo>
                    <a:lnTo>
                      <a:pt x="129445" y="203168"/>
                    </a:lnTo>
                    <a:lnTo>
                      <a:pt x="127825" y="203168"/>
                    </a:lnTo>
                    <a:lnTo>
                      <a:pt x="126111" y="202311"/>
                    </a:lnTo>
                    <a:lnTo>
                      <a:pt x="124397" y="198120"/>
                    </a:lnTo>
                    <a:lnTo>
                      <a:pt x="122682" y="196406"/>
                    </a:lnTo>
                    <a:lnTo>
                      <a:pt x="121063" y="196406"/>
                    </a:lnTo>
                    <a:lnTo>
                      <a:pt x="120206" y="196406"/>
                    </a:lnTo>
                    <a:lnTo>
                      <a:pt x="116777" y="198120"/>
                    </a:lnTo>
                    <a:lnTo>
                      <a:pt x="114205" y="198977"/>
                    </a:lnTo>
                    <a:lnTo>
                      <a:pt x="112586" y="199739"/>
                    </a:lnTo>
                    <a:lnTo>
                      <a:pt x="110014" y="201454"/>
                    </a:lnTo>
                    <a:lnTo>
                      <a:pt x="107442" y="202311"/>
                    </a:lnTo>
                    <a:lnTo>
                      <a:pt x="106585" y="202311"/>
                    </a:lnTo>
                    <a:lnTo>
                      <a:pt x="104966" y="201454"/>
                    </a:lnTo>
                    <a:lnTo>
                      <a:pt x="104108" y="198977"/>
                    </a:lnTo>
                    <a:lnTo>
                      <a:pt x="104108" y="198120"/>
                    </a:lnTo>
                    <a:lnTo>
                      <a:pt x="102394" y="198120"/>
                    </a:lnTo>
                    <a:lnTo>
                      <a:pt x="101537" y="198120"/>
                    </a:lnTo>
                    <a:lnTo>
                      <a:pt x="99822" y="199739"/>
                    </a:lnTo>
                    <a:lnTo>
                      <a:pt x="96488" y="204883"/>
                    </a:lnTo>
                    <a:lnTo>
                      <a:pt x="95631" y="207359"/>
                    </a:lnTo>
                    <a:lnTo>
                      <a:pt x="94774" y="211646"/>
                    </a:lnTo>
                    <a:lnTo>
                      <a:pt x="95631" y="214979"/>
                    </a:lnTo>
                    <a:lnTo>
                      <a:pt x="95631" y="218408"/>
                    </a:lnTo>
                    <a:lnTo>
                      <a:pt x="94774" y="220123"/>
                    </a:lnTo>
                    <a:lnTo>
                      <a:pt x="92202" y="225171"/>
                    </a:lnTo>
                    <a:lnTo>
                      <a:pt x="88011" y="227743"/>
                    </a:lnTo>
                    <a:lnTo>
                      <a:pt x="86297" y="228600"/>
                    </a:lnTo>
                    <a:lnTo>
                      <a:pt x="85439" y="230219"/>
                    </a:lnTo>
                    <a:lnTo>
                      <a:pt x="84582" y="231934"/>
                    </a:lnTo>
                    <a:lnTo>
                      <a:pt x="83820" y="238697"/>
                    </a:lnTo>
                    <a:lnTo>
                      <a:pt x="83820" y="239554"/>
                    </a:lnTo>
                    <a:lnTo>
                      <a:pt x="82963" y="240411"/>
                    </a:lnTo>
                    <a:lnTo>
                      <a:pt x="80391" y="241268"/>
                    </a:lnTo>
                    <a:lnTo>
                      <a:pt x="80391" y="241268"/>
                    </a:lnTo>
                    <a:lnTo>
                      <a:pt x="80391" y="242126"/>
                    </a:lnTo>
                    <a:lnTo>
                      <a:pt x="81248" y="244602"/>
                    </a:lnTo>
                    <a:lnTo>
                      <a:pt x="82106" y="246317"/>
                    </a:lnTo>
                    <a:lnTo>
                      <a:pt x="82106" y="248031"/>
                    </a:lnTo>
                    <a:lnTo>
                      <a:pt x="81248" y="248888"/>
                    </a:lnTo>
                    <a:lnTo>
                      <a:pt x="80391" y="249746"/>
                    </a:lnTo>
                    <a:lnTo>
                      <a:pt x="79534" y="248888"/>
                    </a:lnTo>
                    <a:lnTo>
                      <a:pt x="76200" y="244602"/>
                    </a:lnTo>
                    <a:lnTo>
                      <a:pt x="74486" y="243745"/>
                    </a:lnTo>
                    <a:lnTo>
                      <a:pt x="72771" y="243745"/>
                    </a:lnTo>
                    <a:lnTo>
                      <a:pt x="71057" y="245459"/>
                    </a:lnTo>
                    <a:lnTo>
                      <a:pt x="69437" y="248031"/>
                    </a:lnTo>
                    <a:lnTo>
                      <a:pt x="64294" y="258223"/>
                    </a:lnTo>
                    <a:lnTo>
                      <a:pt x="63437" y="260699"/>
                    </a:lnTo>
                    <a:lnTo>
                      <a:pt x="63437" y="265843"/>
                    </a:lnTo>
                    <a:lnTo>
                      <a:pt x="64294" y="273368"/>
                    </a:lnTo>
                    <a:lnTo>
                      <a:pt x="62579" y="278511"/>
                    </a:lnTo>
                    <a:lnTo>
                      <a:pt x="60103" y="281845"/>
                    </a:lnTo>
                    <a:lnTo>
                      <a:pt x="58388" y="283559"/>
                    </a:lnTo>
                    <a:lnTo>
                      <a:pt x="54959" y="284417"/>
                    </a:lnTo>
                    <a:lnTo>
                      <a:pt x="53340" y="286131"/>
                    </a:lnTo>
                    <a:lnTo>
                      <a:pt x="52483" y="288608"/>
                    </a:lnTo>
                    <a:lnTo>
                      <a:pt x="51625" y="300514"/>
                    </a:lnTo>
                    <a:lnTo>
                      <a:pt x="50768" y="302228"/>
                    </a:lnTo>
                    <a:lnTo>
                      <a:pt x="50768" y="303848"/>
                    </a:lnTo>
                    <a:lnTo>
                      <a:pt x="51625" y="314897"/>
                    </a:lnTo>
                    <a:lnTo>
                      <a:pt x="50768" y="317468"/>
                    </a:lnTo>
                    <a:lnTo>
                      <a:pt x="49054" y="321659"/>
                    </a:lnTo>
                    <a:lnTo>
                      <a:pt x="48197" y="325850"/>
                    </a:lnTo>
                    <a:lnTo>
                      <a:pt x="46577" y="331851"/>
                    </a:lnTo>
                    <a:lnTo>
                      <a:pt x="46577" y="337757"/>
                    </a:lnTo>
                    <a:lnTo>
                      <a:pt x="44863" y="340233"/>
                    </a:lnTo>
                    <a:lnTo>
                      <a:pt x="42291" y="343662"/>
                    </a:lnTo>
                    <a:lnTo>
                      <a:pt x="40577" y="344519"/>
                    </a:lnTo>
                    <a:lnTo>
                      <a:pt x="32195" y="348710"/>
                    </a:lnTo>
                    <a:lnTo>
                      <a:pt x="25432" y="353854"/>
                    </a:lnTo>
                    <a:lnTo>
                      <a:pt x="23717" y="354711"/>
                    </a:lnTo>
                    <a:lnTo>
                      <a:pt x="22860" y="355473"/>
                    </a:lnTo>
                    <a:lnTo>
                      <a:pt x="22003" y="357188"/>
                    </a:lnTo>
                    <a:lnTo>
                      <a:pt x="22003" y="358045"/>
                    </a:lnTo>
                    <a:lnTo>
                      <a:pt x="21146" y="365665"/>
                    </a:lnTo>
                    <a:lnTo>
                      <a:pt x="19431" y="369856"/>
                    </a:lnTo>
                    <a:lnTo>
                      <a:pt x="19431" y="371570"/>
                    </a:lnTo>
                    <a:lnTo>
                      <a:pt x="19431" y="373285"/>
                    </a:lnTo>
                    <a:lnTo>
                      <a:pt x="20288" y="375857"/>
                    </a:lnTo>
                    <a:lnTo>
                      <a:pt x="21146" y="378333"/>
                    </a:lnTo>
                    <a:lnTo>
                      <a:pt x="22003" y="379190"/>
                    </a:lnTo>
                    <a:lnTo>
                      <a:pt x="22860" y="380048"/>
                    </a:lnTo>
                    <a:lnTo>
                      <a:pt x="23717" y="380905"/>
                    </a:lnTo>
                    <a:lnTo>
                      <a:pt x="24575" y="380905"/>
                    </a:lnTo>
                    <a:lnTo>
                      <a:pt x="25432" y="381762"/>
                    </a:lnTo>
                    <a:lnTo>
                      <a:pt x="26194" y="381762"/>
                    </a:lnTo>
                    <a:lnTo>
                      <a:pt x="27051" y="380905"/>
                    </a:lnTo>
                    <a:lnTo>
                      <a:pt x="28766" y="380905"/>
                    </a:lnTo>
                    <a:lnTo>
                      <a:pt x="29623" y="380048"/>
                    </a:lnTo>
                    <a:lnTo>
                      <a:pt x="30480" y="380905"/>
                    </a:lnTo>
                    <a:lnTo>
                      <a:pt x="31337" y="380905"/>
                    </a:lnTo>
                    <a:lnTo>
                      <a:pt x="32195" y="381762"/>
                    </a:lnTo>
                    <a:lnTo>
                      <a:pt x="32195" y="382619"/>
                    </a:lnTo>
                    <a:lnTo>
                      <a:pt x="32957" y="384334"/>
                    </a:lnTo>
                    <a:lnTo>
                      <a:pt x="32957" y="385096"/>
                    </a:lnTo>
                    <a:lnTo>
                      <a:pt x="32957" y="387668"/>
                    </a:lnTo>
                    <a:lnTo>
                      <a:pt x="32957" y="398717"/>
                    </a:lnTo>
                    <a:lnTo>
                      <a:pt x="34671" y="408813"/>
                    </a:lnTo>
                    <a:lnTo>
                      <a:pt x="34671" y="410528"/>
                    </a:lnTo>
                    <a:lnTo>
                      <a:pt x="33814" y="411385"/>
                    </a:lnTo>
                    <a:lnTo>
                      <a:pt x="32957" y="412242"/>
                    </a:lnTo>
                    <a:lnTo>
                      <a:pt x="28766" y="414719"/>
                    </a:lnTo>
                    <a:lnTo>
                      <a:pt x="27908" y="414719"/>
                    </a:lnTo>
                    <a:lnTo>
                      <a:pt x="27051" y="416433"/>
                    </a:lnTo>
                    <a:lnTo>
                      <a:pt x="26194" y="418148"/>
                    </a:lnTo>
                    <a:lnTo>
                      <a:pt x="26194" y="419005"/>
                    </a:lnTo>
                    <a:lnTo>
                      <a:pt x="26194" y="419862"/>
                    </a:lnTo>
                    <a:lnTo>
                      <a:pt x="26194" y="420719"/>
                    </a:lnTo>
                    <a:lnTo>
                      <a:pt x="27051" y="420719"/>
                    </a:lnTo>
                    <a:lnTo>
                      <a:pt x="27051" y="421577"/>
                    </a:lnTo>
                    <a:lnTo>
                      <a:pt x="27908" y="421577"/>
                    </a:lnTo>
                    <a:lnTo>
                      <a:pt x="29623" y="421577"/>
                    </a:lnTo>
                    <a:lnTo>
                      <a:pt x="30480" y="420719"/>
                    </a:lnTo>
                    <a:lnTo>
                      <a:pt x="32195" y="419862"/>
                    </a:lnTo>
                    <a:lnTo>
                      <a:pt x="33814" y="418148"/>
                    </a:lnTo>
                    <a:lnTo>
                      <a:pt x="34671" y="418148"/>
                    </a:lnTo>
                    <a:lnTo>
                      <a:pt x="35528" y="418148"/>
                    </a:lnTo>
                    <a:lnTo>
                      <a:pt x="36386" y="418148"/>
                    </a:lnTo>
                    <a:lnTo>
                      <a:pt x="38100" y="419005"/>
                    </a:lnTo>
                    <a:lnTo>
                      <a:pt x="38957" y="419005"/>
                    </a:lnTo>
                    <a:lnTo>
                      <a:pt x="38957" y="419862"/>
                    </a:lnTo>
                    <a:lnTo>
                      <a:pt x="39815" y="419862"/>
                    </a:lnTo>
                    <a:lnTo>
                      <a:pt x="40577" y="420719"/>
                    </a:lnTo>
                    <a:lnTo>
                      <a:pt x="40577" y="421577"/>
                    </a:lnTo>
                    <a:lnTo>
                      <a:pt x="39815" y="421577"/>
                    </a:lnTo>
                    <a:lnTo>
                      <a:pt x="39815" y="426625"/>
                    </a:lnTo>
                    <a:lnTo>
                      <a:pt x="39815" y="427482"/>
                    </a:lnTo>
                    <a:lnTo>
                      <a:pt x="40577" y="428339"/>
                    </a:lnTo>
                    <a:lnTo>
                      <a:pt x="40577" y="429101"/>
                    </a:lnTo>
                    <a:lnTo>
                      <a:pt x="41434" y="430816"/>
                    </a:lnTo>
                    <a:lnTo>
                      <a:pt x="40577" y="431673"/>
                    </a:lnTo>
                    <a:lnTo>
                      <a:pt x="40577" y="433388"/>
                    </a:lnTo>
                    <a:lnTo>
                      <a:pt x="39815" y="435102"/>
                    </a:lnTo>
                    <a:lnTo>
                      <a:pt x="38957" y="435959"/>
                    </a:lnTo>
                    <a:lnTo>
                      <a:pt x="38957" y="443579"/>
                    </a:lnTo>
                    <a:lnTo>
                      <a:pt x="38957" y="445199"/>
                    </a:lnTo>
                    <a:lnTo>
                      <a:pt x="39815" y="446913"/>
                    </a:lnTo>
                    <a:lnTo>
                      <a:pt x="39815" y="447770"/>
                    </a:lnTo>
                    <a:lnTo>
                      <a:pt x="40577" y="450342"/>
                    </a:lnTo>
                    <a:lnTo>
                      <a:pt x="40577" y="451199"/>
                    </a:lnTo>
                    <a:lnTo>
                      <a:pt x="39815" y="451961"/>
                    </a:lnTo>
                    <a:lnTo>
                      <a:pt x="39815" y="452819"/>
                    </a:lnTo>
                    <a:lnTo>
                      <a:pt x="37243" y="453676"/>
                    </a:lnTo>
                    <a:lnTo>
                      <a:pt x="36386" y="453676"/>
                    </a:lnTo>
                    <a:lnTo>
                      <a:pt x="34671" y="454533"/>
                    </a:lnTo>
                    <a:lnTo>
                      <a:pt x="32195" y="457962"/>
                    </a:lnTo>
                    <a:lnTo>
                      <a:pt x="30480" y="458724"/>
                    </a:lnTo>
                    <a:lnTo>
                      <a:pt x="28766" y="459581"/>
                    </a:lnTo>
                    <a:lnTo>
                      <a:pt x="27908" y="459581"/>
                    </a:lnTo>
                    <a:lnTo>
                      <a:pt x="22003" y="460439"/>
                    </a:lnTo>
                    <a:lnTo>
                      <a:pt x="20288" y="460439"/>
                    </a:lnTo>
                    <a:lnTo>
                      <a:pt x="19431" y="461296"/>
                    </a:lnTo>
                    <a:lnTo>
                      <a:pt x="18574" y="463010"/>
                    </a:lnTo>
                    <a:lnTo>
                      <a:pt x="17812" y="464725"/>
                    </a:lnTo>
                    <a:lnTo>
                      <a:pt x="18574" y="465582"/>
                    </a:lnTo>
                    <a:lnTo>
                      <a:pt x="18574" y="467201"/>
                    </a:lnTo>
                    <a:lnTo>
                      <a:pt x="16954" y="471488"/>
                    </a:lnTo>
                    <a:lnTo>
                      <a:pt x="16954" y="472345"/>
                    </a:lnTo>
                    <a:lnTo>
                      <a:pt x="17812" y="473202"/>
                    </a:lnTo>
                    <a:lnTo>
                      <a:pt x="18574" y="473202"/>
                    </a:lnTo>
                    <a:lnTo>
                      <a:pt x="27051" y="473964"/>
                    </a:lnTo>
                    <a:lnTo>
                      <a:pt x="27908" y="473964"/>
                    </a:lnTo>
                    <a:lnTo>
                      <a:pt x="28766" y="473964"/>
                    </a:lnTo>
                    <a:lnTo>
                      <a:pt x="29623" y="474821"/>
                    </a:lnTo>
                    <a:lnTo>
                      <a:pt x="32957" y="481584"/>
                    </a:lnTo>
                    <a:lnTo>
                      <a:pt x="32957" y="485013"/>
                    </a:lnTo>
                    <a:lnTo>
                      <a:pt x="32957" y="485870"/>
                    </a:lnTo>
                    <a:lnTo>
                      <a:pt x="32957" y="486728"/>
                    </a:lnTo>
                    <a:lnTo>
                      <a:pt x="32195" y="487585"/>
                    </a:lnTo>
                    <a:lnTo>
                      <a:pt x="31337" y="490061"/>
                    </a:lnTo>
                    <a:lnTo>
                      <a:pt x="30480" y="496824"/>
                    </a:lnTo>
                    <a:lnTo>
                      <a:pt x="30480" y="498539"/>
                    </a:lnTo>
                    <a:lnTo>
                      <a:pt x="30480" y="499396"/>
                    </a:lnTo>
                    <a:lnTo>
                      <a:pt x="29623" y="500253"/>
                    </a:lnTo>
                    <a:lnTo>
                      <a:pt x="28766" y="500253"/>
                    </a:lnTo>
                    <a:lnTo>
                      <a:pt x="27908" y="499396"/>
                    </a:lnTo>
                    <a:lnTo>
                      <a:pt x="26194" y="499396"/>
                    </a:lnTo>
                    <a:lnTo>
                      <a:pt x="22860" y="497681"/>
                    </a:lnTo>
                    <a:lnTo>
                      <a:pt x="22003" y="496824"/>
                    </a:lnTo>
                    <a:lnTo>
                      <a:pt x="21146" y="497681"/>
                    </a:lnTo>
                    <a:lnTo>
                      <a:pt x="20288" y="498539"/>
                    </a:lnTo>
                    <a:lnTo>
                      <a:pt x="19431" y="500253"/>
                    </a:lnTo>
                    <a:lnTo>
                      <a:pt x="18574" y="501968"/>
                    </a:lnTo>
                    <a:lnTo>
                      <a:pt x="18574" y="502825"/>
                    </a:lnTo>
                    <a:lnTo>
                      <a:pt x="18574" y="503587"/>
                    </a:lnTo>
                    <a:lnTo>
                      <a:pt x="19431" y="503587"/>
                    </a:lnTo>
                    <a:lnTo>
                      <a:pt x="19431" y="504444"/>
                    </a:lnTo>
                    <a:lnTo>
                      <a:pt x="20288" y="504444"/>
                    </a:lnTo>
                    <a:lnTo>
                      <a:pt x="23717" y="505301"/>
                    </a:lnTo>
                    <a:lnTo>
                      <a:pt x="24575" y="505301"/>
                    </a:lnTo>
                    <a:lnTo>
                      <a:pt x="25432" y="506159"/>
                    </a:lnTo>
                    <a:lnTo>
                      <a:pt x="25432" y="507016"/>
                    </a:lnTo>
                    <a:lnTo>
                      <a:pt x="24575" y="508730"/>
                    </a:lnTo>
                    <a:lnTo>
                      <a:pt x="24575" y="509588"/>
                    </a:lnTo>
                    <a:lnTo>
                      <a:pt x="23717" y="509588"/>
                    </a:lnTo>
                    <a:lnTo>
                      <a:pt x="23717" y="510445"/>
                    </a:lnTo>
                    <a:lnTo>
                      <a:pt x="22860" y="511207"/>
                    </a:lnTo>
                    <a:lnTo>
                      <a:pt x="21146" y="512064"/>
                    </a:lnTo>
                    <a:lnTo>
                      <a:pt x="18574" y="512064"/>
                    </a:lnTo>
                    <a:lnTo>
                      <a:pt x="17812" y="512921"/>
                    </a:lnTo>
                    <a:lnTo>
                      <a:pt x="16954" y="513779"/>
                    </a:lnTo>
                    <a:lnTo>
                      <a:pt x="16954" y="514636"/>
                    </a:lnTo>
                    <a:lnTo>
                      <a:pt x="16954" y="515493"/>
                    </a:lnTo>
                    <a:lnTo>
                      <a:pt x="17812" y="516350"/>
                    </a:lnTo>
                    <a:lnTo>
                      <a:pt x="19431" y="516350"/>
                    </a:lnTo>
                    <a:lnTo>
                      <a:pt x="22003" y="517208"/>
                    </a:lnTo>
                    <a:lnTo>
                      <a:pt x="23717" y="517208"/>
                    </a:lnTo>
                    <a:lnTo>
                      <a:pt x="24575" y="517208"/>
                    </a:lnTo>
                    <a:lnTo>
                      <a:pt x="25432" y="517208"/>
                    </a:lnTo>
                    <a:lnTo>
                      <a:pt x="25432" y="517208"/>
                    </a:lnTo>
                    <a:lnTo>
                      <a:pt x="25432" y="516350"/>
                    </a:lnTo>
                    <a:lnTo>
                      <a:pt x="25432" y="516350"/>
                    </a:lnTo>
                    <a:lnTo>
                      <a:pt x="25432" y="515493"/>
                    </a:lnTo>
                    <a:lnTo>
                      <a:pt x="25432" y="514636"/>
                    </a:lnTo>
                    <a:lnTo>
                      <a:pt x="25432" y="514636"/>
                    </a:lnTo>
                    <a:lnTo>
                      <a:pt x="25432" y="513779"/>
                    </a:lnTo>
                    <a:lnTo>
                      <a:pt x="26194" y="512921"/>
                    </a:lnTo>
                    <a:lnTo>
                      <a:pt x="27051" y="512064"/>
                    </a:lnTo>
                    <a:lnTo>
                      <a:pt x="27908" y="512064"/>
                    </a:lnTo>
                    <a:lnTo>
                      <a:pt x="28766" y="512064"/>
                    </a:lnTo>
                    <a:lnTo>
                      <a:pt x="29623" y="512064"/>
                    </a:lnTo>
                    <a:lnTo>
                      <a:pt x="30480" y="512064"/>
                    </a:lnTo>
                    <a:lnTo>
                      <a:pt x="31337" y="513779"/>
                    </a:lnTo>
                    <a:lnTo>
                      <a:pt x="32195" y="514636"/>
                    </a:lnTo>
                    <a:lnTo>
                      <a:pt x="32957" y="518827"/>
                    </a:lnTo>
                    <a:lnTo>
                      <a:pt x="33814" y="520541"/>
                    </a:lnTo>
                    <a:lnTo>
                      <a:pt x="34671" y="522256"/>
                    </a:lnTo>
                    <a:lnTo>
                      <a:pt x="36386" y="523113"/>
                    </a:lnTo>
                    <a:lnTo>
                      <a:pt x="38100" y="523970"/>
                    </a:lnTo>
                    <a:lnTo>
                      <a:pt x="42291" y="524828"/>
                    </a:lnTo>
                    <a:lnTo>
                      <a:pt x="43148" y="524828"/>
                    </a:lnTo>
                    <a:lnTo>
                      <a:pt x="44006" y="525590"/>
                    </a:lnTo>
                    <a:lnTo>
                      <a:pt x="44863" y="526447"/>
                    </a:lnTo>
                    <a:lnTo>
                      <a:pt x="45720" y="528161"/>
                    </a:lnTo>
                    <a:lnTo>
                      <a:pt x="47435" y="534067"/>
                    </a:lnTo>
                    <a:lnTo>
                      <a:pt x="47435" y="535781"/>
                    </a:lnTo>
                    <a:lnTo>
                      <a:pt x="49054" y="537496"/>
                    </a:lnTo>
                    <a:lnTo>
                      <a:pt x="49911" y="537496"/>
                    </a:lnTo>
                    <a:lnTo>
                      <a:pt x="55817" y="539210"/>
                    </a:lnTo>
                    <a:lnTo>
                      <a:pt x="57531" y="540068"/>
                    </a:lnTo>
                    <a:lnTo>
                      <a:pt x="60103" y="542544"/>
                    </a:lnTo>
                    <a:lnTo>
                      <a:pt x="60960" y="542544"/>
                    </a:lnTo>
                    <a:lnTo>
                      <a:pt x="62579" y="542544"/>
                    </a:lnTo>
                    <a:lnTo>
                      <a:pt x="63437" y="543401"/>
                    </a:lnTo>
                    <a:lnTo>
                      <a:pt x="64294" y="543401"/>
                    </a:lnTo>
                    <a:lnTo>
                      <a:pt x="66008" y="545116"/>
                    </a:lnTo>
                    <a:lnTo>
                      <a:pt x="68580" y="547592"/>
                    </a:lnTo>
                    <a:lnTo>
                      <a:pt x="70199" y="550164"/>
                    </a:lnTo>
                    <a:lnTo>
                      <a:pt x="70199" y="552736"/>
                    </a:lnTo>
                    <a:lnTo>
                      <a:pt x="70199" y="554450"/>
                    </a:lnTo>
                    <a:lnTo>
                      <a:pt x="69437" y="556070"/>
                    </a:lnTo>
                    <a:lnTo>
                      <a:pt x="68580" y="556927"/>
                    </a:lnTo>
                    <a:lnTo>
                      <a:pt x="67723" y="557784"/>
                    </a:lnTo>
                    <a:lnTo>
                      <a:pt x="66008" y="558641"/>
                    </a:lnTo>
                    <a:lnTo>
                      <a:pt x="62579" y="558641"/>
                    </a:lnTo>
                    <a:lnTo>
                      <a:pt x="60960" y="559499"/>
                    </a:lnTo>
                    <a:lnTo>
                      <a:pt x="60103" y="559499"/>
                    </a:lnTo>
                    <a:lnTo>
                      <a:pt x="60103" y="561213"/>
                    </a:lnTo>
                    <a:lnTo>
                      <a:pt x="60103" y="562070"/>
                    </a:lnTo>
                    <a:lnTo>
                      <a:pt x="62579" y="564547"/>
                    </a:lnTo>
                    <a:lnTo>
                      <a:pt x="63437" y="566261"/>
                    </a:lnTo>
                    <a:lnTo>
                      <a:pt x="63437" y="567976"/>
                    </a:lnTo>
                    <a:lnTo>
                      <a:pt x="62579" y="568833"/>
                    </a:lnTo>
                    <a:lnTo>
                      <a:pt x="58388" y="570452"/>
                    </a:lnTo>
                    <a:lnTo>
                      <a:pt x="55817" y="572167"/>
                    </a:lnTo>
                    <a:lnTo>
                      <a:pt x="54197" y="573024"/>
                    </a:lnTo>
                    <a:lnTo>
                      <a:pt x="53340" y="574739"/>
                    </a:lnTo>
                    <a:lnTo>
                      <a:pt x="51625" y="576453"/>
                    </a:lnTo>
                    <a:lnTo>
                      <a:pt x="50768" y="576453"/>
                    </a:lnTo>
                    <a:lnTo>
                      <a:pt x="50768" y="576453"/>
                    </a:lnTo>
                    <a:lnTo>
                      <a:pt x="49911" y="574739"/>
                    </a:lnTo>
                    <a:lnTo>
                      <a:pt x="47435" y="570452"/>
                    </a:lnTo>
                    <a:lnTo>
                      <a:pt x="46577" y="569690"/>
                    </a:lnTo>
                    <a:lnTo>
                      <a:pt x="44006" y="569690"/>
                    </a:lnTo>
                    <a:lnTo>
                      <a:pt x="41434" y="569690"/>
                    </a:lnTo>
                    <a:lnTo>
                      <a:pt x="39815" y="569690"/>
                    </a:lnTo>
                    <a:lnTo>
                      <a:pt x="38100" y="567119"/>
                    </a:lnTo>
                    <a:lnTo>
                      <a:pt x="36386" y="562070"/>
                    </a:lnTo>
                    <a:lnTo>
                      <a:pt x="34671" y="561213"/>
                    </a:lnTo>
                    <a:lnTo>
                      <a:pt x="32957" y="562070"/>
                    </a:lnTo>
                    <a:lnTo>
                      <a:pt x="31337" y="562832"/>
                    </a:lnTo>
                    <a:lnTo>
                      <a:pt x="29623" y="565404"/>
                    </a:lnTo>
                    <a:lnTo>
                      <a:pt x="28766" y="566261"/>
                    </a:lnTo>
                    <a:lnTo>
                      <a:pt x="27908" y="567119"/>
                    </a:lnTo>
                    <a:lnTo>
                      <a:pt x="25432" y="567976"/>
                    </a:lnTo>
                    <a:lnTo>
                      <a:pt x="24575" y="568833"/>
                    </a:lnTo>
                    <a:lnTo>
                      <a:pt x="23717" y="569690"/>
                    </a:lnTo>
                    <a:lnTo>
                      <a:pt x="22003" y="573881"/>
                    </a:lnTo>
                    <a:lnTo>
                      <a:pt x="21146" y="575596"/>
                    </a:lnTo>
                    <a:lnTo>
                      <a:pt x="19431" y="576453"/>
                    </a:lnTo>
                    <a:lnTo>
                      <a:pt x="16954" y="577310"/>
                    </a:lnTo>
                    <a:lnTo>
                      <a:pt x="16097" y="578072"/>
                    </a:lnTo>
                    <a:lnTo>
                      <a:pt x="15240" y="579787"/>
                    </a:lnTo>
                    <a:lnTo>
                      <a:pt x="12668" y="589121"/>
                    </a:lnTo>
                    <a:lnTo>
                      <a:pt x="12668" y="590836"/>
                    </a:lnTo>
                    <a:lnTo>
                      <a:pt x="11811" y="593312"/>
                    </a:lnTo>
                    <a:lnTo>
                      <a:pt x="9335" y="597599"/>
                    </a:lnTo>
                    <a:lnTo>
                      <a:pt x="3429" y="604361"/>
                    </a:lnTo>
                    <a:lnTo>
                      <a:pt x="1715" y="609410"/>
                    </a:lnTo>
                    <a:lnTo>
                      <a:pt x="1715" y="612839"/>
                    </a:lnTo>
                    <a:lnTo>
                      <a:pt x="2572" y="616172"/>
                    </a:lnTo>
                    <a:lnTo>
                      <a:pt x="9335" y="623792"/>
                    </a:lnTo>
                    <a:lnTo>
                      <a:pt x="10192" y="626364"/>
                    </a:lnTo>
                    <a:lnTo>
                      <a:pt x="8477" y="628936"/>
                    </a:lnTo>
                    <a:lnTo>
                      <a:pt x="1715" y="632270"/>
                    </a:lnTo>
                    <a:lnTo>
                      <a:pt x="857" y="633984"/>
                    </a:lnTo>
                    <a:lnTo>
                      <a:pt x="0" y="634841"/>
                    </a:lnTo>
                    <a:lnTo>
                      <a:pt x="0" y="636556"/>
                    </a:lnTo>
                    <a:lnTo>
                      <a:pt x="857" y="638175"/>
                    </a:lnTo>
                    <a:lnTo>
                      <a:pt x="1715" y="639890"/>
                    </a:lnTo>
                    <a:lnTo>
                      <a:pt x="2572" y="639890"/>
                    </a:lnTo>
                    <a:lnTo>
                      <a:pt x="4191" y="639890"/>
                    </a:lnTo>
                    <a:lnTo>
                      <a:pt x="5048" y="640747"/>
                    </a:lnTo>
                    <a:lnTo>
                      <a:pt x="5906" y="642461"/>
                    </a:lnTo>
                    <a:lnTo>
                      <a:pt x="5906" y="643319"/>
                    </a:lnTo>
                    <a:lnTo>
                      <a:pt x="6763" y="644938"/>
                    </a:lnTo>
                    <a:lnTo>
                      <a:pt x="6763" y="646652"/>
                    </a:lnTo>
                    <a:lnTo>
                      <a:pt x="6763" y="648367"/>
                    </a:lnTo>
                    <a:lnTo>
                      <a:pt x="7620" y="649224"/>
                    </a:lnTo>
                    <a:lnTo>
                      <a:pt x="8477" y="650939"/>
                    </a:lnTo>
                    <a:lnTo>
                      <a:pt x="9335" y="651701"/>
                    </a:lnTo>
                    <a:lnTo>
                      <a:pt x="10192" y="653415"/>
                    </a:lnTo>
                    <a:lnTo>
                      <a:pt x="10192" y="654272"/>
                    </a:lnTo>
                    <a:lnTo>
                      <a:pt x="11811" y="653415"/>
                    </a:lnTo>
                    <a:lnTo>
                      <a:pt x="12668" y="651701"/>
                    </a:lnTo>
                    <a:lnTo>
                      <a:pt x="12668" y="650939"/>
                    </a:lnTo>
                    <a:lnTo>
                      <a:pt x="13525" y="651701"/>
                    </a:lnTo>
                    <a:lnTo>
                      <a:pt x="14383" y="652558"/>
                    </a:lnTo>
                    <a:lnTo>
                      <a:pt x="15240" y="654272"/>
                    </a:lnTo>
                    <a:lnTo>
                      <a:pt x="16954" y="654272"/>
                    </a:lnTo>
                    <a:lnTo>
                      <a:pt x="18574" y="653415"/>
                    </a:lnTo>
                    <a:lnTo>
                      <a:pt x="22860" y="652558"/>
                    </a:lnTo>
                    <a:lnTo>
                      <a:pt x="25432" y="652558"/>
                    </a:lnTo>
                    <a:lnTo>
                      <a:pt x="27051" y="653415"/>
                    </a:lnTo>
                    <a:lnTo>
                      <a:pt x="28766" y="655130"/>
                    </a:lnTo>
                    <a:lnTo>
                      <a:pt x="29623" y="655987"/>
                    </a:lnTo>
                    <a:lnTo>
                      <a:pt x="32195" y="656844"/>
                    </a:lnTo>
                    <a:lnTo>
                      <a:pt x="33814" y="657701"/>
                    </a:lnTo>
                    <a:lnTo>
                      <a:pt x="35528" y="660178"/>
                    </a:lnTo>
                    <a:lnTo>
                      <a:pt x="40577" y="665321"/>
                    </a:lnTo>
                    <a:lnTo>
                      <a:pt x="42291" y="667798"/>
                    </a:lnTo>
                    <a:lnTo>
                      <a:pt x="44863" y="670370"/>
                    </a:lnTo>
                    <a:lnTo>
                      <a:pt x="46577" y="672941"/>
                    </a:lnTo>
                    <a:lnTo>
                      <a:pt x="48197" y="674561"/>
                    </a:lnTo>
                    <a:lnTo>
                      <a:pt x="49054" y="676275"/>
                    </a:lnTo>
                    <a:lnTo>
                      <a:pt x="49911" y="677990"/>
                    </a:lnTo>
                    <a:lnTo>
                      <a:pt x="50768" y="682181"/>
                    </a:lnTo>
                    <a:lnTo>
                      <a:pt x="54197" y="688181"/>
                    </a:lnTo>
                    <a:lnTo>
                      <a:pt x="56674" y="692372"/>
                    </a:lnTo>
                    <a:lnTo>
                      <a:pt x="56674" y="694087"/>
                    </a:lnTo>
                    <a:lnTo>
                      <a:pt x="56674" y="694944"/>
                    </a:lnTo>
                    <a:lnTo>
                      <a:pt x="56674" y="695801"/>
                    </a:lnTo>
                    <a:lnTo>
                      <a:pt x="55817" y="696563"/>
                    </a:lnTo>
                    <a:lnTo>
                      <a:pt x="54197" y="697421"/>
                    </a:lnTo>
                    <a:lnTo>
                      <a:pt x="53340" y="697421"/>
                    </a:lnTo>
                    <a:lnTo>
                      <a:pt x="52483" y="698278"/>
                    </a:lnTo>
                    <a:lnTo>
                      <a:pt x="52483" y="699992"/>
                    </a:lnTo>
                    <a:lnTo>
                      <a:pt x="52483" y="700850"/>
                    </a:lnTo>
                    <a:lnTo>
                      <a:pt x="52483" y="702564"/>
                    </a:lnTo>
                    <a:lnTo>
                      <a:pt x="53340" y="703421"/>
                    </a:lnTo>
                    <a:lnTo>
                      <a:pt x="54959" y="703421"/>
                    </a:lnTo>
                    <a:lnTo>
                      <a:pt x="57531" y="703421"/>
                    </a:lnTo>
                    <a:lnTo>
                      <a:pt x="58388" y="703421"/>
                    </a:lnTo>
                    <a:lnTo>
                      <a:pt x="59246" y="702564"/>
                    </a:lnTo>
                    <a:lnTo>
                      <a:pt x="60103" y="702564"/>
                    </a:lnTo>
                    <a:lnTo>
                      <a:pt x="60103" y="701707"/>
                    </a:lnTo>
                    <a:lnTo>
                      <a:pt x="60960" y="701707"/>
                    </a:lnTo>
                    <a:lnTo>
                      <a:pt x="60960" y="699135"/>
                    </a:lnTo>
                    <a:lnTo>
                      <a:pt x="61817" y="698278"/>
                    </a:lnTo>
                    <a:lnTo>
                      <a:pt x="61817" y="698278"/>
                    </a:lnTo>
                    <a:lnTo>
                      <a:pt x="62579" y="697421"/>
                    </a:lnTo>
                    <a:lnTo>
                      <a:pt x="63437" y="697421"/>
                    </a:lnTo>
                    <a:lnTo>
                      <a:pt x="65151" y="698278"/>
                    </a:lnTo>
                    <a:lnTo>
                      <a:pt x="65151" y="699992"/>
                    </a:lnTo>
                    <a:lnTo>
                      <a:pt x="66008" y="701707"/>
                    </a:lnTo>
                    <a:lnTo>
                      <a:pt x="66008" y="702564"/>
                    </a:lnTo>
                    <a:lnTo>
                      <a:pt x="66008" y="704183"/>
                    </a:lnTo>
                    <a:lnTo>
                      <a:pt x="66866" y="705898"/>
                    </a:lnTo>
                    <a:lnTo>
                      <a:pt x="67723" y="706755"/>
                    </a:lnTo>
                    <a:lnTo>
                      <a:pt x="69437" y="706755"/>
                    </a:lnTo>
                    <a:lnTo>
                      <a:pt x="70199" y="705898"/>
                    </a:lnTo>
                    <a:lnTo>
                      <a:pt x="73628" y="705041"/>
                    </a:lnTo>
                    <a:lnTo>
                      <a:pt x="74486" y="704183"/>
                    </a:lnTo>
                    <a:lnTo>
                      <a:pt x="76200" y="705041"/>
                    </a:lnTo>
                    <a:lnTo>
                      <a:pt x="77057" y="705041"/>
                    </a:lnTo>
                    <a:lnTo>
                      <a:pt x="77819" y="705898"/>
                    </a:lnTo>
                    <a:lnTo>
                      <a:pt x="77057" y="707612"/>
                    </a:lnTo>
                    <a:lnTo>
                      <a:pt x="76200" y="709327"/>
                    </a:lnTo>
                    <a:lnTo>
                      <a:pt x="75343" y="710946"/>
                    </a:lnTo>
                    <a:lnTo>
                      <a:pt x="75343" y="712661"/>
                    </a:lnTo>
                    <a:lnTo>
                      <a:pt x="75343" y="715232"/>
                    </a:lnTo>
                    <a:lnTo>
                      <a:pt x="75343" y="716947"/>
                    </a:lnTo>
                    <a:lnTo>
                      <a:pt x="76200" y="719423"/>
                    </a:lnTo>
                    <a:lnTo>
                      <a:pt x="77057" y="721138"/>
                    </a:lnTo>
                    <a:lnTo>
                      <a:pt x="78677" y="724567"/>
                    </a:lnTo>
                    <a:lnTo>
                      <a:pt x="79534" y="726186"/>
                    </a:lnTo>
                    <a:lnTo>
                      <a:pt x="80391" y="740569"/>
                    </a:lnTo>
                    <a:lnTo>
                      <a:pt x="82106" y="744855"/>
                    </a:lnTo>
                    <a:lnTo>
                      <a:pt x="83820" y="747427"/>
                    </a:lnTo>
                    <a:lnTo>
                      <a:pt x="85439" y="748189"/>
                    </a:lnTo>
                    <a:lnTo>
                      <a:pt x="87154" y="748189"/>
                    </a:lnTo>
                    <a:lnTo>
                      <a:pt x="88011" y="747427"/>
                    </a:lnTo>
                    <a:lnTo>
                      <a:pt x="90583" y="745712"/>
                    </a:lnTo>
                    <a:lnTo>
                      <a:pt x="93917" y="743998"/>
                    </a:lnTo>
                    <a:lnTo>
                      <a:pt x="96488" y="742283"/>
                    </a:lnTo>
                    <a:lnTo>
                      <a:pt x="98203" y="741426"/>
                    </a:lnTo>
                    <a:lnTo>
                      <a:pt x="99060" y="741426"/>
                    </a:lnTo>
                    <a:lnTo>
                      <a:pt x="99822" y="741426"/>
                    </a:lnTo>
                    <a:lnTo>
                      <a:pt x="101537" y="741426"/>
                    </a:lnTo>
                    <a:lnTo>
                      <a:pt x="104108" y="743141"/>
                    </a:lnTo>
                    <a:lnTo>
                      <a:pt x="106585" y="744855"/>
                    </a:lnTo>
                    <a:lnTo>
                      <a:pt x="109157" y="744855"/>
                    </a:lnTo>
                    <a:lnTo>
                      <a:pt x="111728" y="744855"/>
                    </a:lnTo>
                    <a:lnTo>
                      <a:pt x="116777" y="743998"/>
                    </a:lnTo>
                    <a:lnTo>
                      <a:pt x="125254" y="744855"/>
                    </a:lnTo>
                    <a:lnTo>
                      <a:pt x="125254" y="743141"/>
                    </a:lnTo>
                    <a:lnTo>
                      <a:pt x="125254" y="741426"/>
                    </a:lnTo>
                    <a:lnTo>
                      <a:pt x="125254" y="738950"/>
                    </a:lnTo>
                    <a:lnTo>
                      <a:pt x="125254" y="737235"/>
                    </a:lnTo>
                    <a:lnTo>
                      <a:pt x="125254" y="736378"/>
                    </a:lnTo>
                    <a:lnTo>
                      <a:pt x="126111" y="736378"/>
                    </a:lnTo>
                    <a:lnTo>
                      <a:pt x="126111" y="735521"/>
                    </a:lnTo>
                    <a:lnTo>
                      <a:pt x="126968" y="735521"/>
                    </a:lnTo>
                    <a:lnTo>
                      <a:pt x="127825" y="735521"/>
                    </a:lnTo>
                    <a:lnTo>
                      <a:pt x="127825" y="735521"/>
                    </a:lnTo>
                    <a:lnTo>
                      <a:pt x="128588" y="736378"/>
                    </a:lnTo>
                    <a:lnTo>
                      <a:pt x="129445" y="736378"/>
                    </a:lnTo>
                    <a:lnTo>
                      <a:pt x="129445" y="736378"/>
                    </a:lnTo>
                    <a:lnTo>
                      <a:pt x="130302" y="736378"/>
                    </a:lnTo>
                    <a:lnTo>
                      <a:pt x="130302" y="736378"/>
                    </a:lnTo>
                    <a:lnTo>
                      <a:pt x="131159" y="735521"/>
                    </a:lnTo>
                    <a:lnTo>
                      <a:pt x="131159" y="734663"/>
                    </a:lnTo>
                    <a:lnTo>
                      <a:pt x="131159" y="733806"/>
                    </a:lnTo>
                    <a:lnTo>
                      <a:pt x="131159" y="732187"/>
                    </a:lnTo>
                    <a:lnTo>
                      <a:pt x="132017" y="731330"/>
                    </a:lnTo>
                    <a:lnTo>
                      <a:pt x="132017" y="729615"/>
                    </a:lnTo>
                    <a:lnTo>
                      <a:pt x="132874" y="728758"/>
                    </a:lnTo>
                    <a:lnTo>
                      <a:pt x="133731" y="727901"/>
                    </a:lnTo>
                    <a:lnTo>
                      <a:pt x="134588" y="727043"/>
                    </a:lnTo>
                    <a:lnTo>
                      <a:pt x="134588" y="725424"/>
                    </a:lnTo>
                    <a:lnTo>
                      <a:pt x="135446" y="722852"/>
                    </a:lnTo>
                    <a:lnTo>
                      <a:pt x="135446" y="719423"/>
                    </a:lnTo>
                    <a:lnTo>
                      <a:pt x="134588" y="717804"/>
                    </a:lnTo>
                    <a:lnTo>
                      <a:pt x="134588" y="717804"/>
                    </a:lnTo>
                    <a:lnTo>
                      <a:pt x="135446" y="716090"/>
                    </a:lnTo>
                    <a:lnTo>
                      <a:pt x="135446" y="715232"/>
                    </a:lnTo>
                    <a:lnTo>
                      <a:pt x="136208" y="714375"/>
                    </a:lnTo>
                    <a:lnTo>
                      <a:pt x="137065" y="713518"/>
                    </a:lnTo>
                    <a:lnTo>
                      <a:pt x="137065" y="713518"/>
                    </a:lnTo>
                    <a:lnTo>
                      <a:pt x="137922" y="712661"/>
                    </a:lnTo>
                    <a:lnTo>
                      <a:pt x="138779" y="709327"/>
                    </a:lnTo>
                    <a:lnTo>
                      <a:pt x="138779" y="706755"/>
                    </a:lnTo>
                    <a:lnTo>
                      <a:pt x="139637" y="705041"/>
                    </a:lnTo>
                    <a:lnTo>
                      <a:pt x="139637" y="704183"/>
                    </a:lnTo>
                    <a:lnTo>
                      <a:pt x="139637" y="702564"/>
                    </a:lnTo>
                    <a:lnTo>
                      <a:pt x="138779" y="700850"/>
                    </a:lnTo>
                    <a:lnTo>
                      <a:pt x="138779" y="700850"/>
                    </a:lnTo>
                    <a:lnTo>
                      <a:pt x="138779" y="699992"/>
                    </a:lnTo>
                    <a:lnTo>
                      <a:pt x="138779" y="699135"/>
                    </a:lnTo>
                    <a:lnTo>
                      <a:pt x="138779" y="698278"/>
                    </a:lnTo>
                    <a:lnTo>
                      <a:pt x="139637" y="697421"/>
                    </a:lnTo>
                    <a:lnTo>
                      <a:pt x="140494" y="695801"/>
                    </a:lnTo>
                    <a:lnTo>
                      <a:pt x="141351" y="692372"/>
                    </a:lnTo>
                    <a:lnTo>
                      <a:pt x="142208" y="691515"/>
                    </a:lnTo>
                    <a:lnTo>
                      <a:pt x="143066" y="691515"/>
                    </a:lnTo>
                    <a:lnTo>
                      <a:pt x="143066" y="691515"/>
                    </a:lnTo>
                    <a:lnTo>
                      <a:pt x="143828" y="691515"/>
                    </a:lnTo>
                    <a:lnTo>
                      <a:pt x="145542" y="691515"/>
                    </a:lnTo>
                    <a:lnTo>
                      <a:pt x="147257" y="690658"/>
                    </a:lnTo>
                    <a:lnTo>
                      <a:pt x="152305" y="688943"/>
                    </a:lnTo>
                    <a:lnTo>
                      <a:pt x="154019" y="688181"/>
                    </a:lnTo>
                    <a:lnTo>
                      <a:pt x="154877" y="687324"/>
                    </a:lnTo>
                    <a:lnTo>
                      <a:pt x="155734" y="684752"/>
                    </a:lnTo>
                    <a:lnTo>
                      <a:pt x="156591" y="684752"/>
                    </a:lnTo>
                    <a:lnTo>
                      <a:pt x="157448" y="683895"/>
                    </a:lnTo>
                    <a:lnTo>
                      <a:pt x="158210" y="683895"/>
                    </a:lnTo>
                    <a:lnTo>
                      <a:pt x="160782" y="683038"/>
                    </a:lnTo>
                    <a:lnTo>
                      <a:pt x="161639" y="683038"/>
                    </a:lnTo>
                    <a:lnTo>
                      <a:pt x="162497" y="682181"/>
                    </a:lnTo>
                    <a:lnTo>
                      <a:pt x="163354" y="681323"/>
                    </a:lnTo>
                    <a:lnTo>
                      <a:pt x="166688" y="674561"/>
                    </a:lnTo>
                    <a:lnTo>
                      <a:pt x="169259" y="672084"/>
                    </a:lnTo>
                    <a:lnTo>
                      <a:pt x="170974" y="670370"/>
                    </a:lnTo>
                    <a:lnTo>
                      <a:pt x="175165" y="666941"/>
                    </a:lnTo>
                    <a:lnTo>
                      <a:pt x="177737" y="663607"/>
                    </a:lnTo>
                    <a:lnTo>
                      <a:pt x="180213" y="661892"/>
                    </a:lnTo>
                    <a:lnTo>
                      <a:pt x="182785" y="659321"/>
                    </a:lnTo>
                    <a:lnTo>
                      <a:pt x="183642" y="658559"/>
                    </a:lnTo>
                    <a:lnTo>
                      <a:pt x="184499" y="658559"/>
                    </a:lnTo>
                    <a:lnTo>
                      <a:pt x="185357" y="657701"/>
                    </a:lnTo>
                    <a:lnTo>
                      <a:pt x="186214" y="656844"/>
                    </a:lnTo>
                    <a:lnTo>
                      <a:pt x="186214" y="655987"/>
                    </a:lnTo>
                    <a:lnTo>
                      <a:pt x="186214" y="654272"/>
                    </a:lnTo>
                    <a:lnTo>
                      <a:pt x="185357" y="652558"/>
                    </a:lnTo>
                    <a:lnTo>
                      <a:pt x="182785" y="651701"/>
                    </a:lnTo>
                    <a:lnTo>
                      <a:pt x="181928" y="650939"/>
                    </a:lnTo>
                    <a:lnTo>
                      <a:pt x="181070" y="650939"/>
                    </a:lnTo>
                    <a:lnTo>
                      <a:pt x="181070" y="650081"/>
                    </a:lnTo>
                    <a:lnTo>
                      <a:pt x="181070" y="649224"/>
                    </a:lnTo>
                    <a:lnTo>
                      <a:pt x="181928" y="648367"/>
                    </a:lnTo>
                    <a:lnTo>
                      <a:pt x="182785" y="648367"/>
                    </a:lnTo>
                    <a:lnTo>
                      <a:pt x="183642" y="647510"/>
                    </a:lnTo>
                    <a:lnTo>
                      <a:pt x="184499" y="647510"/>
                    </a:lnTo>
                    <a:lnTo>
                      <a:pt x="185357" y="647510"/>
                    </a:lnTo>
                    <a:lnTo>
                      <a:pt x="186214" y="646652"/>
                    </a:lnTo>
                    <a:lnTo>
                      <a:pt x="187833" y="644081"/>
                    </a:lnTo>
                    <a:lnTo>
                      <a:pt x="188690" y="643319"/>
                    </a:lnTo>
                    <a:lnTo>
                      <a:pt x="189548" y="642461"/>
                    </a:lnTo>
                    <a:lnTo>
                      <a:pt x="191262" y="641604"/>
                    </a:lnTo>
                    <a:lnTo>
                      <a:pt x="192119" y="640747"/>
                    </a:lnTo>
                    <a:lnTo>
                      <a:pt x="192977" y="640747"/>
                    </a:lnTo>
                    <a:lnTo>
                      <a:pt x="197168" y="640747"/>
                    </a:lnTo>
                    <a:lnTo>
                      <a:pt x="198882" y="639890"/>
                    </a:lnTo>
                    <a:lnTo>
                      <a:pt x="199739" y="639032"/>
                    </a:lnTo>
                    <a:lnTo>
                      <a:pt x="200597" y="638175"/>
                    </a:lnTo>
                    <a:lnTo>
                      <a:pt x="202216" y="633984"/>
                    </a:lnTo>
                    <a:lnTo>
                      <a:pt x="202216" y="633984"/>
                    </a:lnTo>
                    <a:lnTo>
                      <a:pt x="203073" y="633127"/>
                    </a:lnTo>
                    <a:lnTo>
                      <a:pt x="203073" y="633127"/>
                    </a:lnTo>
                    <a:lnTo>
                      <a:pt x="203930" y="633984"/>
                    </a:lnTo>
                    <a:lnTo>
                      <a:pt x="205645" y="634841"/>
                    </a:lnTo>
                    <a:lnTo>
                      <a:pt x="206502" y="635699"/>
                    </a:lnTo>
                    <a:lnTo>
                      <a:pt x="207359" y="635699"/>
                    </a:lnTo>
                    <a:lnTo>
                      <a:pt x="208217" y="633984"/>
                    </a:lnTo>
                    <a:lnTo>
                      <a:pt x="209074" y="632270"/>
                    </a:lnTo>
                    <a:lnTo>
                      <a:pt x="209074" y="631412"/>
                    </a:lnTo>
                    <a:lnTo>
                      <a:pt x="209074" y="630555"/>
                    </a:lnTo>
                    <a:lnTo>
                      <a:pt x="209836" y="625507"/>
                    </a:lnTo>
                    <a:lnTo>
                      <a:pt x="209836" y="622078"/>
                    </a:lnTo>
                    <a:lnTo>
                      <a:pt x="210693" y="621316"/>
                    </a:lnTo>
                    <a:lnTo>
                      <a:pt x="210693" y="620459"/>
                    </a:lnTo>
                    <a:lnTo>
                      <a:pt x="211550" y="619601"/>
                    </a:lnTo>
                    <a:lnTo>
                      <a:pt x="211550" y="619601"/>
                    </a:lnTo>
                    <a:lnTo>
                      <a:pt x="212408" y="618744"/>
                    </a:lnTo>
                    <a:lnTo>
                      <a:pt x="212408" y="618744"/>
                    </a:lnTo>
                    <a:lnTo>
                      <a:pt x="213265" y="617887"/>
                    </a:lnTo>
                    <a:lnTo>
                      <a:pt x="215837" y="617030"/>
                    </a:lnTo>
                    <a:lnTo>
                      <a:pt x="216599" y="617030"/>
                    </a:lnTo>
                    <a:lnTo>
                      <a:pt x="216599" y="616172"/>
                    </a:lnTo>
                    <a:lnTo>
                      <a:pt x="217456" y="614458"/>
                    </a:lnTo>
                    <a:lnTo>
                      <a:pt x="216599" y="606933"/>
                    </a:lnTo>
                    <a:lnTo>
                      <a:pt x="216599" y="606076"/>
                    </a:lnTo>
                    <a:lnTo>
                      <a:pt x="216599" y="605219"/>
                    </a:lnTo>
                    <a:lnTo>
                      <a:pt x="216599" y="604361"/>
                    </a:lnTo>
                    <a:lnTo>
                      <a:pt x="214979" y="601790"/>
                    </a:lnTo>
                    <a:lnTo>
                      <a:pt x="214122" y="600075"/>
                    </a:lnTo>
                    <a:lnTo>
                      <a:pt x="214122" y="596741"/>
                    </a:lnTo>
                    <a:lnTo>
                      <a:pt x="213265" y="595884"/>
                    </a:lnTo>
                    <a:lnTo>
                      <a:pt x="212408" y="595027"/>
                    </a:lnTo>
                    <a:lnTo>
                      <a:pt x="209836" y="593312"/>
                    </a:lnTo>
                    <a:lnTo>
                      <a:pt x="209836" y="592455"/>
                    </a:lnTo>
                    <a:lnTo>
                      <a:pt x="209836" y="591693"/>
                    </a:lnTo>
                    <a:lnTo>
                      <a:pt x="210693" y="589121"/>
                    </a:lnTo>
                    <a:lnTo>
                      <a:pt x="210693" y="587407"/>
                    </a:lnTo>
                    <a:lnTo>
                      <a:pt x="210693" y="585692"/>
                    </a:lnTo>
                    <a:lnTo>
                      <a:pt x="209074" y="583216"/>
                    </a:lnTo>
                    <a:lnTo>
                      <a:pt x="208217" y="582359"/>
                    </a:lnTo>
                    <a:lnTo>
                      <a:pt x="208217" y="580644"/>
                    </a:lnTo>
                    <a:lnTo>
                      <a:pt x="208217" y="578072"/>
                    </a:lnTo>
                    <a:lnTo>
                      <a:pt x="208217" y="576453"/>
                    </a:lnTo>
                    <a:lnTo>
                      <a:pt x="209074" y="575596"/>
                    </a:lnTo>
                    <a:lnTo>
                      <a:pt x="210693" y="571310"/>
                    </a:lnTo>
                    <a:lnTo>
                      <a:pt x="210693" y="569690"/>
                    </a:lnTo>
                    <a:lnTo>
                      <a:pt x="210693" y="568833"/>
                    </a:lnTo>
                    <a:lnTo>
                      <a:pt x="209836" y="567976"/>
                    </a:lnTo>
                    <a:lnTo>
                      <a:pt x="208217" y="566261"/>
                    </a:lnTo>
                    <a:lnTo>
                      <a:pt x="207359" y="566261"/>
                    </a:lnTo>
                    <a:lnTo>
                      <a:pt x="207359" y="565404"/>
                    </a:lnTo>
                    <a:lnTo>
                      <a:pt x="207359" y="564547"/>
                    </a:lnTo>
                    <a:lnTo>
                      <a:pt x="208217" y="563690"/>
                    </a:lnTo>
                    <a:lnTo>
                      <a:pt x="209836" y="562832"/>
                    </a:lnTo>
                    <a:lnTo>
                      <a:pt x="210693" y="562070"/>
                    </a:lnTo>
                    <a:lnTo>
                      <a:pt x="210693" y="560356"/>
                    </a:lnTo>
                    <a:lnTo>
                      <a:pt x="210693" y="559499"/>
                    </a:lnTo>
                    <a:lnTo>
                      <a:pt x="209836" y="557784"/>
                    </a:lnTo>
                    <a:lnTo>
                      <a:pt x="209074" y="556927"/>
                    </a:lnTo>
                    <a:lnTo>
                      <a:pt x="208217" y="556927"/>
                    </a:lnTo>
                    <a:lnTo>
                      <a:pt x="204788" y="556070"/>
                    </a:lnTo>
                    <a:lnTo>
                      <a:pt x="203930" y="556070"/>
                    </a:lnTo>
                    <a:lnTo>
                      <a:pt x="203930" y="555212"/>
                    </a:lnTo>
                    <a:lnTo>
                      <a:pt x="203073" y="555212"/>
                    </a:lnTo>
                    <a:lnTo>
                      <a:pt x="201454" y="551021"/>
                    </a:lnTo>
                    <a:lnTo>
                      <a:pt x="201454" y="550164"/>
                    </a:lnTo>
                    <a:lnTo>
                      <a:pt x="200597" y="549307"/>
                    </a:lnTo>
                    <a:lnTo>
                      <a:pt x="199739" y="549307"/>
                    </a:lnTo>
                    <a:lnTo>
                      <a:pt x="196310" y="548450"/>
                    </a:lnTo>
                    <a:lnTo>
                      <a:pt x="195453" y="547592"/>
                    </a:lnTo>
                    <a:lnTo>
                      <a:pt x="195453" y="546830"/>
                    </a:lnTo>
                    <a:lnTo>
                      <a:pt x="195453" y="537496"/>
                    </a:lnTo>
                    <a:lnTo>
                      <a:pt x="196310" y="534067"/>
                    </a:lnTo>
                    <a:lnTo>
                      <a:pt x="196310" y="532448"/>
                    </a:lnTo>
                    <a:lnTo>
                      <a:pt x="196310" y="530733"/>
                    </a:lnTo>
                    <a:lnTo>
                      <a:pt x="195453" y="528161"/>
                    </a:lnTo>
                    <a:lnTo>
                      <a:pt x="195453" y="525590"/>
                    </a:lnTo>
                    <a:lnTo>
                      <a:pt x="195453" y="523113"/>
                    </a:lnTo>
                    <a:lnTo>
                      <a:pt x="196310" y="518827"/>
                    </a:lnTo>
                    <a:lnTo>
                      <a:pt x="196310" y="517208"/>
                    </a:lnTo>
                    <a:lnTo>
                      <a:pt x="195453" y="516350"/>
                    </a:lnTo>
                    <a:lnTo>
                      <a:pt x="193834" y="515493"/>
                    </a:lnTo>
                    <a:lnTo>
                      <a:pt x="192977" y="515493"/>
                    </a:lnTo>
                    <a:lnTo>
                      <a:pt x="189548" y="514636"/>
                    </a:lnTo>
                    <a:lnTo>
                      <a:pt x="188690" y="514636"/>
                    </a:lnTo>
                    <a:lnTo>
                      <a:pt x="187833" y="513779"/>
                    </a:lnTo>
                    <a:lnTo>
                      <a:pt x="187071" y="512921"/>
                    </a:lnTo>
                    <a:lnTo>
                      <a:pt x="186214" y="510445"/>
                    </a:lnTo>
                    <a:lnTo>
                      <a:pt x="185357" y="508730"/>
                    </a:lnTo>
                    <a:lnTo>
                      <a:pt x="184499" y="507873"/>
                    </a:lnTo>
                    <a:lnTo>
                      <a:pt x="175165" y="502825"/>
                    </a:lnTo>
                    <a:lnTo>
                      <a:pt x="173450" y="501968"/>
                    </a:lnTo>
                    <a:lnTo>
                      <a:pt x="172593" y="500253"/>
                    </a:lnTo>
                    <a:lnTo>
                      <a:pt x="171831" y="499396"/>
                    </a:lnTo>
                    <a:lnTo>
                      <a:pt x="171831" y="497681"/>
                    </a:lnTo>
                    <a:lnTo>
                      <a:pt x="171831" y="496824"/>
                    </a:lnTo>
                    <a:lnTo>
                      <a:pt x="171831" y="495205"/>
                    </a:lnTo>
                    <a:lnTo>
                      <a:pt x="171831" y="494348"/>
                    </a:lnTo>
                    <a:lnTo>
                      <a:pt x="176879" y="485870"/>
                    </a:lnTo>
                    <a:lnTo>
                      <a:pt x="177737" y="485013"/>
                    </a:lnTo>
                    <a:lnTo>
                      <a:pt x="178594" y="484156"/>
                    </a:lnTo>
                    <a:lnTo>
                      <a:pt x="181070" y="483299"/>
                    </a:lnTo>
                    <a:lnTo>
                      <a:pt x="184499" y="479108"/>
                    </a:lnTo>
                    <a:lnTo>
                      <a:pt x="185357" y="478250"/>
                    </a:lnTo>
                    <a:lnTo>
                      <a:pt x="186214" y="478250"/>
                    </a:lnTo>
                    <a:lnTo>
                      <a:pt x="187071" y="478250"/>
                    </a:lnTo>
                    <a:lnTo>
                      <a:pt x="187833" y="479108"/>
                    </a:lnTo>
                    <a:lnTo>
                      <a:pt x="192977" y="485013"/>
                    </a:lnTo>
                    <a:lnTo>
                      <a:pt x="193834" y="485870"/>
                    </a:lnTo>
                    <a:lnTo>
                      <a:pt x="193834" y="486728"/>
                    </a:lnTo>
                    <a:lnTo>
                      <a:pt x="193834" y="487585"/>
                    </a:lnTo>
                    <a:lnTo>
                      <a:pt x="193834" y="488347"/>
                    </a:lnTo>
                    <a:lnTo>
                      <a:pt x="194596" y="489204"/>
                    </a:lnTo>
                    <a:lnTo>
                      <a:pt x="195453" y="489204"/>
                    </a:lnTo>
                    <a:lnTo>
                      <a:pt x="196310" y="488347"/>
                    </a:lnTo>
                    <a:lnTo>
                      <a:pt x="197168" y="488347"/>
                    </a:lnTo>
                    <a:lnTo>
                      <a:pt x="197168" y="487585"/>
                    </a:lnTo>
                    <a:lnTo>
                      <a:pt x="198882" y="485870"/>
                    </a:lnTo>
                    <a:lnTo>
                      <a:pt x="198882" y="485013"/>
                    </a:lnTo>
                    <a:lnTo>
                      <a:pt x="199739" y="484156"/>
                    </a:lnTo>
                    <a:lnTo>
                      <a:pt x="199739" y="483299"/>
                    </a:lnTo>
                    <a:lnTo>
                      <a:pt x="200597" y="483299"/>
                    </a:lnTo>
                    <a:lnTo>
                      <a:pt x="201454" y="483299"/>
                    </a:lnTo>
                    <a:lnTo>
                      <a:pt x="201454" y="483299"/>
                    </a:lnTo>
                    <a:lnTo>
                      <a:pt x="202216" y="484156"/>
                    </a:lnTo>
                    <a:lnTo>
                      <a:pt x="202216" y="484156"/>
                    </a:lnTo>
                    <a:lnTo>
                      <a:pt x="206502" y="487585"/>
                    </a:lnTo>
                    <a:lnTo>
                      <a:pt x="207359" y="489204"/>
                    </a:lnTo>
                    <a:lnTo>
                      <a:pt x="208217" y="489204"/>
                    </a:lnTo>
                    <a:lnTo>
                      <a:pt x="209074" y="490061"/>
                    </a:lnTo>
                    <a:lnTo>
                      <a:pt x="209074" y="490919"/>
                    </a:lnTo>
                    <a:lnTo>
                      <a:pt x="209074" y="490919"/>
                    </a:lnTo>
                    <a:lnTo>
                      <a:pt x="209836" y="491776"/>
                    </a:lnTo>
                    <a:lnTo>
                      <a:pt x="209836" y="492633"/>
                    </a:lnTo>
                    <a:lnTo>
                      <a:pt x="209836" y="492633"/>
                    </a:lnTo>
                    <a:lnTo>
                      <a:pt x="210693" y="492633"/>
                    </a:lnTo>
                    <a:lnTo>
                      <a:pt x="212408" y="492633"/>
                    </a:lnTo>
                    <a:lnTo>
                      <a:pt x="214122" y="492633"/>
                    </a:lnTo>
                    <a:lnTo>
                      <a:pt x="214979" y="492633"/>
                    </a:lnTo>
                    <a:lnTo>
                      <a:pt x="215837" y="493490"/>
                    </a:lnTo>
                    <a:lnTo>
                      <a:pt x="217456" y="495205"/>
                    </a:lnTo>
                    <a:lnTo>
                      <a:pt x="224219" y="509588"/>
                    </a:lnTo>
                    <a:lnTo>
                      <a:pt x="225076" y="510445"/>
                    </a:lnTo>
                    <a:lnTo>
                      <a:pt x="225933" y="511207"/>
                    </a:lnTo>
                    <a:lnTo>
                      <a:pt x="226790" y="510445"/>
                    </a:lnTo>
                    <a:lnTo>
                      <a:pt x="227648" y="509588"/>
                    </a:lnTo>
                    <a:lnTo>
                      <a:pt x="228505" y="506159"/>
                    </a:lnTo>
                    <a:lnTo>
                      <a:pt x="229362" y="505301"/>
                    </a:lnTo>
                    <a:lnTo>
                      <a:pt x="229362" y="505301"/>
                    </a:lnTo>
                    <a:lnTo>
                      <a:pt x="230219" y="504444"/>
                    </a:lnTo>
                    <a:lnTo>
                      <a:pt x="231077" y="504444"/>
                    </a:lnTo>
                    <a:lnTo>
                      <a:pt x="231839" y="503587"/>
                    </a:lnTo>
                    <a:lnTo>
                      <a:pt x="232696" y="503587"/>
                    </a:lnTo>
                    <a:lnTo>
                      <a:pt x="234410" y="503587"/>
                    </a:lnTo>
                    <a:lnTo>
                      <a:pt x="244602" y="505301"/>
                    </a:lnTo>
                    <a:lnTo>
                      <a:pt x="246221" y="505301"/>
                    </a:lnTo>
                    <a:lnTo>
                      <a:pt x="248793" y="507016"/>
                    </a:lnTo>
                    <a:lnTo>
                      <a:pt x="250508" y="507873"/>
                    </a:lnTo>
                    <a:lnTo>
                      <a:pt x="253841" y="507873"/>
                    </a:lnTo>
                    <a:lnTo>
                      <a:pt x="255556" y="507873"/>
                    </a:lnTo>
                    <a:lnTo>
                      <a:pt x="256413" y="508730"/>
                    </a:lnTo>
                    <a:lnTo>
                      <a:pt x="255556" y="509588"/>
                    </a:lnTo>
                    <a:lnTo>
                      <a:pt x="255556" y="510445"/>
                    </a:lnTo>
                    <a:lnTo>
                      <a:pt x="255556" y="512064"/>
                    </a:lnTo>
                    <a:lnTo>
                      <a:pt x="254699" y="512921"/>
                    </a:lnTo>
                    <a:lnTo>
                      <a:pt x="255556" y="514636"/>
                    </a:lnTo>
                    <a:lnTo>
                      <a:pt x="255556" y="515493"/>
                    </a:lnTo>
                    <a:lnTo>
                      <a:pt x="255556" y="516350"/>
                    </a:lnTo>
                    <a:lnTo>
                      <a:pt x="255556" y="517208"/>
                    </a:lnTo>
                    <a:lnTo>
                      <a:pt x="255556" y="517208"/>
                    </a:lnTo>
                    <a:lnTo>
                      <a:pt x="257270" y="517208"/>
                    </a:lnTo>
                    <a:lnTo>
                      <a:pt x="258128" y="516350"/>
                    </a:lnTo>
                    <a:lnTo>
                      <a:pt x="262319" y="512921"/>
                    </a:lnTo>
                    <a:lnTo>
                      <a:pt x="264033" y="512064"/>
                    </a:lnTo>
                    <a:lnTo>
                      <a:pt x="264890" y="512064"/>
                    </a:lnTo>
                    <a:lnTo>
                      <a:pt x="267462" y="511207"/>
                    </a:lnTo>
                    <a:lnTo>
                      <a:pt x="268224" y="510445"/>
                    </a:lnTo>
                    <a:lnTo>
                      <a:pt x="269939" y="508730"/>
                    </a:lnTo>
                    <a:lnTo>
                      <a:pt x="270796" y="507873"/>
                    </a:lnTo>
                    <a:lnTo>
                      <a:pt x="270796" y="507016"/>
                    </a:lnTo>
                    <a:lnTo>
                      <a:pt x="269939" y="506159"/>
                    </a:lnTo>
                    <a:lnTo>
                      <a:pt x="268224" y="504444"/>
                    </a:lnTo>
                    <a:lnTo>
                      <a:pt x="268224" y="503587"/>
                    </a:lnTo>
                    <a:lnTo>
                      <a:pt x="267462" y="503587"/>
                    </a:lnTo>
                    <a:lnTo>
                      <a:pt x="267462" y="502825"/>
                    </a:lnTo>
                    <a:lnTo>
                      <a:pt x="267462" y="501110"/>
                    </a:lnTo>
                    <a:lnTo>
                      <a:pt x="269081" y="495967"/>
                    </a:lnTo>
                    <a:lnTo>
                      <a:pt x="269081" y="493490"/>
                    </a:lnTo>
                    <a:lnTo>
                      <a:pt x="269081" y="492633"/>
                    </a:lnTo>
                    <a:lnTo>
                      <a:pt x="269081" y="490061"/>
                    </a:lnTo>
                    <a:lnTo>
                      <a:pt x="269081" y="490061"/>
                    </a:lnTo>
                    <a:lnTo>
                      <a:pt x="268224" y="490061"/>
                    </a:lnTo>
                    <a:lnTo>
                      <a:pt x="268224" y="490061"/>
                    </a:lnTo>
                    <a:lnTo>
                      <a:pt x="265748" y="490061"/>
                    </a:lnTo>
                    <a:lnTo>
                      <a:pt x="264033" y="490061"/>
                    </a:lnTo>
                    <a:lnTo>
                      <a:pt x="263176" y="490061"/>
                    </a:lnTo>
                    <a:lnTo>
                      <a:pt x="263176" y="490061"/>
                    </a:lnTo>
                    <a:lnTo>
                      <a:pt x="262319" y="490061"/>
                    </a:lnTo>
                    <a:lnTo>
                      <a:pt x="262319" y="490061"/>
                    </a:lnTo>
                    <a:lnTo>
                      <a:pt x="261461" y="490919"/>
                    </a:lnTo>
                    <a:lnTo>
                      <a:pt x="260699" y="491776"/>
                    </a:lnTo>
                    <a:lnTo>
                      <a:pt x="259842" y="491776"/>
                    </a:lnTo>
                    <a:lnTo>
                      <a:pt x="258985" y="491776"/>
                    </a:lnTo>
                    <a:lnTo>
                      <a:pt x="258128" y="490919"/>
                    </a:lnTo>
                    <a:lnTo>
                      <a:pt x="257270" y="490919"/>
                    </a:lnTo>
                    <a:lnTo>
                      <a:pt x="257270" y="490061"/>
                    </a:lnTo>
                    <a:lnTo>
                      <a:pt x="255556" y="488347"/>
                    </a:lnTo>
                    <a:lnTo>
                      <a:pt x="254699" y="488347"/>
                    </a:lnTo>
                    <a:lnTo>
                      <a:pt x="254699" y="487585"/>
                    </a:lnTo>
                    <a:lnTo>
                      <a:pt x="253841" y="487585"/>
                    </a:lnTo>
                    <a:lnTo>
                      <a:pt x="253079" y="487585"/>
                    </a:lnTo>
                    <a:lnTo>
                      <a:pt x="247936" y="487585"/>
                    </a:lnTo>
                    <a:lnTo>
                      <a:pt x="247079" y="487585"/>
                    </a:lnTo>
                    <a:lnTo>
                      <a:pt x="246221" y="487585"/>
                    </a:lnTo>
                    <a:lnTo>
                      <a:pt x="246221" y="487585"/>
                    </a:lnTo>
                    <a:lnTo>
                      <a:pt x="243745" y="485870"/>
                    </a:lnTo>
                    <a:lnTo>
                      <a:pt x="242888" y="485013"/>
                    </a:lnTo>
                    <a:lnTo>
                      <a:pt x="237839" y="482441"/>
                    </a:lnTo>
                    <a:lnTo>
                      <a:pt x="237839" y="481584"/>
                    </a:lnTo>
                    <a:lnTo>
                      <a:pt x="237839" y="479108"/>
                    </a:lnTo>
                    <a:lnTo>
                      <a:pt x="240316" y="471488"/>
                    </a:lnTo>
                    <a:lnTo>
                      <a:pt x="240316" y="469773"/>
                    </a:lnTo>
                    <a:lnTo>
                      <a:pt x="240316" y="467201"/>
                    </a:lnTo>
                    <a:lnTo>
                      <a:pt x="239459" y="462153"/>
                    </a:lnTo>
                    <a:lnTo>
                      <a:pt x="239459" y="456248"/>
                    </a:lnTo>
                    <a:lnTo>
                      <a:pt x="238697" y="454533"/>
                    </a:lnTo>
                    <a:lnTo>
                      <a:pt x="238697" y="453676"/>
                    </a:lnTo>
                    <a:lnTo>
                      <a:pt x="237839" y="452819"/>
                    </a:lnTo>
                    <a:lnTo>
                      <a:pt x="237839" y="451961"/>
                    </a:lnTo>
                    <a:lnTo>
                      <a:pt x="237839" y="450342"/>
                    </a:lnTo>
                    <a:lnTo>
                      <a:pt x="238697" y="440150"/>
                    </a:lnTo>
                    <a:lnTo>
                      <a:pt x="238697" y="437579"/>
                    </a:lnTo>
                    <a:lnTo>
                      <a:pt x="237839" y="435959"/>
                    </a:lnTo>
                    <a:lnTo>
                      <a:pt x="237839" y="436721"/>
                    </a:lnTo>
                    <a:lnTo>
                      <a:pt x="236982" y="436721"/>
                    </a:lnTo>
                    <a:lnTo>
                      <a:pt x="236125" y="437579"/>
                    </a:lnTo>
                    <a:lnTo>
                      <a:pt x="236125" y="437579"/>
                    </a:lnTo>
                    <a:lnTo>
                      <a:pt x="235268" y="436721"/>
                    </a:lnTo>
                    <a:lnTo>
                      <a:pt x="234410" y="435959"/>
                    </a:lnTo>
                    <a:lnTo>
                      <a:pt x="234410" y="433388"/>
                    </a:lnTo>
                    <a:lnTo>
                      <a:pt x="234410" y="431673"/>
                    </a:lnTo>
                    <a:lnTo>
                      <a:pt x="234410" y="431673"/>
                    </a:lnTo>
                    <a:lnTo>
                      <a:pt x="233553" y="430816"/>
                    </a:lnTo>
                    <a:lnTo>
                      <a:pt x="232696" y="430816"/>
                    </a:lnTo>
                    <a:lnTo>
                      <a:pt x="232696" y="431673"/>
                    </a:lnTo>
                    <a:lnTo>
                      <a:pt x="232696" y="431673"/>
                    </a:lnTo>
                    <a:lnTo>
                      <a:pt x="231839" y="431673"/>
                    </a:lnTo>
                    <a:lnTo>
                      <a:pt x="231839" y="431673"/>
                    </a:lnTo>
                    <a:lnTo>
                      <a:pt x="231839" y="431673"/>
                    </a:lnTo>
                    <a:lnTo>
                      <a:pt x="231839" y="431673"/>
                    </a:lnTo>
                    <a:lnTo>
                      <a:pt x="230219" y="428339"/>
                    </a:lnTo>
                    <a:lnTo>
                      <a:pt x="229362" y="426625"/>
                    </a:lnTo>
                    <a:lnTo>
                      <a:pt x="229362" y="424910"/>
                    </a:lnTo>
                    <a:lnTo>
                      <a:pt x="231839" y="417290"/>
                    </a:lnTo>
                    <a:lnTo>
                      <a:pt x="231839" y="415576"/>
                    </a:lnTo>
                    <a:lnTo>
                      <a:pt x="232696" y="413099"/>
                    </a:lnTo>
                    <a:lnTo>
                      <a:pt x="232696" y="412242"/>
                    </a:lnTo>
                    <a:lnTo>
                      <a:pt x="232696" y="410528"/>
                    </a:lnTo>
                    <a:lnTo>
                      <a:pt x="231839" y="408813"/>
                    </a:lnTo>
                    <a:lnTo>
                      <a:pt x="231839" y="407956"/>
                    </a:lnTo>
                    <a:lnTo>
                      <a:pt x="231077" y="405479"/>
                    </a:lnTo>
                    <a:lnTo>
                      <a:pt x="230219" y="403765"/>
                    </a:lnTo>
                    <a:lnTo>
                      <a:pt x="230219" y="402908"/>
                    </a:lnTo>
                    <a:lnTo>
                      <a:pt x="230219" y="389382"/>
                    </a:lnTo>
                    <a:lnTo>
                      <a:pt x="230219" y="388525"/>
                    </a:lnTo>
                    <a:lnTo>
                      <a:pt x="230219" y="387668"/>
                    </a:lnTo>
                    <a:lnTo>
                      <a:pt x="230219" y="387668"/>
                    </a:lnTo>
                    <a:lnTo>
                      <a:pt x="231077" y="386810"/>
                    </a:lnTo>
                    <a:lnTo>
                      <a:pt x="231839" y="386810"/>
                    </a:lnTo>
                    <a:lnTo>
                      <a:pt x="231839" y="386810"/>
                    </a:lnTo>
                    <a:lnTo>
                      <a:pt x="236125" y="387668"/>
                    </a:lnTo>
                    <a:lnTo>
                      <a:pt x="236125" y="387668"/>
                    </a:lnTo>
                    <a:lnTo>
                      <a:pt x="236982" y="388525"/>
                    </a:lnTo>
                    <a:lnTo>
                      <a:pt x="236982" y="389382"/>
                    </a:lnTo>
                    <a:lnTo>
                      <a:pt x="236982" y="389382"/>
                    </a:lnTo>
                    <a:lnTo>
                      <a:pt x="236982" y="391097"/>
                    </a:lnTo>
                    <a:lnTo>
                      <a:pt x="236982" y="391859"/>
                    </a:lnTo>
                    <a:lnTo>
                      <a:pt x="236982" y="391859"/>
                    </a:lnTo>
                    <a:lnTo>
                      <a:pt x="237839" y="392716"/>
                    </a:lnTo>
                    <a:lnTo>
                      <a:pt x="237839" y="392716"/>
                    </a:lnTo>
                    <a:lnTo>
                      <a:pt x="238697" y="392716"/>
                    </a:lnTo>
                    <a:lnTo>
                      <a:pt x="240316" y="391859"/>
                    </a:lnTo>
                    <a:lnTo>
                      <a:pt x="242030" y="391097"/>
                    </a:lnTo>
                    <a:lnTo>
                      <a:pt x="242888" y="390239"/>
                    </a:lnTo>
                    <a:lnTo>
                      <a:pt x="244602" y="388525"/>
                    </a:lnTo>
                    <a:lnTo>
                      <a:pt x="246221" y="385953"/>
                    </a:lnTo>
                    <a:lnTo>
                      <a:pt x="247079" y="384334"/>
                    </a:lnTo>
                    <a:lnTo>
                      <a:pt x="248793" y="381762"/>
                    </a:lnTo>
                    <a:lnTo>
                      <a:pt x="249650" y="381762"/>
                    </a:lnTo>
                    <a:lnTo>
                      <a:pt x="250508" y="380905"/>
                    </a:lnTo>
                    <a:lnTo>
                      <a:pt x="251365" y="380905"/>
                    </a:lnTo>
                    <a:lnTo>
                      <a:pt x="252222" y="380048"/>
                    </a:lnTo>
                    <a:lnTo>
                      <a:pt x="253841" y="378333"/>
                    </a:lnTo>
                    <a:lnTo>
                      <a:pt x="258985" y="369856"/>
                    </a:lnTo>
                    <a:lnTo>
                      <a:pt x="261461" y="363950"/>
                    </a:lnTo>
                    <a:lnTo>
                      <a:pt x="263176" y="360617"/>
                    </a:lnTo>
                    <a:lnTo>
                      <a:pt x="263176" y="358902"/>
                    </a:lnTo>
                    <a:lnTo>
                      <a:pt x="263176" y="357188"/>
                    </a:lnTo>
                    <a:lnTo>
                      <a:pt x="263176" y="356330"/>
                    </a:lnTo>
                    <a:lnTo>
                      <a:pt x="263176" y="356330"/>
                    </a:lnTo>
                    <a:lnTo>
                      <a:pt x="263176" y="355473"/>
                    </a:lnTo>
                    <a:lnTo>
                      <a:pt x="264033" y="355473"/>
                    </a:lnTo>
                    <a:lnTo>
                      <a:pt x="265748" y="354711"/>
                    </a:lnTo>
                    <a:lnTo>
                      <a:pt x="275082" y="354711"/>
                    </a:lnTo>
                    <a:lnTo>
                      <a:pt x="275844" y="354711"/>
                    </a:lnTo>
                    <a:lnTo>
                      <a:pt x="276701" y="354711"/>
                    </a:lnTo>
                    <a:lnTo>
                      <a:pt x="277559" y="355473"/>
                    </a:lnTo>
                    <a:lnTo>
                      <a:pt x="278416" y="356330"/>
                    </a:lnTo>
                    <a:lnTo>
                      <a:pt x="279273" y="356330"/>
                    </a:lnTo>
                    <a:lnTo>
                      <a:pt x="280130" y="355473"/>
                    </a:lnTo>
                    <a:lnTo>
                      <a:pt x="281845" y="354711"/>
                    </a:lnTo>
                    <a:lnTo>
                      <a:pt x="282702" y="354711"/>
                    </a:lnTo>
                    <a:lnTo>
                      <a:pt x="285179" y="353854"/>
                    </a:lnTo>
                    <a:lnTo>
                      <a:pt x="286893" y="353854"/>
                    </a:lnTo>
                    <a:lnTo>
                      <a:pt x="298704" y="352139"/>
                    </a:lnTo>
                    <a:lnTo>
                      <a:pt x="299561" y="352139"/>
                    </a:lnTo>
                    <a:lnTo>
                      <a:pt x="301276" y="352997"/>
                    </a:lnTo>
                    <a:lnTo>
                      <a:pt x="302133" y="354711"/>
                    </a:lnTo>
                    <a:lnTo>
                      <a:pt x="302133" y="354711"/>
                    </a:lnTo>
                    <a:lnTo>
                      <a:pt x="302990" y="355473"/>
                    </a:lnTo>
                    <a:lnTo>
                      <a:pt x="304705" y="355473"/>
                    </a:lnTo>
                    <a:lnTo>
                      <a:pt x="305467" y="356330"/>
                    </a:lnTo>
                    <a:lnTo>
                      <a:pt x="306324" y="356330"/>
                    </a:lnTo>
                    <a:lnTo>
                      <a:pt x="308039" y="357188"/>
                    </a:lnTo>
                    <a:lnTo>
                      <a:pt x="308896" y="358902"/>
                    </a:lnTo>
                    <a:lnTo>
                      <a:pt x="309753" y="359759"/>
                    </a:lnTo>
                    <a:lnTo>
                      <a:pt x="310610" y="359759"/>
                    </a:lnTo>
                    <a:lnTo>
                      <a:pt x="316516" y="358902"/>
                    </a:lnTo>
                    <a:lnTo>
                      <a:pt x="318230" y="358902"/>
                    </a:lnTo>
                    <a:lnTo>
                      <a:pt x="319850" y="358045"/>
                    </a:lnTo>
                    <a:lnTo>
                      <a:pt x="321564" y="356330"/>
                    </a:lnTo>
                    <a:lnTo>
                      <a:pt x="323279" y="355473"/>
                    </a:lnTo>
                    <a:lnTo>
                      <a:pt x="324136" y="352997"/>
                    </a:lnTo>
                    <a:lnTo>
                      <a:pt x="327470" y="343662"/>
                    </a:lnTo>
                    <a:lnTo>
                      <a:pt x="328327" y="341948"/>
                    </a:lnTo>
                    <a:lnTo>
                      <a:pt x="330899" y="339471"/>
                    </a:lnTo>
                    <a:lnTo>
                      <a:pt x="330899" y="337757"/>
                    </a:lnTo>
                    <a:lnTo>
                      <a:pt x="330899" y="336899"/>
                    </a:lnTo>
                    <a:lnTo>
                      <a:pt x="330899" y="336899"/>
                    </a:lnTo>
                    <a:lnTo>
                      <a:pt x="330899" y="336899"/>
                    </a:lnTo>
                    <a:lnTo>
                      <a:pt x="330899" y="336042"/>
                    </a:lnTo>
                    <a:lnTo>
                      <a:pt x="330899" y="335185"/>
                    </a:lnTo>
                    <a:lnTo>
                      <a:pt x="330899" y="333470"/>
                    </a:lnTo>
                    <a:lnTo>
                      <a:pt x="331756" y="332613"/>
                    </a:lnTo>
                    <a:lnTo>
                      <a:pt x="332613" y="331851"/>
                    </a:lnTo>
                    <a:lnTo>
                      <a:pt x="333470" y="330994"/>
                    </a:lnTo>
                    <a:lnTo>
                      <a:pt x="334232" y="330994"/>
                    </a:lnTo>
                    <a:lnTo>
                      <a:pt x="335090" y="330994"/>
                    </a:lnTo>
                    <a:lnTo>
                      <a:pt x="340233" y="332613"/>
                    </a:lnTo>
                    <a:lnTo>
                      <a:pt x="341090" y="333470"/>
                    </a:lnTo>
                    <a:lnTo>
                      <a:pt x="341852" y="333470"/>
                    </a:lnTo>
                    <a:lnTo>
                      <a:pt x="343567" y="333470"/>
                    </a:lnTo>
                    <a:lnTo>
                      <a:pt x="344424" y="333470"/>
                    </a:lnTo>
                    <a:lnTo>
                      <a:pt x="344424" y="332613"/>
                    </a:lnTo>
                    <a:lnTo>
                      <a:pt x="345281" y="330994"/>
                    </a:lnTo>
                    <a:lnTo>
                      <a:pt x="345281" y="328422"/>
                    </a:lnTo>
                    <a:lnTo>
                      <a:pt x="344424" y="327565"/>
                    </a:lnTo>
                    <a:lnTo>
                      <a:pt x="344424" y="325850"/>
                    </a:lnTo>
                    <a:lnTo>
                      <a:pt x="343567" y="325088"/>
                    </a:lnTo>
                    <a:lnTo>
                      <a:pt x="340233" y="321659"/>
                    </a:lnTo>
                    <a:lnTo>
                      <a:pt x="339376" y="320802"/>
                    </a:lnTo>
                    <a:lnTo>
                      <a:pt x="338519" y="319945"/>
                    </a:lnTo>
                    <a:lnTo>
                      <a:pt x="338519" y="318230"/>
                    </a:lnTo>
                    <a:lnTo>
                      <a:pt x="338519" y="315754"/>
                    </a:lnTo>
                    <a:lnTo>
                      <a:pt x="338519" y="314039"/>
                    </a:lnTo>
                    <a:lnTo>
                      <a:pt x="339376" y="312325"/>
                    </a:lnTo>
                    <a:lnTo>
                      <a:pt x="340233" y="308134"/>
                    </a:lnTo>
                    <a:lnTo>
                      <a:pt x="340233" y="307277"/>
                    </a:lnTo>
                    <a:lnTo>
                      <a:pt x="341090" y="304705"/>
                    </a:lnTo>
                    <a:lnTo>
                      <a:pt x="351187" y="288608"/>
                    </a:lnTo>
                    <a:lnTo>
                      <a:pt x="352901" y="285274"/>
                    </a:lnTo>
                    <a:lnTo>
                      <a:pt x="353759" y="282702"/>
                    </a:lnTo>
                    <a:lnTo>
                      <a:pt x="353759" y="280226"/>
                    </a:lnTo>
                    <a:lnTo>
                      <a:pt x="353759" y="278511"/>
                    </a:lnTo>
                    <a:lnTo>
                      <a:pt x="354616" y="277654"/>
                    </a:lnTo>
                    <a:lnTo>
                      <a:pt x="356235" y="277654"/>
                    </a:lnTo>
                    <a:lnTo>
                      <a:pt x="357092" y="278511"/>
                    </a:lnTo>
                    <a:lnTo>
                      <a:pt x="357092" y="278511"/>
                    </a:lnTo>
                    <a:lnTo>
                      <a:pt x="357950" y="279368"/>
                    </a:lnTo>
                    <a:lnTo>
                      <a:pt x="358807" y="279368"/>
                    </a:lnTo>
                    <a:lnTo>
                      <a:pt x="359664" y="278511"/>
                    </a:lnTo>
                    <a:lnTo>
                      <a:pt x="359664" y="277654"/>
                    </a:lnTo>
                    <a:lnTo>
                      <a:pt x="359664" y="275939"/>
                    </a:lnTo>
                    <a:lnTo>
                      <a:pt x="359664" y="275082"/>
                    </a:lnTo>
                    <a:lnTo>
                      <a:pt x="360521" y="275082"/>
                    </a:lnTo>
                    <a:lnTo>
                      <a:pt x="362236" y="275082"/>
                    </a:lnTo>
                    <a:lnTo>
                      <a:pt x="363093" y="275082"/>
                    </a:lnTo>
                    <a:lnTo>
                      <a:pt x="363855" y="275082"/>
                    </a:lnTo>
                    <a:lnTo>
                      <a:pt x="364712" y="272606"/>
                    </a:lnTo>
                    <a:lnTo>
                      <a:pt x="363855" y="270891"/>
                    </a:lnTo>
                    <a:lnTo>
                      <a:pt x="363855" y="270034"/>
                    </a:lnTo>
                    <a:lnTo>
                      <a:pt x="363855" y="269177"/>
                    </a:lnTo>
                    <a:lnTo>
                      <a:pt x="365570" y="265843"/>
                    </a:lnTo>
                    <a:lnTo>
                      <a:pt x="365570" y="264986"/>
                    </a:lnTo>
                    <a:lnTo>
                      <a:pt x="365570" y="264128"/>
                    </a:lnTo>
                    <a:lnTo>
                      <a:pt x="364712" y="263271"/>
                    </a:lnTo>
                    <a:lnTo>
                      <a:pt x="363855" y="263271"/>
                    </a:lnTo>
                    <a:lnTo>
                      <a:pt x="360521" y="261557"/>
                    </a:lnTo>
                    <a:lnTo>
                      <a:pt x="359664" y="260699"/>
                    </a:lnTo>
                    <a:lnTo>
                      <a:pt x="359664" y="259842"/>
                    </a:lnTo>
                    <a:lnTo>
                      <a:pt x="358807" y="258223"/>
                    </a:lnTo>
                    <a:lnTo>
                      <a:pt x="358807" y="257366"/>
                    </a:lnTo>
                    <a:lnTo>
                      <a:pt x="359664" y="253079"/>
                    </a:lnTo>
                    <a:lnTo>
                      <a:pt x="359664" y="251365"/>
                    </a:lnTo>
                    <a:lnTo>
                      <a:pt x="360521" y="251365"/>
                    </a:lnTo>
                    <a:lnTo>
                      <a:pt x="362236" y="249746"/>
                    </a:lnTo>
                    <a:lnTo>
                      <a:pt x="363855" y="249746"/>
                    </a:lnTo>
                    <a:lnTo>
                      <a:pt x="364712" y="248888"/>
                    </a:lnTo>
                    <a:lnTo>
                      <a:pt x="365570" y="248031"/>
                    </a:lnTo>
                    <a:lnTo>
                      <a:pt x="365570" y="247174"/>
                    </a:lnTo>
                    <a:lnTo>
                      <a:pt x="364712" y="246317"/>
                    </a:lnTo>
                    <a:lnTo>
                      <a:pt x="364712" y="245459"/>
                    </a:lnTo>
                    <a:lnTo>
                      <a:pt x="363855" y="245459"/>
                    </a:lnTo>
                    <a:lnTo>
                      <a:pt x="363093" y="243745"/>
                    </a:lnTo>
                    <a:lnTo>
                      <a:pt x="362236" y="242983"/>
                    </a:lnTo>
                    <a:lnTo>
                      <a:pt x="363093" y="242126"/>
                    </a:lnTo>
                    <a:lnTo>
                      <a:pt x="363855" y="239554"/>
                    </a:lnTo>
                    <a:lnTo>
                      <a:pt x="368999" y="231934"/>
                    </a:lnTo>
                    <a:lnTo>
                      <a:pt x="371475" y="230219"/>
                    </a:lnTo>
                    <a:lnTo>
                      <a:pt x="373190" y="228600"/>
                    </a:lnTo>
                    <a:lnTo>
                      <a:pt x="375761" y="226886"/>
                    </a:lnTo>
                    <a:lnTo>
                      <a:pt x="381667" y="225171"/>
                    </a:lnTo>
                    <a:lnTo>
                      <a:pt x="383381" y="224314"/>
                    </a:lnTo>
                    <a:lnTo>
                      <a:pt x="392716" y="215837"/>
                    </a:lnTo>
                    <a:lnTo>
                      <a:pt x="395192" y="214122"/>
                    </a:lnTo>
                    <a:lnTo>
                      <a:pt x="399479" y="212503"/>
                    </a:lnTo>
                    <a:lnTo>
                      <a:pt x="403670" y="212503"/>
                    </a:lnTo>
                    <a:lnTo>
                      <a:pt x="405384" y="211646"/>
                    </a:lnTo>
                    <a:lnTo>
                      <a:pt x="406241" y="210788"/>
                    </a:lnTo>
                    <a:lnTo>
                      <a:pt x="407861" y="209931"/>
                    </a:lnTo>
                    <a:lnTo>
                      <a:pt x="411290" y="206502"/>
                    </a:lnTo>
                    <a:lnTo>
                      <a:pt x="411290" y="205740"/>
                    </a:lnTo>
                    <a:lnTo>
                      <a:pt x="412147" y="204883"/>
                    </a:lnTo>
                    <a:lnTo>
                      <a:pt x="412147" y="204026"/>
                    </a:lnTo>
                    <a:lnTo>
                      <a:pt x="412147" y="203168"/>
                    </a:lnTo>
                    <a:lnTo>
                      <a:pt x="412147" y="201454"/>
                    </a:lnTo>
                    <a:lnTo>
                      <a:pt x="412147" y="199739"/>
                    </a:lnTo>
                    <a:lnTo>
                      <a:pt x="411290" y="198120"/>
                    </a:lnTo>
                    <a:lnTo>
                      <a:pt x="409575" y="193834"/>
                    </a:lnTo>
                    <a:lnTo>
                      <a:pt x="409575" y="192977"/>
                    </a:lnTo>
                    <a:lnTo>
                      <a:pt x="409575" y="191357"/>
                    </a:lnTo>
                    <a:lnTo>
                      <a:pt x="410432" y="189643"/>
                    </a:lnTo>
                    <a:lnTo>
                      <a:pt x="410432" y="187071"/>
                    </a:lnTo>
                    <a:lnTo>
                      <a:pt x="411290" y="186214"/>
                    </a:lnTo>
                    <a:lnTo>
                      <a:pt x="411290" y="185357"/>
                    </a:lnTo>
                    <a:lnTo>
                      <a:pt x="412147" y="185357"/>
                    </a:lnTo>
                    <a:lnTo>
                      <a:pt x="412147" y="184499"/>
                    </a:lnTo>
                    <a:lnTo>
                      <a:pt x="413861" y="183737"/>
                    </a:lnTo>
                    <a:lnTo>
                      <a:pt x="414719" y="183737"/>
                    </a:lnTo>
                    <a:lnTo>
                      <a:pt x="415481" y="182880"/>
                    </a:lnTo>
                    <a:lnTo>
                      <a:pt x="417195" y="180308"/>
                    </a:lnTo>
                    <a:lnTo>
                      <a:pt x="418910" y="179451"/>
                    </a:lnTo>
                    <a:lnTo>
                      <a:pt x="419767" y="179451"/>
                    </a:lnTo>
                    <a:lnTo>
                      <a:pt x="423100" y="179451"/>
                    </a:lnTo>
                    <a:lnTo>
                      <a:pt x="423958" y="179451"/>
                    </a:lnTo>
                    <a:lnTo>
                      <a:pt x="424815" y="178594"/>
                    </a:lnTo>
                    <a:lnTo>
                      <a:pt x="425672" y="178594"/>
                    </a:lnTo>
                    <a:lnTo>
                      <a:pt x="428244" y="176117"/>
                    </a:lnTo>
                    <a:lnTo>
                      <a:pt x="433292" y="171831"/>
                    </a:lnTo>
                    <a:lnTo>
                      <a:pt x="434150" y="170974"/>
                    </a:lnTo>
                    <a:lnTo>
                      <a:pt x="435007" y="170117"/>
                    </a:lnTo>
                    <a:lnTo>
                      <a:pt x="436721" y="164211"/>
                    </a:lnTo>
                    <a:lnTo>
                      <a:pt x="437483" y="163354"/>
                    </a:lnTo>
                    <a:lnTo>
                      <a:pt x="437483" y="162497"/>
                    </a:lnTo>
                    <a:lnTo>
                      <a:pt x="438341" y="161735"/>
                    </a:lnTo>
                    <a:lnTo>
                      <a:pt x="439198" y="160877"/>
                    </a:lnTo>
                    <a:lnTo>
                      <a:pt x="441770" y="160020"/>
                    </a:lnTo>
                    <a:lnTo>
                      <a:pt x="441770" y="160020"/>
                    </a:lnTo>
                    <a:lnTo>
                      <a:pt x="443484" y="158306"/>
                    </a:lnTo>
                    <a:lnTo>
                      <a:pt x="444341" y="157448"/>
                    </a:lnTo>
                    <a:lnTo>
                      <a:pt x="448532" y="154115"/>
                    </a:lnTo>
                    <a:lnTo>
                      <a:pt x="450247" y="153257"/>
                    </a:lnTo>
                    <a:lnTo>
                      <a:pt x="451104" y="151543"/>
                    </a:lnTo>
                    <a:lnTo>
                      <a:pt x="451866" y="149828"/>
                    </a:lnTo>
                    <a:lnTo>
                      <a:pt x="451866" y="148971"/>
                    </a:lnTo>
                    <a:lnTo>
                      <a:pt x="451104" y="147257"/>
                    </a:lnTo>
                    <a:lnTo>
                      <a:pt x="451104" y="147257"/>
                    </a:lnTo>
                    <a:close/>
                  </a:path>
                </a:pathLst>
              </a:custGeom>
              <a:solidFill>
                <a:srgbClr val="00A039"/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50" name="Freeform: Shape 154">
                <a:extLst>
                  <a:ext uri="{FF2B5EF4-FFF2-40B4-BE49-F238E27FC236}">
                    <a16:creationId xmlns:a16="http://schemas.microsoft.com/office/drawing/2014/main" id="{F83D6780-787F-4522-875D-BE6C5691D0CA}"/>
                  </a:ext>
                </a:extLst>
              </p:cNvPr>
              <p:cNvSpPr/>
              <p:nvPr/>
            </p:nvSpPr>
            <p:spPr>
              <a:xfrm>
                <a:off x="6158769" y="2839974"/>
                <a:ext cx="542925" cy="390525"/>
              </a:xfrm>
              <a:custGeom>
                <a:avLst/>
                <a:gdLst>
                  <a:gd name="connsiteX0" fmla="*/ 547497 w 542925"/>
                  <a:gd name="connsiteY0" fmla="*/ 142589 h 390525"/>
                  <a:gd name="connsiteX1" fmla="*/ 547497 w 542925"/>
                  <a:gd name="connsiteY1" fmla="*/ 140875 h 390525"/>
                  <a:gd name="connsiteX2" fmla="*/ 546735 w 542925"/>
                  <a:gd name="connsiteY2" fmla="*/ 140017 h 390525"/>
                  <a:gd name="connsiteX3" fmla="*/ 545021 w 542925"/>
                  <a:gd name="connsiteY3" fmla="*/ 139160 h 390525"/>
                  <a:gd name="connsiteX4" fmla="*/ 543306 w 542925"/>
                  <a:gd name="connsiteY4" fmla="*/ 138398 h 390525"/>
                  <a:gd name="connsiteX5" fmla="*/ 542449 w 542925"/>
                  <a:gd name="connsiteY5" fmla="*/ 137541 h 390525"/>
                  <a:gd name="connsiteX6" fmla="*/ 542449 w 542925"/>
                  <a:gd name="connsiteY6" fmla="*/ 136684 h 390525"/>
                  <a:gd name="connsiteX7" fmla="*/ 542449 w 542925"/>
                  <a:gd name="connsiteY7" fmla="*/ 135826 h 390525"/>
                  <a:gd name="connsiteX8" fmla="*/ 543306 w 542925"/>
                  <a:gd name="connsiteY8" fmla="*/ 134969 h 390525"/>
                  <a:gd name="connsiteX9" fmla="*/ 544163 w 542925"/>
                  <a:gd name="connsiteY9" fmla="*/ 134969 h 390525"/>
                  <a:gd name="connsiteX10" fmla="*/ 545021 w 542925"/>
                  <a:gd name="connsiteY10" fmla="*/ 134112 h 390525"/>
                  <a:gd name="connsiteX11" fmla="*/ 545021 w 542925"/>
                  <a:gd name="connsiteY11" fmla="*/ 134112 h 390525"/>
                  <a:gd name="connsiteX12" fmla="*/ 545021 w 542925"/>
                  <a:gd name="connsiteY12" fmla="*/ 133255 h 390525"/>
                  <a:gd name="connsiteX13" fmla="*/ 544163 w 542925"/>
                  <a:gd name="connsiteY13" fmla="*/ 131635 h 390525"/>
                  <a:gd name="connsiteX14" fmla="*/ 540830 w 542925"/>
                  <a:gd name="connsiteY14" fmla="*/ 128206 h 390525"/>
                  <a:gd name="connsiteX15" fmla="*/ 539972 w 542925"/>
                  <a:gd name="connsiteY15" fmla="*/ 127349 h 390525"/>
                  <a:gd name="connsiteX16" fmla="*/ 538258 w 542925"/>
                  <a:gd name="connsiteY16" fmla="*/ 127349 h 390525"/>
                  <a:gd name="connsiteX17" fmla="*/ 537401 w 542925"/>
                  <a:gd name="connsiteY17" fmla="*/ 126492 h 390525"/>
                  <a:gd name="connsiteX18" fmla="*/ 536543 w 542925"/>
                  <a:gd name="connsiteY18" fmla="*/ 125730 h 390525"/>
                  <a:gd name="connsiteX19" fmla="*/ 535686 w 542925"/>
                  <a:gd name="connsiteY19" fmla="*/ 124873 h 390525"/>
                  <a:gd name="connsiteX20" fmla="*/ 535686 w 542925"/>
                  <a:gd name="connsiteY20" fmla="*/ 124873 h 390525"/>
                  <a:gd name="connsiteX21" fmla="*/ 535686 w 542925"/>
                  <a:gd name="connsiteY21" fmla="*/ 124873 h 390525"/>
                  <a:gd name="connsiteX22" fmla="*/ 535686 w 542925"/>
                  <a:gd name="connsiteY22" fmla="*/ 123158 h 390525"/>
                  <a:gd name="connsiteX23" fmla="*/ 536543 w 542925"/>
                  <a:gd name="connsiteY23" fmla="*/ 119825 h 390525"/>
                  <a:gd name="connsiteX24" fmla="*/ 536543 w 542925"/>
                  <a:gd name="connsiteY24" fmla="*/ 118967 h 390525"/>
                  <a:gd name="connsiteX25" fmla="*/ 535686 w 542925"/>
                  <a:gd name="connsiteY25" fmla="*/ 118967 h 390525"/>
                  <a:gd name="connsiteX26" fmla="*/ 530638 w 542925"/>
                  <a:gd name="connsiteY26" fmla="*/ 120587 h 390525"/>
                  <a:gd name="connsiteX27" fmla="*/ 529019 w 542925"/>
                  <a:gd name="connsiteY27" fmla="*/ 121444 h 390525"/>
                  <a:gd name="connsiteX28" fmla="*/ 528161 w 542925"/>
                  <a:gd name="connsiteY28" fmla="*/ 121444 h 390525"/>
                  <a:gd name="connsiteX29" fmla="*/ 525590 w 542925"/>
                  <a:gd name="connsiteY29" fmla="*/ 120587 h 390525"/>
                  <a:gd name="connsiteX30" fmla="*/ 523875 w 542925"/>
                  <a:gd name="connsiteY30" fmla="*/ 120587 h 390525"/>
                  <a:gd name="connsiteX31" fmla="*/ 523113 w 542925"/>
                  <a:gd name="connsiteY31" fmla="*/ 123158 h 390525"/>
                  <a:gd name="connsiteX32" fmla="*/ 523113 w 542925"/>
                  <a:gd name="connsiteY32" fmla="*/ 124015 h 390525"/>
                  <a:gd name="connsiteX33" fmla="*/ 523113 w 542925"/>
                  <a:gd name="connsiteY33" fmla="*/ 125730 h 390525"/>
                  <a:gd name="connsiteX34" fmla="*/ 523113 w 542925"/>
                  <a:gd name="connsiteY34" fmla="*/ 125730 h 390525"/>
                  <a:gd name="connsiteX35" fmla="*/ 522256 w 542925"/>
                  <a:gd name="connsiteY35" fmla="*/ 130778 h 390525"/>
                  <a:gd name="connsiteX36" fmla="*/ 519684 w 542925"/>
                  <a:gd name="connsiteY36" fmla="*/ 136684 h 390525"/>
                  <a:gd name="connsiteX37" fmla="*/ 515493 w 542925"/>
                  <a:gd name="connsiteY37" fmla="*/ 140875 h 390525"/>
                  <a:gd name="connsiteX38" fmla="*/ 512064 w 542925"/>
                  <a:gd name="connsiteY38" fmla="*/ 141732 h 390525"/>
                  <a:gd name="connsiteX39" fmla="*/ 510445 w 542925"/>
                  <a:gd name="connsiteY39" fmla="*/ 140017 h 390525"/>
                  <a:gd name="connsiteX40" fmla="*/ 506159 w 542925"/>
                  <a:gd name="connsiteY40" fmla="*/ 137541 h 390525"/>
                  <a:gd name="connsiteX41" fmla="*/ 505396 w 542925"/>
                  <a:gd name="connsiteY41" fmla="*/ 135826 h 390525"/>
                  <a:gd name="connsiteX42" fmla="*/ 504539 w 542925"/>
                  <a:gd name="connsiteY42" fmla="*/ 134969 h 390525"/>
                  <a:gd name="connsiteX43" fmla="*/ 503682 w 542925"/>
                  <a:gd name="connsiteY43" fmla="*/ 133255 h 390525"/>
                  <a:gd name="connsiteX44" fmla="*/ 502825 w 542925"/>
                  <a:gd name="connsiteY44" fmla="*/ 131635 h 390525"/>
                  <a:gd name="connsiteX45" fmla="*/ 502825 w 542925"/>
                  <a:gd name="connsiteY45" fmla="*/ 132397 h 390525"/>
                  <a:gd name="connsiteX46" fmla="*/ 500253 w 542925"/>
                  <a:gd name="connsiteY46" fmla="*/ 129921 h 390525"/>
                  <a:gd name="connsiteX47" fmla="*/ 500253 w 542925"/>
                  <a:gd name="connsiteY47" fmla="*/ 129064 h 390525"/>
                  <a:gd name="connsiteX48" fmla="*/ 498634 w 542925"/>
                  <a:gd name="connsiteY48" fmla="*/ 129921 h 390525"/>
                  <a:gd name="connsiteX49" fmla="*/ 494348 w 542925"/>
                  <a:gd name="connsiteY49" fmla="*/ 132397 h 390525"/>
                  <a:gd name="connsiteX50" fmla="*/ 492728 w 542925"/>
                  <a:gd name="connsiteY50" fmla="*/ 132397 h 390525"/>
                  <a:gd name="connsiteX51" fmla="*/ 491014 w 542925"/>
                  <a:gd name="connsiteY51" fmla="*/ 131635 h 390525"/>
                  <a:gd name="connsiteX52" fmla="*/ 489299 w 542925"/>
                  <a:gd name="connsiteY52" fmla="*/ 130778 h 390525"/>
                  <a:gd name="connsiteX53" fmla="*/ 487680 w 542925"/>
                  <a:gd name="connsiteY53" fmla="*/ 131635 h 390525"/>
                  <a:gd name="connsiteX54" fmla="*/ 486823 w 542925"/>
                  <a:gd name="connsiteY54" fmla="*/ 134112 h 390525"/>
                  <a:gd name="connsiteX55" fmla="*/ 485966 w 542925"/>
                  <a:gd name="connsiteY55" fmla="*/ 135826 h 390525"/>
                  <a:gd name="connsiteX56" fmla="*/ 484251 w 542925"/>
                  <a:gd name="connsiteY56" fmla="*/ 136684 h 390525"/>
                  <a:gd name="connsiteX57" fmla="*/ 482537 w 542925"/>
                  <a:gd name="connsiteY57" fmla="*/ 136684 h 390525"/>
                  <a:gd name="connsiteX58" fmla="*/ 480917 w 542925"/>
                  <a:gd name="connsiteY58" fmla="*/ 134969 h 390525"/>
                  <a:gd name="connsiteX59" fmla="*/ 479203 w 542925"/>
                  <a:gd name="connsiteY59" fmla="*/ 134112 h 390525"/>
                  <a:gd name="connsiteX60" fmla="*/ 476726 w 542925"/>
                  <a:gd name="connsiteY60" fmla="*/ 134969 h 390525"/>
                  <a:gd name="connsiteX61" fmla="*/ 475869 w 542925"/>
                  <a:gd name="connsiteY61" fmla="*/ 135826 h 390525"/>
                  <a:gd name="connsiteX62" fmla="*/ 473297 w 542925"/>
                  <a:gd name="connsiteY62" fmla="*/ 138398 h 390525"/>
                  <a:gd name="connsiteX63" fmla="*/ 469106 w 542925"/>
                  <a:gd name="connsiteY63" fmla="*/ 140017 h 390525"/>
                  <a:gd name="connsiteX64" fmla="*/ 464915 w 542925"/>
                  <a:gd name="connsiteY64" fmla="*/ 139160 h 390525"/>
                  <a:gd name="connsiteX65" fmla="*/ 457295 w 542925"/>
                  <a:gd name="connsiteY65" fmla="*/ 134112 h 390525"/>
                  <a:gd name="connsiteX66" fmla="*/ 453866 w 542925"/>
                  <a:gd name="connsiteY66" fmla="*/ 134112 h 390525"/>
                  <a:gd name="connsiteX67" fmla="*/ 450533 w 542925"/>
                  <a:gd name="connsiteY67" fmla="*/ 134112 h 390525"/>
                  <a:gd name="connsiteX68" fmla="*/ 446342 w 542925"/>
                  <a:gd name="connsiteY68" fmla="*/ 134969 h 390525"/>
                  <a:gd name="connsiteX69" fmla="*/ 443770 w 542925"/>
                  <a:gd name="connsiteY69" fmla="*/ 136684 h 390525"/>
                  <a:gd name="connsiteX70" fmla="*/ 442055 w 542925"/>
                  <a:gd name="connsiteY70" fmla="*/ 138398 h 390525"/>
                  <a:gd name="connsiteX71" fmla="*/ 440436 w 542925"/>
                  <a:gd name="connsiteY71" fmla="*/ 143446 h 390525"/>
                  <a:gd name="connsiteX72" fmla="*/ 438721 w 542925"/>
                  <a:gd name="connsiteY72" fmla="*/ 144304 h 390525"/>
                  <a:gd name="connsiteX73" fmla="*/ 437864 w 542925"/>
                  <a:gd name="connsiteY73" fmla="*/ 144304 h 390525"/>
                  <a:gd name="connsiteX74" fmla="*/ 432816 w 542925"/>
                  <a:gd name="connsiteY74" fmla="*/ 141732 h 390525"/>
                  <a:gd name="connsiteX75" fmla="*/ 431102 w 542925"/>
                  <a:gd name="connsiteY75" fmla="*/ 140875 h 390525"/>
                  <a:gd name="connsiteX76" fmla="*/ 430244 w 542925"/>
                  <a:gd name="connsiteY76" fmla="*/ 139160 h 390525"/>
                  <a:gd name="connsiteX77" fmla="*/ 429482 w 542925"/>
                  <a:gd name="connsiteY77" fmla="*/ 137541 h 390525"/>
                  <a:gd name="connsiteX78" fmla="*/ 428625 w 542925"/>
                  <a:gd name="connsiteY78" fmla="*/ 136684 h 390525"/>
                  <a:gd name="connsiteX79" fmla="*/ 425196 w 542925"/>
                  <a:gd name="connsiteY79" fmla="*/ 137541 h 390525"/>
                  <a:gd name="connsiteX80" fmla="*/ 419291 w 542925"/>
                  <a:gd name="connsiteY80" fmla="*/ 137541 h 390525"/>
                  <a:gd name="connsiteX81" fmla="*/ 415957 w 542925"/>
                  <a:gd name="connsiteY81" fmla="*/ 136684 h 390525"/>
                  <a:gd name="connsiteX82" fmla="*/ 413385 w 542925"/>
                  <a:gd name="connsiteY82" fmla="*/ 133255 h 390525"/>
                  <a:gd name="connsiteX83" fmla="*/ 411766 w 542925"/>
                  <a:gd name="connsiteY83" fmla="*/ 129064 h 390525"/>
                  <a:gd name="connsiteX84" fmla="*/ 410909 w 542925"/>
                  <a:gd name="connsiteY84" fmla="*/ 125730 h 390525"/>
                  <a:gd name="connsiteX85" fmla="*/ 410909 w 542925"/>
                  <a:gd name="connsiteY85" fmla="*/ 125730 h 390525"/>
                  <a:gd name="connsiteX86" fmla="*/ 410909 w 542925"/>
                  <a:gd name="connsiteY86" fmla="*/ 125730 h 390525"/>
                  <a:gd name="connsiteX87" fmla="*/ 409194 w 542925"/>
                  <a:gd name="connsiteY87" fmla="*/ 119825 h 390525"/>
                  <a:gd name="connsiteX88" fmla="*/ 409194 w 542925"/>
                  <a:gd name="connsiteY88" fmla="*/ 117253 h 390525"/>
                  <a:gd name="connsiteX89" fmla="*/ 409194 w 542925"/>
                  <a:gd name="connsiteY89" fmla="*/ 115538 h 390525"/>
                  <a:gd name="connsiteX90" fmla="*/ 407480 w 542925"/>
                  <a:gd name="connsiteY90" fmla="*/ 115538 h 390525"/>
                  <a:gd name="connsiteX91" fmla="*/ 405860 w 542925"/>
                  <a:gd name="connsiteY91" fmla="*/ 116396 h 390525"/>
                  <a:gd name="connsiteX92" fmla="*/ 402431 w 542925"/>
                  <a:gd name="connsiteY92" fmla="*/ 119825 h 390525"/>
                  <a:gd name="connsiteX93" fmla="*/ 401574 w 542925"/>
                  <a:gd name="connsiteY93" fmla="*/ 121444 h 390525"/>
                  <a:gd name="connsiteX94" fmla="*/ 397383 w 542925"/>
                  <a:gd name="connsiteY94" fmla="*/ 122301 h 390525"/>
                  <a:gd name="connsiteX95" fmla="*/ 394049 w 542925"/>
                  <a:gd name="connsiteY95" fmla="*/ 124015 h 390525"/>
                  <a:gd name="connsiteX96" fmla="*/ 390620 w 542925"/>
                  <a:gd name="connsiteY96" fmla="*/ 125730 h 390525"/>
                  <a:gd name="connsiteX97" fmla="*/ 389763 w 542925"/>
                  <a:gd name="connsiteY97" fmla="*/ 128206 h 390525"/>
                  <a:gd name="connsiteX98" fmla="*/ 388144 w 542925"/>
                  <a:gd name="connsiteY98" fmla="*/ 130778 h 390525"/>
                  <a:gd name="connsiteX99" fmla="*/ 384715 w 542925"/>
                  <a:gd name="connsiteY99" fmla="*/ 132397 h 390525"/>
                  <a:gd name="connsiteX100" fmla="*/ 382238 w 542925"/>
                  <a:gd name="connsiteY100" fmla="*/ 133255 h 390525"/>
                  <a:gd name="connsiteX101" fmla="*/ 381381 w 542925"/>
                  <a:gd name="connsiteY101" fmla="*/ 133255 h 390525"/>
                  <a:gd name="connsiteX102" fmla="*/ 377095 w 542925"/>
                  <a:gd name="connsiteY102" fmla="*/ 131635 h 390525"/>
                  <a:gd name="connsiteX103" fmla="*/ 375475 w 542925"/>
                  <a:gd name="connsiteY103" fmla="*/ 131635 h 390525"/>
                  <a:gd name="connsiteX104" fmla="*/ 374618 w 542925"/>
                  <a:gd name="connsiteY104" fmla="*/ 133255 h 390525"/>
                  <a:gd name="connsiteX105" fmla="*/ 373761 w 542925"/>
                  <a:gd name="connsiteY105" fmla="*/ 134969 h 390525"/>
                  <a:gd name="connsiteX106" fmla="*/ 372904 w 542925"/>
                  <a:gd name="connsiteY106" fmla="*/ 135826 h 390525"/>
                  <a:gd name="connsiteX107" fmla="*/ 371189 w 542925"/>
                  <a:gd name="connsiteY107" fmla="*/ 134969 h 390525"/>
                  <a:gd name="connsiteX108" fmla="*/ 363665 w 542925"/>
                  <a:gd name="connsiteY108" fmla="*/ 130778 h 390525"/>
                  <a:gd name="connsiteX109" fmla="*/ 356045 w 542925"/>
                  <a:gd name="connsiteY109" fmla="*/ 127349 h 390525"/>
                  <a:gd name="connsiteX110" fmla="*/ 353473 w 542925"/>
                  <a:gd name="connsiteY110" fmla="*/ 125730 h 390525"/>
                  <a:gd name="connsiteX111" fmla="*/ 353473 w 542925"/>
                  <a:gd name="connsiteY111" fmla="*/ 125730 h 390525"/>
                  <a:gd name="connsiteX112" fmla="*/ 351854 w 542925"/>
                  <a:gd name="connsiteY112" fmla="*/ 124015 h 390525"/>
                  <a:gd name="connsiteX113" fmla="*/ 350996 w 542925"/>
                  <a:gd name="connsiteY113" fmla="*/ 122301 h 390525"/>
                  <a:gd name="connsiteX114" fmla="*/ 349282 w 542925"/>
                  <a:gd name="connsiteY114" fmla="*/ 121444 h 390525"/>
                  <a:gd name="connsiteX115" fmla="*/ 346805 w 542925"/>
                  <a:gd name="connsiteY115" fmla="*/ 121444 h 390525"/>
                  <a:gd name="connsiteX116" fmla="*/ 343376 w 542925"/>
                  <a:gd name="connsiteY116" fmla="*/ 119825 h 390525"/>
                  <a:gd name="connsiteX117" fmla="*/ 336613 w 542925"/>
                  <a:gd name="connsiteY117" fmla="*/ 116396 h 390525"/>
                  <a:gd name="connsiteX118" fmla="*/ 333280 w 542925"/>
                  <a:gd name="connsiteY118" fmla="*/ 114681 h 390525"/>
                  <a:gd name="connsiteX119" fmla="*/ 332423 w 542925"/>
                  <a:gd name="connsiteY119" fmla="*/ 114681 h 390525"/>
                  <a:gd name="connsiteX120" fmla="*/ 329851 w 542925"/>
                  <a:gd name="connsiteY120" fmla="*/ 115538 h 390525"/>
                  <a:gd name="connsiteX121" fmla="*/ 329089 w 542925"/>
                  <a:gd name="connsiteY121" fmla="*/ 115538 h 390525"/>
                  <a:gd name="connsiteX122" fmla="*/ 328232 w 542925"/>
                  <a:gd name="connsiteY122" fmla="*/ 114681 h 390525"/>
                  <a:gd name="connsiteX123" fmla="*/ 328232 w 542925"/>
                  <a:gd name="connsiteY123" fmla="*/ 113062 h 390525"/>
                  <a:gd name="connsiteX124" fmla="*/ 327374 w 542925"/>
                  <a:gd name="connsiteY124" fmla="*/ 112204 h 390525"/>
                  <a:gd name="connsiteX125" fmla="*/ 325660 w 542925"/>
                  <a:gd name="connsiteY125" fmla="*/ 111347 h 390525"/>
                  <a:gd name="connsiteX126" fmla="*/ 323183 w 542925"/>
                  <a:gd name="connsiteY126" fmla="*/ 112204 h 390525"/>
                  <a:gd name="connsiteX127" fmla="*/ 319754 w 542925"/>
                  <a:gd name="connsiteY127" fmla="*/ 113062 h 390525"/>
                  <a:gd name="connsiteX128" fmla="*/ 317278 w 542925"/>
                  <a:gd name="connsiteY128" fmla="*/ 114681 h 390525"/>
                  <a:gd name="connsiteX129" fmla="*/ 316421 w 542925"/>
                  <a:gd name="connsiteY129" fmla="*/ 114681 h 390525"/>
                  <a:gd name="connsiteX130" fmla="*/ 314706 w 542925"/>
                  <a:gd name="connsiteY130" fmla="*/ 114681 h 390525"/>
                  <a:gd name="connsiteX131" fmla="*/ 313849 w 542925"/>
                  <a:gd name="connsiteY131" fmla="*/ 114681 h 390525"/>
                  <a:gd name="connsiteX132" fmla="*/ 313849 w 542925"/>
                  <a:gd name="connsiteY132" fmla="*/ 113919 h 390525"/>
                  <a:gd name="connsiteX133" fmla="*/ 312992 w 542925"/>
                  <a:gd name="connsiteY133" fmla="*/ 113062 h 390525"/>
                  <a:gd name="connsiteX134" fmla="*/ 311372 w 542925"/>
                  <a:gd name="connsiteY134" fmla="*/ 113062 h 390525"/>
                  <a:gd name="connsiteX135" fmla="*/ 310515 w 542925"/>
                  <a:gd name="connsiteY135" fmla="*/ 113062 h 390525"/>
                  <a:gd name="connsiteX136" fmla="*/ 310515 w 542925"/>
                  <a:gd name="connsiteY136" fmla="*/ 113062 h 390525"/>
                  <a:gd name="connsiteX137" fmla="*/ 307943 w 542925"/>
                  <a:gd name="connsiteY137" fmla="*/ 113062 h 390525"/>
                  <a:gd name="connsiteX138" fmla="*/ 307086 w 542925"/>
                  <a:gd name="connsiteY138" fmla="*/ 113062 h 390525"/>
                  <a:gd name="connsiteX139" fmla="*/ 307086 w 542925"/>
                  <a:gd name="connsiteY139" fmla="*/ 112204 h 390525"/>
                  <a:gd name="connsiteX140" fmla="*/ 299561 w 542925"/>
                  <a:gd name="connsiteY140" fmla="*/ 107156 h 390525"/>
                  <a:gd name="connsiteX141" fmla="*/ 296132 w 542925"/>
                  <a:gd name="connsiteY141" fmla="*/ 106299 h 390525"/>
                  <a:gd name="connsiteX142" fmla="*/ 291941 w 542925"/>
                  <a:gd name="connsiteY142" fmla="*/ 107156 h 390525"/>
                  <a:gd name="connsiteX143" fmla="*/ 289370 w 542925"/>
                  <a:gd name="connsiteY143" fmla="*/ 108013 h 390525"/>
                  <a:gd name="connsiteX144" fmla="*/ 287750 w 542925"/>
                  <a:gd name="connsiteY144" fmla="*/ 108775 h 390525"/>
                  <a:gd name="connsiteX145" fmla="*/ 280130 w 542925"/>
                  <a:gd name="connsiteY145" fmla="*/ 115538 h 390525"/>
                  <a:gd name="connsiteX146" fmla="*/ 277559 w 542925"/>
                  <a:gd name="connsiteY146" fmla="*/ 116396 h 390525"/>
                  <a:gd name="connsiteX147" fmla="*/ 275939 w 542925"/>
                  <a:gd name="connsiteY147" fmla="*/ 117253 h 390525"/>
                  <a:gd name="connsiteX148" fmla="*/ 275082 w 542925"/>
                  <a:gd name="connsiteY148" fmla="*/ 116396 h 390525"/>
                  <a:gd name="connsiteX149" fmla="*/ 275082 w 542925"/>
                  <a:gd name="connsiteY149" fmla="*/ 115538 h 390525"/>
                  <a:gd name="connsiteX150" fmla="*/ 275082 w 542925"/>
                  <a:gd name="connsiteY150" fmla="*/ 114681 h 390525"/>
                  <a:gd name="connsiteX151" fmla="*/ 275082 w 542925"/>
                  <a:gd name="connsiteY151" fmla="*/ 113062 h 390525"/>
                  <a:gd name="connsiteX152" fmla="*/ 273367 w 542925"/>
                  <a:gd name="connsiteY152" fmla="*/ 112204 h 390525"/>
                  <a:gd name="connsiteX153" fmla="*/ 272510 w 542925"/>
                  <a:gd name="connsiteY153" fmla="*/ 113062 h 390525"/>
                  <a:gd name="connsiteX154" fmla="*/ 271653 w 542925"/>
                  <a:gd name="connsiteY154" fmla="*/ 113062 h 390525"/>
                  <a:gd name="connsiteX155" fmla="*/ 270796 w 542925"/>
                  <a:gd name="connsiteY155" fmla="*/ 113062 h 390525"/>
                  <a:gd name="connsiteX156" fmla="*/ 264890 w 542925"/>
                  <a:gd name="connsiteY156" fmla="*/ 108013 h 390525"/>
                  <a:gd name="connsiteX157" fmla="*/ 263271 w 542925"/>
                  <a:gd name="connsiteY157" fmla="*/ 106299 h 390525"/>
                  <a:gd name="connsiteX158" fmla="*/ 261557 w 542925"/>
                  <a:gd name="connsiteY158" fmla="*/ 102108 h 390525"/>
                  <a:gd name="connsiteX159" fmla="*/ 262414 w 542925"/>
                  <a:gd name="connsiteY159" fmla="*/ 92773 h 390525"/>
                  <a:gd name="connsiteX160" fmla="*/ 261557 w 542925"/>
                  <a:gd name="connsiteY160" fmla="*/ 88583 h 390525"/>
                  <a:gd name="connsiteX161" fmla="*/ 259842 w 542925"/>
                  <a:gd name="connsiteY161" fmla="*/ 86868 h 390525"/>
                  <a:gd name="connsiteX162" fmla="*/ 251460 w 542925"/>
                  <a:gd name="connsiteY162" fmla="*/ 81820 h 390525"/>
                  <a:gd name="connsiteX163" fmla="*/ 250603 w 542925"/>
                  <a:gd name="connsiteY163" fmla="*/ 81820 h 390525"/>
                  <a:gd name="connsiteX164" fmla="*/ 241268 w 542925"/>
                  <a:gd name="connsiteY164" fmla="*/ 85154 h 390525"/>
                  <a:gd name="connsiteX165" fmla="*/ 237077 w 542925"/>
                  <a:gd name="connsiteY165" fmla="*/ 87725 h 390525"/>
                  <a:gd name="connsiteX166" fmla="*/ 232886 w 542925"/>
                  <a:gd name="connsiteY166" fmla="*/ 90297 h 390525"/>
                  <a:gd name="connsiteX167" fmla="*/ 231172 w 542925"/>
                  <a:gd name="connsiteY167" fmla="*/ 90297 h 390525"/>
                  <a:gd name="connsiteX168" fmla="*/ 228695 w 542925"/>
                  <a:gd name="connsiteY168" fmla="*/ 90297 h 390525"/>
                  <a:gd name="connsiteX169" fmla="*/ 226981 w 542925"/>
                  <a:gd name="connsiteY169" fmla="*/ 89440 h 390525"/>
                  <a:gd name="connsiteX170" fmla="*/ 225266 w 542925"/>
                  <a:gd name="connsiteY170" fmla="*/ 91059 h 390525"/>
                  <a:gd name="connsiteX171" fmla="*/ 223552 w 542925"/>
                  <a:gd name="connsiteY171" fmla="*/ 93631 h 390525"/>
                  <a:gd name="connsiteX172" fmla="*/ 223552 w 542925"/>
                  <a:gd name="connsiteY172" fmla="*/ 93631 h 390525"/>
                  <a:gd name="connsiteX173" fmla="*/ 221933 w 542925"/>
                  <a:gd name="connsiteY173" fmla="*/ 94488 h 390525"/>
                  <a:gd name="connsiteX174" fmla="*/ 217646 w 542925"/>
                  <a:gd name="connsiteY174" fmla="*/ 96202 h 390525"/>
                  <a:gd name="connsiteX175" fmla="*/ 216027 w 542925"/>
                  <a:gd name="connsiteY175" fmla="*/ 96202 h 390525"/>
                  <a:gd name="connsiteX176" fmla="*/ 205835 w 542925"/>
                  <a:gd name="connsiteY176" fmla="*/ 93631 h 390525"/>
                  <a:gd name="connsiteX177" fmla="*/ 202502 w 542925"/>
                  <a:gd name="connsiteY177" fmla="*/ 90297 h 390525"/>
                  <a:gd name="connsiteX178" fmla="*/ 202502 w 542925"/>
                  <a:gd name="connsiteY178" fmla="*/ 86011 h 390525"/>
                  <a:gd name="connsiteX179" fmla="*/ 202502 w 542925"/>
                  <a:gd name="connsiteY179" fmla="*/ 81820 h 390525"/>
                  <a:gd name="connsiteX180" fmla="*/ 198311 w 542925"/>
                  <a:gd name="connsiteY180" fmla="*/ 80105 h 390525"/>
                  <a:gd name="connsiteX181" fmla="*/ 195739 w 542925"/>
                  <a:gd name="connsiteY181" fmla="*/ 80105 h 390525"/>
                  <a:gd name="connsiteX182" fmla="*/ 189833 w 542925"/>
                  <a:gd name="connsiteY182" fmla="*/ 82677 h 390525"/>
                  <a:gd name="connsiteX183" fmla="*/ 186500 w 542925"/>
                  <a:gd name="connsiteY183" fmla="*/ 82677 h 390525"/>
                  <a:gd name="connsiteX184" fmla="*/ 186500 w 542925"/>
                  <a:gd name="connsiteY184" fmla="*/ 80963 h 390525"/>
                  <a:gd name="connsiteX185" fmla="*/ 186500 w 542925"/>
                  <a:gd name="connsiteY185" fmla="*/ 79248 h 390525"/>
                  <a:gd name="connsiteX186" fmla="*/ 184785 w 542925"/>
                  <a:gd name="connsiteY186" fmla="*/ 78486 h 390525"/>
                  <a:gd name="connsiteX187" fmla="*/ 183071 w 542925"/>
                  <a:gd name="connsiteY187" fmla="*/ 78486 h 390525"/>
                  <a:gd name="connsiteX188" fmla="*/ 182213 w 542925"/>
                  <a:gd name="connsiteY188" fmla="*/ 77629 h 390525"/>
                  <a:gd name="connsiteX189" fmla="*/ 179737 w 542925"/>
                  <a:gd name="connsiteY189" fmla="*/ 76771 h 390525"/>
                  <a:gd name="connsiteX190" fmla="*/ 178879 w 542925"/>
                  <a:gd name="connsiteY190" fmla="*/ 74200 h 390525"/>
                  <a:gd name="connsiteX191" fmla="*/ 178022 w 542925"/>
                  <a:gd name="connsiteY191" fmla="*/ 71723 h 390525"/>
                  <a:gd name="connsiteX192" fmla="*/ 176308 w 542925"/>
                  <a:gd name="connsiteY192" fmla="*/ 69151 h 390525"/>
                  <a:gd name="connsiteX193" fmla="*/ 173831 w 542925"/>
                  <a:gd name="connsiteY193" fmla="*/ 67437 h 390525"/>
                  <a:gd name="connsiteX194" fmla="*/ 168783 w 542925"/>
                  <a:gd name="connsiteY194" fmla="*/ 65818 h 390525"/>
                  <a:gd name="connsiteX195" fmla="*/ 166211 w 542925"/>
                  <a:gd name="connsiteY195" fmla="*/ 64103 h 390525"/>
                  <a:gd name="connsiteX196" fmla="*/ 166211 w 542925"/>
                  <a:gd name="connsiteY196" fmla="*/ 64103 h 390525"/>
                  <a:gd name="connsiteX197" fmla="*/ 164497 w 542925"/>
                  <a:gd name="connsiteY197" fmla="*/ 62389 h 390525"/>
                  <a:gd name="connsiteX198" fmla="*/ 162878 w 542925"/>
                  <a:gd name="connsiteY198" fmla="*/ 62389 h 390525"/>
                  <a:gd name="connsiteX199" fmla="*/ 161163 w 542925"/>
                  <a:gd name="connsiteY199" fmla="*/ 62389 h 390525"/>
                  <a:gd name="connsiteX200" fmla="*/ 159449 w 542925"/>
                  <a:gd name="connsiteY200" fmla="*/ 64103 h 390525"/>
                  <a:gd name="connsiteX201" fmla="*/ 158591 w 542925"/>
                  <a:gd name="connsiteY201" fmla="*/ 64103 h 390525"/>
                  <a:gd name="connsiteX202" fmla="*/ 145161 w 542925"/>
                  <a:gd name="connsiteY202" fmla="*/ 60769 h 390525"/>
                  <a:gd name="connsiteX203" fmla="*/ 143446 w 542925"/>
                  <a:gd name="connsiteY203" fmla="*/ 59055 h 390525"/>
                  <a:gd name="connsiteX204" fmla="*/ 143446 w 542925"/>
                  <a:gd name="connsiteY204" fmla="*/ 56483 h 390525"/>
                  <a:gd name="connsiteX205" fmla="*/ 144304 w 542925"/>
                  <a:gd name="connsiteY205" fmla="*/ 54007 h 390525"/>
                  <a:gd name="connsiteX206" fmla="*/ 146018 w 542925"/>
                  <a:gd name="connsiteY206" fmla="*/ 51435 h 390525"/>
                  <a:gd name="connsiteX207" fmla="*/ 146780 w 542925"/>
                  <a:gd name="connsiteY207" fmla="*/ 48958 h 390525"/>
                  <a:gd name="connsiteX208" fmla="*/ 147638 w 542925"/>
                  <a:gd name="connsiteY208" fmla="*/ 43815 h 390525"/>
                  <a:gd name="connsiteX209" fmla="*/ 146780 w 542925"/>
                  <a:gd name="connsiteY209" fmla="*/ 38767 h 390525"/>
                  <a:gd name="connsiteX210" fmla="*/ 146018 w 542925"/>
                  <a:gd name="connsiteY210" fmla="*/ 34576 h 390525"/>
                  <a:gd name="connsiteX211" fmla="*/ 144304 w 542925"/>
                  <a:gd name="connsiteY211" fmla="*/ 29527 h 390525"/>
                  <a:gd name="connsiteX212" fmla="*/ 140875 w 542925"/>
                  <a:gd name="connsiteY212" fmla="*/ 25241 h 390525"/>
                  <a:gd name="connsiteX213" fmla="*/ 138398 w 542925"/>
                  <a:gd name="connsiteY213" fmla="*/ 23622 h 390525"/>
                  <a:gd name="connsiteX214" fmla="*/ 106299 w 542925"/>
                  <a:gd name="connsiteY214" fmla="*/ 17717 h 390525"/>
                  <a:gd name="connsiteX215" fmla="*/ 104680 w 542925"/>
                  <a:gd name="connsiteY215" fmla="*/ 16002 h 390525"/>
                  <a:gd name="connsiteX216" fmla="*/ 102108 w 542925"/>
                  <a:gd name="connsiteY216" fmla="*/ 13430 h 390525"/>
                  <a:gd name="connsiteX217" fmla="*/ 101251 w 542925"/>
                  <a:gd name="connsiteY217" fmla="*/ 10954 h 390525"/>
                  <a:gd name="connsiteX218" fmla="*/ 99536 w 542925"/>
                  <a:gd name="connsiteY218" fmla="*/ 10096 h 390525"/>
                  <a:gd name="connsiteX219" fmla="*/ 96203 w 542925"/>
                  <a:gd name="connsiteY219" fmla="*/ 10096 h 390525"/>
                  <a:gd name="connsiteX220" fmla="*/ 95345 w 542925"/>
                  <a:gd name="connsiteY220" fmla="*/ 10096 h 390525"/>
                  <a:gd name="connsiteX221" fmla="*/ 93631 w 542925"/>
                  <a:gd name="connsiteY221" fmla="*/ 6763 h 390525"/>
                  <a:gd name="connsiteX222" fmla="*/ 92869 w 542925"/>
                  <a:gd name="connsiteY222" fmla="*/ 5905 h 390525"/>
                  <a:gd name="connsiteX223" fmla="*/ 90297 w 542925"/>
                  <a:gd name="connsiteY223" fmla="*/ 4191 h 390525"/>
                  <a:gd name="connsiteX224" fmla="*/ 89440 w 542925"/>
                  <a:gd name="connsiteY224" fmla="*/ 4191 h 390525"/>
                  <a:gd name="connsiteX225" fmla="*/ 87725 w 542925"/>
                  <a:gd name="connsiteY225" fmla="*/ 2476 h 390525"/>
                  <a:gd name="connsiteX226" fmla="*/ 87725 w 542925"/>
                  <a:gd name="connsiteY226" fmla="*/ 857 h 390525"/>
                  <a:gd name="connsiteX227" fmla="*/ 86106 w 542925"/>
                  <a:gd name="connsiteY227" fmla="*/ 0 h 390525"/>
                  <a:gd name="connsiteX228" fmla="*/ 83534 w 542925"/>
                  <a:gd name="connsiteY228" fmla="*/ 857 h 390525"/>
                  <a:gd name="connsiteX229" fmla="*/ 77629 w 542925"/>
                  <a:gd name="connsiteY229" fmla="*/ 8382 h 390525"/>
                  <a:gd name="connsiteX230" fmla="*/ 75914 w 542925"/>
                  <a:gd name="connsiteY230" fmla="*/ 9239 h 390525"/>
                  <a:gd name="connsiteX231" fmla="*/ 72581 w 542925"/>
                  <a:gd name="connsiteY231" fmla="*/ 10096 h 390525"/>
                  <a:gd name="connsiteX232" fmla="*/ 67532 w 542925"/>
                  <a:gd name="connsiteY232" fmla="*/ 9239 h 390525"/>
                  <a:gd name="connsiteX233" fmla="*/ 66675 w 542925"/>
                  <a:gd name="connsiteY233" fmla="*/ 8382 h 390525"/>
                  <a:gd name="connsiteX234" fmla="*/ 65818 w 542925"/>
                  <a:gd name="connsiteY234" fmla="*/ 8382 h 390525"/>
                  <a:gd name="connsiteX235" fmla="*/ 64103 w 542925"/>
                  <a:gd name="connsiteY235" fmla="*/ 9239 h 390525"/>
                  <a:gd name="connsiteX236" fmla="*/ 58198 w 542925"/>
                  <a:gd name="connsiteY236" fmla="*/ 9239 h 390525"/>
                  <a:gd name="connsiteX237" fmla="*/ 56579 w 542925"/>
                  <a:gd name="connsiteY237" fmla="*/ 10096 h 390525"/>
                  <a:gd name="connsiteX238" fmla="*/ 57436 w 542925"/>
                  <a:gd name="connsiteY238" fmla="*/ 12668 h 390525"/>
                  <a:gd name="connsiteX239" fmla="*/ 60770 w 542925"/>
                  <a:gd name="connsiteY239" fmla="*/ 16002 h 390525"/>
                  <a:gd name="connsiteX240" fmla="*/ 60770 w 542925"/>
                  <a:gd name="connsiteY240" fmla="*/ 16859 h 390525"/>
                  <a:gd name="connsiteX241" fmla="*/ 61627 w 542925"/>
                  <a:gd name="connsiteY241" fmla="*/ 18574 h 390525"/>
                  <a:gd name="connsiteX242" fmla="*/ 61627 w 542925"/>
                  <a:gd name="connsiteY242" fmla="*/ 19336 h 390525"/>
                  <a:gd name="connsiteX243" fmla="*/ 59912 w 542925"/>
                  <a:gd name="connsiteY243" fmla="*/ 20193 h 390525"/>
                  <a:gd name="connsiteX244" fmla="*/ 59055 w 542925"/>
                  <a:gd name="connsiteY244" fmla="*/ 20193 h 390525"/>
                  <a:gd name="connsiteX245" fmla="*/ 59055 w 542925"/>
                  <a:gd name="connsiteY245" fmla="*/ 21050 h 390525"/>
                  <a:gd name="connsiteX246" fmla="*/ 58198 w 542925"/>
                  <a:gd name="connsiteY246" fmla="*/ 21050 h 390525"/>
                  <a:gd name="connsiteX247" fmla="*/ 58198 w 542925"/>
                  <a:gd name="connsiteY247" fmla="*/ 21050 h 390525"/>
                  <a:gd name="connsiteX248" fmla="*/ 58198 w 542925"/>
                  <a:gd name="connsiteY248" fmla="*/ 22765 h 390525"/>
                  <a:gd name="connsiteX249" fmla="*/ 58198 w 542925"/>
                  <a:gd name="connsiteY249" fmla="*/ 22765 h 390525"/>
                  <a:gd name="connsiteX250" fmla="*/ 58198 w 542925"/>
                  <a:gd name="connsiteY250" fmla="*/ 23622 h 390525"/>
                  <a:gd name="connsiteX251" fmla="*/ 58198 w 542925"/>
                  <a:gd name="connsiteY251" fmla="*/ 23622 h 390525"/>
                  <a:gd name="connsiteX252" fmla="*/ 61627 w 542925"/>
                  <a:gd name="connsiteY252" fmla="*/ 23622 h 390525"/>
                  <a:gd name="connsiteX253" fmla="*/ 62484 w 542925"/>
                  <a:gd name="connsiteY253" fmla="*/ 23622 h 390525"/>
                  <a:gd name="connsiteX254" fmla="*/ 63341 w 542925"/>
                  <a:gd name="connsiteY254" fmla="*/ 24479 h 390525"/>
                  <a:gd name="connsiteX255" fmla="*/ 63341 w 542925"/>
                  <a:gd name="connsiteY255" fmla="*/ 25241 h 390525"/>
                  <a:gd name="connsiteX256" fmla="*/ 62484 w 542925"/>
                  <a:gd name="connsiteY256" fmla="*/ 28670 h 390525"/>
                  <a:gd name="connsiteX257" fmla="*/ 62484 w 542925"/>
                  <a:gd name="connsiteY257" fmla="*/ 29527 h 390525"/>
                  <a:gd name="connsiteX258" fmla="*/ 62484 w 542925"/>
                  <a:gd name="connsiteY258" fmla="*/ 30385 h 390525"/>
                  <a:gd name="connsiteX259" fmla="*/ 64103 w 542925"/>
                  <a:gd name="connsiteY259" fmla="*/ 31242 h 390525"/>
                  <a:gd name="connsiteX260" fmla="*/ 64961 w 542925"/>
                  <a:gd name="connsiteY260" fmla="*/ 32004 h 390525"/>
                  <a:gd name="connsiteX261" fmla="*/ 66675 w 542925"/>
                  <a:gd name="connsiteY261" fmla="*/ 33718 h 390525"/>
                  <a:gd name="connsiteX262" fmla="*/ 66675 w 542925"/>
                  <a:gd name="connsiteY262" fmla="*/ 33718 h 390525"/>
                  <a:gd name="connsiteX263" fmla="*/ 68390 w 542925"/>
                  <a:gd name="connsiteY263" fmla="*/ 36290 h 390525"/>
                  <a:gd name="connsiteX264" fmla="*/ 68390 w 542925"/>
                  <a:gd name="connsiteY264" fmla="*/ 38767 h 390525"/>
                  <a:gd name="connsiteX265" fmla="*/ 68390 w 542925"/>
                  <a:gd name="connsiteY265" fmla="*/ 40481 h 390525"/>
                  <a:gd name="connsiteX266" fmla="*/ 67532 w 542925"/>
                  <a:gd name="connsiteY266" fmla="*/ 43815 h 390525"/>
                  <a:gd name="connsiteX267" fmla="*/ 68390 w 542925"/>
                  <a:gd name="connsiteY267" fmla="*/ 44672 h 390525"/>
                  <a:gd name="connsiteX268" fmla="*/ 69247 w 542925"/>
                  <a:gd name="connsiteY268" fmla="*/ 46387 h 390525"/>
                  <a:gd name="connsiteX269" fmla="*/ 71723 w 542925"/>
                  <a:gd name="connsiteY269" fmla="*/ 48101 h 390525"/>
                  <a:gd name="connsiteX270" fmla="*/ 72581 w 542925"/>
                  <a:gd name="connsiteY270" fmla="*/ 48958 h 390525"/>
                  <a:gd name="connsiteX271" fmla="*/ 74295 w 542925"/>
                  <a:gd name="connsiteY271" fmla="*/ 52292 h 390525"/>
                  <a:gd name="connsiteX272" fmla="*/ 74295 w 542925"/>
                  <a:gd name="connsiteY272" fmla="*/ 54007 h 390525"/>
                  <a:gd name="connsiteX273" fmla="*/ 76771 w 542925"/>
                  <a:gd name="connsiteY273" fmla="*/ 55626 h 390525"/>
                  <a:gd name="connsiteX274" fmla="*/ 77629 w 542925"/>
                  <a:gd name="connsiteY274" fmla="*/ 56483 h 390525"/>
                  <a:gd name="connsiteX275" fmla="*/ 77629 w 542925"/>
                  <a:gd name="connsiteY275" fmla="*/ 58198 h 390525"/>
                  <a:gd name="connsiteX276" fmla="*/ 77629 w 542925"/>
                  <a:gd name="connsiteY276" fmla="*/ 59912 h 390525"/>
                  <a:gd name="connsiteX277" fmla="*/ 77629 w 542925"/>
                  <a:gd name="connsiteY277" fmla="*/ 63246 h 390525"/>
                  <a:gd name="connsiteX278" fmla="*/ 77629 w 542925"/>
                  <a:gd name="connsiteY278" fmla="*/ 64103 h 390525"/>
                  <a:gd name="connsiteX279" fmla="*/ 81058 w 542925"/>
                  <a:gd name="connsiteY279" fmla="*/ 70866 h 390525"/>
                  <a:gd name="connsiteX280" fmla="*/ 82677 w 542925"/>
                  <a:gd name="connsiteY280" fmla="*/ 73342 h 390525"/>
                  <a:gd name="connsiteX281" fmla="*/ 84392 w 542925"/>
                  <a:gd name="connsiteY281" fmla="*/ 74200 h 390525"/>
                  <a:gd name="connsiteX282" fmla="*/ 85249 w 542925"/>
                  <a:gd name="connsiteY282" fmla="*/ 75057 h 390525"/>
                  <a:gd name="connsiteX283" fmla="*/ 86963 w 542925"/>
                  <a:gd name="connsiteY283" fmla="*/ 75914 h 390525"/>
                  <a:gd name="connsiteX284" fmla="*/ 87725 w 542925"/>
                  <a:gd name="connsiteY284" fmla="*/ 76771 h 390525"/>
                  <a:gd name="connsiteX285" fmla="*/ 91154 w 542925"/>
                  <a:gd name="connsiteY285" fmla="*/ 79248 h 390525"/>
                  <a:gd name="connsiteX286" fmla="*/ 92012 w 542925"/>
                  <a:gd name="connsiteY286" fmla="*/ 79248 h 390525"/>
                  <a:gd name="connsiteX287" fmla="*/ 92869 w 542925"/>
                  <a:gd name="connsiteY287" fmla="*/ 78486 h 390525"/>
                  <a:gd name="connsiteX288" fmla="*/ 93631 w 542925"/>
                  <a:gd name="connsiteY288" fmla="*/ 77629 h 390525"/>
                  <a:gd name="connsiteX289" fmla="*/ 94488 w 542925"/>
                  <a:gd name="connsiteY289" fmla="*/ 77629 h 390525"/>
                  <a:gd name="connsiteX290" fmla="*/ 95345 w 542925"/>
                  <a:gd name="connsiteY290" fmla="*/ 76771 h 390525"/>
                  <a:gd name="connsiteX291" fmla="*/ 96203 w 542925"/>
                  <a:gd name="connsiteY291" fmla="*/ 76771 h 390525"/>
                  <a:gd name="connsiteX292" fmla="*/ 97917 w 542925"/>
                  <a:gd name="connsiteY292" fmla="*/ 76771 h 390525"/>
                  <a:gd name="connsiteX293" fmla="*/ 98774 w 542925"/>
                  <a:gd name="connsiteY293" fmla="*/ 76771 h 390525"/>
                  <a:gd name="connsiteX294" fmla="*/ 99536 w 542925"/>
                  <a:gd name="connsiteY294" fmla="*/ 76771 h 390525"/>
                  <a:gd name="connsiteX295" fmla="*/ 100394 w 542925"/>
                  <a:gd name="connsiteY295" fmla="*/ 77629 h 390525"/>
                  <a:gd name="connsiteX296" fmla="*/ 101251 w 542925"/>
                  <a:gd name="connsiteY296" fmla="*/ 79248 h 390525"/>
                  <a:gd name="connsiteX297" fmla="*/ 102108 w 542925"/>
                  <a:gd name="connsiteY297" fmla="*/ 81820 h 390525"/>
                  <a:gd name="connsiteX298" fmla="*/ 102108 w 542925"/>
                  <a:gd name="connsiteY298" fmla="*/ 83534 h 390525"/>
                  <a:gd name="connsiteX299" fmla="*/ 102108 w 542925"/>
                  <a:gd name="connsiteY299" fmla="*/ 86011 h 390525"/>
                  <a:gd name="connsiteX300" fmla="*/ 101251 w 542925"/>
                  <a:gd name="connsiteY300" fmla="*/ 91916 h 390525"/>
                  <a:gd name="connsiteX301" fmla="*/ 101251 w 542925"/>
                  <a:gd name="connsiteY301" fmla="*/ 92773 h 390525"/>
                  <a:gd name="connsiteX302" fmla="*/ 102108 w 542925"/>
                  <a:gd name="connsiteY302" fmla="*/ 93631 h 390525"/>
                  <a:gd name="connsiteX303" fmla="*/ 102965 w 542925"/>
                  <a:gd name="connsiteY303" fmla="*/ 93631 h 390525"/>
                  <a:gd name="connsiteX304" fmla="*/ 104680 w 542925"/>
                  <a:gd name="connsiteY304" fmla="*/ 93631 h 390525"/>
                  <a:gd name="connsiteX305" fmla="*/ 106299 w 542925"/>
                  <a:gd name="connsiteY305" fmla="*/ 93631 h 390525"/>
                  <a:gd name="connsiteX306" fmla="*/ 107156 w 542925"/>
                  <a:gd name="connsiteY306" fmla="*/ 94488 h 390525"/>
                  <a:gd name="connsiteX307" fmla="*/ 108013 w 542925"/>
                  <a:gd name="connsiteY307" fmla="*/ 95345 h 390525"/>
                  <a:gd name="connsiteX308" fmla="*/ 116491 w 542925"/>
                  <a:gd name="connsiteY308" fmla="*/ 103727 h 390525"/>
                  <a:gd name="connsiteX309" fmla="*/ 117253 w 542925"/>
                  <a:gd name="connsiteY309" fmla="*/ 104584 h 390525"/>
                  <a:gd name="connsiteX310" fmla="*/ 118110 w 542925"/>
                  <a:gd name="connsiteY310" fmla="*/ 105442 h 390525"/>
                  <a:gd name="connsiteX311" fmla="*/ 118110 w 542925"/>
                  <a:gd name="connsiteY311" fmla="*/ 106299 h 390525"/>
                  <a:gd name="connsiteX312" fmla="*/ 118110 w 542925"/>
                  <a:gd name="connsiteY312" fmla="*/ 107156 h 390525"/>
                  <a:gd name="connsiteX313" fmla="*/ 116491 w 542925"/>
                  <a:gd name="connsiteY313" fmla="*/ 108013 h 390525"/>
                  <a:gd name="connsiteX314" fmla="*/ 99536 w 542925"/>
                  <a:gd name="connsiteY314" fmla="*/ 108013 h 390525"/>
                  <a:gd name="connsiteX315" fmla="*/ 96203 w 542925"/>
                  <a:gd name="connsiteY315" fmla="*/ 107156 h 390525"/>
                  <a:gd name="connsiteX316" fmla="*/ 92869 w 542925"/>
                  <a:gd name="connsiteY316" fmla="*/ 106299 h 390525"/>
                  <a:gd name="connsiteX317" fmla="*/ 92012 w 542925"/>
                  <a:gd name="connsiteY317" fmla="*/ 106299 h 390525"/>
                  <a:gd name="connsiteX318" fmla="*/ 89440 w 542925"/>
                  <a:gd name="connsiteY318" fmla="*/ 106299 h 390525"/>
                  <a:gd name="connsiteX319" fmla="*/ 86106 w 542925"/>
                  <a:gd name="connsiteY319" fmla="*/ 106299 h 390525"/>
                  <a:gd name="connsiteX320" fmla="*/ 86106 w 542925"/>
                  <a:gd name="connsiteY320" fmla="*/ 107156 h 390525"/>
                  <a:gd name="connsiteX321" fmla="*/ 85249 w 542925"/>
                  <a:gd name="connsiteY321" fmla="*/ 107156 h 390525"/>
                  <a:gd name="connsiteX322" fmla="*/ 84392 w 542925"/>
                  <a:gd name="connsiteY322" fmla="*/ 108013 h 390525"/>
                  <a:gd name="connsiteX323" fmla="*/ 83534 w 542925"/>
                  <a:gd name="connsiteY323" fmla="*/ 109633 h 390525"/>
                  <a:gd name="connsiteX324" fmla="*/ 82677 w 542925"/>
                  <a:gd name="connsiteY324" fmla="*/ 113919 h 390525"/>
                  <a:gd name="connsiteX325" fmla="*/ 81820 w 542925"/>
                  <a:gd name="connsiteY325" fmla="*/ 114681 h 390525"/>
                  <a:gd name="connsiteX326" fmla="*/ 81820 w 542925"/>
                  <a:gd name="connsiteY326" fmla="*/ 116396 h 390525"/>
                  <a:gd name="connsiteX327" fmla="*/ 80200 w 542925"/>
                  <a:gd name="connsiteY327" fmla="*/ 117253 h 390525"/>
                  <a:gd name="connsiteX328" fmla="*/ 79343 w 542925"/>
                  <a:gd name="connsiteY328" fmla="*/ 118110 h 390525"/>
                  <a:gd name="connsiteX329" fmla="*/ 78486 w 542925"/>
                  <a:gd name="connsiteY329" fmla="*/ 118110 h 390525"/>
                  <a:gd name="connsiteX330" fmla="*/ 74295 w 542925"/>
                  <a:gd name="connsiteY330" fmla="*/ 118967 h 390525"/>
                  <a:gd name="connsiteX331" fmla="*/ 73438 w 542925"/>
                  <a:gd name="connsiteY331" fmla="*/ 119825 h 390525"/>
                  <a:gd name="connsiteX332" fmla="*/ 73438 w 542925"/>
                  <a:gd name="connsiteY332" fmla="*/ 119825 h 390525"/>
                  <a:gd name="connsiteX333" fmla="*/ 73438 w 542925"/>
                  <a:gd name="connsiteY333" fmla="*/ 120587 h 390525"/>
                  <a:gd name="connsiteX334" fmla="*/ 71723 w 542925"/>
                  <a:gd name="connsiteY334" fmla="*/ 122301 h 390525"/>
                  <a:gd name="connsiteX335" fmla="*/ 70866 w 542925"/>
                  <a:gd name="connsiteY335" fmla="*/ 123158 h 390525"/>
                  <a:gd name="connsiteX336" fmla="*/ 70866 w 542925"/>
                  <a:gd name="connsiteY336" fmla="*/ 123158 h 390525"/>
                  <a:gd name="connsiteX337" fmla="*/ 70009 w 542925"/>
                  <a:gd name="connsiteY337" fmla="*/ 123158 h 390525"/>
                  <a:gd name="connsiteX338" fmla="*/ 70009 w 542925"/>
                  <a:gd name="connsiteY338" fmla="*/ 122301 h 390525"/>
                  <a:gd name="connsiteX339" fmla="*/ 69247 w 542925"/>
                  <a:gd name="connsiteY339" fmla="*/ 121444 h 390525"/>
                  <a:gd name="connsiteX340" fmla="*/ 69247 w 542925"/>
                  <a:gd name="connsiteY340" fmla="*/ 120587 h 390525"/>
                  <a:gd name="connsiteX341" fmla="*/ 69247 w 542925"/>
                  <a:gd name="connsiteY341" fmla="*/ 119825 h 390525"/>
                  <a:gd name="connsiteX342" fmla="*/ 69247 w 542925"/>
                  <a:gd name="connsiteY342" fmla="*/ 119825 h 390525"/>
                  <a:gd name="connsiteX343" fmla="*/ 68390 w 542925"/>
                  <a:gd name="connsiteY343" fmla="*/ 118967 h 390525"/>
                  <a:gd name="connsiteX344" fmla="*/ 68390 w 542925"/>
                  <a:gd name="connsiteY344" fmla="*/ 118967 h 390525"/>
                  <a:gd name="connsiteX345" fmla="*/ 67532 w 542925"/>
                  <a:gd name="connsiteY345" fmla="*/ 118967 h 390525"/>
                  <a:gd name="connsiteX346" fmla="*/ 66675 w 542925"/>
                  <a:gd name="connsiteY346" fmla="*/ 119825 h 390525"/>
                  <a:gd name="connsiteX347" fmla="*/ 65818 w 542925"/>
                  <a:gd name="connsiteY347" fmla="*/ 119825 h 390525"/>
                  <a:gd name="connsiteX348" fmla="*/ 65818 w 542925"/>
                  <a:gd name="connsiteY348" fmla="*/ 120587 h 390525"/>
                  <a:gd name="connsiteX349" fmla="*/ 65818 w 542925"/>
                  <a:gd name="connsiteY349" fmla="*/ 124873 h 390525"/>
                  <a:gd name="connsiteX350" fmla="*/ 65818 w 542925"/>
                  <a:gd name="connsiteY350" fmla="*/ 124873 h 390525"/>
                  <a:gd name="connsiteX351" fmla="*/ 65818 w 542925"/>
                  <a:gd name="connsiteY351" fmla="*/ 127349 h 390525"/>
                  <a:gd name="connsiteX352" fmla="*/ 65818 w 542925"/>
                  <a:gd name="connsiteY352" fmla="*/ 128206 h 390525"/>
                  <a:gd name="connsiteX353" fmla="*/ 66675 w 542925"/>
                  <a:gd name="connsiteY353" fmla="*/ 129064 h 390525"/>
                  <a:gd name="connsiteX354" fmla="*/ 68390 w 542925"/>
                  <a:gd name="connsiteY354" fmla="*/ 130778 h 390525"/>
                  <a:gd name="connsiteX355" fmla="*/ 70009 w 542925"/>
                  <a:gd name="connsiteY355" fmla="*/ 130778 h 390525"/>
                  <a:gd name="connsiteX356" fmla="*/ 71723 w 542925"/>
                  <a:gd name="connsiteY356" fmla="*/ 130778 h 390525"/>
                  <a:gd name="connsiteX357" fmla="*/ 72581 w 542925"/>
                  <a:gd name="connsiteY357" fmla="*/ 130778 h 390525"/>
                  <a:gd name="connsiteX358" fmla="*/ 73438 w 542925"/>
                  <a:gd name="connsiteY358" fmla="*/ 129921 h 390525"/>
                  <a:gd name="connsiteX359" fmla="*/ 74295 w 542925"/>
                  <a:gd name="connsiteY359" fmla="*/ 129921 h 390525"/>
                  <a:gd name="connsiteX360" fmla="*/ 75152 w 542925"/>
                  <a:gd name="connsiteY360" fmla="*/ 129921 h 390525"/>
                  <a:gd name="connsiteX361" fmla="*/ 75152 w 542925"/>
                  <a:gd name="connsiteY361" fmla="*/ 129064 h 390525"/>
                  <a:gd name="connsiteX362" fmla="*/ 75914 w 542925"/>
                  <a:gd name="connsiteY362" fmla="*/ 128206 h 390525"/>
                  <a:gd name="connsiteX363" fmla="*/ 76771 w 542925"/>
                  <a:gd name="connsiteY363" fmla="*/ 128206 h 390525"/>
                  <a:gd name="connsiteX364" fmla="*/ 77629 w 542925"/>
                  <a:gd name="connsiteY364" fmla="*/ 129064 h 390525"/>
                  <a:gd name="connsiteX365" fmla="*/ 79343 w 542925"/>
                  <a:gd name="connsiteY365" fmla="*/ 129921 h 390525"/>
                  <a:gd name="connsiteX366" fmla="*/ 81820 w 542925"/>
                  <a:gd name="connsiteY366" fmla="*/ 132397 h 390525"/>
                  <a:gd name="connsiteX367" fmla="*/ 84392 w 542925"/>
                  <a:gd name="connsiteY367" fmla="*/ 134112 h 390525"/>
                  <a:gd name="connsiteX368" fmla="*/ 86106 w 542925"/>
                  <a:gd name="connsiteY368" fmla="*/ 134969 h 390525"/>
                  <a:gd name="connsiteX369" fmla="*/ 94488 w 542925"/>
                  <a:gd name="connsiteY369" fmla="*/ 136684 h 390525"/>
                  <a:gd name="connsiteX370" fmla="*/ 95345 w 542925"/>
                  <a:gd name="connsiteY370" fmla="*/ 137541 h 390525"/>
                  <a:gd name="connsiteX371" fmla="*/ 95345 w 542925"/>
                  <a:gd name="connsiteY371" fmla="*/ 137541 h 390525"/>
                  <a:gd name="connsiteX372" fmla="*/ 95345 w 542925"/>
                  <a:gd name="connsiteY372" fmla="*/ 139160 h 390525"/>
                  <a:gd name="connsiteX373" fmla="*/ 94488 w 542925"/>
                  <a:gd name="connsiteY373" fmla="*/ 140875 h 390525"/>
                  <a:gd name="connsiteX374" fmla="*/ 92869 w 542925"/>
                  <a:gd name="connsiteY374" fmla="*/ 144304 h 390525"/>
                  <a:gd name="connsiteX375" fmla="*/ 92869 w 542925"/>
                  <a:gd name="connsiteY375" fmla="*/ 145066 h 390525"/>
                  <a:gd name="connsiteX376" fmla="*/ 92869 w 542925"/>
                  <a:gd name="connsiteY376" fmla="*/ 145923 h 390525"/>
                  <a:gd name="connsiteX377" fmla="*/ 93631 w 542925"/>
                  <a:gd name="connsiteY377" fmla="*/ 147638 h 390525"/>
                  <a:gd name="connsiteX378" fmla="*/ 95345 w 542925"/>
                  <a:gd name="connsiteY378" fmla="*/ 150209 h 390525"/>
                  <a:gd name="connsiteX379" fmla="*/ 95345 w 542925"/>
                  <a:gd name="connsiteY379" fmla="*/ 150971 h 390525"/>
                  <a:gd name="connsiteX380" fmla="*/ 95345 w 542925"/>
                  <a:gd name="connsiteY380" fmla="*/ 151829 h 390525"/>
                  <a:gd name="connsiteX381" fmla="*/ 92869 w 542925"/>
                  <a:gd name="connsiteY381" fmla="*/ 152686 h 390525"/>
                  <a:gd name="connsiteX382" fmla="*/ 90297 w 542925"/>
                  <a:gd name="connsiteY382" fmla="*/ 152686 h 390525"/>
                  <a:gd name="connsiteX383" fmla="*/ 89440 w 542925"/>
                  <a:gd name="connsiteY383" fmla="*/ 151829 h 390525"/>
                  <a:gd name="connsiteX384" fmla="*/ 88583 w 542925"/>
                  <a:gd name="connsiteY384" fmla="*/ 151829 h 390525"/>
                  <a:gd name="connsiteX385" fmla="*/ 87725 w 542925"/>
                  <a:gd name="connsiteY385" fmla="*/ 151829 h 390525"/>
                  <a:gd name="connsiteX386" fmla="*/ 86963 w 542925"/>
                  <a:gd name="connsiteY386" fmla="*/ 152686 h 390525"/>
                  <a:gd name="connsiteX387" fmla="*/ 86963 w 542925"/>
                  <a:gd name="connsiteY387" fmla="*/ 152686 h 390525"/>
                  <a:gd name="connsiteX388" fmla="*/ 85249 w 542925"/>
                  <a:gd name="connsiteY388" fmla="*/ 153543 h 390525"/>
                  <a:gd name="connsiteX389" fmla="*/ 84392 w 542925"/>
                  <a:gd name="connsiteY389" fmla="*/ 154400 h 390525"/>
                  <a:gd name="connsiteX390" fmla="*/ 83534 w 542925"/>
                  <a:gd name="connsiteY390" fmla="*/ 154400 h 390525"/>
                  <a:gd name="connsiteX391" fmla="*/ 77629 w 542925"/>
                  <a:gd name="connsiteY391" fmla="*/ 155258 h 390525"/>
                  <a:gd name="connsiteX392" fmla="*/ 75914 w 542925"/>
                  <a:gd name="connsiteY392" fmla="*/ 155258 h 390525"/>
                  <a:gd name="connsiteX393" fmla="*/ 75152 w 542925"/>
                  <a:gd name="connsiteY393" fmla="*/ 156115 h 390525"/>
                  <a:gd name="connsiteX394" fmla="*/ 74295 w 542925"/>
                  <a:gd name="connsiteY394" fmla="*/ 156115 h 390525"/>
                  <a:gd name="connsiteX395" fmla="*/ 74295 w 542925"/>
                  <a:gd name="connsiteY395" fmla="*/ 156877 h 390525"/>
                  <a:gd name="connsiteX396" fmla="*/ 73438 w 542925"/>
                  <a:gd name="connsiteY396" fmla="*/ 157734 h 390525"/>
                  <a:gd name="connsiteX397" fmla="*/ 73438 w 542925"/>
                  <a:gd name="connsiteY397" fmla="*/ 158591 h 390525"/>
                  <a:gd name="connsiteX398" fmla="*/ 73438 w 542925"/>
                  <a:gd name="connsiteY398" fmla="*/ 159448 h 390525"/>
                  <a:gd name="connsiteX399" fmla="*/ 73438 w 542925"/>
                  <a:gd name="connsiteY399" fmla="*/ 160306 h 390525"/>
                  <a:gd name="connsiteX400" fmla="*/ 74295 w 542925"/>
                  <a:gd name="connsiteY400" fmla="*/ 162020 h 390525"/>
                  <a:gd name="connsiteX401" fmla="*/ 76771 w 542925"/>
                  <a:gd name="connsiteY401" fmla="*/ 163639 h 390525"/>
                  <a:gd name="connsiteX402" fmla="*/ 78486 w 542925"/>
                  <a:gd name="connsiteY402" fmla="*/ 166211 h 390525"/>
                  <a:gd name="connsiteX403" fmla="*/ 81820 w 542925"/>
                  <a:gd name="connsiteY403" fmla="*/ 173831 h 390525"/>
                  <a:gd name="connsiteX404" fmla="*/ 82677 w 542925"/>
                  <a:gd name="connsiteY404" fmla="*/ 173831 h 390525"/>
                  <a:gd name="connsiteX405" fmla="*/ 84392 w 542925"/>
                  <a:gd name="connsiteY405" fmla="*/ 174593 h 390525"/>
                  <a:gd name="connsiteX406" fmla="*/ 85249 w 542925"/>
                  <a:gd name="connsiteY406" fmla="*/ 174593 h 390525"/>
                  <a:gd name="connsiteX407" fmla="*/ 86963 w 542925"/>
                  <a:gd name="connsiteY407" fmla="*/ 175450 h 390525"/>
                  <a:gd name="connsiteX408" fmla="*/ 88583 w 542925"/>
                  <a:gd name="connsiteY408" fmla="*/ 177165 h 390525"/>
                  <a:gd name="connsiteX409" fmla="*/ 90297 w 542925"/>
                  <a:gd name="connsiteY409" fmla="*/ 177165 h 390525"/>
                  <a:gd name="connsiteX410" fmla="*/ 91154 w 542925"/>
                  <a:gd name="connsiteY410" fmla="*/ 178022 h 390525"/>
                  <a:gd name="connsiteX411" fmla="*/ 92869 w 542925"/>
                  <a:gd name="connsiteY411" fmla="*/ 179737 h 390525"/>
                  <a:gd name="connsiteX412" fmla="*/ 93631 w 542925"/>
                  <a:gd name="connsiteY412" fmla="*/ 181356 h 390525"/>
                  <a:gd name="connsiteX413" fmla="*/ 94488 w 542925"/>
                  <a:gd name="connsiteY413" fmla="*/ 183071 h 390525"/>
                  <a:gd name="connsiteX414" fmla="*/ 95345 w 542925"/>
                  <a:gd name="connsiteY414" fmla="*/ 183928 h 390525"/>
                  <a:gd name="connsiteX415" fmla="*/ 96203 w 542925"/>
                  <a:gd name="connsiteY415" fmla="*/ 183928 h 390525"/>
                  <a:gd name="connsiteX416" fmla="*/ 97060 w 542925"/>
                  <a:gd name="connsiteY416" fmla="*/ 183928 h 390525"/>
                  <a:gd name="connsiteX417" fmla="*/ 97917 w 542925"/>
                  <a:gd name="connsiteY417" fmla="*/ 185642 h 390525"/>
                  <a:gd name="connsiteX418" fmla="*/ 98774 w 542925"/>
                  <a:gd name="connsiteY418" fmla="*/ 188976 h 390525"/>
                  <a:gd name="connsiteX419" fmla="*/ 99536 w 542925"/>
                  <a:gd name="connsiteY419" fmla="*/ 190690 h 390525"/>
                  <a:gd name="connsiteX420" fmla="*/ 100394 w 542925"/>
                  <a:gd name="connsiteY420" fmla="*/ 191548 h 390525"/>
                  <a:gd name="connsiteX421" fmla="*/ 101251 w 542925"/>
                  <a:gd name="connsiteY421" fmla="*/ 193167 h 390525"/>
                  <a:gd name="connsiteX422" fmla="*/ 103823 w 542925"/>
                  <a:gd name="connsiteY422" fmla="*/ 194881 h 390525"/>
                  <a:gd name="connsiteX423" fmla="*/ 105442 w 542925"/>
                  <a:gd name="connsiteY423" fmla="*/ 194881 h 390525"/>
                  <a:gd name="connsiteX424" fmla="*/ 107156 w 542925"/>
                  <a:gd name="connsiteY424" fmla="*/ 194881 h 390525"/>
                  <a:gd name="connsiteX425" fmla="*/ 111347 w 542925"/>
                  <a:gd name="connsiteY425" fmla="*/ 194024 h 390525"/>
                  <a:gd name="connsiteX426" fmla="*/ 113062 w 542925"/>
                  <a:gd name="connsiteY426" fmla="*/ 193167 h 390525"/>
                  <a:gd name="connsiteX427" fmla="*/ 115633 w 542925"/>
                  <a:gd name="connsiteY427" fmla="*/ 193167 h 390525"/>
                  <a:gd name="connsiteX428" fmla="*/ 117253 w 542925"/>
                  <a:gd name="connsiteY428" fmla="*/ 194024 h 390525"/>
                  <a:gd name="connsiteX429" fmla="*/ 118110 w 542925"/>
                  <a:gd name="connsiteY429" fmla="*/ 195739 h 390525"/>
                  <a:gd name="connsiteX430" fmla="*/ 119825 w 542925"/>
                  <a:gd name="connsiteY430" fmla="*/ 197453 h 390525"/>
                  <a:gd name="connsiteX431" fmla="*/ 119825 w 542925"/>
                  <a:gd name="connsiteY431" fmla="*/ 199072 h 390525"/>
                  <a:gd name="connsiteX432" fmla="*/ 120682 w 542925"/>
                  <a:gd name="connsiteY432" fmla="*/ 199072 h 390525"/>
                  <a:gd name="connsiteX433" fmla="*/ 124873 w 542925"/>
                  <a:gd name="connsiteY433" fmla="*/ 201644 h 390525"/>
                  <a:gd name="connsiteX434" fmla="*/ 126587 w 542925"/>
                  <a:gd name="connsiteY434" fmla="*/ 202501 h 390525"/>
                  <a:gd name="connsiteX435" fmla="*/ 129921 w 542925"/>
                  <a:gd name="connsiteY435" fmla="*/ 202501 h 390525"/>
                  <a:gd name="connsiteX436" fmla="*/ 131636 w 542925"/>
                  <a:gd name="connsiteY436" fmla="*/ 202501 h 390525"/>
                  <a:gd name="connsiteX437" fmla="*/ 133350 w 542925"/>
                  <a:gd name="connsiteY437" fmla="*/ 202501 h 390525"/>
                  <a:gd name="connsiteX438" fmla="*/ 140875 w 542925"/>
                  <a:gd name="connsiteY438" fmla="*/ 210026 h 390525"/>
                  <a:gd name="connsiteX439" fmla="*/ 141732 w 542925"/>
                  <a:gd name="connsiteY439" fmla="*/ 211741 h 390525"/>
                  <a:gd name="connsiteX440" fmla="*/ 141732 w 542925"/>
                  <a:gd name="connsiteY440" fmla="*/ 211741 h 390525"/>
                  <a:gd name="connsiteX441" fmla="*/ 141732 w 542925"/>
                  <a:gd name="connsiteY441" fmla="*/ 213455 h 390525"/>
                  <a:gd name="connsiteX442" fmla="*/ 140875 w 542925"/>
                  <a:gd name="connsiteY442" fmla="*/ 215170 h 390525"/>
                  <a:gd name="connsiteX443" fmla="*/ 140875 w 542925"/>
                  <a:gd name="connsiteY443" fmla="*/ 216789 h 390525"/>
                  <a:gd name="connsiteX444" fmla="*/ 140113 w 542925"/>
                  <a:gd name="connsiteY444" fmla="*/ 217646 h 390525"/>
                  <a:gd name="connsiteX445" fmla="*/ 139256 w 542925"/>
                  <a:gd name="connsiteY445" fmla="*/ 218504 h 390525"/>
                  <a:gd name="connsiteX446" fmla="*/ 134207 w 542925"/>
                  <a:gd name="connsiteY446" fmla="*/ 221837 h 390525"/>
                  <a:gd name="connsiteX447" fmla="*/ 133350 w 542925"/>
                  <a:gd name="connsiteY447" fmla="*/ 221837 h 390525"/>
                  <a:gd name="connsiteX448" fmla="*/ 132493 w 542925"/>
                  <a:gd name="connsiteY448" fmla="*/ 222694 h 390525"/>
                  <a:gd name="connsiteX449" fmla="*/ 129064 w 542925"/>
                  <a:gd name="connsiteY449" fmla="*/ 222694 h 390525"/>
                  <a:gd name="connsiteX450" fmla="*/ 128302 w 542925"/>
                  <a:gd name="connsiteY450" fmla="*/ 222694 h 390525"/>
                  <a:gd name="connsiteX451" fmla="*/ 127445 w 542925"/>
                  <a:gd name="connsiteY451" fmla="*/ 221837 h 390525"/>
                  <a:gd name="connsiteX452" fmla="*/ 125730 w 542925"/>
                  <a:gd name="connsiteY452" fmla="*/ 221075 h 390525"/>
                  <a:gd name="connsiteX453" fmla="*/ 123158 w 542925"/>
                  <a:gd name="connsiteY453" fmla="*/ 220218 h 390525"/>
                  <a:gd name="connsiteX454" fmla="*/ 120682 w 542925"/>
                  <a:gd name="connsiteY454" fmla="*/ 218504 h 390525"/>
                  <a:gd name="connsiteX455" fmla="*/ 117253 w 542925"/>
                  <a:gd name="connsiteY455" fmla="*/ 215170 h 390525"/>
                  <a:gd name="connsiteX456" fmla="*/ 115633 w 542925"/>
                  <a:gd name="connsiteY456" fmla="*/ 214313 h 390525"/>
                  <a:gd name="connsiteX457" fmla="*/ 113919 w 542925"/>
                  <a:gd name="connsiteY457" fmla="*/ 215170 h 390525"/>
                  <a:gd name="connsiteX458" fmla="*/ 112204 w 542925"/>
                  <a:gd name="connsiteY458" fmla="*/ 215932 h 390525"/>
                  <a:gd name="connsiteX459" fmla="*/ 110585 w 542925"/>
                  <a:gd name="connsiteY459" fmla="*/ 216789 h 390525"/>
                  <a:gd name="connsiteX460" fmla="*/ 109728 w 542925"/>
                  <a:gd name="connsiteY460" fmla="*/ 217646 h 390525"/>
                  <a:gd name="connsiteX461" fmla="*/ 108871 w 542925"/>
                  <a:gd name="connsiteY461" fmla="*/ 220218 h 390525"/>
                  <a:gd name="connsiteX462" fmla="*/ 110585 w 542925"/>
                  <a:gd name="connsiteY462" fmla="*/ 223552 h 390525"/>
                  <a:gd name="connsiteX463" fmla="*/ 110585 w 542925"/>
                  <a:gd name="connsiteY463" fmla="*/ 224409 h 390525"/>
                  <a:gd name="connsiteX464" fmla="*/ 110585 w 542925"/>
                  <a:gd name="connsiteY464" fmla="*/ 225266 h 390525"/>
                  <a:gd name="connsiteX465" fmla="*/ 110585 w 542925"/>
                  <a:gd name="connsiteY465" fmla="*/ 225266 h 390525"/>
                  <a:gd name="connsiteX466" fmla="*/ 110585 w 542925"/>
                  <a:gd name="connsiteY466" fmla="*/ 226123 h 390525"/>
                  <a:gd name="connsiteX467" fmla="*/ 110585 w 542925"/>
                  <a:gd name="connsiteY467" fmla="*/ 226981 h 390525"/>
                  <a:gd name="connsiteX468" fmla="*/ 110585 w 542925"/>
                  <a:gd name="connsiteY468" fmla="*/ 227743 h 390525"/>
                  <a:gd name="connsiteX469" fmla="*/ 109728 w 542925"/>
                  <a:gd name="connsiteY469" fmla="*/ 227743 h 390525"/>
                  <a:gd name="connsiteX470" fmla="*/ 108871 w 542925"/>
                  <a:gd name="connsiteY470" fmla="*/ 228600 h 390525"/>
                  <a:gd name="connsiteX471" fmla="*/ 106299 w 542925"/>
                  <a:gd name="connsiteY471" fmla="*/ 229457 h 390525"/>
                  <a:gd name="connsiteX472" fmla="*/ 105442 w 542925"/>
                  <a:gd name="connsiteY472" fmla="*/ 229457 h 390525"/>
                  <a:gd name="connsiteX473" fmla="*/ 102965 w 542925"/>
                  <a:gd name="connsiteY473" fmla="*/ 229457 h 390525"/>
                  <a:gd name="connsiteX474" fmla="*/ 102108 w 542925"/>
                  <a:gd name="connsiteY474" fmla="*/ 229457 h 390525"/>
                  <a:gd name="connsiteX475" fmla="*/ 101251 w 542925"/>
                  <a:gd name="connsiteY475" fmla="*/ 229457 h 390525"/>
                  <a:gd name="connsiteX476" fmla="*/ 101251 w 542925"/>
                  <a:gd name="connsiteY476" fmla="*/ 228600 h 390525"/>
                  <a:gd name="connsiteX477" fmla="*/ 99536 w 542925"/>
                  <a:gd name="connsiteY477" fmla="*/ 227743 h 390525"/>
                  <a:gd name="connsiteX478" fmla="*/ 99536 w 542925"/>
                  <a:gd name="connsiteY478" fmla="*/ 227743 h 390525"/>
                  <a:gd name="connsiteX479" fmla="*/ 98774 w 542925"/>
                  <a:gd name="connsiteY479" fmla="*/ 226981 h 390525"/>
                  <a:gd name="connsiteX480" fmla="*/ 98774 w 542925"/>
                  <a:gd name="connsiteY480" fmla="*/ 226981 h 390525"/>
                  <a:gd name="connsiteX481" fmla="*/ 98774 w 542925"/>
                  <a:gd name="connsiteY481" fmla="*/ 226123 h 390525"/>
                  <a:gd name="connsiteX482" fmla="*/ 98774 w 542925"/>
                  <a:gd name="connsiteY482" fmla="*/ 225266 h 390525"/>
                  <a:gd name="connsiteX483" fmla="*/ 97917 w 542925"/>
                  <a:gd name="connsiteY483" fmla="*/ 224409 h 390525"/>
                  <a:gd name="connsiteX484" fmla="*/ 97917 w 542925"/>
                  <a:gd name="connsiteY484" fmla="*/ 223552 h 390525"/>
                  <a:gd name="connsiteX485" fmla="*/ 97917 w 542925"/>
                  <a:gd name="connsiteY485" fmla="*/ 223552 h 390525"/>
                  <a:gd name="connsiteX486" fmla="*/ 97917 w 542925"/>
                  <a:gd name="connsiteY486" fmla="*/ 222694 h 390525"/>
                  <a:gd name="connsiteX487" fmla="*/ 98774 w 542925"/>
                  <a:gd name="connsiteY487" fmla="*/ 221837 h 390525"/>
                  <a:gd name="connsiteX488" fmla="*/ 98774 w 542925"/>
                  <a:gd name="connsiteY488" fmla="*/ 220218 h 390525"/>
                  <a:gd name="connsiteX489" fmla="*/ 97917 w 542925"/>
                  <a:gd name="connsiteY489" fmla="*/ 219361 h 390525"/>
                  <a:gd name="connsiteX490" fmla="*/ 94488 w 542925"/>
                  <a:gd name="connsiteY490" fmla="*/ 216789 h 390525"/>
                  <a:gd name="connsiteX491" fmla="*/ 90297 w 542925"/>
                  <a:gd name="connsiteY491" fmla="*/ 218504 h 390525"/>
                  <a:gd name="connsiteX492" fmla="*/ 81058 w 542925"/>
                  <a:gd name="connsiteY492" fmla="*/ 226123 h 390525"/>
                  <a:gd name="connsiteX493" fmla="*/ 75152 w 542925"/>
                  <a:gd name="connsiteY493" fmla="*/ 233648 h 390525"/>
                  <a:gd name="connsiteX494" fmla="*/ 72581 w 542925"/>
                  <a:gd name="connsiteY494" fmla="*/ 236220 h 390525"/>
                  <a:gd name="connsiteX495" fmla="*/ 65818 w 542925"/>
                  <a:gd name="connsiteY495" fmla="*/ 240411 h 390525"/>
                  <a:gd name="connsiteX496" fmla="*/ 64961 w 542925"/>
                  <a:gd name="connsiteY496" fmla="*/ 242125 h 390525"/>
                  <a:gd name="connsiteX497" fmla="*/ 64103 w 542925"/>
                  <a:gd name="connsiteY497" fmla="*/ 242983 h 390525"/>
                  <a:gd name="connsiteX498" fmla="*/ 62484 w 542925"/>
                  <a:gd name="connsiteY498" fmla="*/ 244697 h 390525"/>
                  <a:gd name="connsiteX499" fmla="*/ 59055 w 542925"/>
                  <a:gd name="connsiteY499" fmla="*/ 246317 h 390525"/>
                  <a:gd name="connsiteX500" fmla="*/ 54864 w 542925"/>
                  <a:gd name="connsiteY500" fmla="*/ 248031 h 390525"/>
                  <a:gd name="connsiteX501" fmla="*/ 54007 w 542925"/>
                  <a:gd name="connsiteY501" fmla="*/ 248888 h 390525"/>
                  <a:gd name="connsiteX502" fmla="*/ 53150 w 542925"/>
                  <a:gd name="connsiteY502" fmla="*/ 249746 h 390525"/>
                  <a:gd name="connsiteX503" fmla="*/ 53150 w 542925"/>
                  <a:gd name="connsiteY503" fmla="*/ 251460 h 390525"/>
                  <a:gd name="connsiteX504" fmla="*/ 49816 w 542925"/>
                  <a:gd name="connsiteY504" fmla="*/ 253079 h 390525"/>
                  <a:gd name="connsiteX505" fmla="*/ 38862 w 542925"/>
                  <a:gd name="connsiteY505" fmla="*/ 260699 h 390525"/>
                  <a:gd name="connsiteX506" fmla="*/ 23622 w 542925"/>
                  <a:gd name="connsiteY506" fmla="*/ 269176 h 390525"/>
                  <a:gd name="connsiteX507" fmla="*/ 22003 w 542925"/>
                  <a:gd name="connsiteY507" fmla="*/ 269938 h 390525"/>
                  <a:gd name="connsiteX508" fmla="*/ 17717 w 542925"/>
                  <a:gd name="connsiteY508" fmla="*/ 273367 h 390525"/>
                  <a:gd name="connsiteX509" fmla="*/ 16097 w 542925"/>
                  <a:gd name="connsiteY509" fmla="*/ 274225 h 390525"/>
                  <a:gd name="connsiteX510" fmla="*/ 10954 w 542925"/>
                  <a:gd name="connsiteY510" fmla="*/ 276701 h 390525"/>
                  <a:gd name="connsiteX511" fmla="*/ 6763 w 542925"/>
                  <a:gd name="connsiteY511" fmla="*/ 278416 h 390525"/>
                  <a:gd name="connsiteX512" fmla="*/ 5906 w 542925"/>
                  <a:gd name="connsiteY512" fmla="*/ 280130 h 390525"/>
                  <a:gd name="connsiteX513" fmla="*/ 4286 w 542925"/>
                  <a:gd name="connsiteY513" fmla="*/ 281750 h 390525"/>
                  <a:gd name="connsiteX514" fmla="*/ 2572 w 542925"/>
                  <a:gd name="connsiteY514" fmla="*/ 283464 h 390525"/>
                  <a:gd name="connsiteX515" fmla="*/ 2572 w 542925"/>
                  <a:gd name="connsiteY515" fmla="*/ 284321 h 390525"/>
                  <a:gd name="connsiteX516" fmla="*/ 1715 w 542925"/>
                  <a:gd name="connsiteY516" fmla="*/ 285179 h 390525"/>
                  <a:gd name="connsiteX517" fmla="*/ 1715 w 542925"/>
                  <a:gd name="connsiteY517" fmla="*/ 286893 h 390525"/>
                  <a:gd name="connsiteX518" fmla="*/ 857 w 542925"/>
                  <a:gd name="connsiteY518" fmla="*/ 289369 h 390525"/>
                  <a:gd name="connsiteX519" fmla="*/ 857 w 542925"/>
                  <a:gd name="connsiteY519" fmla="*/ 296132 h 390525"/>
                  <a:gd name="connsiteX520" fmla="*/ 0 w 542925"/>
                  <a:gd name="connsiteY520" fmla="*/ 297847 h 390525"/>
                  <a:gd name="connsiteX521" fmla="*/ 857 w 542925"/>
                  <a:gd name="connsiteY521" fmla="*/ 299466 h 390525"/>
                  <a:gd name="connsiteX522" fmla="*/ 857 w 542925"/>
                  <a:gd name="connsiteY522" fmla="*/ 300323 h 390525"/>
                  <a:gd name="connsiteX523" fmla="*/ 1715 w 542925"/>
                  <a:gd name="connsiteY523" fmla="*/ 302895 h 390525"/>
                  <a:gd name="connsiteX524" fmla="*/ 4286 w 542925"/>
                  <a:gd name="connsiteY524" fmla="*/ 306229 h 390525"/>
                  <a:gd name="connsiteX525" fmla="*/ 5048 w 542925"/>
                  <a:gd name="connsiteY525" fmla="*/ 307086 h 390525"/>
                  <a:gd name="connsiteX526" fmla="*/ 5048 w 542925"/>
                  <a:gd name="connsiteY526" fmla="*/ 307086 h 390525"/>
                  <a:gd name="connsiteX527" fmla="*/ 5048 w 542925"/>
                  <a:gd name="connsiteY527" fmla="*/ 311277 h 390525"/>
                  <a:gd name="connsiteX528" fmla="*/ 5048 w 542925"/>
                  <a:gd name="connsiteY528" fmla="*/ 315563 h 390525"/>
                  <a:gd name="connsiteX529" fmla="*/ 5048 w 542925"/>
                  <a:gd name="connsiteY529" fmla="*/ 317183 h 390525"/>
                  <a:gd name="connsiteX530" fmla="*/ 4286 w 542925"/>
                  <a:gd name="connsiteY530" fmla="*/ 318897 h 390525"/>
                  <a:gd name="connsiteX531" fmla="*/ 4286 w 542925"/>
                  <a:gd name="connsiteY531" fmla="*/ 319754 h 390525"/>
                  <a:gd name="connsiteX532" fmla="*/ 3429 w 542925"/>
                  <a:gd name="connsiteY532" fmla="*/ 320612 h 390525"/>
                  <a:gd name="connsiteX533" fmla="*/ 4286 w 542925"/>
                  <a:gd name="connsiteY533" fmla="*/ 322326 h 390525"/>
                  <a:gd name="connsiteX534" fmla="*/ 4286 w 542925"/>
                  <a:gd name="connsiteY534" fmla="*/ 323945 h 390525"/>
                  <a:gd name="connsiteX535" fmla="*/ 6763 w 542925"/>
                  <a:gd name="connsiteY535" fmla="*/ 326517 h 390525"/>
                  <a:gd name="connsiteX536" fmla="*/ 7620 w 542925"/>
                  <a:gd name="connsiteY536" fmla="*/ 326517 h 390525"/>
                  <a:gd name="connsiteX537" fmla="*/ 8477 w 542925"/>
                  <a:gd name="connsiteY537" fmla="*/ 327374 h 390525"/>
                  <a:gd name="connsiteX538" fmla="*/ 9335 w 542925"/>
                  <a:gd name="connsiteY538" fmla="*/ 327374 h 390525"/>
                  <a:gd name="connsiteX539" fmla="*/ 11811 w 542925"/>
                  <a:gd name="connsiteY539" fmla="*/ 330708 h 390525"/>
                  <a:gd name="connsiteX540" fmla="*/ 12668 w 542925"/>
                  <a:gd name="connsiteY540" fmla="*/ 332422 h 390525"/>
                  <a:gd name="connsiteX541" fmla="*/ 13525 w 542925"/>
                  <a:gd name="connsiteY541" fmla="*/ 333280 h 390525"/>
                  <a:gd name="connsiteX542" fmla="*/ 15240 w 542925"/>
                  <a:gd name="connsiteY542" fmla="*/ 334137 h 390525"/>
                  <a:gd name="connsiteX543" fmla="*/ 16859 w 542925"/>
                  <a:gd name="connsiteY543" fmla="*/ 334899 h 390525"/>
                  <a:gd name="connsiteX544" fmla="*/ 21146 w 542925"/>
                  <a:gd name="connsiteY544" fmla="*/ 335756 h 390525"/>
                  <a:gd name="connsiteX545" fmla="*/ 22003 w 542925"/>
                  <a:gd name="connsiteY545" fmla="*/ 336613 h 390525"/>
                  <a:gd name="connsiteX546" fmla="*/ 22765 w 542925"/>
                  <a:gd name="connsiteY546" fmla="*/ 338328 h 390525"/>
                  <a:gd name="connsiteX547" fmla="*/ 22765 w 542925"/>
                  <a:gd name="connsiteY547" fmla="*/ 340042 h 390525"/>
                  <a:gd name="connsiteX548" fmla="*/ 23622 w 542925"/>
                  <a:gd name="connsiteY548" fmla="*/ 341662 h 390525"/>
                  <a:gd name="connsiteX549" fmla="*/ 23622 w 542925"/>
                  <a:gd name="connsiteY549" fmla="*/ 343376 h 390525"/>
                  <a:gd name="connsiteX550" fmla="*/ 21146 w 542925"/>
                  <a:gd name="connsiteY550" fmla="*/ 346710 h 390525"/>
                  <a:gd name="connsiteX551" fmla="*/ 21146 w 542925"/>
                  <a:gd name="connsiteY551" fmla="*/ 347567 h 390525"/>
                  <a:gd name="connsiteX552" fmla="*/ 21146 w 542925"/>
                  <a:gd name="connsiteY552" fmla="*/ 348425 h 390525"/>
                  <a:gd name="connsiteX553" fmla="*/ 22765 w 542925"/>
                  <a:gd name="connsiteY553" fmla="*/ 350996 h 390525"/>
                  <a:gd name="connsiteX554" fmla="*/ 22765 w 542925"/>
                  <a:gd name="connsiteY554" fmla="*/ 351854 h 390525"/>
                  <a:gd name="connsiteX555" fmla="*/ 22003 w 542925"/>
                  <a:gd name="connsiteY555" fmla="*/ 353473 h 390525"/>
                  <a:gd name="connsiteX556" fmla="*/ 22003 w 542925"/>
                  <a:gd name="connsiteY556" fmla="*/ 356044 h 390525"/>
                  <a:gd name="connsiteX557" fmla="*/ 22765 w 542925"/>
                  <a:gd name="connsiteY557" fmla="*/ 360235 h 390525"/>
                  <a:gd name="connsiteX558" fmla="*/ 22765 w 542925"/>
                  <a:gd name="connsiteY558" fmla="*/ 363664 h 390525"/>
                  <a:gd name="connsiteX559" fmla="*/ 23622 w 542925"/>
                  <a:gd name="connsiteY559" fmla="*/ 363664 h 390525"/>
                  <a:gd name="connsiteX560" fmla="*/ 34576 w 542925"/>
                  <a:gd name="connsiteY560" fmla="*/ 365284 h 390525"/>
                  <a:gd name="connsiteX561" fmla="*/ 41338 w 542925"/>
                  <a:gd name="connsiteY561" fmla="*/ 366998 h 390525"/>
                  <a:gd name="connsiteX562" fmla="*/ 47244 w 542925"/>
                  <a:gd name="connsiteY562" fmla="*/ 366141 h 390525"/>
                  <a:gd name="connsiteX563" fmla="*/ 48958 w 542925"/>
                  <a:gd name="connsiteY563" fmla="*/ 366141 h 390525"/>
                  <a:gd name="connsiteX564" fmla="*/ 51530 w 542925"/>
                  <a:gd name="connsiteY564" fmla="*/ 362807 h 390525"/>
                  <a:gd name="connsiteX565" fmla="*/ 54007 w 542925"/>
                  <a:gd name="connsiteY565" fmla="*/ 361950 h 390525"/>
                  <a:gd name="connsiteX566" fmla="*/ 54864 w 542925"/>
                  <a:gd name="connsiteY566" fmla="*/ 362807 h 390525"/>
                  <a:gd name="connsiteX567" fmla="*/ 57436 w 542925"/>
                  <a:gd name="connsiteY567" fmla="*/ 363664 h 390525"/>
                  <a:gd name="connsiteX568" fmla="*/ 58198 w 542925"/>
                  <a:gd name="connsiteY568" fmla="*/ 363664 h 390525"/>
                  <a:gd name="connsiteX569" fmla="*/ 59055 w 542925"/>
                  <a:gd name="connsiteY569" fmla="*/ 363664 h 390525"/>
                  <a:gd name="connsiteX570" fmla="*/ 61627 w 542925"/>
                  <a:gd name="connsiteY570" fmla="*/ 362807 h 390525"/>
                  <a:gd name="connsiteX571" fmla="*/ 65818 w 542925"/>
                  <a:gd name="connsiteY571" fmla="*/ 361950 h 390525"/>
                  <a:gd name="connsiteX572" fmla="*/ 67532 w 542925"/>
                  <a:gd name="connsiteY572" fmla="*/ 361950 h 390525"/>
                  <a:gd name="connsiteX573" fmla="*/ 69247 w 542925"/>
                  <a:gd name="connsiteY573" fmla="*/ 360235 h 390525"/>
                  <a:gd name="connsiteX574" fmla="*/ 70866 w 542925"/>
                  <a:gd name="connsiteY574" fmla="*/ 358616 h 390525"/>
                  <a:gd name="connsiteX575" fmla="*/ 72581 w 542925"/>
                  <a:gd name="connsiteY575" fmla="*/ 357759 h 390525"/>
                  <a:gd name="connsiteX576" fmla="*/ 73438 w 542925"/>
                  <a:gd name="connsiteY576" fmla="*/ 356902 h 390525"/>
                  <a:gd name="connsiteX577" fmla="*/ 74295 w 542925"/>
                  <a:gd name="connsiteY577" fmla="*/ 356902 h 390525"/>
                  <a:gd name="connsiteX578" fmla="*/ 74295 w 542925"/>
                  <a:gd name="connsiteY578" fmla="*/ 356044 h 390525"/>
                  <a:gd name="connsiteX579" fmla="*/ 74295 w 542925"/>
                  <a:gd name="connsiteY579" fmla="*/ 355187 h 390525"/>
                  <a:gd name="connsiteX580" fmla="*/ 75914 w 542925"/>
                  <a:gd name="connsiteY580" fmla="*/ 351854 h 390525"/>
                  <a:gd name="connsiteX581" fmla="*/ 76771 w 542925"/>
                  <a:gd name="connsiteY581" fmla="*/ 350996 h 390525"/>
                  <a:gd name="connsiteX582" fmla="*/ 76771 w 542925"/>
                  <a:gd name="connsiteY582" fmla="*/ 350996 h 390525"/>
                  <a:gd name="connsiteX583" fmla="*/ 77629 w 542925"/>
                  <a:gd name="connsiteY583" fmla="*/ 350996 h 390525"/>
                  <a:gd name="connsiteX584" fmla="*/ 79343 w 542925"/>
                  <a:gd name="connsiteY584" fmla="*/ 352711 h 390525"/>
                  <a:gd name="connsiteX585" fmla="*/ 83534 w 542925"/>
                  <a:gd name="connsiteY585" fmla="*/ 360235 h 390525"/>
                  <a:gd name="connsiteX586" fmla="*/ 85249 w 542925"/>
                  <a:gd name="connsiteY586" fmla="*/ 366998 h 390525"/>
                  <a:gd name="connsiteX587" fmla="*/ 86963 w 542925"/>
                  <a:gd name="connsiteY587" fmla="*/ 369570 h 390525"/>
                  <a:gd name="connsiteX588" fmla="*/ 87725 w 542925"/>
                  <a:gd name="connsiteY588" fmla="*/ 370427 h 390525"/>
                  <a:gd name="connsiteX589" fmla="*/ 89440 w 542925"/>
                  <a:gd name="connsiteY589" fmla="*/ 371189 h 390525"/>
                  <a:gd name="connsiteX590" fmla="*/ 90297 w 542925"/>
                  <a:gd name="connsiteY590" fmla="*/ 371189 h 390525"/>
                  <a:gd name="connsiteX591" fmla="*/ 90297 w 542925"/>
                  <a:gd name="connsiteY591" fmla="*/ 370427 h 390525"/>
                  <a:gd name="connsiteX592" fmla="*/ 91154 w 542925"/>
                  <a:gd name="connsiteY592" fmla="*/ 369570 h 390525"/>
                  <a:gd name="connsiteX593" fmla="*/ 91154 w 542925"/>
                  <a:gd name="connsiteY593" fmla="*/ 368713 h 390525"/>
                  <a:gd name="connsiteX594" fmla="*/ 91154 w 542925"/>
                  <a:gd name="connsiteY594" fmla="*/ 366998 h 390525"/>
                  <a:gd name="connsiteX595" fmla="*/ 92012 w 542925"/>
                  <a:gd name="connsiteY595" fmla="*/ 366998 h 390525"/>
                  <a:gd name="connsiteX596" fmla="*/ 92012 w 542925"/>
                  <a:gd name="connsiteY596" fmla="*/ 366141 h 390525"/>
                  <a:gd name="connsiteX597" fmla="*/ 92869 w 542925"/>
                  <a:gd name="connsiteY597" fmla="*/ 366141 h 390525"/>
                  <a:gd name="connsiteX598" fmla="*/ 93631 w 542925"/>
                  <a:gd name="connsiteY598" fmla="*/ 366998 h 390525"/>
                  <a:gd name="connsiteX599" fmla="*/ 93631 w 542925"/>
                  <a:gd name="connsiteY599" fmla="*/ 367855 h 390525"/>
                  <a:gd name="connsiteX600" fmla="*/ 93631 w 542925"/>
                  <a:gd name="connsiteY600" fmla="*/ 368713 h 390525"/>
                  <a:gd name="connsiteX601" fmla="*/ 93631 w 542925"/>
                  <a:gd name="connsiteY601" fmla="*/ 370427 h 390525"/>
                  <a:gd name="connsiteX602" fmla="*/ 94488 w 542925"/>
                  <a:gd name="connsiteY602" fmla="*/ 370427 h 390525"/>
                  <a:gd name="connsiteX603" fmla="*/ 95345 w 542925"/>
                  <a:gd name="connsiteY603" fmla="*/ 370427 h 390525"/>
                  <a:gd name="connsiteX604" fmla="*/ 96203 w 542925"/>
                  <a:gd name="connsiteY604" fmla="*/ 369570 h 390525"/>
                  <a:gd name="connsiteX605" fmla="*/ 96203 w 542925"/>
                  <a:gd name="connsiteY605" fmla="*/ 368713 h 390525"/>
                  <a:gd name="connsiteX606" fmla="*/ 96203 w 542925"/>
                  <a:gd name="connsiteY606" fmla="*/ 366141 h 390525"/>
                  <a:gd name="connsiteX607" fmla="*/ 96203 w 542925"/>
                  <a:gd name="connsiteY607" fmla="*/ 365284 h 390525"/>
                  <a:gd name="connsiteX608" fmla="*/ 97060 w 542925"/>
                  <a:gd name="connsiteY608" fmla="*/ 365284 h 390525"/>
                  <a:gd name="connsiteX609" fmla="*/ 97917 w 542925"/>
                  <a:gd name="connsiteY609" fmla="*/ 364522 h 390525"/>
                  <a:gd name="connsiteX610" fmla="*/ 99536 w 542925"/>
                  <a:gd name="connsiteY610" fmla="*/ 365284 h 390525"/>
                  <a:gd name="connsiteX611" fmla="*/ 100394 w 542925"/>
                  <a:gd name="connsiteY611" fmla="*/ 365284 h 390525"/>
                  <a:gd name="connsiteX612" fmla="*/ 101251 w 542925"/>
                  <a:gd name="connsiteY612" fmla="*/ 364522 h 390525"/>
                  <a:gd name="connsiteX613" fmla="*/ 102108 w 542925"/>
                  <a:gd name="connsiteY613" fmla="*/ 364522 h 390525"/>
                  <a:gd name="connsiteX614" fmla="*/ 102965 w 542925"/>
                  <a:gd name="connsiteY614" fmla="*/ 364522 h 390525"/>
                  <a:gd name="connsiteX615" fmla="*/ 103823 w 542925"/>
                  <a:gd name="connsiteY615" fmla="*/ 365284 h 390525"/>
                  <a:gd name="connsiteX616" fmla="*/ 104680 w 542925"/>
                  <a:gd name="connsiteY616" fmla="*/ 365284 h 390525"/>
                  <a:gd name="connsiteX617" fmla="*/ 105442 w 542925"/>
                  <a:gd name="connsiteY617" fmla="*/ 365284 h 390525"/>
                  <a:gd name="connsiteX618" fmla="*/ 106299 w 542925"/>
                  <a:gd name="connsiteY618" fmla="*/ 363664 h 390525"/>
                  <a:gd name="connsiteX619" fmla="*/ 107156 w 542925"/>
                  <a:gd name="connsiteY619" fmla="*/ 363664 h 390525"/>
                  <a:gd name="connsiteX620" fmla="*/ 108013 w 542925"/>
                  <a:gd name="connsiteY620" fmla="*/ 363664 h 390525"/>
                  <a:gd name="connsiteX621" fmla="*/ 108871 w 542925"/>
                  <a:gd name="connsiteY621" fmla="*/ 364522 h 390525"/>
                  <a:gd name="connsiteX622" fmla="*/ 110585 w 542925"/>
                  <a:gd name="connsiteY622" fmla="*/ 366998 h 390525"/>
                  <a:gd name="connsiteX623" fmla="*/ 110585 w 542925"/>
                  <a:gd name="connsiteY623" fmla="*/ 371189 h 390525"/>
                  <a:gd name="connsiteX624" fmla="*/ 109728 w 542925"/>
                  <a:gd name="connsiteY624" fmla="*/ 372046 h 390525"/>
                  <a:gd name="connsiteX625" fmla="*/ 108871 w 542925"/>
                  <a:gd name="connsiteY625" fmla="*/ 373761 h 390525"/>
                  <a:gd name="connsiteX626" fmla="*/ 108871 w 542925"/>
                  <a:gd name="connsiteY626" fmla="*/ 374618 h 390525"/>
                  <a:gd name="connsiteX627" fmla="*/ 112204 w 542925"/>
                  <a:gd name="connsiteY627" fmla="*/ 377095 h 390525"/>
                  <a:gd name="connsiteX628" fmla="*/ 113919 w 542925"/>
                  <a:gd name="connsiteY628" fmla="*/ 379667 h 390525"/>
                  <a:gd name="connsiteX629" fmla="*/ 114776 w 542925"/>
                  <a:gd name="connsiteY629" fmla="*/ 381381 h 390525"/>
                  <a:gd name="connsiteX630" fmla="*/ 116491 w 542925"/>
                  <a:gd name="connsiteY630" fmla="*/ 382238 h 390525"/>
                  <a:gd name="connsiteX631" fmla="*/ 119825 w 542925"/>
                  <a:gd name="connsiteY631" fmla="*/ 383858 h 390525"/>
                  <a:gd name="connsiteX632" fmla="*/ 122396 w 542925"/>
                  <a:gd name="connsiteY632" fmla="*/ 385572 h 390525"/>
                  <a:gd name="connsiteX633" fmla="*/ 123158 w 542925"/>
                  <a:gd name="connsiteY633" fmla="*/ 387287 h 390525"/>
                  <a:gd name="connsiteX634" fmla="*/ 124016 w 542925"/>
                  <a:gd name="connsiteY634" fmla="*/ 388144 h 390525"/>
                  <a:gd name="connsiteX635" fmla="*/ 124873 w 542925"/>
                  <a:gd name="connsiteY635" fmla="*/ 388906 h 390525"/>
                  <a:gd name="connsiteX636" fmla="*/ 126587 w 542925"/>
                  <a:gd name="connsiteY636" fmla="*/ 390620 h 390525"/>
                  <a:gd name="connsiteX637" fmla="*/ 128302 w 542925"/>
                  <a:gd name="connsiteY637" fmla="*/ 391477 h 390525"/>
                  <a:gd name="connsiteX638" fmla="*/ 129064 w 542925"/>
                  <a:gd name="connsiteY638" fmla="*/ 391477 h 390525"/>
                  <a:gd name="connsiteX639" fmla="*/ 130778 w 542925"/>
                  <a:gd name="connsiteY639" fmla="*/ 391477 h 390525"/>
                  <a:gd name="connsiteX640" fmla="*/ 131636 w 542925"/>
                  <a:gd name="connsiteY640" fmla="*/ 390620 h 390525"/>
                  <a:gd name="connsiteX641" fmla="*/ 134207 w 542925"/>
                  <a:gd name="connsiteY641" fmla="*/ 388144 h 390525"/>
                  <a:gd name="connsiteX642" fmla="*/ 134207 w 542925"/>
                  <a:gd name="connsiteY642" fmla="*/ 387287 h 390525"/>
                  <a:gd name="connsiteX643" fmla="*/ 134969 w 542925"/>
                  <a:gd name="connsiteY643" fmla="*/ 386429 h 390525"/>
                  <a:gd name="connsiteX644" fmla="*/ 134969 w 542925"/>
                  <a:gd name="connsiteY644" fmla="*/ 385572 h 390525"/>
                  <a:gd name="connsiteX645" fmla="*/ 137541 w 542925"/>
                  <a:gd name="connsiteY645" fmla="*/ 383000 h 390525"/>
                  <a:gd name="connsiteX646" fmla="*/ 138398 w 542925"/>
                  <a:gd name="connsiteY646" fmla="*/ 381381 h 390525"/>
                  <a:gd name="connsiteX647" fmla="*/ 139256 w 542925"/>
                  <a:gd name="connsiteY647" fmla="*/ 380524 h 390525"/>
                  <a:gd name="connsiteX648" fmla="*/ 139256 w 542925"/>
                  <a:gd name="connsiteY648" fmla="*/ 380524 h 390525"/>
                  <a:gd name="connsiteX649" fmla="*/ 140113 w 542925"/>
                  <a:gd name="connsiteY649" fmla="*/ 380524 h 390525"/>
                  <a:gd name="connsiteX650" fmla="*/ 140875 w 542925"/>
                  <a:gd name="connsiteY650" fmla="*/ 381381 h 390525"/>
                  <a:gd name="connsiteX651" fmla="*/ 141732 w 542925"/>
                  <a:gd name="connsiteY651" fmla="*/ 382238 h 390525"/>
                  <a:gd name="connsiteX652" fmla="*/ 143446 w 542925"/>
                  <a:gd name="connsiteY652" fmla="*/ 382238 h 390525"/>
                  <a:gd name="connsiteX653" fmla="*/ 146018 w 542925"/>
                  <a:gd name="connsiteY653" fmla="*/ 382238 h 390525"/>
                  <a:gd name="connsiteX654" fmla="*/ 146780 w 542925"/>
                  <a:gd name="connsiteY654" fmla="*/ 382238 h 390525"/>
                  <a:gd name="connsiteX655" fmla="*/ 147638 w 542925"/>
                  <a:gd name="connsiteY655" fmla="*/ 381381 h 390525"/>
                  <a:gd name="connsiteX656" fmla="*/ 149352 w 542925"/>
                  <a:gd name="connsiteY656" fmla="*/ 377952 h 390525"/>
                  <a:gd name="connsiteX657" fmla="*/ 150209 w 542925"/>
                  <a:gd name="connsiteY657" fmla="*/ 376333 h 390525"/>
                  <a:gd name="connsiteX658" fmla="*/ 151924 w 542925"/>
                  <a:gd name="connsiteY658" fmla="*/ 374618 h 390525"/>
                  <a:gd name="connsiteX659" fmla="*/ 156972 w 542925"/>
                  <a:gd name="connsiteY659" fmla="*/ 372046 h 390525"/>
                  <a:gd name="connsiteX660" fmla="*/ 158591 w 542925"/>
                  <a:gd name="connsiteY660" fmla="*/ 370427 h 390525"/>
                  <a:gd name="connsiteX661" fmla="*/ 160306 w 542925"/>
                  <a:gd name="connsiteY661" fmla="*/ 369570 h 390525"/>
                  <a:gd name="connsiteX662" fmla="*/ 161163 w 542925"/>
                  <a:gd name="connsiteY662" fmla="*/ 368713 h 390525"/>
                  <a:gd name="connsiteX663" fmla="*/ 162020 w 542925"/>
                  <a:gd name="connsiteY663" fmla="*/ 367855 h 390525"/>
                  <a:gd name="connsiteX664" fmla="*/ 164497 w 542925"/>
                  <a:gd name="connsiteY664" fmla="*/ 367855 h 390525"/>
                  <a:gd name="connsiteX665" fmla="*/ 165354 w 542925"/>
                  <a:gd name="connsiteY665" fmla="*/ 369570 h 390525"/>
                  <a:gd name="connsiteX666" fmla="*/ 166211 w 542925"/>
                  <a:gd name="connsiteY666" fmla="*/ 374618 h 390525"/>
                  <a:gd name="connsiteX667" fmla="*/ 167926 w 542925"/>
                  <a:gd name="connsiteY667" fmla="*/ 375475 h 390525"/>
                  <a:gd name="connsiteX668" fmla="*/ 169640 w 542925"/>
                  <a:gd name="connsiteY668" fmla="*/ 375475 h 390525"/>
                  <a:gd name="connsiteX669" fmla="*/ 170402 w 542925"/>
                  <a:gd name="connsiteY669" fmla="*/ 374618 h 390525"/>
                  <a:gd name="connsiteX670" fmla="*/ 171260 w 542925"/>
                  <a:gd name="connsiteY670" fmla="*/ 375475 h 390525"/>
                  <a:gd name="connsiteX671" fmla="*/ 171260 w 542925"/>
                  <a:gd name="connsiteY671" fmla="*/ 376333 h 390525"/>
                  <a:gd name="connsiteX672" fmla="*/ 172117 w 542925"/>
                  <a:gd name="connsiteY672" fmla="*/ 383000 h 390525"/>
                  <a:gd name="connsiteX673" fmla="*/ 172974 w 542925"/>
                  <a:gd name="connsiteY673" fmla="*/ 383858 h 390525"/>
                  <a:gd name="connsiteX674" fmla="*/ 174688 w 542925"/>
                  <a:gd name="connsiteY674" fmla="*/ 384715 h 390525"/>
                  <a:gd name="connsiteX675" fmla="*/ 180594 w 542925"/>
                  <a:gd name="connsiteY675" fmla="*/ 385572 h 390525"/>
                  <a:gd name="connsiteX676" fmla="*/ 182213 w 542925"/>
                  <a:gd name="connsiteY676" fmla="*/ 385572 h 390525"/>
                  <a:gd name="connsiteX677" fmla="*/ 184785 w 542925"/>
                  <a:gd name="connsiteY677" fmla="*/ 383858 h 390525"/>
                  <a:gd name="connsiteX678" fmla="*/ 186500 w 542925"/>
                  <a:gd name="connsiteY678" fmla="*/ 383000 h 390525"/>
                  <a:gd name="connsiteX679" fmla="*/ 193262 w 542925"/>
                  <a:gd name="connsiteY679" fmla="*/ 380524 h 390525"/>
                  <a:gd name="connsiteX680" fmla="*/ 194024 w 542925"/>
                  <a:gd name="connsiteY680" fmla="*/ 380524 h 390525"/>
                  <a:gd name="connsiteX681" fmla="*/ 194024 w 542925"/>
                  <a:gd name="connsiteY681" fmla="*/ 381381 h 390525"/>
                  <a:gd name="connsiteX682" fmla="*/ 194024 w 542925"/>
                  <a:gd name="connsiteY682" fmla="*/ 384715 h 390525"/>
                  <a:gd name="connsiteX683" fmla="*/ 194024 w 542925"/>
                  <a:gd name="connsiteY683" fmla="*/ 385572 h 390525"/>
                  <a:gd name="connsiteX684" fmla="*/ 194882 w 542925"/>
                  <a:gd name="connsiteY684" fmla="*/ 386429 h 390525"/>
                  <a:gd name="connsiteX685" fmla="*/ 195739 w 542925"/>
                  <a:gd name="connsiteY685" fmla="*/ 386429 h 390525"/>
                  <a:gd name="connsiteX686" fmla="*/ 199168 w 542925"/>
                  <a:gd name="connsiteY686" fmla="*/ 382238 h 390525"/>
                  <a:gd name="connsiteX687" fmla="*/ 200787 w 542925"/>
                  <a:gd name="connsiteY687" fmla="*/ 381381 h 390525"/>
                  <a:gd name="connsiteX688" fmla="*/ 201644 w 542925"/>
                  <a:gd name="connsiteY688" fmla="*/ 380524 h 390525"/>
                  <a:gd name="connsiteX689" fmla="*/ 202502 w 542925"/>
                  <a:gd name="connsiteY689" fmla="*/ 378809 h 390525"/>
                  <a:gd name="connsiteX690" fmla="*/ 201644 w 542925"/>
                  <a:gd name="connsiteY690" fmla="*/ 377952 h 390525"/>
                  <a:gd name="connsiteX691" fmla="*/ 202502 w 542925"/>
                  <a:gd name="connsiteY691" fmla="*/ 377095 h 390525"/>
                  <a:gd name="connsiteX692" fmla="*/ 203359 w 542925"/>
                  <a:gd name="connsiteY692" fmla="*/ 376333 h 390525"/>
                  <a:gd name="connsiteX693" fmla="*/ 213455 w 542925"/>
                  <a:gd name="connsiteY693" fmla="*/ 372046 h 390525"/>
                  <a:gd name="connsiteX694" fmla="*/ 214313 w 542925"/>
                  <a:gd name="connsiteY694" fmla="*/ 371189 h 390525"/>
                  <a:gd name="connsiteX695" fmla="*/ 215170 w 542925"/>
                  <a:gd name="connsiteY695" fmla="*/ 370427 h 390525"/>
                  <a:gd name="connsiteX696" fmla="*/ 215170 w 542925"/>
                  <a:gd name="connsiteY696" fmla="*/ 369570 h 390525"/>
                  <a:gd name="connsiteX697" fmla="*/ 215170 w 542925"/>
                  <a:gd name="connsiteY697" fmla="*/ 368713 h 390525"/>
                  <a:gd name="connsiteX698" fmla="*/ 216884 w 542925"/>
                  <a:gd name="connsiteY698" fmla="*/ 368713 h 390525"/>
                  <a:gd name="connsiteX699" fmla="*/ 226124 w 542925"/>
                  <a:gd name="connsiteY699" fmla="*/ 367855 h 390525"/>
                  <a:gd name="connsiteX700" fmla="*/ 227838 w 542925"/>
                  <a:gd name="connsiteY700" fmla="*/ 366141 h 390525"/>
                  <a:gd name="connsiteX701" fmla="*/ 232886 w 542925"/>
                  <a:gd name="connsiteY701" fmla="*/ 366998 h 390525"/>
                  <a:gd name="connsiteX702" fmla="*/ 235363 w 542925"/>
                  <a:gd name="connsiteY702" fmla="*/ 366998 h 390525"/>
                  <a:gd name="connsiteX703" fmla="*/ 237935 w 542925"/>
                  <a:gd name="connsiteY703" fmla="*/ 366141 h 390525"/>
                  <a:gd name="connsiteX704" fmla="*/ 238792 w 542925"/>
                  <a:gd name="connsiteY704" fmla="*/ 366998 h 390525"/>
                  <a:gd name="connsiteX705" fmla="*/ 240506 w 542925"/>
                  <a:gd name="connsiteY705" fmla="*/ 366998 h 390525"/>
                  <a:gd name="connsiteX706" fmla="*/ 241268 w 542925"/>
                  <a:gd name="connsiteY706" fmla="*/ 367855 h 390525"/>
                  <a:gd name="connsiteX707" fmla="*/ 242125 w 542925"/>
                  <a:gd name="connsiteY707" fmla="*/ 366998 h 390525"/>
                  <a:gd name="connsiteX708" fmla="*/ 245554 w 542925"/>
                  <a:gd name="connsiteY708" fmla="*/ 364522 h 390525"/>
                  <a:gd name="connsiteX709" fmla="*/ 246412 w 542925"/>
                  <a:gd name="connsiteY709" fmla="*/ 363664 h 390525"/>
                  <a:gd name="connsiteX710" fmla="*/ 247174 w 542925"/>
                  <a:gd name="connsiteY710" fmla="*/ 362807 h 390525"/>
                  <a:gd name="connsiteX711" fmla="*/ 248031 w 542925"/>
                  <a:gd name="connsiteY711" fmla="*/ 361950 h 390525"/>
                  <a:gd name="connsiteX712" fmla="*/ 248031 w 542925"/>
                  <a:gd name="connsiteY712" fmla="*/ 360235 h 390525"/>
                  <a:gd name="connsiteX713" fmla="*/ 248888 w 542925"/>
                  <a:gd name="connsiteY713" fmla="*/ 360235 h 390525"/>
                  <a:gd name="connsiteX714" fmla="*/ 250603 w 542925"/>
                  <a:gd name="connsiteY714" fmla="*/ 361093 h 390525"/>
                  <a:gd name="connsiteX715" fmla="*/ 253079 w 542925"/>
                  <a:gd name="connsiteY715" fmla="*/ 361093 h 390525"/>
                  <a:gd name="connsiteX716" fmla="*/ 255651 w 542925"/>
                  <a:gd name="connsiteY716" fmla="*/ 361093 h 390525"/>
                  <a:gd name="connsiteX717" fmla="*/ 257366 w 542925"/>
                  <a:gd name="connsiteY717" fmla="*/ 360235 h 390525"/>
                  <a:gd name="connsiteX718" fmla="*/ 257366 w 542925"/>
                  <a:gd name="connsiteY718" fmla="*/ 359378 h 390525"/>
                  <a:gd name="connsiteX719" fmla="*/ 257366 w 542925"/>
                  <a:gd name="connsiteY719" fmla="*/ 355187 h 390525"/>
                  <a:gd name="connsiteX720" fmla="*/ 257366 w 542925"/>
                  <a:gd name="connsiteY720" fmla="*/ 353473 h 390525"/>
                  <a:gd name="connsiteX721" fmla="*/ 257366 w 542925"/>
                  <a:gd name="connsiteY721" fmla="*/ 352711 h 390525"/>
                  <a:gd name="connsiteX722" fmla="*/ 256508 w 542925"/>
                  <a:gd name="connsiteY722" fmla="*/ 350996 h 390525"/>
                  <a:gd name="connsiteX723" fmla="*/ 255651 w 542925"/>
                  <a:gd name="connsiteY723" fmla="*/ 350139 h 390525"/>
                  <a:gd name="connsiteX724" fmla="*/ 255651 w 542925"/>
                  <a:gd name="connsiteY724" fmla="*/ 350139 h 390525"/>
                  <a:gd name="connsiteX725" fmla="*/ 256508 w 542925"/>
                  <a:gd name="connsiteY725" fmla="*/ 349282 h 390525"/>
                  <a:gd name="connsiteX726" fmla="*/ 259842 w 542925"/>
                  <a:gd name="connsiteY726" fmla="*/ 348425 h 390525"/>
                  <a:gd name="connsiteX727" fmla="*/ 260699 w 542925"/>
                  <a:gd name="connsiteY727" fmla="*/ 346710 h 390525"/>
                  <a:gd name="connsiteX728" fmla="*/ 260699 w 542925"/>
                  <a:gd name="connsiteY728" fmla="*/ 345948 h 390525"/>
                  <a:gd name="connsiteX729" fmla="*/ 261557 w 542925"/>
                  <a:gd name="connsiteY729" fmla="*/ 341662 h 390525"/>
                  <a:gd name="connsiteX730" fmla="*/ 261557 w 542925"/>
                  <a:gd name="connsiteY730" fmla="*/ 340805 h 390525"/>
                  <a:gd name="connsiteX731" fmla="*/ 262414 w 542925"/>
                  <a:gd name="connsiteY731" fmla="*/ 339185 h 390525"/>
                  <a:gd name="connsiteX732" fmla="*/ 263271 w 542925"/>
                  <a:gd name="connsiteY732" fmla="*/ 337471 h 390525"/>
                  <a:gd name="connsiteX733" fmla="*/ 264890 w 542925"/>
                  <a:gd name="connsiteY733" fmla="*/ 334899 h 390525"/>
                  <a:gd name="connsiteX734" fmla="*/ 266605 w 542925"/>
                  <a:gd name="connsiteY734" fmla="*/ 334899 h 390525"/>
                  <a:gd name="connsiteX735" fmla="*/ 275939 w 542925"/>
                  <a:gd name="connsiteY735" fmla="*/ 334899 h 390525"/>
                  <a:gd name="connsiteX736" fmla="*/ 278416 w 542925"/>
                  <a:gd name="connsiteY736" fmla="*/ 335756 h 390525"/>
                  <a:gd name="connsiteX737" fmla="*/ 280130 w 542925"/>
                  <a:gd name="connsiteY737" fmla="*/ 337471 h 390525"/>
                  <a:gd name="connsiteX738" fmla="*/ 285179 w 542925"/>
                  <a:gd name="connsiteY738" fmla="*/ 343376 h 390525"/>
                  <a:gd name="connsiteX739" fmla="*/ 290227 w 542925"/>
                  <a:gd name="connsiteY739" fmla="*/ 343376 h 390525"/>
                  <a:gd name="connsiteX740" fmla="*/ 294418 w 542925"/>
                  <a:gd name="connsiteY740" fmla="*/ 340042 h 390525"/>
                  <a:gd name="connsiteX741" fmla="*/ 296990 w 542925"/>
                  <a:gd name="connsiteY741" fmla="*/ 338328 h 390525"/>
                  <a:gd name="connsiteX742" fmla="*/ 298704 w 542925"/>
                  <a:gd name="connsiteY742" fmla="*/ 337471 h 390525"/>
                  <a:gd name="connsiteX743" fmla="*/ 299561 w 542925"/>
                  <a:gd name="connsiteY743" fmla="*/ 339185 h 390525"/>
                  <a:gd name="connsiteX744" fmla="*/ 299561 w 542925"/>
                  <a:gd name="connsiteY744" fmla="*/ 340042 h 390525"/>
                  <a:gd name="connsiteX745" fmla="*/ 298704 w 542925"/>
                  <a:gd name="connsiteY745" fmla="*/ 340805 h 390525"/>
                  <a:gd name="connsiteX746" fmla="*/ 297847 w 542925"/>
                  <a:gd name="connsiteY746" fmla="*/ 341662 h 390525"/>
                  <a:gd name="connsiteX747" fmla="*/ 298704 w 542925"/>
                  <a:gd name="connsiteY747" fmla="*/ 342519 h 390525"/>
                  <a:gd name="connsiteX748" fmla="*/ 300323 w 542925"/>
                  <a:gd name="connsiteY748" fmla="*/ 342519 h 390525"/>
                  <a:gd name="connsiteX749" fmla="*/ 302038 w 542925"/>
                  <a:gd name="connsiteY749" fmla="*/ 342519 h 390525"/>
                  <a:gd name="connsiteX750" fmla="*/ 303752 w 542925"/>
                  <a:gd name="connsiteY750" fmla="*/ 343376 h 390525"/>
                  <a:gd name="connsiteX751" fmla="*/ 305467 w 542925"/>
                  <a:gd name="connsiteY751" fmla="*/ 344234 h 390525"/>
                  <a:gd name="connsiteX752" fmla="*/ 306229 w 542925"/>
                  <a:gd name="connsiteY752" fmla="*/ 346710 h 390525"/>
                  <a:gd name="connsiteX753" fmla="*/ 307943 w 542925"/>
                  <a:gd name="connsiteY753" fmla="*/ 356044 h 390525"/>
                  <a:gd name="connsiteX754" fmla="*/ 308800 w 542925"/>
                  <a:gd name="connsiteY754" fmla="*/ 357759 h 390525"/>
                  <a:gd name="connsiteX755" fmla="*/ 309658 w 542925"/>
                  <a:gd name="connsiteY755" fmla="*/ 359378 h 390525"/>
                  <a:gd name="connsiteX756" fmla="*/ 311372 w 542925"/>
                  <a:gd name="connsiteY756" fmla="*/ 361093 h 390525"/>
                  <a:gd name="connsiteX757" fmla="*/ 313849 w 542925"/>
                  <a:gd name="connsiteY757" fmla="*/ 361093 h 390525"/>
                  <a:gd name="connsiteX758" fmla="*/ 315563 w 542925"/>
                  <a:gd name="connsiteY758" fmla="*/ 361093 h 390525"/>
                  <a:gd name="connsiteX759" fmla="*/ 318040 w 542925"/>
                  <a:gd name="connsiteY759" fmla="*/ 359378 h 390525"/>
                  <a:gd name="connsiteX760" fmla="*/ 318897 w 542925"/>
                  <a:gd name="connsiteY760" fmla="*/ 359378 h 390525"/>
                  <a:gd name="connsiteX761" fmla="*/ 323183 w 542925"/>
                  <a:gd name="connsiteY761" fmla="*/ 361093 h 390525"/>
                  <a:gd name="connsiteX762" fmla="*/ 326517 w 542925"/>
                  <a:gd name="connsiteY762" fmla="*/ 361093 h 390525"/>
                  <a:gd name="connsiteX763" fmla="*/ 327374 w 542925"/>
                  <a:gd name="connsiteY763" fmla="*/ 361950 h 390525"/>
                  <a:gd name="connsiteX764" fmla="*/ 327374 w 542925"/>
                  <a:gd name="connsiteY764" fmla="*/ 363664 h 390525"/>
                  <a:gd name="connsiteX765" fmla="*/ 328232 w 542925"/>
                  <a:gd name="connsiteY765" fmla="*/ 367855 h 390525"/>
                  <a:gd name="connsiteX766" fmla="*/ 328232 w 542925"/>
                  <a:gd name="connsiteY766" fmla="*/ 368713 h 390525"/>
                  <a:gd name="connsiteX767" fmla="*/ 327374 w 542925"/>
                  <a:gd name="connsiteY767" fmla="*/ 369570 h 390525"/>
                  <a:gd name="connsiteX768" fmla="*/ 324803 w 542925"/>
                  <a:gd name="connsiteY768" fmla="*/ 372904 h 390525"/>
                  <a:gd name="connsiteX769" fmla="*/ 323945 w 542925"/>
                  <a:gd name="connsiteY769" fmla="*/ 373761 h 390525"/>
                  <a:gd name="connsiteX770" fmla="*/ 324803 w 542925"/>
                  <a:gd name="connsiteY770" fmla="*/ 375475 h 390525"/>
                  <a:gd name="connsiteX771" fmla="*/ 333280 w 542925"/>
                  <a:gd name="connsiteY771" fmla="*/ 380524 h 390525"/>
                  <a:gd name="connsiteX772" fmla="*/ 340042 w 542925"/>
                  <a:gd name="connsiteY772" fmla="*/ 385572 h 390525"/>
                  <a:gd name="connsiteX773" fmla="*/ 342519 w 542925"/>
                  <a:gd name="connsiteY773" fmla="*/ 386429 h 390525"/>
                  <a:gd name="connsiteX774" fmla="*/ 344234 w 542925"/>
                  <a:gd name="connsiteY774" fmla="*/ 386429 h 390525"/>
                  <a:gd name="connsiteX775" fmla="*/ 345091 w 542925"/>
                  <a:gd name="connsiteY775" fmla="*/ 385572 h 390525"/>
                  <a:gd name="connsiteX776" fmla="*/ 345091 w 542925"/>
                  <a:gd name="connsiteY776" fmla="*/ 383858 h 390525"/>
                  <a:gd name="connsiteX777" fmla="*/ 345948 w 542925"/>
                  <a:gd name="connsiteY777" fmla="*/ 383000 h 390525"/>
                  <a:gd name="connsiteX778" fmla="*/ 345091 w 542925"/>
                  <a:gd name="connsiteY778" fmla="*/ 381381 h 390525"/>
                  <a:gd name="connsiteX779" fmla="*/ 345948 w 542925"/>
                  <a:gd name="connsiteY779" fmla="*/ 380524 h 390525"/>
                  <a:gd name="connsiteX780" fmla="*/ 345948 w 542925"/>
                  <a:gd name="connsiteY780" fmla="*/ 379667 h 390525"/>
                  <a:gd name="connsiteX781" fmla="*/ 346805 w 542925"/>
                  <a:gd name="connsiteY781" fmla="*/ 378809 h 390525"/>
                  <a:gd name="connsiteX782" fmla="*/ 348425 w 542925"/>
                  <a:gd name="connsiteY782" fmla="*/ 377952 h 390525"/>
                  <a:gd name="connsiteX783" fmla="*/ 347567 w 542925"/>
                  <a:gd name="connsiteY783" fmla="*/ 373761 h 390525"/>
                  <a:gd name="connsiteX784" fmla="*/ 349282 w 542925"/>
                  <a:gd name="connsiteY784" fmla="*/ 369570 h 390525"/>
                  <a:gd name="connsiteX785" fmla="*/ 350139 w 542925"/>
                  <a:gd name="connsiteY785" fmla="*/ 368713 h 390525"/>
                  <a:gd name="connsiteX786" fmla="*/ 353473 w 542925"/>
                  <a:gd name="connsiteY786" fmla="*/ 365284 h 390525"/>
                  <a:gd name="connsiteX787" fmla="*/ 359378 w 542925"/>
                  <a:gd name="connsiteY787" fmla="*/ 360235 h 390525"/>
                  <a:gd name="connsiteX788" fmla="*/ 361093 w 542925"/>
                  <a:gd name="connsiteY788" fmla="*/ 360235 h 390525"/>
                  <a:gd name="connsiteX789" fmla="*/ 363665 w 542925"/>
                  <a:gd name="connsiteY789" fmla="*/ 361093 h 390525"/>
                  <a:gd name="connsiteX790" fmla="*/ 366141 w 542925"/>
                  <a:gd name="connsiteY790" fmla="*/ 361950 h 390525"/>
                  <a:gd name="connsiteX791" fmla="*/ 367856 w 542925"/>
                  <a:gd name="connsiteY791" fmla="*/ 361950 h 390525"/>
                  <a:gd name="connsiteX792" fmla="*/ 370427 w 542925"/>
                  <a:gd name="connsiteY792" fmla="*/ 361950 h 390525"/>
                  <a:gd name="connsiteX793" fmla="*/ 372046 w 542925"/>
                  <a:gd name="connsiteY793" fmla="*/ 361950 h 390525"/>
                  <a:gd name="connsiteX794" fmla="*/ 374618 w 542925"/>
                  <a:gd name="connsiteY794" fmla="*/ 360235 h 390525"/>
                  <a:gd name="connsiteX795" fmla="*/ 375475 w 542925"/>
                  <a:gd name="connsiteY795" fmla="*/ 357759 h 390525"/>
                  <a:gd name="connsiteX796" fmla="*/ 376333 w 542925"/>
                  <a:gd name="connsiteY796" fmla="*/ 356902 h 390525"/>
                  <a:gd name="connsiteX797" fmla="*/ 377952 w 542925"/>
                  <a:gd name="connsiteY797" fmla="*/ 356902 h 390525"/>
                  <a:gd name="connsiteX798" fmla="*/ 378809 w 542925"/>
                  <a:gd name="connsiteY798" fmla="*/ 357759 h 390525"/>
                  <a:gd name="connsiteX799" fmla="*/ 380524 w 542925"/>
                  <a:gd name="connsiteY799" fmla="*/ 358616 h 390525"/>
                  <a:gd name="connsiteX800" fmla="*/ 383858 w 542925"/>
                  <a:gd name="connsiteY800" fmla="*/ 361093 h 390525"/>
                  <a:gd name="connsiteX801" fmla="*/ 392335 w 542925"/>
                  <a:gd name="connsiteY801" fmla="*/ 363664 h 390525"/>
                  <a:gd name="connsiteX802" fmla="*/ 392335 w 542925"/>
                  <a:gd name="connsiteY802" fmla="*/ 362807 h 390525"/>
                  <a:gd name="connsiteX803" fmla="*/ 392335 w 542925"/>
                  <a:gd name="connsiteY803" fmla="*/ 360235 h 390525"/>
                  <a:gd name="connsiteX804" fmla="*/ 392335 w 542925"/>
                  <a:gd name="connsiteY804" fmla="*/ 359378 h 390525"/>
                  <a:gd name="connsiteX805" fmla="*/ 393192 w 542925"/>
                  <a:gd name="connsiteY805" fmla="*/ 358616 h 390525"/>
                  <a:gd name="connsiteX806" fmla="*/ 394811 w 542925"/>
                  <a:gd name="connsiteY806" fmla="*/ 356044 h 390525"/>
                  <a:gd name="connsiteX807" fmla="*/ 395669 w 542925"/>
                  <a:gd name="connsiteY807" fmla="*/ 354330 h 390525"/>
                  <a:gd name="connsiteX808" fmla="*/ 396526 w 542925"/>
                  <a:gd name="connsiteY808" fmla="*/ 353473 h 390525"/>
                  <a:gd name="connsiteX809" fmla="*/ 399955 w 542925"/>
                  <a:gd name="connsiteY809" fmla="*/ 355187 h 390525"/>
                  <a:gd name="connsiteX810" fmla="*/ 405860 w 542925"/>
                  <a:gd name="connsiteY810" fmla="*/ 356902 h 390525"/>
                  <a:gd name="connsiteX811" fmla="*/ 407480 w 542925"/>
                  <a:gd name="connsiteY811" fmla="*/ 357759 h 390525"/>
                  <a:gd name="connsiteX812" fmla="*/ 409194 w 542925"/>
                  <a:gd name="connsiteY812" fmla="*/ 356902 h 390525"/>
                  <a:gd name="connsiteX813" fmla="*/ 410051 w 542925"/>
                  <a:gd name="connsiteY813" fmla="*/ 356044 h 390525"/>
                  <a:gd name="connsiteX814" fmla="*/ 410051 w 542925"/>
                  <a:gd name="connsiteY814" fmla="*/ 353473 h 390525"/>
                  <a:gd name="connsiteX815" fmla="*/ 410909 w 542925"/>
                  <a:gd name="connsiteY815" fmla="*/ 351854 h 390525"/>
                  <a:gd name="connsiteX816" fmla="*/ 411766 w 542925"/>
                  <a:gd name="connsiteY816" fmla="*/ 347567 h 390525"/>
                  <a:gd name="connsiteX817" fmla="*/ 411766 w 542925"/>
                  <a:gd name="connsiteY817" fmla="*/ 343376 h 390525"/>
                  <a:gd name="connsiteX818" fmla="*/ 413385 w 542925"/>
                  <a:gd name="connsiteY818" fmla="*/ 338328 h 390525"/>
                  <a:gd name="connsiteX819" fmla="*/ 412528 w 542925"/>
                  <a:gd name="connsiteY819" fmla="*/ 336613 h 390525"/>
                  <a:gd name="connsiteX820" fmla="*/ 412528 w 542925"/>
                  <a:gd name="connsiteY820" fmla="*/ 334899 h 390525"/>
                  <a:gd name="connsiteX821" fmla="*/ 411766 w 542925"/>
                  <a:gd name="connsiteY821" fmla="*/ 334137 h 390525"/>
                  <a:gd name="connsiteX822" fmla="*/ 412528 w 542925"/>
                  <a:gd name="connsiteY822" fmla="*/ 333280 h 390525"/>
                  <a:gd name="connsiteX823" fmla="*/ 413385 w 542925"/>
                  <a:gd name="connsiteY823" fmla="*/ 332422 h 390525"/>
                  <a:gd name="connsiteX824" fmla="*/ 414242 w 542925"/>
                  <a:gd name="connsiteY824" fmla="*/ 331565 h 390525"/>
                  <a:gd name="connsiteX825" fmla="*/ 415957 w 542925"/>
                  <a:gd name="connsiteY825" fmla="*/ 328231 h 390525"/>
                  <a:gd name="connsiteX826" fmla="*/ 416814 w 542925"/>
                  <a:gd name="connsiteY826" fmla="*/ 326517 h 390525"/>
                  <a:gd name="connsiteX827" fmla="*/ 417671 w 542925"/>
                  <a:gd name="connsiteY827" fmla="*/ 325660 h 390525"/>
                  <a:gd name="connsiteX828" fmla="*/ 417671 w 542925"/>
                  <a:gd name="connsiteY828" fmla="*/ 323945 h 390525"/>
                  <a:gd name="connsiteX829" fmla="*/ 417671 w 542925"/>
                  <a:gd name="connsiteY829" fmla="*/ 311277 h 390525"/>
                  <a:gd name="connsiteX830" fmla="*/ 417671 w 542925"/>
                  <a:gd name="connsiteY830" fmla="*/ 308800 h 390525"/>
                  <a:gd name="connsiteX831" fmla="*/ 418433 w 542925"/>
                  <a:gd name="connsiteY831" fmla="*/ 307086 h 390525"/>
                  <a:gd name="connsiteX832" fmla="*/ 421005 w 542925"/>
                  <a:gd name="connsiteY832" fmla="*/ 303752 h 390525"/>
                  <a:gd name="connsiteX833" fmla="*/ 423577 w 542925"/>
                  <a:gd name="connsiteY833" fmla="*/ 301180 h 390525"/>
                  <a:gd name="connsiteX834" fmla="*/ 425196 w 542925"/>
                  <a:gd name="connsiteY834" fmla="*/ 299466 h 390525"/>
                  <a:gd name="connsiteX835" fmla="*/ 428625 w 542925"/>
                  <a:gd name="connsiteY835" fmla="*/ 298704 h 390525"/>
                  <a:gd name="connsiteX836" fmla="*/ 430244 w 542925"/>
                  <a:gd name="connsiteY836" fmla="*/ 298704 h 390525"/>
                  <a:gd name="connsiteX837" fmla="*/ 432816 w 542925"/>
                  <a:gd name="connsiteY837" fmla="*/ 299466 h 390525"/>
                  <a:gd name="connsiteX838" fmla="*/ 432816 w 542925"/>
                  <a:gd name="connsiteY838" fmla="*/ 299466 h 390525"/>
                  <a:gd name="connsiteX839" fmla="*/ 433673 w 542925"/>
                  <a:gd name="connsiteY839" fmla="*/ 298704 h 390525"/>
                  <a:gd name="connsiteX840" fmla="*/ 435388 w 542925"/>
                  <a:gd name="connsiteY840" fmla="*/ 291084 h 390525"/>
                  <a:gd name="connsiteX841" fmla="*/ 435388 w 542925"/>
                  <a:gd name="connsiteY841" fmla="*/ 289369 h 390525"/>
                  <a:gd name="connsiteX842" fmla="*/ 436150 w 542925"/>
                  <a:gd name="connsiteY842" fmla="*/ 286036 h 390525"/>
                  <a:gd name="connsiteX843" fmla="*/ 437864 w 542925"/>
                  <a:gd name="connsiteY843" fmla="*/ 285179 h 390525"/>
                  <a:gd name="connsiteX844" fmla="*/ 439579 w 542925"/>
                  <a:gd name="connsiteY844" fmla="*/ 285179 h 390525"/>
                  <a:gd name="connsiteX845" fmla="*/ 441293 w 542925"/>
                  <a:gd name="connsiteY845" fmla="*/ 284321 h 390525"/>
                  <a:gd name="connsiteX846" fmla="*/ 442055 w 542925"/>
                  <a:gd name="connsiteY846" fmla="*/ 284321 h 390525"/>
                  <a:gd name="connsiteX847" fmla="*/ 442913 w 542925"/>
                  <a:gd name="connsiteY847" fmla="*/ 284321 h 390525"/>
                  <a:gd name="connsiteX848" fmla="*/ 443770 w 542925"/>
                  <a:gd name="connsiteY848" fmla="*/ 283464 h 390525"/>
                  <a:gd name="connsiteX849" fmla="*/ 444627 w 542925"/>
                  <a:gd name="connsiteY849" fmla="*/ 283464 h 390525"/>
                  <a:gd name="connsiteX850" fmla="*/ 445484 w 542925"/>
                  <a:gd name="connsiteY850" fmla="*/ 284321 h 390525"/>
                  <a:gd name="connsiteX851" fmla="*/ 447961 w 542925"/>
                  <a:gd name="connsiteY851" fmla="*/ 285179 h 390525"/>
                  <a:gd name="connsiteX852" fmla="*/ 449675 w 542925"/>
                  <a:gd name="connsiteY852" fmla="*/ 285179 h 390525"/>
                  <a:gd name="connsiteX853" fmla="*/ 451390 w 542925"/>
                  <a:gd name="connsiteY853" fmla="*/ 284321 h 390525"/>
                  <a:gd name="connsiteX854" fmla="*/ 451390 w 542925"/>
                  <a:gd name="connsiteY854" fmla="*/ 282607 h 390525"/>
                  <a:gd name="connsiteX855" fmla="*/ 452247 w 542925"/>
                  <a:gd name="connsiteY855" fmla="*/ 279273 h 390525"/>
                  <a:gd name="connsiteX856" fmla="*/ 453104 w 542925"/>
                  <a:gd name="connsiteY856" fmla="*/ 278416 h 390525"/>
                  <a:gd name="connsiteX857" fmla="*/ 454724 w 542925"/>
                  <a:gd name="connsiteY857" fmla="*/ 277559 h 390525"/>
                  <a:gd name="connsiteX858" fmla="*/ 454724 w 542925"/>
                  <a:gd name="connsiteY858" fmla="*/ 276701 h 390525"/>
                  <a:gd name="connsiteX859" fmla="*/ 454724 w 542925"/>
                  <a:gd name="connsiteY859" fmla="*/ 275082 h 390525"/>
                  <a:gd name="connsiteX860" fmla="*/ 456438 w 542925"/>
                  <a:gd name="connsiteY860" fmla="*/ 273367 h 390525"/>
                  <a:gd name="connsiteX861" fmla="*/ 460629 w 542925"/>
                  <a:gd name="connsiteY861" fmla="*/ 269176 h 390525"/>
                  <a:gd name="connsiteX862" fmla="*/ 462344 w 542925"/>
                  <a:gd name="connsiteY862" fmla="*/ 268319 h 390525"/>
                  <a:gd name="connsiteX863" fmla="*/ 463201 w 542925"/>
                  <a:gd name="connsiteY863" fmla="*/ 268319 h 390525"/>
                  <a:gd name="connsiteX864" fmla="*/ 464058 w 542925"/>
                  <a:gd name="connsiteY864" fmla="*/ 269176 h 390525"/>
                  <a:gd name="connsiteX865" fmla="*/ 464915 w 542925"/>
                  <a:gd name="connsiteY865" fmla="*/ 269176 h 390525"/>
                  <a:gd name="connsiteX866" fmla="*/ 465677 w 542925"/>
                  <a:gd name="connsiteY866" fmla="*/ 269176 h 390525"/>
                  <a:gd name="connsiteX867" fmla="*/ 467392 w 542925"/>
                  <a:gd name="connsiteY867" fmla="*/ 270796 h 390525"/>
                  <a:gd name="connsiteX868" fmla="*/ 468249 w 542925"/>
                  <a:gd name="connsiteY868" fmla="*/ 272510 h 390525"/>
                  <a:gd name="connsiteX869" fmla="*/ 469106 w 542925"/>
                  <a:gd name="connsiteY869" fmla="*/ 274225 h 390525"/>
                  <a:gd name="connsiteX870" fmla="*/ 470821 w 542925"/>
                  <a:gd name="connsiteY870" fmla="*/ 275082 h 390525"/>
                  <a:gd name="connsiteX871" fmla="*/ 476726 w 542925"/>
                  <a:gd name="connsiteY871" fmla="*/ 276701 h 390525"/>
                  <a:gd name="connsiteX872" fmla="*/ 479203 w 542925"/>
                  <a:gd name="connsiteY872" fmla="*/ 277559 h 390525"/>
                  <a:gd name="connsiteX873" fmla="*/ 484251 w 542925"/>
                  <a:gd name="connsiteY873" fmla="*/ 276701 h 390525"/>
                  <a:gd name="connsiteX874" fmla="*/ 486823 w 542925"/>
                  <a:gd name="connsiteY874" fmla="*/ 277559 h 390525"/>
                  <a:gd name="connsiteX875" fmla="*/ 488442 w 542925"/>
                  <a:gd name="connsiteY875" fmla="*/ 277559 h 390525"/>
                  <a:gd name="connsiteX876" fmla="*/ 489299 w 542925"/>
                  <a:gd name="connsiteY876" fmla="*/ 278416 h 390525"/>
                  <a:gd name="connsiteX877" fmla="*/ 490157 w 542925"/>
                  <a:gd name="connsiteY877" fmla="*/ 280130 h 390525"/>
                  <a:gd name="connsiteX878" fmla="*/ 491014 w 542925"/>
                  <a:gd name="connsiteY878" fmla="*/ 280988 h 390525"/>
                  <a:gd name="connsiteX879" fmla="*/ 494348 w 542925"/>
                  <a:gd name="connsiteY879" fmla="*/ 277559 h 390525"/>
                  <a:gd name="connsiteX880" fmla="*/ 496919 w 542925"/>
                  <a:gd name="connsiteY880" fmla="*/ 274225 h 390525"/>
                  <a:gd name="connsiteX881" fmla="*/ 496919 w 542925"/>
                  <a:gd name="connsiteY881" fmla="*/ 272510 h 390525"/>
                  <a:gd name="connsiteX882" fmla="*/ 495205 w 542925"/>
                  <a:gd name="connsiteY882" fmla="*/ 270796 h 390525"/>
                  <a:gd name="connsiteX883" fmla="*/ 494348 w 542925"/>
                  <a:gd name="connsiteY883" fmla="*/ 268319 h 390525"/>
                  <a:gd name="connsiteX884" fmla="*/ 494348 w 542925"/>
                  <a:gd name="connsiteY884" fmla="*/ 265747 h 390525"/>
                  <a:gd name="connsiteX885" fmla="*/ 493586 w 542925"/>
                  <a:gd name="connsiteY885" fmla="*/ 264890 h 390525"/>
                  <a:gd name="connsiteX886" fmla="*/ 493586 w 542925"/>
                  <a:gd name="connsiteY886" fmla="*/ 264033 h 390525"/>
                  <a:gd name="connsiteX887" fmla="*/ 492728 w 542925"/>
                  <a:gd name="connsiteY887" fmla="*/ 263271 h 390525"/>
                  <a:gd name="connsiteX888" fmla="*/ 491871 w 542925"/>
                  <a:gd name="connsiteY888" fmla="*/ 263271 h 390525"/>
                  <a:gd name="connsiteX889" fmla="*/ 491871 w 542925"/>
                  <a:gd name="connsiteY889" fmla="*/ 262414 h 390525"/>
                  <a:gd name="connsiteX890" fmla="*/ 491014 w 542925"/>
                  <a:gd name="connsiteY890" fmla="*/ 262414 h 390525"/>
                  <a:gd name="connsiteX891" fmla="*/ 490157 w 542925"/>
                  <a:gd name="connsiteY891" fmla="*/ 263271 h 390525"/>
                  <a:gd name="connsiteX892" fmla="*/ 490157 w 542925"/>
                  <a:gd name="connsiteY892" fmla="*/ 263271 h 390525"/>
                  <a:gd name="connsiteX893" fmla="*/ 489299 w 542925"/>
                  <a:gd name="connsiteY893" fmla="*/ 263271 h 390525"/>
                  <a:gd name="connsiteX894" fmla="*/ 489299 w 542925"/>
                  <a:gd name="connsiteY894" fmla="*/ 262414 h 390525"/>
                  <a:gd name="connsiteX895" fmla="*/ 489299 w 542925"/>
                  <a:gd name="connsiteY895" fmla="*/ 262414 h 390525"/>
                  <a:gd name="connsiteX896" fmla="*/ 488442 w 542925"/>
                  <a:gd name="connsiteY896" fmla="*/ 261556 h 390525"/>
                  <a:gd name="connsiteX897" fmla="*/ 488442 w 542925"/>
                  <a:gd name="connsiteY897" fmla="*/ 260699 h 390525"/>
                  <a:gd name="connsiteX898" fmla="*/ 488442 w 542925"/>
                  <a:gd name="connsiteY898" fmla="*/ 259842 h 390525"/>
                  <a:gd name="connsiteX899" fmla="*/ 487680 w 542925"/>
                  <a:gd name="connsiteY899" fmla="*/ 259842 h 390525"/>
                  <a:gd name="connsiteX900" fmla="*/ 486823 w 542925"/>
                  <a:gd name="connsiteY900" fmla="*/ 258985 h 390525"/>
                  <a:gd name="connsiteX901" fmla="*/ 485966 w 542925"/>
                  <a:gd name="connsiteY901" fmla="*/ 258985 h 390525"/>
                  <a:gd name="connsiteX902" fmla="*/ 485966 w 542925"/>
                  <a:gd name="connsiteY902" fmla="*/ 258985 h 390525"/>
                  <a:gd name="connsiteX903" fmla="*/ 486823 w 542925"/>
                  <a:gd name="connsiteY903" fmla="*/ 258127 h 390525"/>
                  <a:gd name="connsiteX904" fmla="*/ 486823 w 542925"/>
                  <a:gd name="connsiteY904" fmla="*/ 257365 h 390525"/>
                  <a:gd name="connsiteX905" fmla="*/ 488442 w 542925"/>
                  <a:gd name="connsiteY905" fmla="*/ 256508 h 390525"/>
                  <a:gd name="connsiteX906" fmla="*/ 488442 w 542925"/>
                  <a:gd name="connsiteY906" fmla="*/ 256508 h 390525"/>
                  <a:gd name="connsiteX907" fmla="*/ 488442 w 542925"/>
                  <a:gd name="connsiteY907" fmla="*/ 255651 h 390525"/>
                  <a:gd name="connsiteX908" fmla="*/ 489299 w 542925"/>
                  <a:gd name="connsiteY908" fmla="*/ 255651 h 390525"/>
                  <a:gd name="connsiteX909" fmla="*/ 489299 w 542925"/>
                  <a:gd name="connsiteY909" fmla="*/ 254794 h 390525"/>
                  <a:gd name="connsiteX910" fmla="*/ 489299 w 542925"/>
                  <a:gd name="connsiteY910" fmla="*/ 254794 h 390525"/>
                  <a:gd name="connsiteX911" fmla="*/ 491014 w 542925"/>
                  <a:gd name="connsiteY911" fmla="*/ 253079 h 390525"/>
                  <a:gd name="connsiteX912" fmla="*/ 494348 w 542925"/>
                  <a:gd name="connsiteY912" fmla="*/ 252222 h 390525"/>
                  <a:gd name="connsiteX913" fmla="*/ 497777 w 542925"/>
                  <a:gd name="connsiteY913" fmla="*/ 250603 h 390525"/>
                  <a:gd name="connsiteX914" fmla="*/ 499491 w 542925"/>
                  <a:gd name="connsiteY914" fmla="*/ 249746 h 390525"/>
                  <a:gd name="connsiteX915" fmla="*/ 500253 w 542925"/>
                  <a:gd name="connsiteY915" fmla="*/ 248888 h 390525"/>
                  <a:gd name="connsiteX916" fmla="*/ 501110 w 542925"/>
                  <a:gd name="connsiteY916" fmla="*/ 247174 h 390525"/>
                  <a:gd name="connsiteX917" fmla="*/ 501110 w 542925"/>
                  <a:gd name="connsiteY917" fmla="*/ 247174 h 390525"/>
                  <a:gd name="connsiteX918" fmla="*/ 501110 w 542925"/>
                  <a:gd name="connsiteY918" fmla="*/ 247174 h 390525"/>
                  <a:gd name="connsiteX919" fmla="*/ 501110 w 542925"/>
                  <a:gd name="connsiteY919" fmla="*/ 246317 h 390525"/>
                  <a:gd name="connsiteX920" fmla="*/ 501967 w 542925"/>
                  <a:gd name="connsiteY920" fmla="*/ 246317 h 390525"/>
                  <a:gd name="connsiteX921" fmla="*/ 506159 w 542925"/>
                  <a:gd name="connsiteY921" fmla="*/ 245554 h 390525"/>
                  <a:gd name="connsiteX922" fmla="*/ 507873 w 542925"/>
                  <a:gd name="connsiteY922" fmla="*/ 243840 h 390525"/>
                  <a:gd name="connsiteX923" fmla="*/ 509588 w 542925"/>
                  <a:gd name="connsiteY923" fmla="*/ 242983 h 390525"/>
                  <a:gd name="connsiteX924" fmla="*/ 512064 w 542925"/>
                  <a:gd name="connsiteY924" fmla="*/ 242983 h 390525"/>
                  <a:gd name="connsiteX925" fmla="*/ 512921 w 542925"/>
                  <a:gd name="connsiteY925" fmla="*/ 244697 h 390525"/>
                  <a:gd name="connsiteX926" fmla="*/ 512921 w 542925"/>
                  <a:gd name="connsiteY926" fmla="*/ 245554 h 390525"/>
                  <a:gd name="connsiteX927" fmla="*/ 513779 w 542925"/>
                  <a:gd name="connsiteY927" fmla="*/ 246317 h 390525"/>
                  <a:gd name="connsiteX928" fmla="*/ 514636 w 542925"/>
                  <a:gd name="connsiteY928" fmla="*/ 246317 h 390525"/>
                  <a:gd name="connsiteX929" fmla="*/ 522256 w 542925"/>
                  <a:gd name="connsiteY929" fmla="*/ 248031 h 390525"/>
                  <a:gd name="connsiteX930" fmla="*/ 521399 w 542925"/>
                  <a:gd name="connsiteY930" fmla="*/ 246317 h 390525"/>
                  <a:gd name="connsiteX931" fmla="*/ 521399 w 542925"/>
                  <a:gd name="connsiteY931" fmla="*/ 244697 h 390525"/>
                  <a:gd name="connsiteX932" fmla="*/ 521399 w 542925"/>
                  <a:gd name="connsiteY932" fmla="*/ 243840 h 390525"/>
                  <a:gd name="connsiteX933" fmla="*/ 520541 w 542925"/>
                  <a:gd name="connsiteY933" fmla="*/ 242983 h 390525"/>
                  <a:gd name="connsiteX934" fmla="*/ 519684 w 542925"/>
                  <a:gd name="connsiteY934" fmla="*/ 242125 h 390525"/>
                  <a:gd name="connsiteX935" fmla="*/ 519684 w 542925"/>
                  <a:gd name="connsiteY935" fmla="*/ 241268 h 390525"/>
                  <a:gd name="connsiteX936" fmla="*/ 518827 w 542925"/>
                  <a:gd name="connsiteY936" fmla="*/ 241268 h 390525"/>
                  <a:gd name="connsiteX937" fmla="*/ 519684 w 542925"/>
                  <a:gd name="connsiteY937" fmla="*/ 239554 h 390525"/>
                  <a:gd name="connsiteX938" fmla="*/ 520541 w 542925"/>
                  <a:gd name="connsiteY938" fmla="*/ 236220 h 390525"/>
                  <a:gd name="connsiteX939" fmla="*/ 520541 w 542925"/>
                  <a:gd name="connsiteY939" fmla="*/ 232886 h 390525"/>
                  <a:gd name="connsiteX940" fmla="*/ 520541 w 542925"/>
                  <a:gd name="connsiteY940" fmla="*/ 232029 h 390525"/>
                  <a:gd name="connsiteX941" fmla="*/ 520541 w 542925"/>
                  <a:gd name="connsiteY941" fmla="*/ 231172 h 390525"/>
                  <a:gd name="connsiteX942" fmla="*/ 519684 w 542925"/>
                  <a:gd name="connsiteY942" fmla="*/ 229457 h 390525"/>
                  <a:gd name="connsiteX943" fmla="*/ 519684 w 542925"/>
                  <a:gd name="connsiteY943" fmla="*/ 226123 h 390525"/>
                  <a:gd name="connsiteX944" fmla="*/ 518827 w 542925"/>
                  <a:gd name="connsiteY944" fmla="*/ 225266 h 390525"/>
                  <a:gd name="connsiteX945" fmla="*/ 517970 w 542925"/>
                  <a:gd name="connsiteY945" fmla="*/ 223552 h 390525"/>
                  <a:gd name="connsiteX946" fmla="*/ 514636 w 542925"/>
                  <a:gd name="connsiteY946" fmla="*/ 221075 h 390525"/>
                  <a:gd name="connsiteX947" fmla="*/ 507873 w 542925"/>
                  <a:gd name="connsiteY947" fmla="*/ 218504 h 390525"/>
                  <a:gd name="connsiteX948" fmla="*/ 507016 w 542925"/>
                  <a:gd name="connsiteY948" fmla="*/ 215932 h 390525"/>
                  <a:gd name="connsiteX949" fmla="*/ 504539 w 542925"/>
                  <a:gd name="connsiteY949" fmla="*/ 214313 h 390525"/>
                  <a:gd name="connsiteX950" fmla="*/ 503682 w 542925"/>
                  <a:gd name="connsiteY950" fmla="*/ 213455 h 390525"/>
                  <a:gd name="connsiteX951" fmla="*/ 502825 w 542925"/>
                  <a:gd name="connsiteY951" fmla="*/ 211741 h 390525"/>
                  <a:gd name="connsiteX952" fmla="*/ 502825 w 542925"/>
                  <a:gd name="connsiteY952" fmla="*/ 210026 h 390525"/>
                  <a:gd name="connsiteX953" fmla="*/ 501967 w 542925"/>
                  <a:gd name="connsiteY953" fmla="*/ 209264 h 390525"/>
                  <a:gd name="connsiteX954" fmla="*/ 501110 w 542925"/>
                  <a:gd name="connsiteY954" fmla="*/ 208407 h 390525"/>
                  <a:gd name="connsiteX955" fmla="*/ 501110 w 542925"/>
                  <a:gd name="connsiteY955" fmla="*/ 207550 h 390525"/>
                  <a:gd name="connsiteX956" fmla="*/ 499491 w 542925"/>
                  <a:gd name="connsiteY956" fmla="*/ 204978 h 390525"/>
                  <a:gd name="connsiteX957" fmla="*/ 498634 w 542925"/>
                  <a:gd name="connsiteY957" fmla="*/ 204121 h 390525"/>
                  <a:gd name="connsiteX958" fmla="*/ 495205 w 542925"/>
                  <a:gd name="connsiteY958" fmla="*/ 202501 h 390525"/>
                  <a:gd name="connsiteX959" fmla="*/ 492728 w 542925"/>
                  <a:gd name="connsiteY959" fmla="*/ 201644 h 390525"/>
                  <a:gd name="connsiteX960" fmla="*/ 492728 w 542925"/>
                  <a:gd name="connsiteY960" fmla="*/ 200787 h 390525"/>
                  <a:gd name="connsiteX961" fmla="*/ 491871 w 542925"/>
                  <a:gd name="connsiteY961" fmla="*/ 199930 h 390525"/>
                  <a:gd name="connsiteX962" fmla="*/ 491871 w 542925"/>
                  <a:gd name="connsiteY962" fmla="*/ 199930 h 390525"/>
                  <a:gd name="connsiteX963" fmla="*/ 491871 w 542925"/>
                  <a:gd name="connsiteY963" fmla="*/ 199072 h 390525"/>
                  <a:gd name="connsiteX964" fmla="*/ 491871 w 542925"/>
                  <a:gd name="connsiteY964" fmla="*/ 199072 h 390525"/>
                  <a:gd name="connsiteX965" fmla="*/ 491014 w 542925"/>
                  <a:gd name="connsiteY965" fmla="*/ 198215 h 390525"/>
                  <a:gd name="connsiteX966" fmla="*/ 491014 w 542925"/>
                  <a:gd name="connsiteY966" fmla="*/ 197453 h 390525"/>
                  <a:gd name="connsiteX967" fmla="*/ 491014 w 542925"/>
                  <a:gd name="connsiteY967" fmla="*/ 196596 h 390525"/>
                  <a:gd name="connsiteX968" fmla="*/ 491014 w 542925"/>
                  <a:gd name="connsiteY968" fmla="*/ 195739 h 390525"/>
                  <a:gd name="connsiteX969" fmla="*/ 491871 w 542925"/>
                  <a:gd name="connsiteY969" fmla="*/ 195739 h 390525"/>
                  <a:gd name="connsiteX970" fmla="*/ 492728 w 542925"/>
                  <a:gd name="connsiteY970" fmla="*/ 194881 h 390525"/>
                  <a:gd name="connsiteX971" fmla="*/ 493586 w 542925"/>
                  <a:gd name="connsiteY971" fmla="*/ 194881 h 390525"/>
                  <a:gd name="connsiteX972" fmla="*/ 494348 w 542925"/>
                  <a:gd name="connsiteY972" fmla="*/ 194024 h 390525"/>
                  <a:gd name="connsiteX973" fmla="*/ 494348 w 542925"/>
                  <a:gd name="connsiteY973" fmla="*/ 194024 h 390525"/>
                  <a:gd name="connsiteX974" fmla="*/ 495205 w 542925"/>
                  <a:gd name="connsiteY974" fmla="*/ 189833 h 390525"/>
                  <a:gd name="connsiteX975" fmla="*/ 495205 w 542925"/>
                  <a:gd name="connsiteY975" fmla="*/ 188976 h 390525"/>
                  <a:gd name="connsiteX976" fmla="*/ 496062 w 542925"/>
                  <a:gd name="connsiteY976" fmla="*/ 187262 h 390525"/>
                  <a:gd name="connsiteX977" fmla="*/ 495205 w 542925"/>
                  <a:gd name="connsiteY977" fmla="*/ 186404 h 390525"/>
                  <a:gd name="connsiteX978" fmla="*/ 495205 w 542925"/>
                  <a:gd name="connsiteY978" fmla="*/ 186404 h 390525"/>
                  <a:gd name="connsiteX979" fmla="*/ 495205 w 542925"/>
                  <a:gd name="connsiteY979" fmla="*/ 185642 h 390525"/>
                  <a:gd name="connsiteX980" fmla="*/ 496062 w 542925"/>
                  <a:gd name="connsiteY980" fmla="*/ 184785 h 390525"/>
                  <a:gd name="connsiteX981" fmla="*/ 496919 w 542925"/>
                  <a:gd name="connsiteY981" fmla="*/ 183071 h 390525"/>
                  <a:gd name="connsiteX982" fmla="*/ 500253 w 542925"/>
                  <a:gd name="connsiteY982" fmla="*/ 180499 h 390525"/>
                  <a:gd name="connsiteX983" fmla="*/ 507016 w 542925"/>
                  <a:gd name="connsiteY983" fmla="*/ 173831 h 390525"/>
                  <a:gd name="connsiteX984" fmla="*/ 511302 w 542925"/>
                  <a:gd name="connsiteY984" fmla="*/ 169545 h 390525"/>
                  <a:gd name="connsiteX985" fmla="*/ 512064 w 542925"/>
                  <a:gd name="connsiteY985" fmla="*/ 168688 h 390525"/>
                  <a:gd name="connsiteX986" fmla="*/ 512921 w 542925"/>
                  <a:gd name="connsiteY986" fmla="*/ 167926 h 390525"/>
                  <a:gd name="connsiteX987" fmla="*/ 513779 w 542925"/>
                  <a:gd name="connsiteY987" fmla="*/ 167926 h 390525"/>
                  <a:gd name="connsiteX988" fmla="*/ 514636 w 542925"/>
                  <a:gd name="connsiteY988" fmla="*/ 168688 h 390525"/>
                  <a:gd name="connsiteX989" fmla="*/ 515493 w 542925"/>
                  <a:gd name="connsiteY989" fmla="*/ 167926 h 390525"/>
                  <a:gd name="connsiteX990" fmla="*/ 516350 w 542925"/>
                  <a:gd name="connsiteY990" fmla="*/ 167926 h 390525"/>
                  <a:gd name="connsiteX991" fmla="*/ 518827 w 542925"/>
                  <a:gd name="connsiteY991" fmla="*/ 165354 h 390525"/>
                  <a:gd name="connsiteX992" fmla="*/ 519684 w 542925"/>
                  <a:gd name="connsiteY992" fmla="*/ 164497 h 390525"/>
                  <a:gd name="connsiteX993" fmla="*/ 522256 w 542925"/>
                  <a:gd name="connsiteY993" fmla="*/ 163639 h 390525"/>
                  <a:gd name="connsiteX994" fmla="*/ 523113 w 542925"/>
                  <a:gd name="connsiteY994" fmla="*/ 162782 h 390525"/>
                  <a:gd name="connsiteX995" fmla="*/ 524732 w 542925"/>
                  <a:gd name="connsiteY995" fmla="*/ 160306 h 390525"/>
                  <a:gd name="connsiteX996" fmla="*/ 527304 w 542925"/>
                  <a:gd name="connsiteY996" fmla="*/ 158591 h 390525"/>
                  <a:gd name="connsiteX997" fmla="*/ 531495 w 542925"/>
                  <a:gd name="connsiteY997" fmla="*/ 153543 h 390525"/>
                  <a:gd name="connsiteX998" fmla="*/ 533210 w 542925"/>
                  <a:gd name="connsiteY998" fmla="*/ 152686 h 390525"/>
                  <a:gd name="connsiteX999" fmla="*/ 534067 w 542925"/>
                  <a:gd name="connsiteY999" fmla="*/ 150971 h 390525"/>
                  <a:gd name="connsiteX1000" fmla="*/ 537401 w 542925"/>
                  <a:gd name="connsiteY1000" fmla="*/ 150209 h 390525"/>
                  <a:gd name="connsiteX1001" fmla="*/ 539115 w 542925"/>
                  <a:gd name="connsiteY1001" fmla="*/ 149352 h 390525"/>
                  <a:gd name="connsiteX1002" fmla="*/ 542449 w 542925"/>
                  <a:gd name="connsiteY1002" fmla="*/ 145923 h 390525"/>
                  <a:gd name="connsiteX1003" fmla="*/ 543306 w 542925"/>
                  <a:gd name="connsiteY1003" fmla="*/ 145066 h 390525"/>
                  <a:gd name="connsiteX1004" fmla="*/ 545021 w 542925"/>
                  <a:gd name="connsiteY1004" fmla="*/ 145066 h 390525"/>
                  <a:gd name="connsiteX1005" fmla="*/ 546735 w 542925"/>
                  <a:gd name="connsiteY1005" fmla="*/ 145066 h 390525"/>
                  <a:gd name="connsiteX1006" fmla="*/ 546735 w 542925"/>
                  <a:gd name="connsiteY1006" fmla="*/ 145066 h 390525"/>
                  <a:gd name="connsiteX1007" fmla="*/ 547497 w 542925"/>
                  <a:gd name="connsiteY1007" fmla="*/ 145066 h 390525"/>
                  <a:gd name="connsiteX1008" fmla="*/ 547497 w 542925"/>
                  <a:gd name="connsiteY1008" fmla="*/ 144304 h 390525"/>
                  <a:gd name="connsiteX1009" fmla="*/ 547497 w 542925"/>
                  <a:gd name="connsiteY1009" fmla="*/ 143446 h 390525"/>
                  <a:gd name="connsiteX1010" fmla="*/ 547497 w 542925"/>
                  <a:gd name="connsiteY1010" fmla="*/ 142589 h 390525"/>
                  <a:gd name="connsiteX1011" fmla="*/ 547497 w 542925"/>
                  <a:gd name="connsiteY1011" fmla="*/ 142589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</a:cxnLst>
                <a:rect l="l" t="t" r="r" b="b"/>
                <a:pathLst>
                  <a:path w="542925" h="390525">
                    <a:moveTo>
                      <a:pt x="547497" y="142589"/>
                    </a:moveTo>
                    <a:lnTo>
                      <a:pt x="547497" y="140875"/>
                    </a:lnTo>
                    <a:lnTo>
                      <a:pt x="546735" y="140017"/>
                    </a:lnTo>
                    <a:lnTo>
                      <a:pt x="545021" y="139160"/>
                    </a:lnTo>
                    <a:lnTo>
                      <a:pt x="543306" y="138398"/>
                    </a:lnTo>
                    <a:lnTo>
                      <a:pt x="542449" y="137541"/>
                    </a:lnTo>
                    <a:lnTo>
                      <a:pt x="542449" y="136684"/>
                    </a:lnTo>
                    <a:lnTo>
                      <a:pt x="542449" y="135826"/>
                    </a:lnTo>
                    <a:lnTo>
                      <a:pt x="543306" y="134969"/>
                    </a:lnTo>
                    <a:lnTo>
                      <a:pt x="544163" y="134969"/>
                    </a:lnTo>
                    <a:lnTo>
                      <a:pt x="545021" y="134112"/>
                    </a:lnTo>
                    <a:lnTo>
                      <a:pt x="545021" y="134112"/>
                    </a:lnTo>
                    <a:lnTo>
                      <a:pt x="545021" y="133255"/>
                    </a:lnTo>
                    <a:lnTo>
                      <a:pt x="544163" y="131635"/>
                    </a:lnTo>
                    <a:lnTo>
                      <a:pt x="540830" y="128206"/>
                    </a:lnTo>
                    <a:lnTo>
                      <a:pt x="539972" y="127349"/>
                    </a:lnTo>
                    <a:lnTo>
                      <a:pt x="538258" y="127349"/>
                    </a:lnTo>
                    <a:lnTo>
                      <a:pt x="537401" y="126492"/>
                    </a:lnTo>
                    <a:lnTo>
                      <a:pt x="536543" y="125730"/>
                    </a:lnTo>
                    <a:lnTo>
                      <a:pt x="535686" y="124873"/>
                    </a:lnTo>
                    <a:lnTo>
                      <a:pt x="535686" y="124873"/>
                    </a:lnTo>
                    <a:lnTo>
                      <a:pt x="535686" y="124873"/>
                    </a:lnTo>
                    <a:lnTo>
                      <a:pt x="535686" y="123158"/>
                    </a:lnTo>
                    <a:lnTo>
                      <a:pt x="536543" y="119825"/>
                    </a:lnTo>
                    <a:lnTo>
                      <a:pt x="536543" y="118967"/>
                    </a:lnTo>
                    <a:lnTo>
                      <a:pt x="535686" y="118967"/>
                    </a:lnTo>
                    <a:lnTo>
                      <a:pt x="530638" y="120587"/>
                    </a:lnTo>
                    <a:lnTo>
                      <a:pt x="529019" y="121444"/>
                    </a:lnTo>
                    <a:lnTo>
                      <a:pt x="528161" y="121444"/>
                    </a:lnTo>
                    <a:lnTo>
                      <a:pt x="525590" y="120587"/>
                    </a:lnTo>
                    <a:lnTo>
                      <a:pt x="523875" y="120587"/>
                    </a:lnTo>
                    <a:lnTo>
                      <a:pt x="523113" y="123158"/>
                    </a:lnTo>
                    <a:lnTo>
                      <a:pt x="523113" y="124015"/>
                    </a:lnTo>
                    <a:lnTo>
                      <a:pt x="523113" y="125730"/>
                    </a:lnTo>
                    <a:lnTo>
                      <a:pt x="523113" y="125730"/>
                    </a:lnTo>
                    <a:lnTo>
                      <a:pt x="522256" y="130778"/>
                    </a:lnTo>
                    <a:lnTo>
                      <a:pt x="519684" y="136684"/>
                    </a:lnTo>
                    <a:lnTo>
                      <a:pt x="515493" y="140875"/>
                    </a:lnTo>
                    <a:lnTo>
                      <a:pt x="512064" y="141732"/>
                    </a:lnTo>
                    <a:lnTo>
                      <a:pt x="510445" y="140017"/>
                    </a:lnTo>
                    <a:lnTo>
                      <a:pt x="506159" y="137541"/>
                    </a:lnTo>
                    <a:lnTo>
                      <a:pt x="505396" y="135826"/>
                    </a:lnTo>
                    <a:lnTo>
                      <a:pt x="504539" y="134969"/>
                    </a:lnTo>
                    <a:lnTo>
                      <a:pt x="503682" y="133255"/>
                    </a:lnTo>
                    <a:lnTo>
                      <a:pt x="502825" y="131635"/>
                    </a:lnTo>
                    <a:lnTo>
                      <a:pt x="502825" y="132397"/>
                    </a:lnTo>
                    <a:lnTo>
                      <a:pt x="500253" y="129921"/>
                    </a:lnTo>
                    <a:lnTo>
                      <a:pt x="500253" y="129064"/>
                    </a:lnTo>
                    <a:lnTo>
                      <a:pt x="498634" y="129921"/>
                    </a:lnTo>
                    <a:lnTo>
                      <a:pt x="494348" y="132397"/>
                    </a:lnTo>
                    <a:lnTo>
                      <a:pt x="492728" y="132397"/>
                    </a:lnTo>
                    <a:lnTo>
                      <a:pt x="491014" y="131635"/>
                    </a:lnTo>
                    <a:lnTo>
                      <a:pt x="489299" y="130778"/>
                    </a:lnTo>
                    <a:lnTo>
                      <a:pt x="487680" y="131635"/>
                    </a:lnTo>
                    <a:lnTo>
                      <a:pt x="486823" y="134112"/>
                    </a:lnTo>
                    <a:lnTo>
                      <a:pt x="485966" y="135826"/>
                    </a:lnTo>
                    <a:lnTo>
                      <a:pt x="484251" y="136684"/>
                    </a:lnTo>
                    <a:lnTo>
                      <a:pt x="482537" y="136684"/>
                    </a:lnTo>
                    <a:lnTo>
                      <a:pt x="480917" y="134969"/>
                    </a:lnTo>
                    <a:lnTo>
                      <a:pt x="479203" y="134112"/>
                    </a:lnTo>
                    <a:lnTo>
                      <a:pt x="476726" y="134969"/>
                    </a:lnTo>
                    <a:lnTo>
                      <a:pt x="475869" y="135826"/>
                    </a:lnTo>
                    <a:lnTo>
                      <a:pt x="473297" y="138398"/>
                    </a:lnTo>
                    <a:lnTo>
                      <a:pt x="469106" y="140017"/>
                    </a:lnTo>
                    <a:lnTo>
                      <a:pt x="464915" y="139160"/>
                    </a:lnTo>
                    <a:lnTo>
                      <a:pt x="457295" y="134112"/>
                    </a:lnTo>
                    <a:lnTo>
                      <a:pt x="453866" y="134112"/>
                    </a:lnTo>
                    <a:lnTo>
                      <a:pt x="450533" y="134112"/>
                    </a:lnTo>
                    <a:lnTo>
                      <a:pt x="446342" y="134969"/>
                    </a:lnTo>
                    <a:lnTo>
                      <a:pt x="443770" y="136684"/>
                    </a:lnTo>
                    <a:lnTo>
                      <a:pt x="442055" y="138398"/>
                    </a:lnTo>
                    <a:lnTo>
                      <a:pt x="440436" y="143446"/>
                    </a:lnTo>
                    <a:lnTo>
                      <a:pt x="438721" y="144304"/>
                    </a:lnTo>
                    <a:lnTo>
                      <a:pt x="437864" y="144304"/>
                    </a:lnTo>
                    <a:lnTo>
                      <a:pt x="432816" y="141732"/>
                    </a:lnTo>
                    <a:lnTo>
                      <a:pt x="431102" y="140875"/>
                    </a:lnTo>
                    <a:lnTo>
                      <a:pt x="430244" y="139160"/>
                    </a:lnTo>
                    <a:lnTo>
                      <a:pt x="429482" y="137541"/>
                    </a:lnTo>
                    <a:lnTo>
                      <a:pt x="428625" y="136684"/>
                    </a:lnTo>
                    <a:lnTo>
                      <a:pt x="425196" y="137541"/>
                    </a:lnTo>
                    <a:lnTo>
                      <a:pt x="419291" y="137541"/>
                    </a:lnTo>
                    <a:lnTo>
                      <a:pt x="415957" y="136684"/>
                    </a:lnTo>
                    <a:lnTo>
                      <a:pt x="413385" y="133255"/>
                    </a:lnTo>
                    <a:lnTo>
                      <a:pt x="411766" y="129064"/>
                    </a:lnTo>
                    <a:lnTo>
                      <a:pt x="410909" y="125730"/>
                    </a:lnTo>
                    <a:lnTo>
                      <a:pt x="410909" y="125730"/>
                    </a:lnTo>
                    <a:lnTo>
                      <a:pt x="410909" y="125730"/>
                    </a:lnTo>
                    <a:lnTo>
                      <a:pt x="409194" y="119825"/>
                    </a:lnTo>
                    <a:lnTo>
                      <a:pt x="409194" y="117253"/>
                    </a:lnTo>
                    <a:lnTo>
                      <a:pt x="409194" y="115538"/>
                    </a:lnTo>
                    <a:lnTo>
                      <a:pt x="407480" y="115538"/>
                    </a:lnTo>
                    <a:lnTo>
                      <a:pt x="405860" y="116396"/>
                    </a:lnTo>
                    <a:lnTo>
                      <a:pt x="402431" y="119825"/>
                    </a:lnTo>
                    <a:lnTo>
                      <a:pt x="401574" y="121444"/>
                    </a:lnTo>
                    <a:lnTo>
                      <a:pt x="397383" y="122301"/>
                    </a:lnTo>
                    <a:lnTo>
                      <a:pt x="394049" y="124015"/>
                    </a:lnTo>
                    <a:lnTo>
                      <a:pt x="390620" y="125730"/>
                    </a:lnTo>
                    <a:lnTo>
                      <a:pt x="389763" y="128206"/>
                    </a:lnTo>
                    <a:lnTo>
                      <a:pt x="388144" y="130778"/>
                    </a:lnTo>
                    <a:lnTo>
                      <a:pt x="384715" y="132397"/>
                    </a:lnTo>
                    <a:lnTo>
                      <a:pt x="382238" y="133255"/>
                    </a:lnTo>
                    <a:lnTo>
                      <a:pt x="381381" y="133255"/>
                    </a:lnTo>
                    <a:lnTo>
                      <a:pt x="377095" y="131635"/>
                    </a:lnTo>
                    <a:lnTo>
                      <a:pt x="375475" y="131635"/>
                    </a:lnTo>
                    <a:lnTo>
                      <a:pt x="374618" y="133255"/>
                    </a:lnTo>
                    <a:lnTo>
                      <a:pt x="373761" y="134969"/>
                    </a:lnTo>
                    <a:lnTo>
                      <a:pt x="372904" y="135826"/>
                    </a:lnTo>
                    <a:lnTo>
                      <a:pt x="371189" y="134969"/>
                    </a:lnTo>
                    <a:lnTo>
                      <a:pt x="363665" y="130778"/>
                    </a:lnTo>
                    <a:lnTo>
                      <a:pt x="356045" y="127349"/>
                    </a:lnTo>
                    <a:lnTo>
                      <a:pt x="353473" y="125730"/>
                    </a:lnTo>
                    <a:lnTo>
                      <a:pt x="353473" y="125730"/>
                    </a:lnTo>
                    <a:lnTo>
                      <a:pt x="351854" y="124015"/>
                    </a:lnTo>
                    <a:lnTo>
                      <a:pt x="350996" y="122301"/>
                    </a:lnTo>
                    <a:lnTo>
                      <a:pt x="349282" y="121444"/>
                    </a:lnTo>
                    <a:lnTo>
                      <a:pt x="346805" y="121444"/>
                    </a:lnTo>
                    <a:lnTo>
                      <a:pt x="343376" y="119825"/>
                    </a:lnTo>
                    <a:lnTo>
                      <a:pt x="336613" y="116396"/>
                    </a:lnTo>
                    <a:lnTo>
                      <a:pt x="333280" y="114681"/>
                    </a:lnTo>
                    <a:lnTo>
                      <a:pt x="332423" y="114681"/>
                    </a:lnTo>
                    <a:lnTo>
                      <a:pt x="329851" y="115538"/>
                    </a:lnTo>
                    <a:lnTo>
                      <a:pt x="329089" y="115538"/>
                    </a:lnTo>
                    <a:lnTo>
                      <a:pt x="328232" y="114681"/>
                    </a:lnTo>
                    <a:lnTo>
                      <a:pt x="328232" y="113062"/>
                    </a:lnTo>
                    <a:lnTo>
                      <a:pt x="327374" y="112204"/>
                    </a:lnTo>
                    <a:lnTo>
                      <a:pt x="325660" y="111347"/>
                    </a:lnTo>
                    <a:lnTo>
                      <a:pt x="323183" y="112204"/>
                    </a:lnTo>
                    <a:lnTo>
                      <a:pt x="319754" y="113062"/>
                    </a:lnTo>
                    <a:lnTo>
                      <a:pt x="317278" y="114681"/>
                    </a:lnTo>
                    <a:lnTo>
                      <a:pt x="316421" y="114681"/>
                    </a:lnTo>
                    <a:lnTo>
                      <a:pt x="314706" y="114681"/>
                    </a:lnTo>
                    <a:lnTo>
                      <a:pt x="313849" y="114681"/>
                    </a:lnTo>
                    <a:lnTo>
                      <a:pt x="313849" y="113919"/>
                    </a:lnTo>
                    <a:lnTo>
                      <a:pt x="312992" y="113062"/>
                    </a:lnTo>
                    <a:lnTo>
                      <a:pt x="311372" y="113062"/>
                    </a:lnTo>
                    <a:lnTo>
                      <a:pt x="310515" y="113062"/>
                    </a:lnTo>
                    <a:lnTo>
                      <a:pt x="310515" y="113062"/>
                    </a:lnTo>
                    <a:lnTo>
                      <a:pt x="307943" y="113062"/>
                    </a:lnTo>
                    <a:lnTo>
                      <a:pt x="307086" y="113062"/>
                    </a:lnTo>
                    <a:lnTo>
                      <a:pt x="307086" y="112204"/>
                    </a:lnTo>
                    <a:lnTo>
                      <a:pt x="299561" y="107156"/>
                    </a:lnTo>
                    <a:lnTo>
                      <a:pt x="296132" y="106299"/>
                    </a:lnTo>
                    <a:lnTo>
                      <a:pt x="291941" y="107156"/>
                    </a:lnTo>
                    <a:lnTo>
                      <a:pt x="289370" y="108013"/>
                    </a:lnTo>
                    <a:lnTo>
                      <a:pt x="287750" y="108775"/>
                    </a:lnTo>
                    <a:lnTo>
                      <a:pt x="280130" y="115538"/>
                    </a:lnTo>
                    <a:lnTo>
                      <a:pt x="277559" y="116396"/>
                    </a:lnTo>
                    <a:lnTo>
                      <a:pt x="275939" y="117253"/>
                    </a:lnTo>
                    <a:lnTo>
                      <a:pt x="275082" y="116396"/>
                    </a:lnTo>
                    <a:lnTo>
                      <a:pt x="275082" y="115538"/>
                    </a:lnTo>
                    <a:lnTo>
                      <a:pt x="275082" y="114681"/>
                    </a:lnTo>
                    <a:lnTo>
                      <a:pt x="275082" y="113062"/>
                    </a:lnTo>
                    <a:lnTo>
                      <a:pt x="273367" y="112204"/>
                    </a:lnTo>
                    <a:lnTo>
                      <a:pt x="272510" y="113062"/>
                    </a:lnTo>
                    <a:lnTo>
                      <a:pt x="271653" y="113062"/>
                    </a:lnTo>
                    <a:lnTo>
                      <a:pt x="270796" y="113062"/>
                    </a:lnTo>
                    <a:lnTo>
                      <a:pt x="264890" y="108013"/>
                    </a:lnTo>
                    <a:lnTo>
                      <a:pt x="263271" y="106299"/>
                    </a:lnTo>
                    <a:lnTo>
                      <a:pt x="261557" y="102108"/>
                    </a:lnTo>
                    <a:lnTo>
                      <a:pt x="262414" y="92773"/>
                    </a:lnTo>
                    <a:lnTo>
                      <a:pt x="261557" y="88583"/>
                    </a:lnTo>
                    <a:lnTo>
                      <a:pt x="259842" y="86868"/>
                    </a:lnTo>
                    <a:lnTo>
                      <a:pt x="251460" y="81820"/>
                    </a:lnTo>
                    <a:lnTo>
                      <a:pt x="250603" y="81820"/>
                    </a:lnTo>
                    <a:lnTo>
                      <a:pt x="241268" y="85154"/>
                    </a:lnTo>
                    <a:lnTo>
                      <a:pt x="237077" y="87725"/>
                    </a:lnTo>
                    <a:lnTo>
                      <a:pt x="232886" y="90297"/>
                    </a:lnTo>
                    <a:lnTo>
                      <a:pt x="231172" y="90297"/>
                    </a:lnTo>
                    <a:lnTo>
                      <a:pt x="228695" y="90297"/>
                    </a:lnTo>
                    <a:lnTo>
                      <a:pt x="226981" y="89440"/>
                    </a:lnTo>
                    <a:lnTo>
                      <a:pt x="225266" y="91059"/>
                    </a:lnTo>
                    <a:lnTo>
                      <a:pt x="223552" y="93631"/>
                    </a:lnTo>
                    <a:lnTo>
                      <a:pt x="223552" y="93631"/>
                    </a:lnTo>
                    <a:lnTo>
                      <a:pt x="221933" y="94488"/>
                    </a:lnTo>
                    <a:lnTo>
                      <a:pt x="217646" y="96202"/>
                    </a:lnTo>
                    <a:lnTo>
                      <a:pt x="216027" y="96202"/>
                    </a:lnTo>
                    <a:lnTo>
                      <a:pt x="205835" y="93631"/>
                    </a:lnTo>
                    <a:lnTo>
                      <a:pt x="202502" y="90297"/>
                    </a:lnTo>
                    <a:lnTo>
                      <a:pt x="202502" y="86011"/>
                    </a:lnTo>
                    <a:lnTo>
                      <a:pt x="202502" y="81820"/>
                    </a:lnTo>
                    <a:lnTo>
                      <a:pt x="198311" y="80105"/>
                    </a:lnTo>
                    <a:lnTo>
                      <a:pt x="195739" y="80105"/>
                    </a:lnTo>
                    <a:lnTo>
                      <a:pt x="189833" y="82677"/>
                    </a:lnTo>
                    <a:lnTo>
                      <a:pt x="186500" y="82677"/>
                    </a:lnTo>
                    <a:lnTo>
                      <a:pt x="186500" y="80963"/>
                    </a:lnTo>
                    <a:lnTo>
                      <a:pt x="186500" y="79248"/>
                    </a:lnTo>
                    <a:lnTo>
                      <a:pt x="184785" y="78486"/>
                    </a:lnTo>
                    <a:lnTo>
                      <a:pt x="183071" y="78486"/>
                    </a:lnTo>
                    <a:lnTo>
                      <a:pt x="182213" y="77629"/>
                    </a:lnTo>
                    <a:lnTo>
                      <a:pt x="179737" y="76771"/>
                    </a:lnTo>
                    <a:lnTo>
                      <a:pt x="178879" y="74200"/>
                    </a:lnTo>
                    <a:lnTo>
                      <a:pt x="178022" y="71723"/>
                    </a:lnTo>
                    <a:lnTo>
                      <a:pt x="176308" y="69151"/>
                    </a:lnTo>
                    <a:lnTo>
                      <a:pt x="173831" y="67437"/>
                    </a:lnTo>
                    <a:lnTo>
                      <a:pt x="168783" y="65818"/>
                    </a:lnTo>
                    <a:lnTo>
                      <a:pt x="166211" y="64103"/>
                    </a:lnTo>
                    <a:lnTo>
                      <a:pt x="166211" y="64103"/>
                    </a:lnTo>
                    <a:lnTo>
                      <a:pt x="164497" y="62389"/>
                    </a:lnTo>
                    <a:lnTo>
                      <a:pt x="162878" y="62389"/>
                    </a:lnTo>
                    <a:lnTo>
                      <a:pt x="161163" y="62389"/>
                    </a:lnTo>
                    <a:lnTo>
                      <a:pt x="159449" y="64103"/>
                    </a:lnTo>
                    <a:lnTo>
                      <a:pt x="158591" y="64103"/>
                    </a:lnTo>
                    <a:lnTo>
                      <a:pt x="145161" y="60769"/>
                    </a:lnTo>
                    <a:lnTo>
                      <a:pt x="143446" y="59055"/>
                    </a:lnTo>
                    <a:lnTo>
                      <a:pt x="143446" y="56483"/>
                    </a:lnTo>
                    <a:lnTo>
                      <a:pt x="144304" y="54007"/>
                    </a:lnTo>
                    <a:lnTo>
                      <a:pt x="146018" y="51435"/>
                    </a:lnTo>
                    <a:lnTo>
                      <a:pt x="146780" y="48958"/>
                    </a:lnTo>
                    <a:lnTo>
                      <a:pt x="147638" y="43815"/>
                    </a:lnTo>
                    <a:lnTo>
                      <a:pt x="146780" y="38767"/>
                    </a:lnTo>
                    <a:lnTo>
                      <a:pt x="146018" y="34576"/>
                    </a:lnTo>
                    <a:lnTo>
                      <a:pt x="144304" y="29527"/>
                    </a:lnTo>
                    <a:lnTo>
                      <a:pt x="140875" y="25241"/>
                    </a:lnTo>
                    <a:lnTo>
                      <a:pt x="138398" y="23622"/>
                    </a:lnTo>
                    <a:lnTo>
                      <a:pt x="106299" y="17717"/>
                    </a:lnTo>
                    <a:lnTo>
                      <a:pt x="104680" y="16002"/>
                    </a:lnTo>
                    <a:lnTo>
                      <a:pt x="102108" y="13430"/>
                    </a:lnTo>
                    <a:lnTo>
                      <a:pt x="101251" y="10954"/>
                    </a:lnTo>
                    <a:lnTo>
                      <a:pt x="99536" y="10096"/>
                    </a:lnTo>
                    <a:lnTo>
                      <a:pt x="96203" y="10096"/>
                    </a:lnTo>
                    <a:lnTo>
                      <a:pt x="95345" y="10096"/>
                    </a:lnTo>
                    <a:lnTo>
                      <a:pt x="93631" y="6763"/>
                    </a:lnTo>
                    <a:lnTo>
                      <a:pt x="92869" y="5905"/>
                    </a:lnTo>
                    <a:lnTo>
                      <a:pt x="90297" y="4191"/>
                    </a:lnTo>
                    <a:lnTo>
                      <a:pt x="89440" y="4191"/>
                    </a:lnTo>
                    <a:lnTo>
                      <a:pt x="87725" y="2476"/>
                    </a:lnTo>
                    <a:lnTo>
                      <a:pt x="87725" y="857"/>
                    </a:lnTo>
                    <a:lnTo>
                      <a:pt x="86106" y="0"/>
                    </a:lnTo>
                    <a:lnTo>
                      <a:pt x="83534" y="857"/>
                    </a:lnTo>
                    <a:lnTo>
                      <a:pt x="77629" y="8382"/>
                    </a:lnTo>
                    <a:lnTo>
                      <a:pt x="75914" y="9239"/>
                    </a:lnTo>
                    <a:lnTo>
                      <a:pt x="72581" y="10096"/>
                    </a:lnTo>
                    <a:lnTo>
                      <a:pt x="67532" y="9239"/>
                    </a:lnTo>
                    <a:lnTo>
                      <a:pt x="66675" y="8382"/>
                    </a:lnTo>
                    <a:lnTo>
                      <a:pt x="65818" y="8382"/>
                    </a:lnTo>
                    <a:lnTo>
                      <a:pt x="64103" y="9239"/>
                    </a:lnTo>
                    <a:lnTo>
                      <a:pt x="58198" y="9239"/>
                    </a:lnTo>
                    <a:lnTo>
                      <a:pt x="56579" y="10096"/>
                    </a:lnTo>
                    <a:lnTo>
                      <a:pt x="57436" y="12668"/>
                    </a:lnTo>
                    <a:lnTo>
                      <a:pt x="60770" y="16002"/>
                    </a:lnTo>
                    <a:lnTo>
                      <a:pt x="60770" y="16859"/>
                    </a:lnTo>
                    <a:lnTo>
                      <a:pt x="61627" y="18574"/>
                    </a:lnTo>
                    <a:lnTo>
                      <a:pt x="61627" y="19336"/>
                    </a:lnTo>
                    <a:lnTo>
                      <a:pt x="59912" y="20193"/>
                    </a:lnTo>
                    <a:lnTo>
                      <a:pt x="59055" y="20193"/>
                    </a:lnTo>
                    <a:lnTo>
                      <a:pt x="59055" y="21050"/>
                    </a:lnTo>
                    <a:lnTo>
                      <a:pt x="58198" y="21050"/>
                    </a:lnTo>
                    <a:lnTo>
                      <a:pt x="58198" y="21050"/>
                    </a:lnTo>
                    <a:lnTo>
                      <a:pt x="58198" y="22765"/>
                    </a:lnTo>
                    <a:lnTo>
                      <a:pt x="58198" y="22765"/>
                    </a:lnTo>
                    <a:lnTo>
                      <a:pt x="58198" y="23622"/>
                    </a:lnTo>
                    <a:lnTo>
                      <a:pt x="58198" y="23622"/>
                    </a:lnTo>
                    <a:lnTo>
                      <a:pt x="61627" y="23622"/>
                    </a:lnTo>
                    <a:lnTo>
                      <a:pt x="62484" y="23622"/>
                    </a:lnTo>
                    <a:lnTo>
                      <a:pt x="63341" y="24479"/>
                    </a:lnTo>
                    <a:lnTo>
                      <a:pt x="63341" y="25241"/>
                    </a:lnTo>
                    <a:lnTo>
                      <a:pt x="62484" y="28670"/>
                    </a:lnTo>
                    <a:lnTo>
                      <a:pt x="62484" y="29527"/>
                    </a:lnTo>
                    <a:lnTo>
                      <a:pt x="62484" y="30385"/>
                    </a:lnTo>
                    <a:lnTo>
                      <a:pt x="64103" y="31242"/>
                    </a:lnTo>
                    <a:lnTo>
                      <a:pt x="64961" y="32004"/>
                    </a:lnTo>
                    <a:lnTo>
                      <a:pt x="66675" y="33718"/>
                    </a:lnTo>
                    <a:lnTo>
                      <a:pt x="66675" y="33718"/>
                    </a:lnTo>
                    <a:lnTo>
                      <a:pt x="68390" y="36290"/>
                    </a:lnTo>
                    <a:lnTo>
                      <a:pt x="68390" y="38767"/>
                    </a:lnTo>
                    <a:lnTo>
                      <a:pt x="68390" y="40481"/>
                    </a:lnTo>
                    <a:lnTo>
                      <a:pt x="67532" y="43815"/>
                    </a:lnTo>
                    <a:lnTo>
                      <a:pt x="68390" y="44672"/>
                    </a:lnTo>
                    <a:lnTo>
                      <a:pt x="69247" y="46387"/>
                    </a:lnTo>
                    <a:lnTo>
                      <a:pt x="71723" y="48101"/>
                    </a:lnTo>
                    <a:lnTo>
                      <a:pt x="72581" y="48958"/>
                    </a:lnTo>
                    <a:lnTo>
                      <a:pt x="74295" y="52292"/>
                    </a:lnTo>
                    <a:lnTo>
                      <a:pt x="74295" y="54007"/>
                    </a:lnTo>
                    <a:lnTo>
                      <a:pt x="76771" y="55626"/>
                    </a:lnTo>
                    <a:lnTo>
                      <a:pt x="77629" y="56483"/>
                    </a:lnTo>
                    <a:lnTo>
                      <a:pt x="77629" y="58198"/>
                    </a:lnTo>
                    <a:lnTo>
                      <a:pt x="77629" y="59912"/>
                    </a:lnTo>
                    <a:lnTo>
                      <a:pt x="77629" y="63246"/>
                    </a:lnTo>
                    <a:lnTo>
                      <a:pt x="77629" y="64103"/>
                    </a:lnTo>
                    <a:lnTo>
                      <a:pt x="81058" y="70866"/>
                    </a:lnTo>
                    <a:lnTo>
                      <a:pt x="82677" y="73342"/>
                    </a:lnTo>
                    <a:lnTo>
                      <a:pt x="84392" y="74200"/>
                    </a:lnTo>
                    <a:lnTo>
                      <a:pt x="85249" y="75057"/>
                    </a:lnTo>
                    <a:lnTo>
                      <a:pt x="86963" y="75914"/>
                    </a:lnTo>
                    <a:lnTo>
                      <a:pt x="87725" y="76771"/>
                    </a:lnTo>
                    <a:lnTo>
                      <a:pt x="91154" y="79248"/>
                    </a:lnTo>
                    <a:lnTo>
                      <a:pt x="92012" y="79248"/>
                    </a:lnTo>
                    <a:lnTo>
                      <a:pt x="92869" y="78486"/>
                    </a:lnTo>
                    <a:lnTo>
                      <a:pt x="93631" y="77629"/>
                    </a:lnTo>
                    <a:lnTo>
                      <a:pt x="94488" y="77629"/>
                    </a:lnTo>
                    <a:lnTo>
                      <a:pt x="95345" y="76771"/>
                    </a:lnTo>
                    <a:lnTo>
                      <a:pt x="96203" y="76771"/>
                    </a:lnTo>
                    <a:lnTo>
                      <a:pt x="97917" y="76771"/>
                    </a:lnTo>
                    <a:lnTo>
                      <a:pt x="98774" y="76771"/>
                    </a:lnTo>
                    <a:lnTo>
                      <a:pt x="99536" y="76771"/>
                    </a:lnTo>
                    <a:lnTo>
                      <a:pt x="100394" y="77629"/>
                    </a:lnTo>
                    <a:lnTo>
                      <a:pt x="101251" y="79248"/>
                    </a:lnTo>
                    <a:lnTo>
                      <a:pt x="102108" y="81820"/>
                    </a:lnTo>
                    <a:lnTo>
                      <a:pt x="102108" y="83534"/>
                    </a:lnTo>
                    <a:lnTo>
                      <a:pt x="102108" y="86011"/>
                    </a:lnTo>
                    <a:lnTo>
                      <a:pt x="101251" y="91916"/>
                    </a:lnTo>
                    <a:lnTo>
                      <a:pt x="101251" y="92773"/>
                    </a:lnTo>
                    <a:lnTo>
                      <a:pt x="102108" y="93631"/>
                    </a:lnTo>
                    <a:lnTo>
                      <a:pt x="102965" y="93631"/>
                    </a:lnTo>
                    <a:lnTo>
                      <a:pt x="104680" y="93631"/>
                    </a:lnTo>
                    <a:lnTo>
                      <a:pt x="106299" y="93631"/>
                    </a:lnTo>
                    <a:lnTo>
                      <a:pt x="107156" y="94488"/>
                    </a:lnTo>
                    <a:lnTo>
                      <a:pt x="108013" y="95345"/>
                    </a:lnTo>
                    <a:lnTo>
                      <a:pt x="116491" y="103727"/>
                    </a:lnTo>
                    <a:lnTo>
                      <a:pt x="117253" y="104584"/>
                    </a:lnTo>
                    <a:lnTo>
                      <a:pt x="118110" y="105442"/>
                    </a:lnTo>
                    <a:lnTo>
                      <a:pt x="118110" y="106299"/>
                    </a:lnTo>
                    <a:lnTo>
                      <a:pt x="118110" y="107156"/>
                    </a:lnTo>
                    <a:lnTo>
                      <a:pt x="116491" y="108013"/>
                    </a:lnTo>
                    <a:lnTo>
                      <a:pt x="99536" y="108013"/>
                    </a:lnTo>
                    <a:lnTo>
                      <a:pt x="96203" y="107156"/>
                    </a:lnTo>
                    <a:lnTo>
                      <a:pt x="92869" y="106299"/>
                    </a:lnTo>
                    <a:lnTo>
                      <a:pt x="92012" y="106299"/>
                    </a:lnTo>
                    <a:lnTo>
                      <a:pt x="89440" y="106299"/>
                    </a:lnTo>
                    <a:lnTo>
                      <a:pt x="86106" y="106299"/>
                    </a:lnTo>
                    <a:lnTo>
                      <a:pt x="86106" y="107156"/>
                    </a:lnTo>
                    <a:lnTo>
                      <a:pt x="85249" y="107156"/>
                    </a:lnTo>
                    <a:lnTo>
                      <a:pt x="84392" y="108013"/>
                    </a:lnTo>
                    <a:lnTo>
                      <a:pt x="83534" y="109633"/>
                    </a:lnTo>
                    <a:lnTo>
                      <a:pt x="82677" y="113919"/>
                    </a:lnTo>
                    <a:lnTo>
                      <a:pt x="81820" y="114681"/>
                    </a:lnTo>
                    <a:lnTo>
                      <a:pt x="81820" y="116396"/>
                    </a:lnTo>
                    <a:lnTo>
                      <a:pt x="80200" y="117253"/>
                    </a:lnTo>
                    <a:lnTo>
                      <a:pt x="79343" y="118110"/>
                    </a:lnTo>
                    <a:lnTo>
                      <a:pt x="78486" y="118110"/>
                    </a:lnTo>
                    <a:lnTo>
                      <a:pt x="74295" y="118967"/>
                    </a:lnTo>
                    <a:lnTo>
                      <a:pt x="73438" y="119825"/>
                    </a:lnTo>
                    <a:lnTo>
                      <a:pt x="73438" y="119825"/>
                    </a:lnTo>
                    <a:lnTo>
                      <a:pt x="73438" y="120587"/>
                    </a:lnTo>
                    <a:lnTo>
                      <a:pt x="71723" y="122301"/>
                    </a:lnTo>
                    <a:lnTo>
                      <a:pt x="70866" y="123158"/>
                    </a:lnTo>
                    <a:lnTo>
                      <a:pt x="70866" y="123158"/>
                    </a:lnTo>
                    <a:lnTo>
                      <a:pt x="70009" y="123158"/>
                    </a:lnTo>
                    <a:lnTo>
                      <a:pt x="70009" y="122301"/>
                    </a:lnTo>
                    <a:lnTo>
                      <a:pt x="69247" y="121444"/>
                    </a:lnTo>
                    <a:lnTo>
                      <a:pt x="69247" y="120587"/>
                    </a:lnTo>
                    <a:lnTo>
                      <a:pt x="69247" y="119825"/>
                    </a:lnTo>
                    <a:lnTo>
                      <a:pt x="69247" y="119825"/>
                    </a:lnTo>
                    <a:lnTo>
                      <a:pt x="68390" y="118967"/>
                    </a:lnTo>
                    <a:lnTo>
                      <a:pt x="68390" y="118967"/>
                    </a:lnTo>
                    <a:lnTo>
                      <a:pt x="67532" y="118967"/>
                    </a:lnTo>
                    <a:lnTo>
                      <a:pt x="66675" y="119825"/>
                    </a:lnTo>
                    <a:lnTo>
                      <a:pt x="65818" y="119825"/>
                    </a:lnTo>
                    <a:lnTo>
                      <a:pt x="65818" y="120587"/>
                    </a:lnTo>
                    <a:lnTo>
                      <a:pt x="65818" y="124873"/>
                    </a:lnTo>
                    <a:lnTo>
                      <a:pt x="65818" y="124873"/>
                    </a:lnTo>
                    <a:lnTo>
                      <a:pt x="65818" y="127349"/>
                    </a:lnTo>
                    <a:lnTo>
                      <a:pt x="65818" y="128206"/>
                    </a:lnTo>
                    <a:lnTo>
                      <a:pt x="66675" y="129064"/>
                    </a:lnTo>
                    <a:lnTo>
                      <a:pt x="68390" y="130778"/>
                    </a:lnTo>
                    <a:lnTo>
                      <a:pt x="70009" y="130778"/>
                    </a:lnTo>
                    <a:lnTo>
                      <a:pt x="71723" y="130778"/>
                    </a:lnTo>
                    <a:lnTo>
                      <a:pt x="72581" y="130778"/>
                    </a:lnTo>
                    <a:lnTo>
                      <a:pt x="73438" y="129921"/>
                    </a:lnTo>
                    <a:lnTo>
                      <a:pt x="74295" y="129921"/>
                    </a:lnTo>
                    <a:lnTo>
                      <a:pt x="75152" y="129921"/>
                    </a:lnTo>
                    <a:lnTo>
                      <a:pt x="75152" y="129064"/>
                    </a:lnTo>
                    <a:lnTo>
                      <a:pt x="75914" y="128206"/>
                    </a:lnTo>
                    <a:lnTo>
                      <a:pt x="76771" y="128206"/>
                    </a:lnTo>
                    <a:lnTo>
                      <a:pt x="77629" y="129064"/>
                    </a:lnTo>
                    <a:lnTo>
                      <a:pt x="79343" y="129921"/>
                    </a:lnTo>
                    <a:lnTo>
                      <a:pt x="81820" y="132397"/>
                    </a:lnTo>
                    <a:lnTo>
                      <a:pt x="84392" y="134112"/>
                    </a:lnTo>
                    <a:lnTo>
                      <a:pt x="86106" y="134969"/>
                    </a:lnTo>
                    <a:lnTo>
                      <a:pt x="94488" y="136684"/>
                    </a:lnTo>
                    <a:lnTo>
                      <a:pt x="95345" y="137541"/>
                    </a:lnTo>
                    <a:lnTo>
                      <a:pt x="95345" y="137541"/>
                    </a:lnTo>
                    <a:lnTo>
                      <a:pt x="95345" y="139160"/>
                    </a:lnTo>
                    <a:lnTo>
                      <a:pt x="94488" y="140875"/>
                    </a:lnTo>
                    <a:lnTo>
                      <a:pt x="92869" y="144304"/>
                    </a:lnTo>
                    <a:lnTo>
                      <a:pt x="92869" y="145066"/>
                    </a:lnTo>
                    <a:lnTo>
                      <a:pt x="92869" y="145923"/>
                    </a:lnTo>
                    <a:lnTo>
                      <a:pt x="93631" y="147638"/>
                    </a:lnTo>
                    <a:lnTo>
                      <a:pt x="95345" y="150209"/>
                    </a:lnTo>
                    <a:lnTo>
                      <a:pt x="95345" y="150971"/>
                    </a:lnTo>
                    <a:lnTo>
                      <a:pt x="95345" y="151829"/>
                    </a:lnTo>
                    <a:lnTo>
                      <a:pt x="92869" y="152686"/>
                    </a:lnTo>
                    <a:lnTo>
                      <a:pt x="90297" y="152686"/>
                    </a:lnTo>
                    <a:lnTo>
                      <a:pt x="89440" y="151829"/>
                    </a:lnTo>
                    <a:lnTo>
                      <a:pt x="88583" y="151829"/>
                    </a:lnTo>
                    <a:lnTo>
                      <a:pt x="87725" y="151829"/>
                    </a:lnTo>
                    <a:lnTo>
                      <a:pt x="86963" y="152686"/>
                    </a:lnTo>
                    <a:lnTo>
                      <a:pt x="86963" y="152686"/>
                    </a:lnTo>
                    <a:lnTo>
                      <a:pt x="85249" y="153543"/>
                    </a:lnTo>
                    <a:lnTo>
                      <a:pt x="84392" y="154400"/>
                    </a:lnTo>
                    <a:lnTo>
                      <a:pt x="83534" y="154400"/>
                    </a:lnTo>
                    <a:lnTo>
                      <a:pt x="77629" y="155258"/>
                    </a:lnTo>
                    <a:lnTo>
                      <a:pt x="75914" y="155258"/>
                    </a:lnTo>
                    <a:lnTo>
                      <a:pt x="75152" y="156115"/>
                    </a:lnTo>
                    <a:lnTo>
                      <a:pt x="74295" y="156115"/>
                    </a:lnTo>
                    <a:lnTo>
                      <a:pt x="74295" y="156877"/>
                    </a:lnTo>
                    <a:lnTo>
                      <a:pt x="73438" y="157734"/>
                    </a:lnTo>
                    <a:lnTo>
                      <a:pt x="73438" y="158591"/>
                    </a:lnTo>
                    <a:lnTo>
                      <a:pt x="73438" y="159448"/>
                    </a:lnTo>
                    <a:lnTo>
                      <a:pt x="73438" y="160306"/>
                    </a:lnTo>
                    <a:lnTo>
                      <a:pt x="74295" y="162020"/>
                    </a:lnTo>
                    <a:lnTo>
                      <a:pt x="76771" y="163639"/>
                    </a:lnTo>
                    <a:lnTo>
                      <a:pt x="78486" y="166211"/>
                    </a:lnTo>
                    <a:lnTo>
                      <a:pt x="81820" y="173831"/>
                    </a:lnTo>
                    <a:lnTo>
                      <a:pt x="82677" y="173831"/>
                    </a:lnTo>
                    <a:lnTo>
                      <a:pt x="84392" y="174593"/>
                    </a:lnTo>
                    <a:lnTo>
                      <a:pt x="85249" y="174593"/>
                    </a:lnTo>
                    <a:lnTo>
                      <a:pt x="86963" y="175450"/>
                    </a:lnTo>
                    <a:lnTo>
                      <a:pt x="88583" y="177165"/>
                    </a:lnTo>
                    <a:lnTo>
                      <a:pt x="90297" y="177165"/>
                    </a:lnTo>
                    <a:lnTo>
                      <a:pt x="91154" y="178022"/>
                    </a:lnTo>
                    <a:lnTo>
                      <a:pt x="92869" y="179737"/>
                    </a:lnTo>
                    <a:lnTo>
                      <a:pt x="93631" y="181356"/>
                    </a:lnTo>
                    <a:lnTo>
                      <a:pt x="94488" y="183071"/>
                    </a:lnTo>
                    <a:lnTo>
                      <a:pt x="95345" y="183928"/>
                    </a:lnTo>
                    <a:lnTo>
                      <a:pt x="96203" y="183928"/>
                    </a:lnTo>
                    <a:lnTo>
                      <a:pt x="97060" y="183928"/>
                    </a:lnTo>
                    <a:lnTo>
                      <a:pt x="97917" y="185642"/>
                    </a:lnTo>
                    <a:lnTo>
                      <a:pt x="98774" y="188976"/>
                    </a:lnTo>
                    <a:lnTo>
                      <a:pt x="99536" y="190690"/>
                    </a:lnTo>
                    <a:lnTo>
                      <a:pt x="100394" y="191548"/>
                    </a:lnTo>
                    <a:lnTo>
                      <a:pt x="101251" y="193167"/>
                    </a:lnTo>
                    <a:lnTo>
                      <a:pt x="103823" y="194881"/>
                    </a:lnTo>
                    <a:lnTo>
                      <a:pt x="105442" y="194881"/>
                    </a:lnTo>
                    <a:lnTo>
                      <a:pt x="107156" y="194881"/>
                    </a:lnTo>
                    <a:lnTo>
                      <a:pt x="111347" y="194024"/>
                    </a:lnTo>
                    <a:lnTo>
                      <a:pt x="113062" y="193167"/>
                    </a:lnTo>
                    <a:lnTo>
                      <a:pt x="115633" y="193167"/>
                    </a:lnTo>
                    <a:lnTo>
                      <a:pt x="117253" y="194024"/>
                    </a:lnTo>
                    <a:lnTo>
                      <a:pt x="118110" y="195739"/>
                    </a:lnTo>
                    <a:lnTo>
                      <a:pt x="119825" y="197453"/>
                    </a:lnTo>
                    <a:lnTo>
                      <a:pt x="119825" y="199072"/>
                    </a:lnTo>
                    <a:lnTo>
                      <a:pt x="120682" y="199072"/>
                    </a:lnTo>
                    <a:lnTo>
                      <a:pt x="124873" y="201644"/>
                    </a:lnTo>
                    <a:lnTo>
                      <a:pt x="126587" y="202501"/>
                    </a:lnTo>
                    <a:lnTo>
                      <a:pt x="129921" y="202501"/>
                    </a:lnTo>
                    <a:lnTo>
                      <a:pt x="131636" y="202501"/>
                    </a:lnTo>
                    <a:lnTo>
                      <a:pt x="133350" y="202501"/>
                    </a:lnTo>
                    <a:lnTo>
                      <a:pt x="140875" y="210026"/>
                    </a:lnTo>
                    <a:lnTo>
                      <a:pt x="141732" y="211741"/>
                    </a:lnTo>
                    <a:lnTo>
                      <a:pt x="141732" y="211741"/>
                    </a:lnTo>
                    <a:lnTo>
                      <a:pt x="141732" y="213455"/>
                    </a:lnTo>
                    <a:lnTo>
                      <a:pt x="140875" y="215170"/>
                    </a:lnTo>
                    <a:lnTo>
                      <a:pt x="140875" y="216789"/>
                    </a:lnTo>
                    <a:lnTo>
                      <a:pt x="140113" y="217646"/>
                    </a:lnTo>
                    <a:lnTo>
                      <a:pt x="139256" y="218504"/>
                    </a:lnTo>
                    <a:lnTo>
                      <a:pt x="134207" y="221837"/>
                    </a:lnTo>
                    <a:lnTo>
                      <a:pt x="133350" y="221837"/>
                    </a:lnTo>
                    <a:lnTo>
                      <a:pt x="132493" y="222694"/>
                    </a:lnTo>
                    <a:lnTo>
                      <a:pt x="129064" y="222694"/>
                    </a:lnTo>
                    <a:lnTo>
                      <a:pt x="128302" y="222694"/>
                    </a:lnTo>
                    <a:lnTo>
                      <a:pt x="127445" y="221837"/>
                    </a:lnTo>
                    <a:lnTo>
                      <a:pt x="125730" y="221075"/>
                    </a:lnTo>
                    <a:lnTo>
                      <a:pt x="123158" y="220218"/>
                    </a:lnTo>
                    <a:lnTo>
                      <a:pt x="120682" y="218504"/>
                    </a:lnTo>
                    <a:lnTo>
                      <a:pt x="117253" y="215170"/>
                    </a:lnTo>
                    <a:lnTo>
                      <a:pt x="115633" y="214313"/>
                    </a:lnTo>
                    <a:lnTo>
                      <a:pt x="113919" y="215170"/>
                    </a:lnTo>
                    <a:lnTo>
                      <a:pt x="112204" y="215932"/>
                    </a:lnTo>
                    <a:lnTo>
                      <a:pt x="110585" y="216789"/>
                    </a:lnTo>
                    <a:lnTo>
                      <a:pt x="109728" y="217646"/>
                    </a:lnTo>
                    <a:lnTo>
                      <a:pt x="108871" y="220218"/>
                    </a:lnTo>
                    <a:lnTo>
                      <a:pt x="110585" y="223552"/>
                    </a:lnTo>
                    <a:lnTo>
                      <a:pt x="110585" y="224409"/>
                    </a:lnTo>
                    <a:lnTo>
                      <a:pt x="110585" y="225266"/>
                    </a:lnTo>
                    <a:lnTo>
                      <a:pt x="110585" y="225266"/>
                    </a:lnTo>
                    <a:lnTo>
                      <a:pt x="110585" y="226123"/>
                    </a:lnTo>
                    <a:lnTo>
                      <a:pt x="110585" y="226981"/>
                    </a:lnTo>
                    <a:lnTo>
                      <a:pt x="110585" y="227743"/>
                    </a:lnTo>
                    <a:lnTo>
                      <a:pt x="109728" y="227743"/>
                    </a:lnTo>
                    <a:lnTo>
                      <a:pt x="108871" y="228600"/>
                    </a:lnTo>
                    <a:lnTo>
                      <a:pt x="106299" y="229457"/>
                    </a:lnTo>
                    <a:lnTo>
                      <a:pt x="105442" y="229457"/>
                    </a:lnTo>
                    <a:lnTo>
                      <a:pt x="102965" y="229457"/>
                    </a:lnTo>
                    <a:lnTo>
                      <a:pt x="102108" y="229457"/>
                    </a:lnTo>
                    <a:lnTo>
                      <a:pt x="101251" y="229457"/>
                    </a:lnTo>
                    <a:lnTo>
                      <a:pt x="101251" y="228600"/>
                    </a:lnTo>
                    <a:lnTo>
                      <a:pt x="99536" y="227743"/>
                    </a:lnTo>
                    <a:lnTo>
                      <a:pt x="99536" y="227743"/>
                    </a:lnTo>
                    <a:lnTo>
                      <a:pt x="98774" y="226981"/>
                    </a:lnTo>
                    <a:lnTo>
                      <a:pt x="98774" y="226981"/>
                    </a:lnTo>
                    <a:lnTo>
                      <a:pt x="98774" y="226123"/>
                    </a:lnTo>
                    <a:lnTo>
                      <a:pt x="98774" y="225266"/>
                    </a:lnTo>
                    <a:lnTo>
                      <a:pt x="97917" y="224409"/>
                    </a:lnTo>
                    <a:lnTo>
                      <a:pt x="97917" y="223552"/>
                    </a:lnTo>
                    <a:lnTo>
                      <a:pt x="97917" y="223552"/>
                    </a:lnTo>
                    <a:lnTo>
                      <a:pt x="97917" y="222694"/>
                    </a:lnTo>
                    <a:lnTo>
                      <a:pt x="98774" y="221837"/>
                    </a:lnTo>
                    <a:lnTo>
                      <a:pt x="98774" y="220218"/>
                    </a:lnTo>
                    <a:lnTo>
                      <a:pt x="97917" y="219361"/>
                    </a:lnTo>
                    <a:lnTo>
                      <a:pt x="94488" y="216789"/>
                    </a:lnTo>
                    <a:lnTo>
                      <a:pt x="90297" y="218504"/>
                    </a:lnTo>
                    <a:lnTo>
                      <a:pt x="81058" y="226123"/>
                    </a:lnTo>
                    <a:lnTo>
                      <a:pt x="75152" y="233648"/>
                    </a:lnTo>
                    <a:lnTo>
                      <a:pt x="72581" y="236220"/>
                    </a:lnTo>
                    <a:lnTo>
                      <a:pt x="65818" y="240411"/>
                    </a:lnTo>
                    <a:lnTo>
                      <a:pt x="64961" y="242125"/>
                    </a:lnTo>
                    <a:lnTo>
                      <a:pt x="64103" y="242983"/>
                    </a:lnTo>
                    <a:lnTo>
                      <a:pt x="62484" y="244697"/>
                    </a:lnTo>
                    <a:lnTo>
                      <a:pt x="59055" y="246317"/>
                    </a:lnTo>
                    <a:lnTo>
                      <a:pt x="54864" y="248031"/>
                    </a:lnTo>
                    <a:lnTo>
                      <a:pt x="54007" y="248888"/>
                    </a:lnTo>
                    <a:lnTo>
                      <a:pt x="53150" y="249746"/>
                    </a:lnTo>
                    <a:lnTo>
                      <a:pt x="53150" y="251460"/>
                    </a:lnTo>
                    <a:lnTo>
                      <a:pt x="49816" y="253079"/>
                    </a:lnTo>
                    <a:lnTo>
                      <a:pt x="38862" y="260699"/>
                    </a:lnTo>
                    <a:lnTo>
                      <a:pt x="23622" y="269176"/>
                    </a:lnTo>
                    <a:lnTo>
                      <a:pt x="22003" y="269938"/>
                    </a:lnTo>
                    <a:lnTo>
                      <a:pt x="17717" y="273367"/>
                    </a:lnTo>
                    <a:lnTo>
                      <a:pt x="16097" y="274225"/>
                    </a:lnTo>
                    <a:lnTo>
                      <a:pt x="10954" y="276701"/>
                    </a:lnTo>
                    <a:lnTo>
                      <a:pt x="6763" y="278416"/>
                    </a:lnTo>
                    <a:lnTo>
                      <a:pt x="5906" y="280130"/>
                    </a:lnTo>
                    <a:lnTo>
                      <a:pt x="4286" y="281750"/>
                    </a:lnTo>
                    <a:lnTo>
                      <a:pt x="2572" y="283464"/>
                    </a:lnTo>
                    <a:lnTo>
                      <a:pt x="2572" y="284321"/>
                    </a:lnTo>
                    <a:lnTo>
                      <a:pt x="1715" y="285179"/>
                    </a:lnTo>
                    <a:lnTo>
                      <a:pt x="1715" y="286893"/>
                    </a:lnTo>
                    <a:lnTo>
                      <a:pt x="857" y="289369"/>
                    </a:lnTo>
                    <a:lnTo>
                      <a:pt x="857" y="296132"/>
                    </a:lnTo>
                    <a:lnTo>
                      <a:pt x="0" y="297847"/>
                    </a:lnTo>
                    <a:lnTo>
                      <a:pt x="857" y="299466"/>
                    </a:lnTo>
                    <a:lnTo>
                      <a:pt x="857" y="300323"/>
                    </a:lnTo>
                    <a:lnTo>
                      <a:pt x="1715" y="302895"/>
                    </a:lnTo>
                    <a:lnTo>
                      <a:pt x="4286" y="306229"/>
                    </a:lnTo>
                    <a:lnTo>
                      <a:pt x="5048" y="307086"/>
                    </a:lnTo>
                    <a:lnTo>
                      <a:pt x="5048" y="307086"/>
                    </a:lnTo>
                    <a:lnTo>
                      <a:pt x="5048" y="311277"/>
                    </a:lnTo>
                    <a:lnTo>
                      <a:pt x="5048" y="315563"/>
                    </a:lnTo>
                    <a:lnTo>
                      <a:pt x="5048" y="317183"/>
                    </a:lnTo>
                    <a:lnTo>
                      <a:pt x="4286" y="318897"/>
                    </a:lnTo>
                    <a:lnTo>
                      <a:pt x="4286" y="319754"/>
                    </a:lnTo>
                    <a:lnTo>
                      <a:pt x="3429" y="320612"/>
                    </a:lnTo>
                    <a:lnTo>
                      <a:pt x="4286" y="322326"/>
                    </a:lnTo>
                    <a:lnTo>
                      <a:pt x="4286" y="323945"/>
                    </a:lnTo>
                    <a:lnTo>
                      <a:pt x="6763" y="326517"/>
                    </a:lnTo>
                    <a:lnTo>
                      <a:pt x="7620" y="326517"/>
                    </a:lnTo>
                    <a:lnTo>
                      <a:pt x="8477" y="327374"/>
                    </a:lnTo>
                    <a:lnTo>
                      <a:pt x="9335" y="327374"/>
                    </a:lnTo>
                    <a:lnTo>
                      <a:pt x="11811" y="330708"/>
                    </a:lnTo>
                    <a:lnTo>
                      <a:pt x="12668" y="332422"/>
                    </a:lnTo>
                    <a:lnTo>
                      <a:pt x="13525" y="333280"/>
                    </a:lnTo>
                    <a:lnTo>
                      <a:pt x="15240" y="334137"/>
                    </a:lnTo>
                    <a:lnTo>
                      <a:pt x="16859" y="334899"/>
                    </a:lnTo>
                    <a:lnTo>
                      <a:pt x="21146" y="335756"/>
                    </a:lnTo>
                    <a:lnTo>
                      <a:pt x="22003" y="336613"/>
                    </a:lnTo>
                    <a:lnTo>
                      <a:pt x="22765" y="338328"/>
                    </a:lnTo>
                    <a:lnTo>
                      <a:pt x="22765" y="340042"/>
                    </a:lnTo>
                    <a:lnTo>
                      <a:pt x="23622" y="341662"/>
                    </a:lnTo>
                    <a:lnTo>
                      <a:pt x="23622" y="343376"/>
                    </a:lnTo>
                    <a:lnTo>
                      <a:pt x="21146" y="346710"/>
                    </a:lnTo>
                    <a:lnTo>
                      <a:pt x="21146" y="347567"/>
                    </a:lnTo>
                    <a:lnTo>
                      <a:pt x="21146" y="348425"/>
                    </a:lnTo>
                    <a:lnTo>
                      <a:pt x="22765" y="350996"/>
                    </a:lnTo>
                    <a:lnTo>
                      <a:pt x="22765" y="351854"/>
                    </a:lnTo>
                    <a:lnTo>
                      <a:pt x="22003" y="353473"/>
                    </a:lnTo>
                    <a:lnTo>
                      <a:pt x="22003" y="356044"/>
                    </a:lnTo>
                    <a:lnTo>
                      <a:pt x="22765" y="360235"/>
                    </a:lnTo>
                    <a:lnTo>
                      <a:pt x="22765" y="363664"/>
                    </a:lnTo>
                    <a:lnTo>
                      <a:pt x="23622" y="363664"/>
                    </a:lnTo>
                    <a:lnTo>
                      <a:pt x="34576" y="365284"/>
                    </a:lnTo>
                    <a:lnTo>
                      <a:pt x="41338" y="366998"/>
                    </a:lnTo>
                    <a:lnTo>
                      <a:pt x="47244" y="366141"/>
                    </a:lnTo>
                    <a:lnTo>
                      <a:pt x="48958" y="366141"/>
                    </a:lnTo>
                    <a:lnTo>
                      <a:pt x="51530" y="362807"/>
                    </a:lnTo>
                    <a:lnTo>
                      <a:pt x="54007" y="361950"/>
                    </a:lnTo>
                    <a:lnTo>
                      <a:pt x="54864" y="362807"/>
                    </a:lnTo>
                    <a:lnTo>
                      <a:pt x="57436" y="363664"/>
                    </a:lnTo>
                    <a:lnTo>
                      <a:pt x="58198" y="363664"/>
                    </a:lnTo>
                    <a:lnTo>
                      <a:pt x="59055" y="363664"/>
                    </a:lnTo>
                    <a:lnTo>
                      <a:pt x="61627" y="362807"/>
                    </a:lnTo>
                    <a:lnTo>
                      <a:pt x="65818" y="361950"/>
                    </a:lnTo>
                    <a:lnTo>
                      <a:pt x="67532" y="361950"/>
                    </a:lnTo>
                    <a:lnTo>
                      <a:pt x="69247" y="360235"/>
                    </a:lnTo>
                    <a:lnTo>
                      <a:pt x="70866" y="358616"/>
                    </a:lnTo>
                    <a:lnTo>
                      <a:pt x="72581" y="357759"/>
                    </a:lnTo>
                    <a:lnTo>
                      <a:pt x="73438" y="356902"/>
                    </a:lnTo>
                    <a:lnTo>
                      <a:pt x="74295" y="356902"/>
                    </a:lnTo>
                    <a:lnTo>
                      <a:pt x="74295" y="356044"/>
                    </a:lnTo>
                    <a:lnTo>
                      <a:pt x="74295" y="355187"/>
                    </a:lnTo>
                    <a:lnTo>
                      <a:pt x="75914" y="351854"/>
                    </a:lnTo>
                    <a:lnTo>
                      <a:pt x="76771" y="350996"/>
                    </a:lnTo>
                    <a:lnTo>
                      <a:pt x="76771" y="350996"/>
                    </a:lnTo>
                    <a:lnTo>
                      <a:pt x="77629" y="350996"/>
                    </a:lnTo>
                    <a:lnTo>
                      <a:pt x="79343" y="352711"/>
                    </a:lnTo>
                    <a:lnTo>
                      <a:pt x="83534" y="360235"/>
                    </a:lnTo>
                    <a:lnTo>
                      <a:pt x="85249" y="366998"/>
                    </a:lnTo>
                    <a:lnTo>
                      <a:pt x="86963" y="369570"/>
                    </a:lnTo>
                    <a:lnTo>
                      <a:pt x="87725" y="370427"/>
                    </a:lnTo>
                    <a:lnTo>
                      <a:pt x="89440" y="371189"/>
                    </a:lnTo>
                    <a:lnTo>
                      <a:pt x="90297" y="371189"/>
                    </a:lnTo>
                    <a:lnTo>
                      <a:pt x="90297" y="370427"/>
                    </a:lnTo>
                    <a:lnTo>
                      <a:pt x="91154" y="369570"/>
                    </a:lnTo>
                    <a:lnTo>
                      <a:pt x="91154" y="368713"/>
                    </a:lnTo>
                    <a:lnTo>
                      <a:pt x="91154" y="366998"/>
                    </a:lnTo>
                    <a:lnTo>
                      <a:pt x="92012" y="366998"/>
                    </a:lnTo>
                    <a:lnTo>
                      <a:pt x="92012" y="366141"/>
                    </a:lnTo>
                    <a:lnTo>
                      <a:pt x="92869" y="366141"/>
                    </a:lnTo>
                    <a:lnTo>
                      <a:pt x="93631" y="366998"/>
                    </a:lnTo>
                    <a:lnTo>
                      <a:pt x="93631" y="367855"/>
                    </a:lnTo>
                    <a:lnTo>
                      <a:pt x="93631" y="368713"/>
                    </a:lnTo>
                    <a:lnTo>
                      <a:pt x="93631" y="370427"/>
                    </a:lnTo>
                    <a:lnTo>
                      <a:pt x="94488" y="370427"/>
                    </a:lnTo>
                    <a:lnTo>
                      <a:pt x="95345" y="370427"/>
                    </a:lnTo>
                    <a:lnTo>
                      <a:pt x="96203" y="369570"/>
                    </a:lnTo>
                    <a:lnTo>
                      <a:pt x="96203" y="368713"/>
                    </a:lnTo>
                    <a:lnTo>
                      <a:pt x="96203" y="366141"/>
                    </a:lnTo>
                    <a:lnTo>
                      <a:pt x="96203" y="365284"/>
                    </a:lnTo>
                    <a:lnTo>
                      <a:pt x="97060" y="365284"/>
                    </a:lnTo>
                    <a:lnTo>
                      <a:pt x="97917" y="364522"/>
                    </a:lnTo>
                    <a:lnTo>
                      <a:pt x="99536" y="365284"/>
                    </a:lnTo>
                    <a:lnTo>
                      <a:pt x="100394" y="365284"/>
                    </a:lnTo>
                    <a:lnTo>
                      <a:pt x="101251" y="364522"/>
                    </a:lnTo>
                    <a:lnTo>
                      <a:pt x="102108" y="364522"/>
                    </a:lnTo>
                    <a:lnTo>
                      <a:pt x="102965" y="364522"/>
                    </a:lnTo>
                    <a:lnTo>
                      <a:pt x="103823" y="365284"/>
                    </a:lnTo>
                    <a:lnTo>
                      <a:pt x="104680" y="365284"/>
                    </a:lnTo>
                    <a:lnTo>
                      <a:pt x="105442" y="365284"/>
                    </a:lnTo>
                    <a:lnTo>
                      <a:pt x="106299" y="363664"/>
                    </a:lnTo>
                    <a:lnTo>
                      <a:pt x="107156" y="363664"/>
                    </a:lnTo>
                    <a:lnTo>
                      <a:pt x="108013" y="363664"/>
                    </a:lnTo>
                    <a:lnTo>
                      <a:pt x="108871" y="364522"/>
                    </a:lnTo>
                    <a:lnTo>
                      <a:pt x="110585" y="366998"/>
                    </a:lnTo>
                    <a:lnTo>
                      <a:pt x="110585" y="371189"/>
                    </a:lnTo>
                    <a:lnTo>
                      <a:pt x="109728" y="372046"/>
                    </a:lnTo>
                    <a:lnTo>
                      <a:pt x="108871" y="373761"/>
                    </a:lnTo>
                    <a:lnTo>
                      <a:pt x="108871" y="374618"/>
                    </a:lnTo>
                    <a:lnTo>
                      <a:pt x="112204" y="377095"/>
                    </a:lnTo>
                    <a:lnTo>
                      <a:pt x="113919" y="379667"/>
                    </a:lnTo>
                    <a:lnTo>
                      <a:pt x="114776" y="381381"/>
                    </a:lnTo>
                    <a:lnTo>
                      <a:pt x="116491" y="382238"/>
                    </a:lnTo>
                    <a:lnTo>
                      <a:pt x="119825" y="383858"/>
                    </a:lnTo>
                    <a:lnTo>
                      <a:pt x="122396" y="385572"/>
                    </a:lnTo>
                    <a:lnTo>
                      <a:pt x="123158" y="387287"/>
                    </a:lnTo>
                    <a:lnTo>
                      <a:pt x="124016" y="388144"/>
                    </a:lnTo>
                    <a:lnTo>
                      <a:pt x="124873" y="388906"/>
                    </a:lnTo>
                    <a:lnTo>
                      <a:pt x="126587" y="390620"/>
                    </a:lnTo>
                    <a:lnTo>
                      <a:pt x="128302" y="391477"/>
                    </a:lnTo>
                    <a:lnTo>
                      <a:pt x="129064" y="391477"/>
                    </a:lnTo>
                    <a:lnTo>
                      <a:pt x="130778" y="391477"/>
                    </a:lnTo>
                    <a:lnTo>
                      <a:pt x="131636" y="390620"/>
                    </a:lnTo>
                    <a:lnTo>
                      <a:pt x="134207" y="388144"/>
                    </a:lnTo>
                    <a:lnTo>
                      <a:pt x="134207" y="387287"/>
                    </a:lnTo>
                    <a:lnTo>
                      <a:pt x="134969" y="386429"/>
                    </a:lnTo>
                    <a:lnTo>
                      <a:pt x="134969" y="385572"/>
                    </a:lnTo>
                    <a:lnTo>
                      <a:pt x="137541" y="383000"/>
                    </a:lnTo>
                    <a:lnTo>
                      <a:pt x="138398" y="381381"/>
                    </a:lnTo>
                    <a:lnTo>
                      <a:pt x="139256" y="380524"/>
                    </a:lnTo>
                    <a:lnTo>
                      <a:pt x="139256" y="380524"/>
                    </a:lnTo>
                    <a:lnTo>
                      <a:pt x="140113" y="380524"/>
                    </a:lnTo>
                    <a:lnTo>
                      <a:pt x="140875" y="381381"/>
                    </a:lnTo>
                    <a:lnTo>
                      <a:pt x="141732" y="382238"/>
                    </a:lnTo>
                    <a:lnTo>
                      <a:pt x="143446" y="382238"/>
                    </a:lnTo>
                    <a:lnTo>
                      <a:pt x="146018" y="382238"/>
                    </a:lnTo>
                    <a:lnTo>
                      <a:pt x="146780" y="382238"/>
                    </a:lnTo>
                    <a:lnTo>
                      <a:pt x="147638" y="381381"/>
                    </a:lnTo>
                    <a:lnTo>
                      <a:pt x="149352" y="377952"/>
                    </a:lnTo>
                    <a:lnTo>
                      <a:pt x="150209" y="376333"/>
                    </a:lnTo>
                    <a:lnTo>
                      <a:pt x="151924" y="374618"/>
                    </a:lnTo>
                    <a:lnTo>
                      <a:pt x="156972" y="372046"/>
                    </a:lnTo>
                    <a:lnTo>
                      <a:pt x="158591" y="370427"/>
                    </a:lnTo>
                    <a:lnTo>
                      <a:pt x="160306" y="369570"/>
                    </a:lnTo>
                    <a:lnTo>
                      <a:pt x="161163" y="368713"/>
                    </a:lnTo>
                    <a:lnTo>
                      <a:pt x="162020" y="367855"/>
                    </a:lnTo>
                    <a:lnTo>
                      <a:pt x="164497" y="367855"/>
                    </a:lnTo>
                    <a:lnTo>
                      <a:pt x="165354" y="369570"/>
                    </a:lnTo>
                    <a:lnTo>
                      <a:pt x="166211" y="374618"/>
                    </a:lnTo>
                    <a:lnTo>
                      <a:pt x="167926" y="375475"/>
                    </a:lnTo>
                    <a:lnTo>
                      <a:pt x="169640" y="375475"/>
                    </a:lnTo>
                    <a:lnTo>
                      <a:pt x="170402" y="374618"/>
                    </a:lnTo>
                    <a:lnTo>
                      <a:pt x="171260" y="375475"/>
                    </a:lnTo>
                    <a:lnTo>
                      <a:pt x="171260" y="376333"/>
                    </a:lnTo>
                    <a:lnTo>
                      <a:pt x="172117" y="383000"/>
                    </a:lnTo>
                    <a:lnTo>
                      <a:pt x="172974" y="383858"/>
                    </a:lnTo>
                    <a:lnTo>
                      <a:pt x="174688" y="384715"/>
                    </a:lnTo>
                    <a:lnTo>
                      <a:pt x="180594" y="385572"/>
                    </a:lnTo>
                    <a:lnTo>
                      <a:pt x="182213" y="385572"/>
                    </a:lnTo>
                    <a:lnTo>
                      <a:pt x="184785" y="383858"/>
                    </a:lnTo>
                    <a:lnTo>
                      <a:pt x="186500" y="383000"/>
                    </a:lnTo>
                    <a:lnTo>
                      <a:pt x="193262" y="380524"/>
                    </a:lnTo>
                    <a:lnTo>
                      <a:pt x="194024" y="380524"/>
                    </a:lnTo>
                    <a:lnTo>
                      <a:pt x="194024" y="381381"/>
                    </a:lnTo>
                    <a:lnTo>
                      <a:pt x="194024" y="384715"/>
                    </a:lnTo>
                    <a:lnTo>
                      <a:pt x="194024" y="385572"/>
                    </a:lnTo>
                    <a:lnTo>
                      <a:pt x="194882" y="386429"/>
                    </a:lnTo>
                    <a:lnTo>
                      <a:pt x="195739" y="386429"/>
                    </a:lnTo>
                    <a:lnTo>
                      <a:pt x="199168" y="382238"/>
                    </a:lnTo>
                    <a:lnTo>
                      <a:pt x="200787" y="381381"/>
                    </a:lnTo>
                    <a:lnTo>
                      <a:pt x="201644" y="380524"/>
                    </a:lnTo>
                    <a:lnTo>
                      <a:pt x="202502" y="378809"/>
                    </a:lnTo>
                    <a:lnTo>
                      <a:pt x="201644" y="377952"/>
                    </a:lnTo>
                    <a:lnTo>
                      <a:pt x="202502" y="377095"/>
                    </a:lnTo>
                    <a:lnTo>
                      <a:pt x="203359" y="376333"/>
                    </a:lnTo>
                    <a:lnTo>
                      <a:pt x="213455" y="372046"/>
                    </a:lnTo>
                    <a:lnTo>
                      <a:pt x="214313" y="371189"/>
                    </a:lnTo>
                    <a:lnTo>
                      <a:pt x="215170" y="370427"/>
                    </a:lnTo>
                    <a:lnTo>
                      <a:pt x="215170" y="369570"/>
                    </a:lnTo>
                    <a:lnTo>
                      <a:pt x="215170" y="368713"/>
                    </a:lnTo>
                    <a:lnTo>
                      <a:pt x="216884" y="368713"/>
                    </a:lnTo>
                    <a:lnTo>
                      <a:pt x="226124" y="367855"/>
                    </a:lnTo>
                    <a:lnTo>
                      <a:pt x="227838" y="366141"/>
                    </a:lnTo>
                    <a:lnTo>
                      <a:pt x="232886" y="366998"/>
                    </a:lnTo>
                    <a:lnTo>
                      <a:pt x="235363" y="366998"/>
                    </a:lnTo>
                    <a:lnTo>
                      <a:pt x="237935" y="366141"/>
                    </a:lnTo>
                    <a:lnTo>
                      <a:pt x="238792" y="366998"/>
                    </a:lnTo>
                    <a:lnTo>
                      <a:pt x="240506" y="366998"/>
                    </a:lnTo>
                    <a:lnTo>
                      <a:pt x="241268" y="367855"/>
                    </a:lnTo>
                    <a:lnTo>
                      <a:pt x="242125" y="366998"/>
                    </a:lnTo>
                    <a:lnTo>
                      <a:pt x="245554" y="364522"/>
                    </a:lnTo>
                    <a:lnTo>
                      <a:pt x="246412" y="363664"/>
                    </a:lnTo>
                    <a:lnTo>
                      <a:pt x="247174" y="362807"/>
                    </a:lnTo>
                    <a:lnTo>
                      <a:pt x="248031" y="361950"/>
                    </a:lnTo>
                    <a:lnTo>
                      <a:pt x="248031" y="360235"/>
                    </a:lnTo>
                    <a:lnTo>
                      <a:pt x="248888" y="360235"/>
                    </a:lnTo>
                    <a:lnTo>
                      <a:pt x="250603" y="361093"/>
                    </a:lnTo>
                    <a:lnTo>
                      <a:pt x="253079" y="361093"/>
                    </a:lnTo>
                    <a:lnTo>
                      <a:pt x="255651" y="361093"/>
                    </a:lnTo>
                    <a:lnTo>
                      <a:pt x="257366" y="360235"/>
                    </a:lnTo>
                    <a:lnTo>
                      <a:pt x="257366" y="359378"/>
                    </a:lnTo>
                    <a:lnTo>
                      <a:pt x="257366" y="355187"/>
                    </a:lnTo>
                    <a:lnTo>
                      <a:pt x="257366" y="353473"/>
                    </a:lnTo>
                    <a:lnTo>
                      <a:pt x="257366" y="352711"/>
                    </a:lnTo>
                    <a:lnTo>
                      <a:pt x="256508" y="350996"/>
                    </a:lnTo>
                    <a:lnTo>
                      <a:pt x="255651" y="350139"/>
                    </a:lnTo>
                    <a:lnTo>
                      <a:pt x="255651" y="350139"/>
                    </a:lnTo>
                    <a:lnTo>
                      <a:pt x="256508" y="349282"/>
                    </a:lnTo>
                    <a:lnTo>
                      <a:pt x="259842" y="348425"/>
                    </a:lnTo>
                    <a:lnTo>
                      <a:pt x="260699" y="346710"/>
                    </a:lnTo>
                    <a:lnTo>
                      <a:pt x="260699" y="345948"/>
                    </a:lnTo>
                    <a:lnTo>
                      <a:pt x="261557" y="341662"/>
                    </a:lnTo>
                    <a:lnTo>
                      <a:pt x="261557" y="340805"/>
                    </a:lnTo>
                    <a:lnTo>
                      <a:pt x="262414" y="339185"/>
                    </a:lnTo>
                    <a:lnTo>
                      <a:pt x="263271" y="337471"/>
                    </a:lnTo>
                    <a:lnTo>
                      <a:pt x="264890" y="334899"/>
                    </a:lnTo>
                    <a:lnTo>
                      <a:pt x="266605" y="334899"/>
                    </a:lnTo>
                    <a:lnTo>
                      <a:pt x="275939" y="334899"/>
                    </a:lnTo>
                    <a:lnTo>
                      <a:pt x="278416" y="335756"/>
                    </a:lnTo>
                    <a:lnTo>
                      <a:pt x="280130" y="337471"/>
                    </a:lnTo>
                    <a:lnTo>
                      <a:pt x="285179" y="343376"/>
                    </a:lnTo>
                    <a:lnTo>
                      <a:pt x="290227" y="343376"/>
                    </a:lnTo>
                    <a:lnTo>
                      <a:pt x="294418" y="340042"/>
                    </a:lnTo>
                    <a:lnTo>
                      <a:pt x="296990" y="338328"/>
                    </a:lnTo>
                    <a:lnTo>
                      <a:pt x="298704" y="337471"/>
                    </a:lnTo>
                    <a:lnTo>
                      <a:pt x="299561" y="339185"/>
                    </a:lnTo>
                    <a:lnTo>
                      <a:pt x="299561" y="340042"/>
                    </a:lnTo>
                    <a:lnTo>
                      <a:pt x="298704" y="340805"/>
                    </a:lnTo>
                    <a:lnTo>
                      <a:pt x="297847" y="341662"/>
                    </a:lnTo>
                    <a:lnTo>
                      <a:pt x="298704" y="342519"/>
                    </a:lnTo>
                    <a:lnTo>
                      <a:pt x="300323" y="342519"/>
                    </a:lnTo>
                    <a:lnTo>
                      <a:pt x="302038" y="342519"/>
                    </a:lnTo>
                    <a:lnTo>
                      <a:pt x="303752" y="343376"/>
                    </a:lnTo>
                    <a:lnTo>
                      <a:pt x="305467" y="344234"/>
                    </a:lnTo>
                    <a:lnTo>
                      <a:pt x="306229" y="346710"/>
                    </a:lnTo>
                    <a:lnTo>
                      <a:pt x="307943" y="356044"/>
                    </a:lnTo>
                    <a:lnTo>
                      <a:pt x="308800" y="357759"/>
                    </a:lnTo>
                    <a:lnTo>
                      <a:pt x="309658" y="359378"/>
                    </a:lnTo>
                    <a:lnTo>
                      <a:pt x="311372" y="361093"/>
                    </a:lnTo>
                    <a:lnTo>
                      <a:pt x="313849" y="361093"/>
                    </a:lnTo>
                    <a:lnTo>
                      <a:pt x="315563" y="361093"/>
                    </a:lnTo>
                    <a:lnTo>
                      <a:pt x="318040" y="359378"/>
                    </a:lnTo>
                    <a:lnTo>
                      <a:pt x="318897" y="359378"/>
                    </a:lnTo>
                    <a:lnTo>
                      <a:pt x="323183" y="361093"/>
                    </a:lnTo>
                    <a:lnTo>
                      <a:pt x="326517" y="361093"/>
                    </a:lnTo>
                    <a:lnTo>
                      <a:pt x="327374" y="361950"/>
                    </a:lnTo>
                    <a:lnTo>
                      <a:pt x="327374" y="363664"/>
                    </a:lnTo>
                    <a:lnTo>
                      <a:pt x="328232" y="367855"/>
                    </a:lnTo>
                    <a:lnTo>
                      <a:pt x="328232" y="368713"/>
                    </a:lnTo>
                    <a:lnTo>
                      <a:pt x="327374" y="369570"/>
                    </a:lnTo>
                    <a:lnTo>
                      <a:pt x="324803" y="372904"/>
                    </a:lnTo>
                    <a:lnTo>
                      <a:pt x="323945" y="373761"/>
                    </a:lnTo>
                    <a:lnTo>
                      <a:pt x="324803" y="375475"/>
                    </a:lnTo>
                    <a:lnTo>
                      <a:pt x="333280" y="380524"/>
                    </a:lnTo>
                    <a:lnTo>
                      <a:pt x="340042" y="385572"/>
                    </a:lnTo>
                    <a:lnTo>
                      <a:pt x="342519" y="386429"/>
                    </a:lnTo>
                    <a:lnTo>
                      <a:pt x="344234" y="386429"/>
                    </a:lnTo>
                    <a:lnTo>
                      <a:pt x="345091" y="385572"/>
                    </a:lnTo>
                    <a:lnTo>
                      <a:pt x="345091" y="383858"/>
                    </a:lnTo>
                    <a:lnTo>
                      <a:pt x="345948" y="383000"/>
                    </a:lnTo>
                    <a:lnTo>
                      <a:pt x="345091" y="381381"/>
                    </a:lnTo>
                    <a:lnTo>
                      <a:pt x="345948" y="380524"/>
                    </a:lnTo>
                    <a:lnTo>
                      <a:pt x="345948" y="379667"/>
                    </a:lnTo>
                    <a:lnTo>
                      <a:pt x="346805" y="378809"/>
                    </a:lnTo>
                    <a:lnTo>
                      <a:pt x="348425" y="377952"/>
                    </a:lnTo>
                    <a:lnTo>
                      <a:pt x="347567" y="373761"/>
                    </a:lnTo>
                    <a:lnTo>
                      <a:pt x="349282" y="369570"/>
                    </a:lnTo>
                    <a:lnTo>
                      <a:pt x="350139" y="368713"/>
                    </a:lnTo>
                    <a:lnTo>
                      <a:pt x="353473" y="365284"/>
                    </a:lnTo>
                    <a:lnTo>
                      <a:pt x="359378" y="360235"/>
                    </a:lnTo>
                    <a:lnTo>
                      <a:pt x="361093" y="360235"/>
                    </a:lnTo>
                    <a:lnTo>
                      <a:pt x="363665" y="361093"/>
                    </a:lnTo>
                    <a:lnTo>
                      <a:pt x="366141" y="361950"/>
                    </a:lnTo>
                    <a:lnTo>
                      <a:pt x="367856" y="361950"/>
                    </a:lnTo>
                    <a:lnTo>
                      <a:pt x="370427" y="361950"/>
                    </a:lnTo>
                    <a:lnTo>
                      <a:pt x="372046" y="361950"/>
                    </a:lnTo>
                    <a:lnTo>
                      <a:pt x="374618" y="360235"/>
                    </a:lnTo>
                    <a:lnTo>
                      <a:pt x="375475" y="357759"/>
                    </a:lnTo>
                    <a:lnTo>
                      <a:pt x="376333" y="356902"/>
                    </a:lnTo>
                    <a:lnTo>
                      <a:pt x="377952" y="356902"/>
                    </a:lnTo>
                    <a:lnTo>
                      <a:pt x="378809" y="357759"/>
                    </a:lnTo>
                    <a:lnTo>
                      <a:pt x="380524" y="358616"/>
                    </a:lnTo>
                    <a:lnTo>
                      <a:pt x="383858" y="361093"/>
                    </a:lnTo>
                    <a:lnTo>
                      <a:pt x="392335" y="363664"/>
                    </a:lnTo>
                    <a:lnTo>
                      <a:pt x="392335" y="362807"/>
                    </a:lnTo>
                    <a:lnTo>
                      <a:pt x="392335" y="360235"/>
                    </a:lnTo>
                    <a:lnTo>
                      <a:pt x="392335" y="359378"/>
                    </a:lnTo>
                    <a:lnTo>
                      <a:pt x="393192" y="358616"/>
                    </a:lnTo>
                    <a:lnTo>
                      <a:pt x="394811" y="356044"/>
                    </a:lnTo>
                    <a:lnTo>
                      <a:pt x="395669" y="354330"/>
                    </a:lnTo>
                    <a:lnTo>
                      <a:pt x="396526" y="353473"/>
                    </a:lnTo>
                    <a:lnTo>
                      <a:pt x="399955" y="355187"/>
                    </a:lnTo>
                    <a:lnTo>
                      <a:pt x="405860" y="356902"/>
                    </a:lnTo>
                    <a:lnTo>
                      <a:pt x="407480" y="357759"/>
                    </a:lnTo>
                    <a:lnTo>
                      <a:pt x="409194" y="356902"/>
                    </a:lnTo>
                    <a:lnTo>
                      <a:pt x="410051" y="356044"/>
                    </a:lnTo>
                    <a:lnTo>
                      <a:pt x="410051" y="353473"/>
                    </a:lnTo>
                    <a:lnTo>
                      <a:pt x="410909" y="351854"/>
                    </a:lnTo>
                    <a:lnTo>
                      <a:pt x="411766" y="347567"/>
                    </a:lnTo>
                    <a:lnTo>
                      <a:pt x="411766" y="343376"/>
                    </a:lnTo>
                    <a:lnTo>
                      <a:pt x="413385" y="338328"/>
                    </a:lnTo>
                    <a:lnTo>
                      <a:pt x="412528" y="336613"/>
                    </a:lnTo>
                    <a:lnTo>
                      <a:pt x="412528" y="334899"/>
                    </a:lnTo>
                    <a:lnTo>
                      <a:pt x="411766" y="334137"/>
                    </a:lnTo>
                    <a:lnTo>
                      <a:pt x="412528" y="333280"/>
                    </a:lnTo>
                    <a:lnTo>
                      <a:pt x="413385" y="332422"/>
                    </a:lnTo>
                    <a:lnTo>
                      <a:pt x="414242" y="331565"/>
                    </a:lnTo>
                    <a:lnTo>
                      <a:pt x="415957" y="328231"/>
                    </a:lnTo>
                    <a:lnTo>
                      <a:pt x="416814" y="326517"/>
                    </a:lnTo>
                    <a:lnTo>
                      <a:pt x="417671" y="325660"/>
                    </a:lnTo>
                    <a:lnTo>
                      <a:pt x="417671" y="323945"/>
                    </a:lnTo>
                    <a:lnTo>
                      <a:pt x="417671" y="311277"/>
                    </a:lnTo>
                    <a:lnTo>
                      <a:pt x="417671" y="308800"/>
                    </a:lnTo>
                    <a:lnTo>
                      <a:pt x="418433" y="307086"/>
                    </a:lnTo>
                    <a:lnTo>
                      <a:pt x="421005" y="303752"/>
                    </a:lnTo>
                    <a:lnTo>
                      <a:pt x="423577" y="301180"/>
                    </a:lnTo>
                    <a:lnTo>
                      <a:pt x="425196" y="299466"/>
                    </a:lnTo>
                    <a:lnTo>
                      <a:pt x="428625" y="298704"/>
                    </a:lnTo>
                    <a:lnTo>
                      <a:pt x="430244" y="298704"/>
                    </a:lnTo>
                    <a:lnTo>
                      <a:pt x="432816" y="299466"/>
                    </a:lnTo>
                    <a:lnTo>
                      <a:pt x="432816" y="299466"/>
                    </a:lnTo>
                    <a:lnTo>
                      <a:pt x="433673" y="298704"/>
                    </a:lnTo>
                    <a:lnTo>
                      <a:pt x="435388" y="291084"/>
                    </a:lnTo>
                    <a:lnTo>
                      <a:pt x="435388" y="289369"/>
                    </a:lnTo>
                    <a:lnTo>
                      <a:pt x="436150" y="286036"/>
                    </a:lnTo>
                    <a:lnTo>
                      <a:pt x="437864" y="285179"/>
                    </a:lnTo>
                    <a:lnTo>
                      <a:pt x="439579" y="285179"/>
                    </a:lnTo>
                    <a:lnTo>
                      <a:pt x="441293" y="284321"/>
                    </a:lnTo>
                    <a:lnTo>
                      <a:pt x="442055" y="284321"/>
                    </a:lnTo>
                    <a:lnTo>
                      <a:pt x="442913" y="284321"/>
                    </a:lnTo>
                    <a:lnTo>
                      <a:pt x="443770" y="283464"/>
                    </a:lnTo>
                    <a:lnTo>
                      <a:pt x="444627" y="283464"/>
                    </a:lnTo>
                    <a:lnTo>
                      <a:pt x="445484" y="284321"/>
                    </a:lnTo>
                    <a:lnTo>
                      <a:pt x="447961" y="285179"/>
                    </a:lnTo>
                    <a:lnTo>
                      <a:pt x="449675" y="285179"/>
                    </a:lnTo>
                    <a:lnTo>
                      <a:pt x="451390" y="284321"/>
                    </a:lnTo>
                    <a:lnTo>
                      <a:pt x="451390" y="282607"/>
                    </a:lnTo>
                    <a:lnTo>
                      <a:pt x="452247" y="279273"/>
                    </a:lnTo>
                    <a:lnTo>
                      <a:pt x="453104" y="278416"/>
                    </a:lnTo>
                    <a:lnTo>
                      <a:pt x="454724" y="277559"/>
                    </a:lnTo>
                    <a:lnTo>
                      <a:pt x="454724" y="276701"/>
                    </a:lnTo>
                    <a:lnTo>
                      <a:pt x="454724" y="275082"/>
                    </a:lnTo>
                    <a:lnTo>
                      <a:pt x="456438" y="273367"/>
                    </a:lnTo>
                    <a:lnTo>
                      <a:pt x="460629" y="269176"/>
                    </a:lnTo>
                    <a:lnTo>
                      <a:pt x="462344" y="268319"/>
                    </a:lnTo>
                    <a:lnTo>
                      <a:pt x="463201" y="268319"/>
                    </a:lnTo>
                    <a:lnTo>
                      <a:pt x="464058" y="269176"/>
                    </a:lnTo>
                    <a:lnTo>
                      <a:pt x="464915" y="269176"/>
                    </a:lnTo>
                    <a:lnTo>
                      <a:pt x="465677" y="269176"/>
                    </a:lnTo>
                    <a:lnTo>
                      <a:pt x="467392" y="270796"/>
                    </a:lnTo>
                    <a:lnTo>
                      <a:pt x="468249" y="272510"/>
                    </a:lnTo>
                    <a:lnTo>
                      <a:pt x="469106" y="274225"/>
                    </a:lnTo>
                    <a:lnTo>
                      <a:pt x="470821" y="275082"/>
                    </a:lnTo>
                    <a:lnTo>
                      <a:pt x="476726" y="276701"/>
                    </a:lnTo>
                    <a:lnTo>
                      <a:pt x="479203" y="277559"/>
                    </a:lnTo>
                    <a:lnTo>
                      <a:pt x="484251" y="276701"/>
                    </a:lnTo>
                    <a:lnTo>
                      <a:pt x="486823" y="277559"/>
                    </a:lnTo>
                    <a:lnTo>
                      <a:pt x="488442" y="277559"/>
                    </a:lnTo>
                    <a:lnTo>
                      <a:pt x="489299" y="278416"/>
                    </a:lnTo>
                    <a:lnTo>
                      <a:pt x="490157" y="280130"/>
                    </a:lnTo>
                    <a:lnTo>
                      <a:pt x="491014" y="280988"/>
                    </a:lnTo>
                    <a:lnTo>
                      <a:pt x="494348" y="277559"/>
                    </a:lnTo>
                    <a:lnTo>
                      <a:pt x="496919" y="274225"/>
                    </a:lnTo>
                    <a:lnTo>
                      <a:pt x="496919" y="272510"/>
                    </a:lnTo>
                    <a:lnTo>
                      <a:pt x="495205" y="270796"/>
                    </a:lnTo>
                    <a:lnTo>
                      <a:pt x="494348" y="268319"/>
                    </a:lnTo>
                    <a:lnTo>
                      <a:pt x="494348" y="265747"/>
                    </a:lnTo>
                    <a:lnTo>
                      <a:pt x="493586" y="264890"/>
                    </a:lnTo>
                    <a:lnTo>
                      <a:pt x="493586" y="264033"/>
                    </a:lnTo>
                    <a:lnTo>
                      <a:pt x="492728" y="263271"/>
                    </a:lnTo>
                    <a:lnTo>
                      <a:pt x="491871" y="263271"/>
                    </a:lnTo>
                    <a:lnTo>
                      <a:pt x="491871" y="262414"/>
                    </a:lnTo>
                    <a:lnTo>
                      <a:pt x="491014" y="262414"/>
                    </a:lnTo>
                    <a:lnTo>
                      <a:pt x="490157" y="263271"/>
                    </a:lnTo>
                    <a:lnTo>
                      <a:pt x="490157" y="263271"/>
                    </a:lnTo>
                    <a:lnTo>
                      <a:pt x="489299" y="263271"/>
                    </a:lnTo>
                    <a:lnTo>
                      <a:pt x="489299" y="262414"/>
                    </a:lnTo>
                    <a:lnTo>
                      <a:pt x="489299" y="262414"/>
                    </a:lnTo>
                    <a:lnTo>
                      <a:pt x="488442" y="261556"/>
                    </a:lnTo>
                    <a:lnTo>
                      <a:pt x="488442" y="260699"/>
                    </a:lnTo>
                    <a:lnTo>
                      <a:pt x="488442" y="259842"/>
                    </a:lnTo>
                    <a:lnTo>
                      <a:pt x="487680" y="259842"/>
                    </a:lnTo>
                    <a:lnTo>
                      <a:pt x="486823" y="258985"/>
                    </a:lnTo>
                    <a:lnTo>
                      <a:pt x="485966" y="258985"/>
                    </a:lnTo>
                    <a:lnTo>
                      <a:pt x="485966" y="258985"/>
                    </a:lnTo>
                    <a:lnTo>
                      <a:pt x="486823" y="258127"/>
                    </a:lnTo>
                    <a:lnTo>
                      <a:pt x="486823" y="257365"/>
                    </a:lnTo>
                    <a:lnTo>
                      <a:pt x="488442" y="256508"/>
                    </a:lnTo>
                    <a:lnTo>
                      <a:pt x="488442" y="256508"/>
                    </a:lnTo>
                    <a:lnTo>
                      <a:pt x="488442" y="255651"/>
                    </a:lnTo>
                    <a:lnTo>
                      <a:pt x="489299" y="255651"/>
                    </a:lnTo>
                    <a:lnTo>
                      <a:pt x="489299" y="254794"/>
                    </a:lnTo>
                    <a:lnTo>
                      <a:pt x="489299" y="254794"/>
                    </a:lnTo>
                    <a:lnTo>
                      <a:pt x="491014" y="253079"/>
                    </a:lnTo>
                    <a:lnTo>
                      <a:pt x="494348" y="252222"/>
                    </a:lnTo>
                    <a:lnTo>
                      <a:pt x="497777" y="250603"/>
                    </a:lnTo>
                    <a:lnTo>
                      <a:pt x="499491" y="249746"/>
                    </a:lnTo>
                    <a:lnTo>
                      <a:pt x="500253" y="248888"/>
                    </a:lnTo>
                    <a:lnTo>
                      <a:pt x="501110" y="247174"/>
                    </a:lnTo>
                    <a:lnTo>
                      <a:pt x="501110" y="247174"/>
                    </a:lnTo>
                    <a:lnTo>
                      <a:pt x="501110" y="247174"/>
                    </a:lnTo>
                    <a:lnTo>
                      <a:pt x="501110" y="246317"/>
                    </a:lnTo>
                    <a:lnTo>
                      <a:pt x="501967" y="246317"/>
                    </a:lnTo>
                    <a:lnTo>
                      <a:pt x="506159" y="245554"/>
                    </a:lnTo>
                    <a:lnTo>
                      <a:pt x="507873" y="243840"/>
                    </a:lnTo>
                    <a:lnTo>
                      <a:pt x="509588" y="242983"/>
                    </a:lnTo>
                    <a:lnTo>
                      <a:pt x="512064" y="242983"/>
                    </a:lnTo>
                    <a:lnTo>
                      <a:pt x="512921" y="244697"/>
                    </a:lnTo>
                    <a:lnTo>
                      <a:pt x="512921" y="245554"/>
                    </a:lnTo>
                    <a:lnTo>
                      <a:pt x="513779" y="246317"/>
                    </a:lnTo>
                    <a:lnTo>
                      <a:pt x="514636" y="246317"/>
                    </a:lnTo>
                    <a:lnTo>
                      <a:pt x="522256" y="248031"/>
                    </a:lnTo>
                    <a:lnTo>
                      <a:pt x="521399" y="246317"/>
                    </a:lnTo>
                    <a:lnTo>
                      <a:pt x="521399" y="244697"/>
                    </a:lnTo>
                    <a:lnTo>
                      <a:pt x="521399" y="243840"/>
                    </a:lnTo>
                    <a:lnTo>
                      <a:pt x="520541" y="242983"/>
                    </a:lnTo>
                    <a:lnTo>
                      <a:pt x="519684" y="242125"/>
                    </a:lnTo>
                    <a:lnTo>
                      <a:pt x="519684" y="241268"/>
                    </a:lnTo>
                    <a:lnTo>
                      <a:pt x="518827" y="241268"/>
                    </a:lnTo>
                    <a:lnTo>
                      <a:pt x="519684" y="239554"/>
                    </a:lnTo>
                    <a:lnTo>
                      <a:pt x="520541" y="236220"/>
                    </a:lnTo>
                    <a:lnTo>
                      <a:pt x="520541" y="232886"/>
                    </a:lnTo>
                    <a:lnTo>
                      <a:pt x="520541" y="232029"/>
                    </a:lnTo>
                    <a:lnTo>
                      <a:pt x="520541" y="231172"/>
                    </a:lnTo>
                    <a:lnTo>
                      <a:pt x="519684" y="229457"/>
                    </a:lnTo>
                    <a:lnTo>
                      <a:pt x="519684" y="226123"/>
                    </a:lnTo>
                    <a:lnTo>
                      <a:pt x="518827" y="225266"/>
                    </a:lnTo>
                    <a:lnTo>
                      <a:pt x="517970" y="223552"/>
                    </a:lnTo>
                    <a:lnTo>
                      <a:pt x="514636" y="221075"/>
                    </a:lnTo>
                    <a:lnTo>
                      <a:pt x="507873" y="218504"/>
                    </a:lnTo>
                    <a:lnTo>
                      <a:pt x="507016" y="215932"/>
                    </a:lnTo>
                    <a:lnTo>
                      <a:pt x="504539" y="214313"/>
                    </a:lnTo>
                    <a:lnTo>
                      <a:pt x="503682" y="213455"/>
                    </a:lnTo>
                    <a:lnTo>
                      <a:pt x="502825" y="211741"/>
                    </a:lnTo>
                    <a:lnTo>
                      <a:pt x="502825" y="210026"/>
                    </a:lnTo>
                    <a:lnTo>
                      <a:pt x="501967" y="209264"/>
                    </a:lnTo>
                    <a:lnTo>
                      <a:pt x="501110" y="208407"/>
                    </a:lnTo>
                    <a:lnTo>
                      <a:pt x="501110" y="207550"/>
                    </a:lnTo>
                    <a:lnTo>
                      <a:pt x="499491" y="204978"/>
                    </a:lnTo>
                    <a:lnTo>
                      <a:pt x="498634" y="204121"/>
                    </a:lnTo>
                    <a:lnTo>
                      <a:pt x="495205" y="202501"/>
                    </a:lnTo>
                    <a:lnTo>
                      <a:pt x="492728" y="201644"/>
                    </a:lnTo>
                    <a:lnTo>
                      <a:pt x="492728" y="200787"/>
                    </a:lnTo>
                    <a:lnTo>
                      <a:pt x="491871" y="199930"/>
                    </a:lnTo>
                    <a:lnTo>
                      <a:pt x="491871" y="199930"/>
                    </a:lnTo>
                    <a:lnTo>
                      <a:pt x="491871" y="199072"/>
                    </a:lnTo>
                    <a:lnTo>
                      <a:pt x="491871" y="199072"/>
                    </a:lnTo>
                    <a:lnTo>
                      <a:pt x="491014" y="198215"/>
                    </a:lnTo>
                    <a:lnTo>
                      <a:pt x="491014" y="197453"/>
                    </a:lnTo>
                    <a:lnTo>
                      <a:pt x="491014" y="196596"/>
                    </a:lnTo>
                    <a:lnTo>
                      <a:pt x="491014" y="195739"/>
                    </a:lnTo>
                    <a:lnTo>
                      <a:pt x="491871" y="195739"/>
                    </a:lnTo>
                    <a:lnTo>
                      <a:pt x="492728" y="194881"/>
                    </a:lnTo>
                    <a:lnTo>
                      <a:pt x="493586" y="194881"/>
                    </a:lnTo>
                    <a:lnTo>
                      <a:pt x="494348" y="194024"/>
                    </a:lnTo>
                    <a:lnTo>
                      <a:pt x="494348" y="194024"/>
                    </a:lnTo>
                    <a:lnTo>
                      <a:pt x="495205" y="189833"/>
                    </a:lnTo>
                    <a:lnTo>
                      <a:pt x="495205" y="188976"/>
                    </a:lnTo>
                    <a:lnTo>
                      <a:pt x="496062" y="187262"/>
                    </a:lnTo>
                    <a:lnTo>
                      <a:pt x="495205" y="186404"/>
                    </a:lnTo>
                    <a:lnTo>
                      <a:pt x="495205" y="186404"/>
                    </a:lnTo>
                    <a:lnTo>
                      <a:pt x="495205" y="185642"/>
                    </a:lnTo>
                    <a:lnTo>
                      <a:pt x="496062" y="184785"/>
                    </a:lnTo>
                    <a:lnTo>
                      <a:pt x="496919" y="183071"/>
                    </a:lnTo>
                    <a:lnTo>
                      <a:pt x="500253" y="180499"/>
                    </a:lnTo>
                    <a:lnTo>
                      <a:pt x="507016" y="173831"/>
                    </a:lnTo>
                    <a:lnTo>
                      <a:pt x="511302" y="169545"/>
                    </a:lnTo>
                    <a:lnTo>
                      <a:pt x="512064" y="168688"/>
                    </a:lnTo>
                    <a:lnTo>
                      <a:pt x="512921" y="167926"/>
                    </a:lnTo>
                    <a:lnTo>
                      <a:pt x="513779" y="167926"/>
                    </a:lnTo>
                    <a:lnTo>
                      <a:pt x="514636" y="168688"/>
                    </a:lnTo>
                    <a:lnTo>
                      <a:pt x="515493" y="167926"/>
                    </a:lnTo>
                    <a:lnTo>
                      <a:pt x="516350" y="167926"/>
                    </a:lnTo>
                    <a:lnTo>
                      <a:pt x="518827" y="165354"/>
                    </a:lnTo>
                    <a:lnTo>
                      <a:pt x="519684" y="164497"/>
                    </a:lnTo>
                    <a:lnTo>
                      <a:pt x="522256" y="163639"/>
                    </a:lnTo>
                    <a:lnTo>
                      <a:pt x="523113" y="162782"/>
                    </a:lnTo>
                    <a:lnTo>
                      <a:pt x="524732" y="160306"/>
                    </a:lnTo>
                    <a:lnTo>
                      <a:pt x="527304" y="158591"/>
                    </a:lnTo>
                    <a:lnTo>
                      <a:pt x="531495" y="153543"/>
                    </a:lnTo>
                    <a:lnTo>
                      <a:pt x="533210" y="152686"/>
                    </a:lnTo>
                    <a:lnTo>
                      <a:pt x="534067" y="150971"/>
                    </a:lnTo>
                    <a:lnTo>
                      <a:pt x="537401" y="150209"/>
                    </a:lnTo>
                    <a:lnTo>
                      <a:pt x="539115" y="149352"/>
                    </a:lnTo>
                    <a:lnTo>
                      <a:pt x="542449" y="145923"/>
                    </a:lnTo>
                    <a:lnTo>
                      <a:pt x="543306" y="145066"/>
                    </a:lnTo>
                    <a:lnTo>
                      <a:pt x="545021" y="145066"/>
                    </a:lnTo>
                    <a:lnTo>
                      <a:pt x="546735" y="145066"/>
                    </a:lnTo>
                    <a:lnTo>
                      <a:pt x="546735" y="145066"/>
                    </a:lnTo>
                    <a:lnTo>
                      <a:pt x="547497" y="145066"/>
                    </a:lnTo>
                    <a:lnTo>
                      <a:pt x="547497" y="144304"/>
                    </a:lnTo>
                    <a:lnTo>
                      <a:pt x="547497" y="143446"/>
                    </a:lnTo>
                    <a:lnTo>
                      <a:pt x="547497" y="142589"/>
                    </a:lnTo>
                    <a:lnTo>
                      <a:pt x="547497" y="142589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51" name="Freeform: Shape 155">
                <a:extLst>
                  <a:ext uri="{FF2B5EF4-FFF2-40B4-BE49-F238E27FC236}">
                    <a16:creationId xmlns:a16="http://schemas.microsoft.com/office/drawing/2014/main" id="{30F00D0E-D991-43EC-B7C7-09005A7B9ECB}"/>
                  </a:ext>
                </a:extLst>
              </p:cNvPr>
              <p:cNvSpPr/>
              <p:nvPr/>
            </p:nvSpPr>
            <p:spPr>
              <a:xfrm>
                <a:off x="6858380" y="2779014"/>
                <a:ext cx="695325" cy="466725"/>
              </a:xfrm>
              <a:custGeom>
                <a:avLst/>
                <a:gdLst>
                  <a:gd name="connsiteX0" fmla="*/ 698754 w 695325"/>
                  <a:gd name="connsiteY0" fmla="*/ 71437 h 466725"/>
                  <a:gd name="connsiteX1" fmla="*/ 698754 w 695325"/>
                  <a:gd name="connsiteY1" fmla="*/ 70580 h 466725"/>
                  <a:gd name="connsiteX2" fmla="*/ 696278 w 695325"/>
                  <a:gd name="connsiteY2" fmla="*/ 68008 h 466725"/>
                  <a:gd name="connsiteX3" fmla="*/ 695420 w 695325"/>
                  <a:gd name="connsiteY3" fmla="*/ 67151 h 466725"/>
                  <a:gd name="connsiteX4" fmla="*/ 694563 w 695325"/>
                  <a:gd name="connsiteY4" fmla="*/ 67151 h 466725"/>
                  <a:gd name="connsiteX5" fmla="*/ 693706 w 695325"/>
                  <a:gd name="connsiteY5" fmla="*/ 67151 h 466725"/>
                  <a:gd name="connsiteX6" fmla="*/ 692849 w 695325"/>
                  <a:gd name="connsiteY6" fmla="*/ 67151 h 466725"/>
                  <a:gd name="connsiteX7" fmla="*/ 691991 w 695325"/>
                  <a:gd name="connsiteY7" fmla="*/ 67151 h 466725"/>
                  <a:gd name="connsiteX8" fmla="*/ 691134 w 695325"/>
                  <a:gd name="connsiteY8" fmla="*/ 68008 h 466725"/>
                  <a:gd name="connsiteX9" fmla="*/ 691134 w 695325"/>
                  <a:gd name="connsiteY9" fmla="*/ 68008 h 466725"/>
                  <a:gd name="connsiteX10" fmla="*/ 690372 w 695325"/>
                  <a:gd name="connsiteY10" fmla="*/ 68008 h 466725"/>
                  <a:gd name="connsiteX11" fmla="*/ 686943 w 695325"/>
                  <a:gd name="connsiteY11" fmla="*/ 73152 h 466725"/>
                  <a:gd name="connsiteX12" fmla="*/ 686086 w 695325"/>
                  <a:gd name="connsiteY12" fmla="*/ 73152 h 466725"/>
                  <a:gd name="connsiteX13" fmla="*/ 685229 w 695325"/>
                  <a:gd name="connsiteY13" fmla="*/ 73152 h 466725"/>
                  <a:gd name="connsiteX14" fmla="*/ 685229 w 695325"/>
                  <a:gd name="connsiteY14" fmla="*/ 72295 h 466725"/>
                  <a:gd name="connsiteX15" fmla="*/ 686086 w 695325"/>
                  <a:gd name="connsiteY15" fmla="*/ 69723 h 466725"/>
                  <a:gd name="connsiteX16" fmla="*/ 686086 w 695325"/>
                  <a:gd name="connsiteY16" fmla="*/ 68866 h 466725"/>
                  <a:gd name="connsiteX17" fmla="*/ 685229 w 695325"/>
                  <a:gd name="connsiteY17" fmla="*/ 67151 h 466725"/>
                  <a:gd name="connsiteX18" fmla="*/ 685229 w 695325"/>
                  <a:gd name="connsiteY18" fmla="*/ 67151 h 466725"/>
                  <a:gd name="connsiteX19" fmla="*/ 684467 w 695325"/>
                  <a:gd name="connsiteY19" fmla="*/ 66294 h 466725"/>
                  <a:gd name="connsiteX20" fmla="*/ 684467 w 695325"/>
                  <a:gd name="connsiteY20" fmla="*/ 65437 h 466725"/>
                  <a:gd name="connsiteX21" fmla="*/ 686086 w 695325"/>
                  <a:gd name="connsiteY21" fmla="*/ 61246 h 466725"/>
                  <a:gd name="connsiteX22" fmla="*/ 686086 w 695325"/>
                  <a:gd name="connsiteY22" fmla="*/ 59531 h 466725"/>
                  <a:gd name="connsiteX23" fmla="*/ 685229 w 695325"/>
                  <a:gd name="connsiteY23" fmla="*/ 54388 h 466725"/>
                  <a:gd name="connsiteX24" fmla="*/ 684467 w 695325"/>
                  <a:gd name="connsiteY24" fmla="*/ 52673 h 466725"/>
                  <a:gd name="connsiteX25" fmla="*/ 683609 w 695325"/>
                  <a:gd name="connsiteY25" fmla="*/ 51054 h 466725"/>
                  <a:gd name="connsiteX26" fmla="*/ 681038 w 695325"/>
                  <a:gd name="connsiteY26" fmla="*/ 50197 h 466725"/>
                  <a:gd name="connsiteX27" fmla="*/ 680180 w 695325"/>
                  <a:gd name="connsiteY27" fmla="*/ 49340 h 466725"/>
                  <a:gd name="connsiteX28" fmla="*/ 679323 w 695325"/>
                  <a:gd name="connsiteY28" fmla="*/ 47625 h 466725"/>
                  <a:gd name="connsiteX29" fmla="*/ 678561 w 695325"/>
                  <a:gd name="connsiteY29" fmla="*/ 47625 h 466725"/>
                  <a:gd name="connsiteX30" fmla="*/ 677704 w 695325"/>
                  <a:gd name="connsiteY30" fmla="*/ 46768 h 466725"/>
                  <a:gd name="connsiteX31" fmla="*/ 675989 w 695325"/>
                  <a:gd name="connsiteY31" fmla="*/ 45910 h 466725"/>
                  <a:gd name="connsiteX32" fmla="*/ 675989 w 695325"/>
                  <a:gd name="connsiteY32" fmla="*/ 45053 h 466725"/>
                  <a:gd name="connsiteX33" fmla="*/ 675132 w 695325"/>
                  <a:gd name="connsiteY33" fmla="*/ 44196 h 466725"/>
                  <a:gd name="connsiteX34" fmla="*/ 674275 w 695325"/>
                  <a:gd name="connsiteY34" fmla="*/ 36576 h 466725"/>
                  <a:gd name="connsiteX35" fmla="*/ 674275 w 695325"/>
                  <a:gd name="connsiteY35" fmla="*/ 35719 h 466725"/>
                  <a:gd name="connsiteX36" fmla="*/ 673418 w 695325"/>
                  <a:gd name="connsiteY36" fmla="*/ 34004 h 466725"/>
                  <a:gd name="connsiteX37" fmla="*/ 674275 w 695325"/>
                  <a:gd name="connsiteY37" fmla="*/ 30671 h 466725"/>
                  <a:gd name="connsiteX38" fmla="*/ 677704 w 695325"/>
                  <a:gd name="connsiteY38" fmla="*/ 27242 h 466725"/>
                  <a:gd name="connsiteX39" fmla="*/ 686943 w 695325"/>
                  <a:gd name="connsiteY39" fmla="*/ 15335 h 466725"/>
                  <a:gd name="connsiteX40" fmla="*/ 691134 w 695325"/>
                  <a:gd name="connsiteY40" fmla="*/ 8573 h 466725"/>
                  <a:gd name="connsiteX41" fmla="*/ 692849 w 695325"/>
                  <a:gd name="connsiteY41" fmla="*/ 5144 h 466725"/>
                  <a:gd name="connsiteX42" fmla="*/ 694563 w 695325"/>
                  <a:gd name="connsiteY42" fmla="*/ 2572 h 466725"/>
                  <a:gd name="connsiteX43" fmla="*/ 694563 w 695325"/>
                  <a:gd name="connsiteY43" fmla="*/ 857 h 466725"/>
                  <a:gd name="connsiteX44" fmla="*/ 695420 w 695325"/>
                  <a:gd name="connsiteY44" fmla="*/ 0 h 466725"/>
                  <a:gd name="connsiteX45" fmla="*/ 693706 w 695325"/>
                  <a:gd name="connsiteY45" fmla="*/ 0 h 466725"/>
                  <a:gd name="connsiteX46" fmla="*/ 666655 w 695325"/>
                  <a:gd name="connsiteY46" fmla="*/ 0 h 466725"/>
                  <a:gd name="connsiteX47" fmla="*/ 661607 w 695325"/>
                  <a:gd name="connsiteY47" fmla="*/ 1715 h 466725"/>
                  <a:gd name="connsiteX48" fmla="*/ 652367 w 695325"/>
                  <a:gd name="connsiteY48" fmla="*/ 7715 h 466725"/>
                  <a:gd name="connsiteX49" fmla="*/ 650653 w 695325"/>
                  <a:gd name="connsiteY49" fmla="*/ 9430 h 466725"/>
                  <a:gd name="connsiteX50" fmla="*/ 648176 w 695325"/>
                  <a:gd name="connsiteY50" fmla="*/ 11049 h 466725"/>
                  <a:gd name="connsiteX51" fmla="*/ 642271 w 695325"/>
                  <a:gd name="connsiteY51" fmla="*/ 12763 h 466725"/>
                  <a:gd name="connsiteX52" fmla="*/ 632936 w 695325"/>
                  <a:gd name="connsiteY52" fmla="*/ 15335 h 466725"/>
                  <a:gd name="connsiteX53" fmla="*/ 630460 w 695325"/>
                  <a:gd name="connsiteY53" fmla="*/ 15335 h 466725"/>
                  <a:gd name="connsiteX54" fmla="*/ 628745 w 695325"/>
                  <a:gd name="connsiteY54" fmla="*/ 14478 h 466725"/>
                  <a:gd name="connsiteX55" fmla="*/ 627031 w 695325"/>
                  <a:gd name="connsiteY55" fmla="*/ 14478 h 466725"/>
                  <a:gd name="connsiteX56" fmla="*/ 625316 w 695325"/>
                  <a:gd name="connsiteY56" fmla="*/ 13621 h 466725"/>
                  <a:gd name="connsiteX57" fmla="*/ 622840 w 695325"/>
                  <a:gd name="connsiteY57" fmla="*/ 11906 h 466725"/>
                  <a:gd name="connsiteX58" fmla="*/ 621983 w 695325"/>
                  <a:gd name="connsiteY58" fmla="*/ 11906 h 466725"/>
                  <a:gd name="connsiteX59" fmla="*/ 620268 w 695325"/>
                  <a:gd name="connsiteY59" fmla="*/ 11906 h 466725"/>
                  <a:gd name="connsiteX60" fmla="*/ 615220 w 695325"/>
                  <a:gd name="connsiteY60" fmla="*/ 15335 h 466725"/>
                  <a:gd name="connsiteX61" fmla="*/ 582263 w 695325"/>
                  <a:gd name="connsiteY61" fmla="*/ 27242 h 466725"/>
                  <a:gd name="connsiteX62" fmla="*/ 576358 w 695325"/>
                  <a:gd name="connsiteY62" fmla="*/ 30671 h 466725"/>
                  <a:gd name="connsiteX63" fmla="*/ 568833 w 695325"/>
                  <a:gd name="connsiteY63" fmla="*/ 34004 h 466725"/>
                  <a:gd name="connsiteX64" fmla="*/ 566261 w 695325"/>
                  <a:gd name="connsiteY64" fmla="*/ 35719 h 466725"/>
                  <a:gd name="connsiteX65" fmla="*/ 564547 w 695325"/>
                  <a:gd name="connsiteY65" fmla="*/ 35719 h 466725"/>
                  <a:gd name="connsiteX66" fmla="*/ 557879 w 695325"/>
                  <a:gd name="connsiteY66" fmla="*/ 37433 h 466725"/>
                  <a:gd name="connsiteX67" fmla="*/ 551117 w 695325"/>
                  <a:gd name="connsiteY67" fmla="*/ 40005 h 466725"/>
                  <a:gd name="connsiteX68" fmla="*/ 545211 w 695325"/>
                  <a:gd name="connsiteY68" fmla="*/ 42481 h 466725"/>
                  <a:gd name="connsiteX69" fmla="*/ 540068 w 695325"/>
                  <a:gd name="connsiteY69" fmla="*/ 45910 h 466725"/>
                  <a:gd name="connsiteX70" fmla="*/ 539306 w 695325"/>
                  <a:gd name="connsiteY70" fmla="*/ 46768 h 466725"/>
                  <a:gd name="connsiteX71" fmla="*/ 535876 w 695325"/>
                  <a:gd name="connsiteY71" fmla="*/ 48482 h 466725"/>
                  <a:gd name="connsiteX72" fmla="*/ 535019 w 695325"/>
                  <a:gd name="connsiteY72" fmla="*/ 47625 h 466725"/>
                  <a:gd name="connsiteX73" fmla="*/ 533400 w 695325"/>
                  <a:gd name="connsiteY73" fmla="*/ 47625 h 466725"/>
                  <a:gd name="connsiteX74" fmla="*/ 529971 w 695325"/>
                  <a:gd name="connsiteY74" fmla="*/ 49340 h 466725"/>
                  <a:gd name="connsiteX75" fmla="*/ 527495 w 695325"/>
                  <a:gd name="connsiteY75" fmla="*/ 46768 h 466725"/>
                  <a:gd name="connsiteX76" fmla="*/ 517303 w 695325"/>
                  <a:gd name="connsiteY76" fmla="*/ 49340 h 466725"/>
                  <a:gd name="connsiteX77" fmla="*/ 513969 w 695325"/>
                  <a:gd name="connsiteY77" fmla="*/ 47625 h 466725"/>
                  <a:gd name="connsiteX78" fmla="*/ 512255 w 695325"/>
                  <a:gd name="connsiteY78" fmla="*/ 47625 h 466725"/>
                  <a:gd name="connsiteX79" fmla="*/ 509778 w 695325"/>
                  <a:gd name="connsiteY79" fmla="*/ 46768 h 466725"/>
                  <a:gd name="connsiteX80" fmla="*/ 508921 w 695325"/>
                  <a:gd name="connsiteY80" fmla="*/ 45910 h 466725"/>
                  <a:gd name="connsiteX81" fmla="*/ 508064 w 695325"/>
                  <a:gd name="connsiteY81" fmla="*/ 44196 h 466725"/>
                  <a:gd name="connsiteX82" fmla="*/ 507206 w 695325"/>
                  <a:gd name="connsiteY82" fmla="*/ 43339 h 466725"/>
                  <a:gd name="connsiteX83" fmla="*/ 506349 w 695325"/>
                  <a:gd name="connsiteY83" fmla="*/ 42481 h 466725"/>
                  <a:gd name="connsiteX84" fmla="*/ 505492 w 695325"/>
                  <a:gd name="connsiteY84" fmla="*/ 42481 h 466725"/>
                  <a:gd name="connsiteX85" fmla="*/ 504634 w 695325"/>
                  <a:gd name="connsiteY85" fmla="*/ 42481 h 466725"/>
                  <a:gd name="connsiteX86" fmla="*/ 502158 w 695325"/>
                  <a:gd name="connsiteY86" fmla="*/ 45053 h 466725"/>
                  <a:gd name="connsiteX87" fmla="*/ 501301 w 695325"/>
                  <a:gd name="connsiteY87" fmla="*/ 46768 h 466725"/>
                  <a:gd name="connsiteX88" fmla="*/ 502158 w 695325"/>
                  <a:gd name="connsiteY88" fmla="*/ 49340 h 466725"/>
                  <a:gd name="connsiteX89" fmla="*/ 503015 w 695325"/>
                  <a:gd name="connsiteY89" fmla="*/ 51054 h 466725"/>
                  <a:gd name="connsiteX90" fmla="*/ 504634 w 695325"/>
                  <a:gd name="connsiteY90" fmla="*/ 51911 h 466725"/>
                  <a:gd name="connsiteX91" fmla="*/ 505492 w 695325"/>
                  <a:gd name="connsiteY91" fmla="*/ 52673 h 466725"/>
                  <a:gd name="connsiteX92" fmla="*/ 506349 w 695325"/>
                  <a:gd name="connsiteY92" fmla="*/ 54388 h 466725"/>
                  <a:gd name="connsiteX93" fmla="*/ 506349 w 695325"/>
                  <a:gd name="connsiteY93" fmla="*/ 55245 h 466725"/>
                  <a:gd name="connsiteX94" fmla="*/ 505492 w 695325"/>
                  <a:gd name="connsiteY94" fmla="*/ 56960 h 466725"/>
                  <a:gd name="connsiteX95" fmla="*/ 504634 w 695325"/>
                  <a:gd name="connsiteY95" fmla="*/ 57817 h 466725"/>
                  <a:gd name="connsiteX96" fmla="*/ 490347 w 695325"/>
                  <a:gd name="connsiteY96" fmla="*/ 70580 h 466725"/>
                  <a:gd name="connsiteX97" fmla="*/ 485299 w 695325"/>
                  <a:gd name="connsiteY97" fmla="*/ 74771 h 466725"/>
                  <a:gd name="connsiteX98" fmla="*/ 481013 w 695325"/>
                  <a:gd name="connsiteY98" fmla="*/ 78200 h 466725"/>
                  <a:gd name="connsiteX99" fmla="*/ 477679 w 695325"/>
                  <a:gd name="connsiteY99" fmla="*/ 81629 h 466725"/>
                  <a:gd name="connsiteX100" fmla="*/ 475964 w 695325"/>
                  <a:gd name="connsiteY100" fmla="*/ 82486 h 466725"/>
                  <a:gd name="connsiteX101" fmla="*/ 473488 w 695325"/>
                  <a:gd name="connsiteY101" fmla="*/ 84963 h 466725"/>
                  <a:gd name="connsiteX102" fmla="*/ 460820 w 695325"/>
                  <a:gd name="connsiteY102" fmla="*/ 98584 h 466725"/>
                  <a:gd name="connsiteX103" fmla="*/ 460820 w 695325"/>
                  <a:gd name="connsiteY103" fmla="*/ 98584 h 466725"/>
                  <a:gd name="connsiteX104" fmla="*/ 459962 w 695325"/>
                  <a:gd name="connsiteY104" fmla="*/ 100298 h 466725"/>
                  <a:gd name="connsiteX105" fmla="*/ 459105 w 695325"/>
                  <a:gd name="connsiteY105" fmla="*/ 102013 h 466725"/>
                  <a:gd name="connsiteX106" fmla="*/ 459105 w 695325"/>
                  <a:gd name="connsiteY106" fmla="*/ 105442 h 466725"/>
                  <a:gd name="connsiteX107" fmla="*/ 459962 w 695325"/>
                  <a:gd name="connsiteY107" fmla="*/ 108775 h 466725"/>
                  <a:gd name="connsiteX108" fmla="*/ 459962 w 695325"/>
                  <a:gd name="connsiteY108" fmla="*/ 109633 h 466725"/>
                  <a:gd name="connsiteX109" fmla="*/ 459105 w 695325"/>
                  <a:gd name="connsiteY109" fmla="*/ 111347 h 466725"/>
                  <a:gd name="connsiteX110" fmla="*/ 455771 w 695325"/>
                  <a:gd name="connsiteY110" fmla="*/ 113062 h 466725"/>
                  <a:gd name="connsiteX111" fmla="*/ 453200 w 695325"/>
                  <a:gd name="connsiteY111" fmla="*/ 114776 h 466725"/>
                  <a:gd name="connsiteX112" fmla="*/ 451485 w 695325"/>
                  <a:gd name="connsiteY112" fmla="*/ 115633 h 466725"/>
                  <a:gd name="connsiteX113" fmla="*/ 449009 w 695325"/>
                  <a:gd name="connsiteY113" fmla="*/ 118967 h 466725"/>
                  <a:gd name="connsiteX114" fmla="*/ 447294 w 695325"/>
                  <a:gd name="connsiteY114" fmla="*/ 120682 h 466725"/>
                  <a:gd name="connsiteX115" fmla="*/ 444722 w 695325"/>
                  <a:gd name="connsiteY115" fmla="*/ 122396 h 466725"/>
                  <a:gd name="connsiteX116" fmla="*/ 437959 w 695325"/>
                  <a:gd name="connsiteY116" fmla="*/ 124968 h 466725"/>
                  <a:gd name="connsiteX117" fmla="*/ 434626 w 695325"/>
                  <a:gd name="connsiteY117" fmla="*/ 125825 h 466725"/>
                  <a:gd name="connsiteX118" fmla="*/ 427863 w 695325"/>
                  <a:gd name="connsiteY118" fmla="*/ 126682 h 466725"/>
                  <a:gd name="connsiteX119" fmla="*/ 426149 w 695325"/>
                  <a:gd name="connsiteY119" fmla="*/ 126682 h 466725"/>
                  <a:gd name="connsiteX120" fmla="*/ 421100 w 695325"/>
                  <a:gd name="connsiteY120" fmla="*/ 129159 h 466725"/>
                  <a:gd name="connsiteX121" fmla="*/ 418624 w 695325"/>
                  <a:gd name="connsiteY121" fmla="*/ 129159 h 466725"/>
                  <a:gd name="connsiteX122" fmla="*/ 415195 w 695325"/>
                  <a:gd name="connsiteY122" fmla="*/ 126682 h 466725"/>
                  <a:gd name="connsiteX123" fmla="*/ 414338 w 695325"/>
                  <a:gd name="connsiteY123" fmla="*/ 125825 h 466725"/>
                  <a:gd name="connsiteX124" fmla="*/ 412718 w 695325"/>
                  <a:gd name="connsiteY124" fmla="*/ 124968 h 466725"/>
                  <a:gd name="connsiteX125" fmla="*/ 409289 w 695325"/>
                  <a:gd name="connsiteY125" fmla="*/ 124111 h 466725"/>
                  <a:gd name="connsiteX126" fmla="*/ 370523 w 695325"/>
                  <a:gd name="connsiteY126" fmla="*/ 128302 h 466725"/>
                  <a:gd name="connsiteX127" fmla="*/ 367093 w 695325"/>
                  <a:gd name="connsiteY127" fmla="*/ 128302 h 466725"/>
                  <a:gd name="connsiteX128" fmla="*/ 364617 w 695325"/>
                  <a:gd name="connsiteY128" fmla="*/ 127540 h 466725"/>
                  <a:gd name="connsiteX129" fmla="*/ 362045 w 695325"/>
                  <a:gd name="connsiteY129" fmla="*/ 125825 h 466725"/>
                  <a:gd name="connsiteX130" fmla="*/ 361188 w 695325"/>
                  <a:gd name="connsiteY130" fmla="*/ 124968 h 466725"/>
                  <a:gd name="connsiteX131" fmla="*/ 361188 w 695325"/>
                  <a:gd name="connsiteY131" fmla="*/ 123253 h 466725"/>
                  <a:gd name="connsiteX132" fmla="*/ 361188 w 695325"/>
                  <a:gd name="connsiteY132" fmla="*/ 123253 h 466725"/>
                  <a:gd name="connsiteX133" fmla="*/ 361188 w 695325"/>
                  <a:gd name="connsiteY133" fmla="*/ 123253 h 466725"/>
                  <a:gd name="connsiteX134" fmla="*/ 357854 w 695325"/>
                  <a:gd name="connsiteY134" fmla="*/ 120682 h 466725"/>
                  <a:gd name="connsiteX135" fmla="*/ 347663 w 695325"/>
                  <a:gd name="connsiteY135" fmla="*/ 116491 h 466725"/>
                  <a:gd name="connsiteX136" fmla="*/ 339281 w 695325"/>
                  <a:gd name="connsiteY136" fmla="*/ 114776 h 466725"/>
                  <a:gd name="connsiteX137" fmla="*/ 335090 w 695325"/>
                  <a:gd name="connsiteY137" fmla="*/ 114776 h 466725"/>
                  <a:gd name="connsiteX138" fmla="*/ 332518 w 695325"/>
                  <a:gd name="connsiteY138" fmla="*/ 115633 h 466725"/>
                  <a:gd name="connsiteX139" fmla="*/ 329946 w 695325"/>
                  <a:gd name="connsiteY139" fmla="*/ 117253 h 466725"/>
                  <a:gd name="connsiteX140" fmla="*/ 328327 w 695325"/>
                  <a:gd name="connsiteY140" fmla="*/ 119824 h 466725"/>
                  <a:gd name="connsiteX141" fmla="*/ 326612 w 695325"/>
                  <a:gd name="connsiteY141" fmla="*/ 120682 h 466725"/>
                  <a:gd name="connsiteX142" fmla="*/ 324898 w 695325"/>
                  <a:gd name="connsiteY142" fmla="*/ 121539 h 466725"/>
                  <a:gd name="connsiteX143" fmla="*/ 318135 w 695325"/>
                  <a:gd name="connsiteY143" fmla="*/ 123253 h 466725"/>
                  <a:gd name="connsiteX144" fmla="*/ 310610 w 695325"/>
                  <a:gd name="connsiteY144" fmla="*/ 125825 h 466725"/>
                  <a:gd name="connsiteX145" fmla="*/ 297942 w 695325"/>
                  <a:gd name="connsiteY145" fmla="*/ 129159 h 466725"/>
                  <a:gd name="connsiteX146" fmla="*/ 294513 w 695325"/>
                  <a:gd name="connsiteY146" fmla="*/ 130873 h 466725"/>
                  <a:gd name="connsiteX147" fmla="*/ 292894 w 695325"/>
                  <a:gd name="connsiteY147" fmla="*/ 130873 h 466725"/>
                  <a:gd name="connsiteX148" fmla="*/ 288608 w 695325"/>
                  <a:gd name="connsiteY148" fmla="*/ 131731 h 466725"/>
                  <a:gd name="connsiteX149" fmla="*/ 286131 w 695325"/>
                  <a:gd name="connsiteY149" fmla="*/ 132588 h 466725"/>
                  <a:gd name="connsiteX150" fmla="*/ 281083 w 695325"/>
                  <a:gd name="connsiteY150" fmla="*/ 134302 h 466725"/>
                  <a:gd name="connsiteX151" fmla="*/ 270891 w 695325"/>
                  <a:gd name="connsiteY151" fmla="*/ 132588 h 466725"/>
                  <a:gd name="connsiteX152" fmla="*/ 266700 w 695325"/>
                  <a:gd name="connsiteY152" fmla="*/ 132588 h 466725"/>
                  <a:gd name="connsiteX153" fmla="*/ 265843 w 695325"/>
                  <a:gd name="connsiteY153" fmla="*/ 136874 h 466725"/>
                  <a:gd name="connsiteX154" fmla="*/ 262509 w 695325"/>
                  <a:gd name="connsiteY154" fmla="*/ 141065 h 466725"/>
                  <a:gd name="connsiteX155" fmla="*/ 255746 w 695325"/>
                  <a:gd name="connsiteY155" fmla="*/ 141923 h 466725"/>
                  <a:gd name="connsiteX156" fmla="*/ 253175 w 695325"/>
                  <a:gd name="connsiteY156" fmla="*/ 141065 h 466725"/>
                  <a:gd name="connsiteX157" fmla="*/ 249841 w 695325"/>
                  <a:gd name="connsiteY157" fmla="*/ 137731 h 466725"/>
                  <a:gd name="connsiteX158" fmla="*/ 248126 w 695325"/>
                  <a:gd name="connsiteY158" fmla="*/ 136874 h 466725"/>
                  <a:gd name="connsiteX159" fmla="*/ 246412 w 695325"/>
                  <a:gd name="connsiteY159" fmla="*/ 137731 h 466725"/>
                  <a:gd name="connsiteX160" fmla="*/ 246412 w 695325"/>
                  <a:gd name="connsiteY160" fmla="*/ 139351 h 466725"/>
                  <a:gd name="connsiteX161" fmla="*/ 246412 w 695325"/>
                  <a:gd name="connsiteY161" fmla="*/ 141065 h 466725"/>
                  <a:gd name="connsiteX162" fmla="*/ 244792 w 695325"/>
                  <a:gd name="connsiteY162" fmla="*/ 141923 h 466725"/>
                  <a:gd name="connsiteX163" fmla="*/ 245555 w 695325"/>
                  <a:gd name="connsiteY163" fmla="*/ 143637 h 466725"/>
                  <a:gd name="connsiteX164" fmla="*/ 245555 w 695325"/>
                  <a:gd name="connsiteY164" fmla="*/ 146209 h 466725"/>
                  <a:gd name="connsiteX165" fmla="*/ 244792 w 695325"/>
                  <a:gd name="connsiteY165" fmla="*/ 147066 h 466725"/>
                  <a:gd name="connsiteX166" fmla="*/ 243078 w 695325"/>
                  <a:gd name="connsiteY166" fmla="*/ 147066 h 466725"/>
                  <a:gd name="connsiteX167" fmla="*/ 242221 w 695325"/>
                  <a:gd name="connsiteY167" fmla="*/ 145352 h 466725"/>
                  <a:gd name="connsiteX168" fmla="*/ 241364 w 695325"/>
                  <a:gd name="connsiteY168" fmla="*/ 143637 h 466725"/>
                  <a:gd name="connsiteX169" fmla="*/ 241364 w 695325"/>
                  <a:gd name="connsiteY169" fmla="*/ 141923 h 466725"/>
                  <a:gd name="connsiteX170" fmla="*/ 238887 w 695325"/>
                  <a:gd name="connsiteY170" fmla="*/ 140208 h 466725"/>
                  <a:gd name="connsiteX171" fmla="*/ 235458 w 695325"/>
                  <a:gd name="connsiteY171" fmla="*/ 141065 h 466725"/>
                  <a:gd name="connsiteX172" fmla="*/ 228695 w 695325"/>
                  <a:gd name="connsiteY172" fmla="*/ 146209 h 466725"/>
                  <a:gd name="connsiteX173" fmla="*/ 225362 w 695325"/>
                  <a:gd name="connsiteY173" fmla="*/ 147066 h 466725"/>
                  <a:gd name="connsiteX174" fmla="*/ 220313 w 695325"/>
                  <a:gd name="connsiteY174" fmla="*/ 147923 h 466725"/>
                  <a:gd name="connsiteX175" fmla="*/ 218599 w 695325"/>
                  <a:gd name="connsiteY175" fmla="*/ 147923 h 466725"/>
                  <a:gd name="connsiteX176" fmla="*/ 213550 w 695325"/>
                  <a:gd name="connsiteY176" fmla="*/ 146209 h 466725"/>
                  <a:gd name="connsiteX177" fmla="*/ 211836 w 695325"/>
                  <a:gd name="connsiteY177" fmla="*/ 146209 h 466725"/>
                  <a:gd name="connsiteX178" fmla="*/ 207645 w 695325"/>
                  <a:gd name="connsiteY178" fmla="*/ 147923 h 466725"/>
                  <a:gd name="connsiteX179" fmla="*/ 205073 w 695325"/>
                  <a:gd name="connsiteY179" fmla="*/ 147923 h 466725"/>
                  <a:gd name="connsiteX180" fmla="*/ 204216 w 695325"/>
                  <a:gd name="connsiteY180" fmla="*/ 147066 h 466725"/>
                  <a:gd name="connsiteX181" fmla="*/ 201740 w 695325"/>
                  <a:gd name="connsiteY181" fmla="*/ 141065 h 466725"/>
                  <a:gd name="connsiteX182" fmla="*/ 200882 w 695325"/>
                  <a:gd name="connsiteY182" fmla="*/ 139351 h 466725"/>
                  <a:gd name="connsiteX183" fmla="*/ 199168 w 695325"/>
                  <a:gd name="connsiteY183" fmla="*/ 139351 h 466725"/>
                  <a:gd name="connsiteX184" fmla="*/ 194120 w 695325"/>
                  <a:gd name="connsiteY184" fmla="*/ 138589 h 466725"/>
                  <a:gd name="connsiteX185" fmla="*/ 193262 w 695325"/>
                  <a:gd name="connsiteY185" fmla="*/ 139351 h 466725"/>
                  <a:gd name="connsiteX186" fmla="*/ 190786 w 695325"/>
                  <a:gd name="connsiteY186" fmla="*/ 140208 h 466725"/>
                  <a:gd name="connsiteX187" fmla="*/ 189929 w 695325"/>
                  <a:gd name="connsiteY187" fmla="*/ 141923 h 466725"/>
                  <a:gd name="connsiteX188" fmla="*/ 189071 w 695325"/>
                  <a:gd name="connsiteY188" fmla="*/ 144494 h 466725"/>
                  <a:gd name="connsiteX189" fmla="*/ 187357 w 695325"/>
                  <a:gd name="connsiteY189" fmla="*/ 147066 h 466725"/>
                  <a:gd name="connsiteX190" fmla="*/ 186500 w 695325"/>
                  <a:gd name="connsiteY190" fmla="*/ 148781 h 466725"/>
                  <a:gd name="connsiteX191" fmla="*/ 184785 w 695325"/>
                  <a:gd name="connsiteY191" fmla="*/ 149543 h 466725"/>
                  <a:gd name="connsiteX192" fmla="*/ 182309 w 695325"/>
                  <a:gd name="connsiteY192" fmla="*/ 150400 h 466725"/>
                  <a:gd name="connsiteX193" fmla="*/ 180594 w 695325"/>
                  <a:gd name="connsiteY193" fmla="*/ 150400 h 466725"/>
                  <a:gd name="connsiteX194" fmla="*/ 178880 w 695325"/>
                  <a:gd name="connsiteY194" fmla="*/ 151257 h 466725"/>
                  <a:gd name="connsiteX195" fmla="*/ 177260 w 695325"/>
                  <a:gd name="connsiteY195" fmla="*/ 150400 h 466725"/>
                  <a:gd name="connsiteX196" fmla="*/ 173831 w 695325"/>
                  <a:gd name="connsiteY196" fmla="*/ 148781 h 466725"/>
                  <a:gd name="connsiteX197" fmla="*/ 170498 w 695325"/>
                  <a:gd name="connsiteY197" fmla="*/ 147066 h 466725"/>
                  <a:gd name="connsiteX198" fmla="*/ 162020 w 695325"/>
                  <a:gd name="connsiteY198" fmla="*/ 147923 h 466725"/>
                  <a:gd name="connsiteX199" fmla="*/ 158687 w 695325"/>
                  <a:gd name="connsiteY199" fmla="*/ 147066 h 466725"/>
                  <a:gd name="connsiteX200" fmla="*/ 155258 w 695325"/>
                  <a:gd name="connsiteY200" fmla="*/ 147066 h 466725"/>
                  <a:gd name="connsiteX201" fmla="*/ 149352 w 695325"/>
                  <a:gd name="connsiteY201" fmla="*/ 149543 h 466725"/>
                  <a:gd name="connsiteX202" fmla="*/ 149352 w 695325"/>
                  <a:gd name="connsiteY202" fmla="*/ 149543 h 466725"/>
                  <a:gd name="connsiteX203" fmla="*/ 141827 w 695325"/>
                  <a:gd name="connsiteY203" fmla="*/ 150400 h 466725"/>
                  <a:gd name="connsiteX204" fmla="*/ 117348 w 695325"/>
                  <a:gd name="connsiteY204" fmla="*/ 152114 h 466725"/>
                  <a:gd name="connsiteX205" fmla="*/ 102965 w 695325"/>
                  <a:gd name="connsiteY205" fmla="*/ 150400 h 466725"/>
                  <a:gd name="connsiteX206" fmla="*/ 90297 w 695325"/>
                  <a:gd name="connsiteY206" fmla="*/ 143637 h 466725"/>
                  <a:gd name="connsiteX207" fmla="*/ 80200 w 695325"/>
                  <a:gd name="connsiteY207" fmla="*/ 136017 h 466725"/>
                  <a:gd name="connsiteX208" fmla="*/ 76772 w 695325"/>
                  <a:gd name="connsiteY208" fmla="*/ 136017 h 466725"/>
                  <a:gd name="connsiteX209" fmla="*/ 74295 w 695325"/>
                  <a:gd name="connsiteY209" fmla="*/ 136874 h 466725"/>
                  <a:gd name="connsiteX210" fmla="*/ 72581 w 695325"/>
                  <a:gd name="connsiteY210" fmla="*/ 137731 h 466725"/>
                  <a:gd name="connsiteX211" fmla="*/ 71723 w 695325"/>
                  <a:gd name="connsiteY211" fmla="*/ 139351 h 466725"/>
                  <a:gd name="connsiteX212" fmla="*/ 69247 w 695325"/>
                  <a:gd name="connsiteY212" fmla="*/ 140208 h 466725"/>
                  <a:gd name="connsiteX213" fmla="*/ 67532 w 695325"/>
                  <a:gd name="connsiteY213" fmla="*/ 141065 h 466725"/>
                  <a:gd name="connsiteX214" fmla="*/ 63341 w 695325"/>
                  <a:gd name="connsiteY214" fmla="*/ 141065 h 466725"/>
                  <a:gd name="connsiteX215" fmla="*/ 61627 w 695325"/>
                  <a:gd name="connsiteY215" fmla="*/ 141065 h 466725"/>
                  <a:gd name="connsiteX216" fmla="*/ 58293 w 695325"/>
                  <a:gd name="connsiteY216" fmla="*/ 143637 h 466725"/>
                  <a:gd name="connsiteX217" fmla="*/ 54864 w 695325"/>
                  <a:gd name="connsiteY217" fmla="*/ 151257 h 466725"/>
                  <a:gd name="connsiteX218" fmla="*/ 52292 w 695325"/>
                  <a:gd name="connsiteY218" fmla="*/ 153829 h 466725"/>
                  <a:gd name="connsiteX219" fmla="*/ 48101 w 695325"/>
                  <a:gd name="connsiteY219" fmla="*/ 154686 h 466725"/>
                  <a:gd name="connsiteX220" fmla="*/ 35433 w 695325"/>
                  <a:gd name="connsiteY220" fmla="*/ 156400 h 466725"/>
                  <a:gd name="connsiteX221" fmla="*/ 28670 w 695325"/>
                  <a:gd name="connsiteY221" fmla="*/ 158115 h 466725"/>
                  <a:gd name="connsiteX222" fmla="*/ 26194 w 695325"/>
                  <a:gd name="connsiteY222" fmla="*/ 158115 h 466725"/>
                  <a:gd name="connsiteX223" fmla="*/ 25337 w 695325"/>
                  <a:gd name="connsiteY223" fmla="*/ 158115 h 466725"/>
                  <a:gd name="connsiteX224" fmla="*/ 22765 w 695325"/>
                  <a:gd name="connsiteY224" fmla="*/ 157258 h 466725"/>
                  <a:gd name="connsiteX225" fmla="*/ 22765 w 695325"/>
                  <a:gd name="connsiteY225" fmla="*/ 157258 h 466725"/>
                  <a:gd name="connsiteX226" fmla="*/ 22003 w 695325"/>
                  <a:gd name="connsiteY226" fmla="*/ 158972 h 466725"/>
                  <a:gd name="connsiteX227" fmla="*/ 24479 w 695325"/>
                  <a:gd name="connsiteY227" fmla="*/ 165735 h 466725"/>
                  <a:gd name="connsiteX228" fmla="*/ 24479 w 695325"/>
                  <a:gd name="connsiteY228" fmla="*/ 167449 h 466725"/>
                  <a:gd name="connsiteX229" fmla="*/ 26194 w 695325"/>
                  <a:gd name="connsiteY229" fmla="*/ 180213 h 466725"/>
                  <a:gd name="connsiteX230" fmla="*/ 24479 w 695325"/>
                  <a:gd name="connsiteY230" fmla="*/ 183547 h 466725"/>
                  <a:gd name="connsiteX231" fmla="*/ 24479 w 695325"/>
                  <a:gd name="connsiteY231" fmla="*/ 183547 h 466725"/>
                  <a:gd name="connsiteX232" fmla="*/ 23622 w 695325"/>
                  <a:gd name="connsiteY232" fmla="*/ 184404 h 466725"/>
                  <a:gd name="connsiteX233" fmla="*/ 23622 w 695325"/>
                  <a:gd name="connsiteY233" fmla="*/ 184404 h 466725"/>
                  <a:gd name="connsiteX234" fmla="*/ 22765 w 695325"/>
                  <a:gd name="connsiteY234" fmla="*/ 188690 h 466725"/>
                  <a:gd name="connsiteX235" fmla="*/ 22003 w 695325"/>
                  <a:gd name="connsiteY235" fmla="*/ 190405 h 466725"/>
                  <a:gd name="connsiteX236" fmla="*/ 21146 w 695325"/>
                  <a:gd name="connsiteY236" fmla="*/ 198882 h 466725"/>
                  <a:gd name="connsiteX237" fmla="*/ 21146 w 695325"/>
                  <a:gd name="connsiteY237" fmla="*/ 199739 h 466725"/>
                  <a:gd name="connsiteX238" fmla="*/ 20288 w 695325"/>
                  <a:gd name="connsiteY238" fmla="*/ 199739 h 466725"/>
                  <a:gd name="connsiteX239" fmla="*/ 19431 w 695325"/>
                  <a:gd name="connsiteY239" fmla="*/ 200597 h 466725"/>
                  <a:gd name="connsiteX240" fmla="*/ 18574 w 695325"/>
                  <a:gd name="connsiteY240" fmla="*/ 201454 h 466725"/>
                  <a:gd name="connsiteX241" fmla="*/ 17717 w 695325"/>
                  <a:gd name="connsiteY241" fmla="*/ 201454 h 466725"/>
                  <a:gd name="connsiteX242" fmla="*/ 17717 w 695325"/>
                  <a:gd name="connsiteY242" fmla="*/ 202311 h 466725"/>
                  <a:gd name="connsiteX243" fmla="*/ 17717 w 695325"/>
                  <a:gd name="connsiteY243" fmla="*/ 203168 h 466725"/>
                  <a:gd name="connsiteX244" fmla="*/ 19431 w 695325"/>
                  <a:gd name="connsiteY244" fmla="*/ 203930 h 466725"/>
                  <a:gd name="connsiteX245" fmla="*/ 19431 w 695325"/>
                  <a:gd name="connsiteY245" fmla="*/ 204787 h 466725"/>
                  <a:gd name="connsiteX246" fmla="*/ 19431 w 695325"/>
                  <a:gd name="connsiteY246" fmla="*/ 205645 h 466725"/>
                  <a:gd name="connsiteX247" fmla="*/ 18574 w 695325"/>
                  <a:gd name="connsiteY247" fmla="*/ 206502 h 466725"/>
                  <a:gd name="connsiteX248" fmla="*/ 16859 w 695325"/>
                  <a:gd name="connsiteY248" fmla="*/ 206502 h 466725"/>
                  <a:gd name="connsiteX249" fmla="*/ 14383 w 695325"/>
                  <a:gd name="connsiteY249" fmla="*/ 208216 h 466725"/>
                  <a:gd name="connsiteX250" fmla="*/ 13526 w 695325"/>
                  <a:gd name="connsiteY250" fmla="*/ 208216 h 466725"/>
                  <a:gd name="connsiteX251" fmla="*/ 13526 w 695325"/>
                  <a:gd name="connsiteY251" fmla="*/ 209931 h 466725"/>
                  <a:gd name="connsiteX252" fmla="*/ 11811 w 695325"/>
                  <a:gd name="connsiteY252" fmla="*/ 214122 h 466725"/>
                  <a:gd name="connsiteX253" fmla="*/ 10192 w 695325"/>
                  <a:gd name="connsiteY253" fmla="*/ 214979 h 466725"/>
                  <a:gd name="connsiteX254" fmla="*/ 9335 w 695325"/>
                  <a:gd name="connsiteY254" fmla="*/ 214979 h 466725"/>
                  <a:gd name="connsiteX255" fmla="*/ 8477 w 695325"/>
                  <a:gd name="connsiteY255" fmla="*/ 215836 h 466725"/>
                  <a:gd name="connsiteX256" fmla="*/ 9335 w 695325"/>
                  <a:gd name="connsiteY256" fmla="*/ 216694 h 466725"/>
                  <a:gd name="connsiteX257" fmla="*/ 9335 w 695325"/>
                  <a:gd name="connsiteY257" fmla="*/ 217551 h 466725"/>
                  <a:gd name="connsiteX258" fmla="*/ 9335 w 695325"/>
                  <a:gd name="connsiteY258" fmla="*/ 219265 h 466725"/>
                  <a:gd name="connsiteX259" fmla="*/ 9335 w 695325"/>
                  <a:gd name="connsiteY259" fmla="*/ 220123 h 466725"/>
                  <a:gd name="connsiteX260" fmla="*/ 8477 w 695325"/>
                  <a:gd name="connsiteY260" fmla="*/ 220980 h 466725"/>
                  <a:gd name="connsiteX261" fmla="*/ 5906 w 695325"/>
                  <a:gd name="connsiteY261" fmla="*/ 220980 h 466725"/>
                  <a:gd name="connsiteX262" fmla="*/ 3429 w 695325"/>
                  <a:gd name="connsiteY262" fmla="*/ 222694 h 466725"/>
                  <a:gd name="connsiteX263" fmla="*/ 857 w 695325"/>
                  <a:gd name="connsiteY263" fmla="*/ 222694 h 466725"/>
                  <a:gd name="connsiteX264" fmla="*/ 857 w 695325"/>
                  <a:gd name="connsiteY264" fmla="*/ 226028 h 466725"/>
                  <a:gd name="connsiteX265" fmla="*/ 0 w 695325"/>
                  <a:gd name="connsiteY265" fmla="*/ 226028 h 466725"/>
                  <a:gd name="connsiteX266" fmla="*/ 857 w 695325"/>
                  <a:gd name="connsiteY266" fmla="*/ 226886 h 466725"/>
                  <a:gd name="connsiteX267" fmla="*/ 1715 w 695325"/>
                  <a:gd name="connsiteY267" fmla="*/ 226886 h 466725"/>
                  <a:gd name="connsiteX268" fmla="*/ 2572 w 695325"/>
                  <a:gd name="connsiteY268" fmla="*/ 227743 h 466725"/>
                  <a:gd name="connsiteX269" fmla="*/ 5048 w 695325"/>
                  <a:gd name="connsiteY269" fmla="*/ 226886 h 466725"/>
                  <a:gd name="connsiteX270" fmla="*/ 5906 w 695325"/>
                  <a:gd name="connsiteY270" fmla="*/ 226886 h 466725"/>
                  <a:gd name="connsiteX271" fmla="*/ 7620 w 695325"/>
                  <a:gd name="connsiteY271" fmla="*/ 228600 h 466725"/>
                  <a:gd name="connsiteX272" fmla="*/ 7620 w 695325"/>
                  <a:gd name="connsiteY272" fmla="*/ 230315 h 466725"/>
                  <a:gd name="connsiteX273" fmla="*/ 8477 w 695325"/>
                  <a:gd name="connsiteY273" fmla="*/ 232029 h 466725"/>
                  <a:gd name="connsiteX274" fmla="*/ 9335 w 695325"/>
                  <a:gd name="connsiteY274" fmla="*/ 233744 h 466725"/>
                  <a:gd name="connsiteX275" fmla="*/ 10954 w 695325"/>
                  <a:gd name="connsiteY275" fmla="*/ 235458 h 466725"/>
                  <a:gd name="connsiteX276" fmla="*/ 10954 w 695325"/>
                  <a:gd name="connsiteY276" fmla="*/ 237077 h 466725"/>
                  <a:gd name="connsiteX277" fmla="*/ 10954 w 695325"/>
                  <a:gd name="connsiteY277" fmla="*/ 238792 h 466725"/>
                  <a:gd name="connsiteX278" fmla="*/ 10954 w 695325"/>
                  <a:gd name="connsiteY278" fmla="*/ 241364 h 466725"/>
                  <a:gd name="connsiteX279" fmla="*/ 11811 w 695325"/>
                  <a:gd name="connsiteY279" fmla="*/ 242221 h 466725"/>
                  <a:gd name="connsiteX280" fmla="*/ 13526 w 695325"/>
                  <a:gd name="connsiteY280" fmla="*/ 244793 h 466725"/>
                  <a:gd name="connsiteX281" fmla="*/ 14383 w 695325"/>
                  <a:gd name="connsiteY281" fmla="*/ 246412 h 466725"/>
                  <a:gd name="connsiteX282" fmla="*/ 15240 w 695325"/>
                  <a:gd name="connsiteY282" fmla="*/ 247269 h 466725"/>
                  <a:gd name="connsiteX283" fmla="*/ 16097 w 695325"/>
                  <a:gd name="connsiteY283" fmla="*/ 248126 h 466725"/>
                  <a:gd name="connsiteX284" fmla="*/ 16859 w 695325"/>
                  <a:gd name="connsiteY284" fmla="*/ 247269 h 466725"/>
                  <a:gd name="connsiteX285" fmla="*/ 17717 w 695325"/>
                  <a:gd name="connsiteY285" fmla="*/ 246412 h 466725"/>
                  <a:gd name="connsiteX286" fmla="*/ 17717 w 695325"/>
                  <a:gd name="connsiteY286" fmla="*/ 246412 h 466725"/>
                  <a:gd name="connsiteX287" fmla="*/ 17717 w 695325"/>
                  <a:gd name="connsiteY287" fmla="*/ 246412 h 466725"/>
                  <a:gd name="connsiteX288" fmla="*/ 17717 w 695325"/>
                  <a:gd name="connsiteY288" fmla="*/ 246412 h 466725"/>
                  <a:gd name="connsiteX289" fmla="*/ 17717 w 695325"/>
                  <a:gd name="connsiteY289" fmla="*/ 246412 h 466725"/>
                  <a:gd name="connsiteX290" fmla="*/ 17717 w 695325"/>
                  <a:gd name="connsiteY290" fmla="*/ 246412 h 466725"/>
                  <a:gd name="connsiteX291" fmla="*/ 17717 w 695325"/>
                  <a:gd name="connsiteY291" fmla="*/ 246412 h 466725"/>
                  <a:gd name="connsiteX292" fmla="*/ 19431 w 695325"/>
                  <a:gd name="connsiteY292" fmla="*/ 248126 h 466725"/>
                  <a:gd name="connsiteX293" fmla="*/ 19431 w 695325"/>
                  <a:gd name="connsiteY293" fmla="*/ 249841 h 466725"/>
                  <a:gd name="connsiteX294" fmla="*/ 17717 w 695325"/>
                  <a:gd name="connsiteY294" fmla="*/ 251555 h 466725"/>
                  <a:gd name="connsiteX295" fmla="*/ 15240 w 695325"/>
                  <a:gd name="connsiteY295" fmla="*/ 252412 h 466725"/>
                  <a:gd name="connsiteX296" fmla="*/ 17717 w 695325"/>
                  <a:gd name="connsiteY296" fmla="*/ 253270 h 466725"/>
                  <a:gd name="connsiteX297" fmla="*/ 19431 w 695325"/>
                  <a:gd name="connsiteY297" fmla="*/ 254127 h 466725"/>
                  <a:gd name="connsiteX298" fmla="*/ 20288 w 695325"/>
                  <a:gd name="connsiteY298" fmla="*/ 254127 h 466725"/>
                  <a:gd name="connsiteX299" fmla="*/ 19431 w 695325"/>
                  <a:gd name="connsiteY299" fmla="*/ 257461 h 466725"/>
                  <a:gd name="connsiteX300" fmla="*/ 14383 w 695325"/>
                  <a:gd name="connsiteY300" fmla="*/ 266033 h 466725"/>
                  <a:gd name="connsiteX301" fmla="*/ 14383 w 695325"/>
                  <a:gd name="connsiteY301" fmla="*/ 268510 h 466725"/>
                  <a:gd name="connsiteX302" fmla="*/ 16859 w 695325"/>
                  <a:gd name="connsiteY302" fmla="*/ 279559 h 466725"/>
                  <a:gd name="connsiteX303" fmla="*/ 18574 w 695325"/>
                  <a:gd name="connsiteY303" fmla="*/ 285560 h 466725"/>
                  <a:gd name="connsiteX304" fmla="*/ 20288 w 695325"/>
                  <a:gd name="connsiteY304" fmla="*/ 290608 h 466725"/>
                  <a:gd name="connsiteX305" fmla="*/ 19431 w 695325"/>
                  <a:gd name="connsiteY305" fmla="*/ 299180 h 466725"/>
                  <a:gd name="connsiteX306" fmla="*/ 18574 w 695325"/>
                  <a:gd name="connsiteY306" fmla="*/ 308515 h 466725"/>
                  <a:gd name="connsiteX307" fmla="*/ 16859 w 695325"/>
                  <a:gd name="connsiteY307" fmla="*/ 314420 h 466725"/>
                  <a:gd name="connsiteX308" fmla="*/ 20288 w 695325"/>
                  <a:gd name="connsiteY308" fmla="*/ 313563 h 466725"/>
                  <a:gd name="connsiteX309" fmla="*/ 24479 w 695325"/>
                  <a:gd name="connsiteY309" fmla="*/ 311848 h 466725"/>
                  <a:gd name="connsiteX310" fmla="*/ 25337 w 695325"/>
                  <a:gd name="connsiteY310" fmla="*/ 310991 h 466725"/>
                  <a:gd name="connsiteX311" fmla="*/ 26194 w 695325"/>
                  <a:gd name="connsiteY311" fmla="*/ 310229 h 466725"/>
                  <a:gd name="connsiteX312" fmla="*/ 27051 w 695325"/>
                  <a:gd name="connsiteY312" fmla="*/ 309372 h 466725"/>
                  <a:gd name="connsiteX313" fmla="*/ 27051 w 695325"/>
                  <a:gd name="connsiteY313" fmla="*/ 307657 h 466725"/>
                  <a:gd name="connsiteX314" fmla="*/ 27051 w 695325"/>
                  <a:gd name="connsiteY314" fmla="*/ 303371 h 466725"/>
                  <a:gd name="connsiteX315" fmla="*/ 27051 w 695325"/>
                  <a:gd name="connsiteY315" fmla="*/ 302514 h 466725"/>
                  <a:gd name="connsiteX316" fmla="*/ 27908 w 695325"/>
                  <a:gd name="connsiteY316" fmla="*/ 300799 h 466725"/>
                  <a:gd name="connsiteX317" fmla="*/ 29528 w 695325"/>
                  <a:gd name="connsiteY317" fmla="*/ 300037 h 466725"/>
                  <a:gd name="connsiteX318" fmla="*/ 32957 w 695325"/>
                  <a:gd name="connsiteY318" fmla="*/ 300037 h 466725"/>
                  <a:gd name="connsiteX319" fmla="*/ 34576 w 695325"/>
                  <a:gd name="connsiteY319" fmla="*/ 300037 h 466725"/>
                  <a:gd name="connsiteX320" fmla="*/ 36290 w 695325"/>
                  <a:gd name="connsiteY320" fmla="*/ 299180 h 466725"/>
                  <a:gd name="connsiteX321" fmla="*/ 37148 w 695325"/>
                  <a:gd name="connsiteY321" fmla="*/ 298323 h 466725"/>
                  <a:gd name="connsiteX322" fmla="*/ 38005 w 695325"/>
                  <a:gd name="connsiteY322" fmla="*/ 297466 h 466725"/>
                  <a:gd name="connsiteX323" fmla="*/ 38862 w 695325"/>
                  <a:gd name="connsiteY323" fmla="*/ 296608 h 466725"/>
                  <a:gd name="connsiteX324" fmla="*/ 38862 w 695325"/>
                  <a:gd name="connsiteY324" fmla="*/ 295751 h 466725"/>
                  <a:gd name="connsiteX325" fmla="*/ 38862 w 695325"/>
                  <a:gd name="connsiteY325" fmla="*/ 294894 h 466725"/>
                  <a:gd name="connsiteX326" fmla="*/ 38005 w 695325"/>
                  <a:gd name="connsiteY326" fmla="*/ 294037 h 466725"/>
                  <a:gd name="connsiteX327" fmla="*/ 38005 w 695325"/>
                  <a:gd name="connsiteY327" fmla="*/ 293179 h 466725"/>
                  <a:gd name="connsiteX328" fmla="*/ 34576 w 695325"/>
                  <a:gd name="connsiteY328" fmla="*/ 290608 h 466725"/>
                  <a:gd name="connsiteX329" fmla="*/ 33814 w 695325"/>
                  <a:gd name="connsiteY329" fmla="*/ 288989 h 466725"/>
                  <a:gd name="connsiteX330" fmla="*/ 32957 w 695325"/>
                  <a:gd name="connsiteY330" fmla="*/ 288131 h 466725"/>
                  <a:gd name="connsiteX331" fmla="*/ 32957 w 695325"/>
                  <a:gd name="connsiteY331" fmla="*/ 287274 h 466725"/>
                  <a:gd name="connsiteX332" fmla="*/ 32099 w 695325"/>
                  <a:gd name="connsiteY332" fmla="*/ 283845 h 466725"/>
                  <a:gd name="connsiteX333" fmla="*/ 32099 w 695325"/>
                  <a:gd name="connsiteY333" fmla="*/ 282131 h 466725"/>
                  <a:gd name="connsiteX334" fmla="*/ 32099 w 695325"/>
                  <a:gd name="connsiteY334" fmla="*/ 281273 h 466725"/>
                  <a:gd name="connsiteX335" fmla="*/ 32099 w 695325"/>
                  <a:gd name="connsiteY335" fmla="*/ 279559 h 466725"/>
                  <a:gd name="connsiteX336" fmla="*/ 32957 w 695325"/>
                  <a:gd name="connsiteY336" fmla="*/ 278702 h 466725"/>
                  <a:gd name="connsiteX337" fmla="*/ 33814 w 695325"/>
                  <a:gd name="connsiteY337" fmla="*/ 276225 h 466725"/>
                  <a:gd name="connsiteX338" fmla="*/ 34576 w 695325"/>
                  <a:gd name="connsiteY338" fmla="*/ 275368 h 466725"/>
                  <a:gd name="connsiteX339" fmla="*/ 34576 w 695325"/>
                  <a:gd name="connsiteY339" fmla="*/ 274511 h 466725"/>
                  <a:gd name="connsiteX340" fmla="*/ 35433 w 695325"/>
                  <a:gd name="connsiteY340" fmla="*/ 272796 h 466725"/>
                  <a:gd name="connsiteX341" fmla="*/ 35433 w 695325"/>
                  <a:gd name="connsiteY341" fmla="*/ 270224 h 466725"/>
                  <a:gd name="connsiteX342" fmla="*/ 36290 w 695325"/>
                  <a:gd name="connsiteY342" fmla="*/ 268510 h 466725"/>
                  <a:gd name="connsiteX343" fmla="*/ 37148 w 695325"/>
                  <a:gd name="connsiteY343" fmla="*/ 267748 h 466725"/>
                  <a:gd name="connsiteX344" fmla="*/ 40481 w 695325"/>
                  <a:gd name="connsiteY344" fmla="*/ 264319 h 466725"/>
                  <a:gd name="connsiteX345" fmla="*/ 41339 w 695325"/>
                  <a:gd name="connsiteY345" fmla="*/ 262604 h 466725"/>
                  <a:gd name="connsiteX346" fmla="*/ 42196 w 695325"/>
                  <a:gd name="connsiteY346" fmla="*/ 260890 h 466725"/>
                  <a:gd name="connsiteX347" fmla="*/ 43053 w 695325"/>
                  <a:gd name="connsiteY347" fmla="*/ 260032 h 466725"/>
                  <a:gd name="connsiteX348" fmla="*/ 44768 w 695325"/>
                  <a:gd name="connsiteY348" fmla="*/ 258318 h 466725"/>
                  <a:gd name="connsiteX349" fmla="*/ 48101 w 695325"/>
                  <a:gd name="connsiteY349" fmla="*/ 255841 h 466725"/>
                  <a:gd name="connsiteX350" fmla="*/ 50673 w 695325"/>
                  <a:gd name="connsiteY350" fmla="*/ 253270 h 466725"/>
                  <a:gd name="connsiteX351" fmla="*/ 51530 w 695325"/>
                  <a:gd name="connsiteY351" fmla="*/ 252412 h 466725"/>
                  <a:gd name="connsiteX352" fmla="*/ 53150 w 695325"/>
                  <a:gd name="connsiteY352" fmla="*/ 250698 h 466725"/>
                  <a:gd name="connsiteX353" fmla="*/ 62484 w 695325"/>
                  <a:gd name="connsiteY353" fmla="*/ 248983 h 466725"/>
                  <a:gd name="connsiteX354" fmla="*/ 69247 w 695325"/>
                  <a:gd name="connsiteY354" fmla="*/ 248983 h 466725"/>
                  <a:gd name="connsiteX355" fmla="*/ 70866 w 695325"/>
                  <a:gd name="connsiteY355" fmla="*/ 248126 h 466725"/>
                  <a:gd name="connsiteX356" fmla="*/ 73438 w 695325"/>
                  <a:gd name="connsiteY356" fmla="*/ 248126 h 466725"/>
                  <a:gd name="connsiteX357" fmla="*/ 74295 w 695325"/>
                  <a:gd name="connsiteY357" fmla="*/ 247269 h 466725"/>
                  <a:gd name="connsiteX358" fmla="*/ 75152 w 695325"/>
                  <a:gd name="connsiteY358" fmla="*/ 247269 h 466725"/>
                  <a:gd name="connsiteX359" fmla="*/ 77629 w 695325"/>
                  <a:gd name="connsiteY359" fmla="*/ 245650 h 466725"/>
                  <a:gd name="connsiteX360" fmla="*/ 79343 w 695325"/>
                  <a:gd name="connsiteY360" fmla="*/ 244793 h 466725"/>
                  <a:gd name="connsiteX361" fmla="*/ 80200 w 695325"/>
                  <a:gd name="connsiteY361" fmla="*/ 243935 h 466725"/>
                  <a:gd name="connsiteX362" fmla="*/ 81915 w 695325"/>
                  <a:gd name="connsiteY362" fmla="*/ 243935 h 466725"/>
                  <a:gd name="connsiteX363" fmla="*/ 87821 w 695325"/>
                  <a:gd name="connsiteY363" fmla="*/ 244793 h 466725"/>
                  <a:gd name="connsiteX364" fmla="*/ 89440 w 695325"/>
                  <a:gd name="connsiteY364" fmla="*/ 244793 h 466725"/>
                  <a:gd name="connsiteX365" fmla="*/ 90297 w 695325"/>
                  <a:gd name="connsiteY365" fmla="*/ 244793 h 466725"/>
                  <a:gd name="connsiteX366" fmla="*/ 91154 w 695325"/>
                  <a:gd name="connsiteY366" fmla="*/ 244793 h 466725"/>
                  <a:gd name="connsiteX367" fmla="*/ 92869 w 695325"/>
                  <a:gd name="connsiteY367" fmla="*/ 244793 h 466725"/>
                  <a:gd name="connsiteX368" fmla="*/ 94488 w 695325"/>
                  <a:gd name="connsiteY368" fmla="*/ 246412 h 466725"/>
                  <a:gd name="connsiteX369" fmla="*/ 97917 w 695325"/>
                  <a:gd name="connsiteY369" fmla="*/ 248126 h 466725"/>
                  <a:gd name="connsiteX370" fmla="*/ 98774 w 695325"/>
                  <a:gd name="connsiteY370" fmla="*/ 248983 h 466725"/>
                  <a:gd name="connsiteX371" fmla="*/ 98774 w 695325"/>
                  <a:gd name="connsiteY371" fmla="*/ 250698 h 466725"/>
                  <a:gd name="connsiteX372" fmla="*/ 98774 w 695325"/>
                  <a:gd name="connsiteY372" fmla="*/ 252412 h 466725"/>
                  <a:gd name="connsiteX373" fmla="*/ 97917 w 695325"/>
                  <a:gd name="connsiteY373" fmla="*/ 254127 h 466725"/>
                  <a:gd name="connsiteX374" fmla="*/ 97060 w 695325"/>
                  <a:gd name="connsiteY374" fmla="*/ 255841 h 466725"/>
                  <a:gd name="connsiteX375" fmla="*/ 96203 w 695325"/>
                  <a:gd name="connsiteY375" fmla="*/ 256699 h 466725"/>
                  <a:gd name="connsiteX376" fmla="*/ 96203 w 695325"/>
                  <a:gd name="connsiteY376" fmla="*/ 256699 h 466725"/>
                  <a:gd name="connsiteX377" fmla="*/ 97060 w 695325"/>
                  <a:gd name="connsiteY377" fmla="*/ 256699 h 466725"/>
                  <a:gd name="connsiteX378" fmla="*/ 97917 w 695325"/>
                  <a:gd name="connsiteY378" fmla="*/ 256699 h 466725"/>
                  <a:gd name="connsiteX379" fmla="*/ 102108 w 695325"/>
                  <a:gd name="connsiteY379" fmla="*/ 254127 h 466725"/>
                  <a:gd name="connsiteX380" fmla="*/ 103823 w 695325"/>
                  <a:gd name="connsiteY380" fmla="*/ 252412 h 466725"/>
                  <a:gd name="connsiteX381" fmla="*/ 103823 w 695325"/>
                  <a:gd name="connsiteY381" fmla="*/ 251555 h 466725"/>
                  <a:gd name="connsiteX382" fmla="*/ 104680 w 695325"/>
                  <a:gd name="connsiteY382" fmla="*/ 249841 h 466725"/>
                  <a:gd name="connsiteX383" fmla="*/ 105537 w 695325"/>
                  <a:gd name="connsiteY383" fmla="*/ 249841 h 466725"/>
                  <a:gd name="connsiteX384" fmla="*/ 106394 w 695325"/>
                  <a:gd name="connsiteY384" fmla="*/ 249841 h 466725"/>
                  <a:gd name="connsiteX385" fmla="*/ 107156 w 695325"/>
                  <a:gd name="connsiteY385" fmla="*/ 250698 h 466725"/>
                  <a:gd name="connsiteX386" fmla="*/ 108014 w 695325"/>
                  <a:gd name="connsiteY386" fmla="*/ 251555 h 466725"/>
                  <a:gd name="connsiteX387" fmla="*/ 108014 w 695325"/>
                  <a:gd name="connsiteY387" fmla="*/ 252412 h 466725"/>
                  <a:gd name="connsiteX388" fmla="*/ 108014 w 695325"/>
                  <a:gd name="connsiteY388" fmla="*/ 253270 h 466725"/>
                  <a:gd name="connsiteX389" fmla="*/ 108014 w 695325"/>
                  <a:gd name="connsiteY389" fmla="*/ 254127 h 466725"/>
                  <a:gd name="connsiteX390" fmla="*/ 108871 w 695325"/>
                  <a:gd name="connsiteY390" fmla="*/ 254984 h 466725"/>
                  <a:gd name="connsiteX391" fmla="*/ 111442 w 695325"/>
                  <a:gd name="connsiteY391" fmla="*/ 253270 h 466725"/>
                  <a:gd name="connsiteX392" fmla="*/ 113919 w 695325"/>
                  <a:gd name="connsiteY392" fmla="*/ 252412 h 466725"/>
                  <a:gd name="connsiteX393" fmla="*/ 120682 w 695325"/>
                  <a:gd name="connsiteY393" fmla="*/ 250698 h 466725"/>
                  <a:gd name="connsiteX394" fmla="*/ 122396 w 695325"/>
                  <a:gd name="connsiteY394" fmla="*/ 250698 h 466725"/>
                  <a:gd name="connsiteX395" fmla="*/ 122396 w 695325"/>
                  <a:gd name="connsiteY395" fmla="*/ 251555 h 466725"/>
                  <a:gd name="connsiteX396" fmla="*/ 123254 w 695325"/>
                  <a:gd name="connsiteY396" fmla="*/ 251555 h 466725"/>
                  <a:gd name="connsiteX397" fmla="*/ 123254 w 695325"/>
                  <a:gd name="connsiteY397" fmla="*/ 254127 h 466725"/>
                  <a:gd name="connsiteX398" fmla="*/ 123254 w 695325"/>
                  <a:gd name="connsiteY398" fmla="*/ 254984 h 466725"/>
                  <a:gd name="connsiteX399" fmla="*/ 124111 w 695325"/>
                  <a:gd name="connsiteY399" fmla="*/ 254984 h 466725"/>
                  <a:gd name="connsiteX400" fmla="*/ 124873 w 695325"/>
                  <a:gd name="connsiteY400" fmla="*/ 254984 h 466725"/>
                  <a:gd name="connsiteX401" fmla="*/ 128302 w 695325"/>
                  <a:gd name="connsiteY401" fmla="*/ 253270 h 466725"/>
                  <a:gd name="connsiteX402" fmla="*/ 129159 w 695325"/>
                  <a:gd name="connsiteY402" fmla="*/ 252412 h 466725"/>
                  <a:gd name="connsiteX403" fmla="*/ 133350 w 695325"/>
                  <a:gd name="connsiteY403" fmla="*/ 252412 h 466725"/>
                  <a:gd name="connsiteX404" fmla="*/ 136684 w 695325"/>
                  <a:gd name="connsiteY404" fmla="*/ 252412 h 466725"/>
                  <a:gd name="connsiteX405" fmla="*/ 140113 w 695325"/>
                  <a:gd name="connsiteY405" fmla="*/ 253270 h 466725"/>
                  <a:gd name="connsiteX406" fmla="*/ 144304 w 695325"/>
                  <a:gd name="connsiteY406" fmla="*/ 253270 h 466725"/>
                  <a:gd name="connsiteX407" fmla="*/ 145161 w 695325"/>
                  <a:gd name="connsiteY407" fmla="*/ 253270 h 466725"/>
                  <a:gd name="connsiteX408" fmla="*/ 146018 w 695325"/>
                  <a:gd name="connsiteY408" fmla="*/ 254127 h 466725"/>
                  <a:gd name="connsiteX409" fmla="*/ 146875 w 695325"/>
                  <a:gd name="connsiteY409" fmla="*/ 255841 h 466725"/>
                  <a:gd name="connsiteX410" fmla="*/ 147733 w 695325"/>
                  <a:gd name="connsiteY410" fmla="*/ 255841 h 466725"/>
                  <a:gd name="connsiteX411" fmla="*/ 148590 w 695325"/>
                  <a:gd name="connsiteY411" fmla="*/ 256699 h 466725"/>
                  <a:gd name="connsiteX412" fmla="*/ 150209 w 695325"/>
                  <a:gd name="connsiteY412" fmla="*/ 256699 h 466725"/>
                  <a:gd name="connsiteX413" fmla="*/ 151067 w 695325"/>
                  <a:gd name="connsiteY413" fmla="*/ 257461 h 466725"/>
                  <a:gd name="connsiteX414" fmla="*/ 151067 w 695325"/>
                  <a:gd name="connsiteY414" fmla="*/ 258318 h 466725"/>
                  <a:gd name="connsiteX415" fmla="*/ 151924 w 695325"/>
                  <a:gd name="connsiteY415" fmla="*/ 260032 h 466725"/>
                  <a:gd name="connsiteX416" fmla="*/ 151924 w 695325"/>
                  <a:gd name="connsiteY416" fmla="*/ 261747 h 466725"/>
                  <a:gd name="connsiteX417" fmla="*/ 151067 w 695325"/>
                  <a:gd name="connsiteY417" fmla="*/ 265176 h 466725"/>
                  <a:gd name="connsiteX418" fmla="*/ 151067 w 695325"/>
                  <a:gd name="connsiteY418" fmla="*/ 266033 h 466725"/>
                  <a:gd name="connsiteX419" fmla="*/ 151924 w 695325"/>
                  <a:gd name="connsiteY419" fmla="*/ 266033 h 466725"/>
                  <a:gd name="connsiteX420" fmla="*/ 153638 w 695325"/>
                  <a:gd name="connsiteY420" fmla="*/ 265176 h 466725"/>
                  <a:gd name="connsiteX421" fmla="*/ 155258 w 695325"/>
                  <a:gd name="connsiteY421" fmla="*/ 264319 h 466725"/>
                  <a:gd name="connsiteX422" fmla="*/ 155258 w 695325"/>
                  <a:gd name="connsiteY422" fmla="*/ 264319 h 466725"/>
                  <a:gd name="connsiteX423" fmla="*/ 156115 w 695325"/>
                  <a:gd name="connsiteY423" fmla="*/ 265176 h 466725"/>
                  <a:gd name="connsiteX424" fmla="*/ 156115 w 695325"/>
                  <a:gd name="connsiteY424" fmla="*/ 266033 h 466725"/>
                  <a:gd name="connsiteX425" fmla="*/ 156972 w 695325"/>
                  <a:gd name="connsiteY425" fmla="*/ 266033 h 466725"/>
                  <a:gd name="connsiteX426" fmla="*/ 158687 w 695325"/>
                  <a:gd name="connsiteY426" fmla="*/ 266033 h 466725"/>
                  <a:gd name="connsiteX427" fmla="*/ 167926 w 695325"/>
                  <a:gd name="connsiteY427" fmla="*/ 261747 h 466725"/>
                  <a:gd name="connsiteX428" fmla="*/ 169640 w 695325"/>
                  <a:gd name="connsiteY428" fmla="*/ 261747 h 466725"/>
                  <a:gd name="connsiteX429" fmla="*/ 170498 w 695325"/>
                  <a:gd name="connsiteY429" fmla="*/ 263461 h 466725"/>
                  <a:gd name="connsiteX430" fmla="*/ 169640 w 695325"/>
                  <a:gd name="connsiteY430" fmla="*/ 266890 h 466725"/>
                  <a:gd name="connsiteX431" fmla="*/ 169640 w 695325"/>
                  <a:gd name="connsiteY431" fmla="*/ 268510 h 466725"/>
                  <a:gd name="connsiteX432" fmla="*/ 169640 w 695325"/>
                  <a:gd name="connsiteY432" fmla="*/ 271082 h 466725"/>
                  <a:gd name="connsiteX433" fmla="*/ 170498 w 695325"/>
                  <a:gd name="connsiteY433" fmla="*/ 275368 h 466725"/>
                  <a:gd name="connsiteX434" fmla="*/ 171355 w 695325"/>
                  <a:gd name="connsiteY434" fmla="*/ 278702 h 466725"/>
                  <a:gd name="connsiteX435" fmla="*/ 172974 w 695325"/>
                  <a:gd name="connsiteY435" fmla="*/ 278702 h 466725"/>
                  <a:gd name="connsiteX436" fmla="*/ 173831 w 695325"/>
                  <a:gd name="connsiteY436" fmla="*/ 278702 h 466725"/>
                  <a:gd name="connsiteX437" fmla="*/ 175546 w 695325"/>
                  <a:gd name="connsiteY437" fmla="*/ 277940 h 466725"/>
                  <a:gd name="connsiteX438" fmla="*/ 178117 w 695325"/>
                  <a:gd name="connsiteY438" fmla="*/ 276225 h 466725"/>
                  <a:gd name="connsiteX439" fmla="*/ 183166 w 695325"/>
                  <a:gd name="connsiteY439" fmla="*/ 271082 h 466725"/>
                  <a:gd name="connsiteX440" fmla="*/ 184023 w 695325"/>
                  <a:gd name="connsiteY440" fmla="*/ 267748 h 466725"/>
                  <a:gd name="connsiteX441" fmla="*/ 185642 w 695325"/>
                  <a:gd name="connsiteY441" fmla="*/ 266890 h 466725"/>
                  <a:gd name="connsiteX442" fmla="*/ 188214 w 695325"/>
                  <a:gd name="connsiteY442" fmla="*/ 265176 h 466725"/>
                  <a:gd name="connsiteX443" fmla="*/ 194120 w 695325"/>
                  <a:gd name="connsiteY443" fmla="*/ 263461 h 466725"/>
                  <a:gd name="connsiteX444" fmla="*/ 200025 w 695325"/>
                  <a:gd name="connsiteY444" fmla="*/ 262604 h 466725"/>
                  <a:gd name="connsiteX445" fmla="*/ 205931 w 695325"/>
                  <a:gd name="connsiteY445" fmla="*/ 260032 h 466725"/>
                  <a:gd name="connsiteX446" fmla="*/ 206788 w 695325"/>
                  <a:gd name="connsiteY446" fmla="*/ 259175 h 466725"/>
                  <a:gd name="connsiteX447" fmla="*/ 206788 w 695325"/>
                  <a:gd name="connsiteY447" fmla="*/ 258318 h 466725"/>
                  <a:gd name="connsiteX448" fmla="*/ 205931 w 695325"/>
                  <a:gd name="connsiteY448" fmla="*/ 258318 h 466725"/>
                  <a:gd name="connsiteX449" fmla="*/ 203359 w 695325"/>
                  <a:gd name="connsiteY449" fmla="*/ 260032 h 466725"/>
                  <a:gd name="connsiteX450" fmla="*/ 202597 w 695325"/>
                  <a:gd name="connsiteY450" fmla="*/ 260032 h 466725"/>
                  <a:gd name="connsiteX451" fmla="*/ 201740 w 695325"/>
                  <a:gd name="connsiteY451" fmla="*/ 260032 h 466725"/>
                  <a:gd name="connsiteX452" fmla="*/ 200882 w 695325"/>
                  <a:gd name="connsiteY452" fmla="*/ 260032 h 466725"/>
                  <a:gd name="connsiteX453" fmla="*/ 200025 w 695325"/>
                  <a:gd name="connsiteY453" fmla="*/ 259175 h 466725"/>
                  <a:gd name="connsiteX454" fmla="*/ 200882 w 695325"/>
                  <a:gd name="connsiteY454" fmla="*/ 259175 h 466725"/>
                  <a:gd name="connsiteX455" fmla="*/ 202597 w 695325"/>
                  <a:gd name="connsiteY455" fmla="*/ 256699 h 466725"/>
                  <a:gd name="connsiteX456" fmla="*/ 203359 w 695325"/>
                  <a:gd name="connsiteY456" fmla="*/ 255841 h 466725"/>
                  <a:gd name="connsiteX457" fmla="*/ 205931 w 695325"/>
                  <a:gd name="connsiteY457" fmla="*/ 252412 h 466725"/>
                  <a:gd name="connsiteX458" fmla="*/ 207645 w 695325"/>
                  <a:gd name="connsiteY458" fmla="*/ 249841 h 466725"/>
                  <a:gd name="connsiteX459" fmla="*/ 209264 w 695325"/>
                  <a:gd name="connsiteY459" fmla="*/ 248126 h 466725"/>
                  <a:gd name="connsiteX460" fmla="*/ 210979 w 695325"/>
                  <a:gd name="connsiteY460" fmla="*/ 246412 h 466725"/>
                  <a:gd name="connsiteX461" fmla="*/ 210979 w 695325"/>
                  <a:gd name="connsiteY461" fmla="*/ 246412 h 466725"/>
                  <a:gd name="connsiteX462" fmla="*/ 212693 w 695325"/>
                  <a:gd name="connsiteY462" fmla="*/ 243078 h 466725"/>
                  <a:gd name="connsiteX463" fmla="*/ 213550 w 695325"/>
                  <a:gd name="connsiteY463" fmla="*/ 242221 h 466725"/>
                  <a:gd name="connsiteX464" fmla="*/ 215170 w 695325"/>
                  <a:gd name="connsiteY464" fmla="*/ 241364 h 466725"/>
                  <a:gd name="connsiteX465" fmla="*/ 216884 w 695325"/>
                  <a:gd name="connsiteY465" fmla="*/ 242221 h 466725"/>
                  <a:gd name="connsiteX466" fmla="*/ 218599 w 695325"/>
                  <a:gd name="connsiteY466" fmla="*/ 243078 h 466725"/>
                  <a:gd name="connsiteX467" fmla="*/ 219456 w 695325"/>
                  <a:gd name="connsiteY467" fmla="*/ 243935 h 466725"/>
                  <a:gd name="connsiteX468" fmla="*/ 219456 w 695325"/>
                  <a:gd name="connsiteY468" fmla="*/ 245650 h 466725"/>
                  <a:gd name="connsiteX469" fmla="*/ 219456 w 695325"/>
                  <a:gd name="connsiteY469" fmla="*/ 246412 h 466725"/>
                  <a:gd name="connsiteX470" fmla="*/ 219456 w 695325"/>
                  <a:gd name="connsiteY470" fmla="*/ 247269 h 466725"/>
                  <a:gd name="connsiteX471" fmla="*/ 218599 w 695325"/>
                  <a:gd name="connsiteY471" fmla="*/ 248983 h 466725"/>
                  <a:gd name="connsiteX472" fmla="*/ 217742 w 695325"/>
                  <a:gd name="connsiteY472" fmla="*/ 250698 h 466725"/>
                  <a:gd name="connsiteX473" fmla="*/ 217742 w 695325"/>
                  <a:gd name="connsiteY473" fmla="*/ 252412 h 466725"/>
                  <a:gd name="connsiteX474" fmla="*/ 217742 w 695325"/>
                  <a:gd name="connsiteY474" fmla="*/ 253270 h 466725"/>
                  <a:gd name="connsiteX475" fmla="*/ 218599 w 695325"/>
                  <a:gd name="connsiteY475" fmla="*/ 254127 h 466725"/>
                  <a:gd name="connsiteX476" fmla="*/ 220313 w 695325"/>
                  <a:gd name="connsiteY476" fmla="*/ 254984 h 466725"/>
                  <a:gd name="connsiteX477" fmla="*/ 221933 w 695325"/>
                  <a:gd name="connsiteY477" fmla="*/ 254984 h 466725"/>
                  <a:gd name="connsiteX478" fmla="*/ 224504 w 695325"/>
                  <a:gd name="connsiteY478" fmla="*/ 253270 h 466725"/>
                  <a:gd name="connsiteX479" fmla="*/ 226219 w 695325"/>
                  <a:gd name="connsiteY479" fmla="*/ 251555 h 466725"/>
                  <a:gd name="connsiteX480" fmla="*/ 226981 w 695325"/>
                  <a:gd name="connsiteY480" fmla="*/ 249841 h 466725"/>
                  <a:gd name="connsiteX481" fmla="*/ 228695 w 695325"/>
                  <a:gd name="connsiteY481" fmla="*/ 247269 h 466725"/>
                  <a:gd name="connsiteX482" fmla="*/ 229553 w 695325"/>
                  <a:gd name="connsiteY482" fmla="*/ 245650 h 466725"/>
                  <a:gd name="connsiteX483" fmla="*/ 229553 w 695325"/>
                  <a:gd name="connsiteY483" fmla="*/ 242221 h 466725"/>
                  <a:gd name="connsiteX484" fmla="*/ 230410 w 695325"/>
                  <a:gd name="connsiteY484" fmla="*/ 241364 h 466725"/>
                  <a:gd name="connsiteX485" fmla="*/ 231267 w 695325"/>
                  <a:gd name="connsiteY485" fmla="*/ 240506 h 466725"/>
                  <a:gd name="connsiteX486" fmla="*/ 235458 w 695325"/>
                  <a:gd name="connsiteY486" fmla="*/ 236220 h 466725"/>
                  <a:gd name="connsiteX487" fmla="*/ 237173 w 695325"/>
                  <a:gd name="connsiteY487" fmla="*/ 235458 h 466725"/>
                  <a:gd name="connsiteX488" fmla="*/ 238887 w 695325"/>
                  <a:gd name="connsiteY488" fmla="*/ 235458 h 466725"/>
                  <a:gd name="connsiteX489" fmla="*/ 241364 w 695325"/>
                  <a:gd name="connsiteY489" fmla="*/ 236220 h 466725"/>
                  <a:gd name="connsiteX490" fmla="*/ 244792 w 695325"/>
                  <a:gd name="connsiteY490" fmla="*/ 239649 h 466725"/>
                  <a:gd name="connsiteX491" fmla="*/ 246412 w 695325"/>
                  <a:gd name="connsiteY491" fmla="*/ 240506 h 466725"/>
                  <a:gd name="connsiteX492" fmla="*/ 247269 w 695325"/>
                  <a:gd name="connsiteY492" fmla="*/ 241364 h 466725"/>
                  <a:gd name="connsiteX493" fmla="*/ 249841 w 695325"/>
                  <a:gd name="connsiteY493" fmla="*/ 241364 h 466725"/>
                  <a:gd name="connsiteX494" fmla="*/ 253175 w 695325"/>
                  <a:gd name="connsiteY494" fmla="*/ 240506 h 466725"/>
                  <a:gd name="connsiteX495" fmla="*/ 260795 w 695325"/>
                  <a:gd name="connsiteY495" fmla="*/ 238792 h 466725"/>
                  <a:gd name="connsiteX496" fmla="*/ 261652 w 695325"/>
                  <a:gd name="connsiteY496" fmla="*/ 238792 h 466725"/>
                  <a:gd name="connsiteX497" fmla="*/ 263271 w 695325"/>
                  <a:gd name="connsiteY497" fmla="*/ 238792 h 466725"/>
                  <a:gd name="connsiteX498" fmla="*/ 264128 w 695325"/>
                  <a:gd name="connsiteY498" fmla="*/ 238792 h 466725"/>
                  <a:gd name="connsiteX499" fmla="*/ 270891 w 695325"/>
                  <a:gd name="connsiteY499" fmla="*/ 237077 h 466725"/>
                  <a:gd name="connsiteX500" fmla="*/ 274320 w 695325"/>
                  <a:gd name="connsiteY500" fmla="*/ 235458 h 466725"/>
                  <a:gd name="connsiteX501" fmla="*/ 275939 w 695325"/>
                  <a:gd name="connsiteY501" fmla="*/ 235458 h 466725"/>
                  <a:gd name="connsiteX502" fmla="*/ 286131 w 695325"/>
                  <a:gd name="connsiteY502" fmla="*/ 235458 h 466725"/>
                  <a:gd name="connsiteX503" fmla="*/ 286988 w 695325"/>
                  <a:gd name="connsiteY503" fmla="*/ 236220 h 466725"/>
                  <a:gd name="connsiteX504" fmla="*/ 287750 w 695325"/>
                  <a:gd name="connsiteY504" fmla="*/ 236220 h 466725"/>
                  <a:gd name="connsiteX505" fmla="*/ 287750 w 695325"/>
                  <a:gd name="connsiteY505" fmla="*/ 237077 h 466725"/>
                  <a:gd name="connsiteX506" fmla="*/ 286988 w 695325"/>
                  <a:gd name="connsiteY506" fmla="*/ 239649 h 466725"/>
                  <a:gd name="connsiteX507" fmla="*/ 278511 w 695325"/>
                  <a:gd name="connsiteY507" fmla="*/ 247269 h 466725"/>
                  <a:gd name="connsiteX508" fmla="*/ 277654 w 695325"/>
                  <a:gd name="connsiteY508" fmla="*/ 247269 h 466725"/>
                  <a:gd name="connsiteX509" fmla="*/ 277654 w 695325"/>
                  <a:gd name="connsiteY509" fmla="*/ 248126 h 466725"/>
                  <a:gd name="connsiteX510" fmla="*/ 277654 w 695325"/>
                  <a:gd name="connsiteY510" fmla="*/ 249841 h 466725"/>
                  <a:gd name="connsiteX511" fmla="*/ 277654 w 695325"/>
                  <a:gd name="connsiteY511" fmla="*/ 251555 h 466725"/>
                  <a:gd name="connsiteX512" fmla="*/ 277654 w 695325"/>
                  <a:gd name="connsiteY512" fmla="*/ 252412 h 466725"/>
                  <a:gd name="connsiteX513" fmla="*/ 278511 w 695325"/>
                  <a:gd name="connsiteY513" fmla="*/ 253270 h 466725"/>
                  <a:gd name="connsiteX514" fmla="*/ 281083 w 695325"/>
                  <a:gd name="connsiteY514" fmla="*/ 253270 h 466725"/>
                  <a:gd name="connsiteX515" fmla="*/ 281845 w 695325"/>
                  <a:gd name="connsiteY515" fmla="*/ 254127 h 466725"/>
                  <a:gd name="connsiteX516" fmla="*/ 281845 w 695325"/>
                  <a:gd name="connsiteY516" fmla="*/ 255841 h 466725"/>
                  <a:gd name="connsiteX517" fmla="*/ 280225 w 695325"/>
                  <a:gd name="connsiteY517" fmla="*/ 260032 h 466725"/>
                  <a:gd name="connsiteX518" fmla="*/ 278511 w 695325"/>
                  <a:gd name="connsiteY518" fmla="*/ 265176 h 466725"/>
                  <a:gd name="connsiteX519" fmla="*/ 276797 w 695325"/>
                  <a:gd name="connsiteY519" fmla="*/ 268510 h 466725"/>
                  <a:gd name="connsiteX520" fmla="*/ 275939 w 695325"/>
                  <a:gd name="connsiteY520" fmla="*/ 269367 h 466725"/>
                  <a:gd name="connsiteX521" fmla="*/ 276797 w 695325"/>
                  <a:gd name="connsiteY521" fmla="*/ 271082 h 466725"/>
                  <a:gd name="connsiteX522" fmla="*/ 276797 w 695325"/>
                  <a:gd name="connsiteY522" fmla="*/ 271939 h 466725"/>
                  <a:gd name="connsiteX523" fmla="*/ 276797 w 695325"/>
                  <a:gd name="connsiteY523" fmla="*/ 273653 h 466725"/>
                  <a:gd name="connsiteX524" fmla="*/ 277654 w 695325"/>
                  <a:gd name="connsiteY524" fmla="*/ 276225 h 466725"/>
                  <a:gd name="connsiteX525" fmla="*/ 276797 w 695325"/>
                  <a:gd name="connsiteY525" fmla="*/ 282988 h 466725"/>
                  <a:gd name="connsiteX526" fmla="*/ 276797 w 695325"/>
                  <a:gd name="connsiteY526" fmla="*/ 283845 h 466725"/>
                  <a:gd name="connsiteX527" fmla="*/ 276797 w 695325"/>
                  <a:gd name="connsiteY527" fmla="*/ 284702 h 466725"/>
                  <a:gd name="connsiteX528" fmla="*/ 277654 w 695325"/>
                  <a:gd name="connsiteY528" fmla="*/ 284702 h 466725"/>
                  <a:gd name="connsiteX529" fmla="*/ 278511 w 695325"/>
                  <a:gd name="connsiteY529" fmla="*/ 283845 h 466725"/>
                  <a:gd name="connsiteX530" fmla="*/ 281083 w 695325"/>
                  <a:gd name="connsiteY530" fmla="*/ 282131 h 466725"/>
                  <a:gd name="connsiteX531" fmla="*/ 283559 w 695325"/>
                  <a:gd name="connsiteY531" fmla="*/ 281273 h 466725"/>
                  <a:gd name="connsiteX532" fmla="*/ 287750 w 695325"/>
                  <a:gd name="connsiteY532" fmla="*/ 280416 h 466725"/>
                  <a:gd name="connsiteX533" fmla="*/ 292894 w 695325"/>
                  <a:gd name="connsiteY533" fmla="*/ 279559 h 466725"/>
                  <a:gd name="connsiteX534" fmla="*/ 294513 w 695325"/>
                  <a:gd name="connsiteY534" fmla="*/ 278702 h 466725"/>
                  <a:gd name="connsiteX535" fmla="*/ 295370 w 695325"/>
                  <a:gd name="connsiteY535" fmla="*/ 277082 h 466725"/>
                  <a:gd name="connsiteX536" fmla="*/ 297085 w 695325"/>
                  <a:gd name="connsiteY536" fmla="*/ 276225 h 466725"/>
                  <a:gd name="connsiteX537" fmla="*/ 298799 w 695325"/>
                  <a:gd name="connsiteY537" fmla="*/ 275368 h 466725"/>
                  <a:gd name="connsiteX538" fmla="*/ 300418 w 695325"/>
                  <a:gd name="connsiteY538" fmla="*/ 274511 h 466725"/>
                  <a:gd name="connsiteX539" fmla="*/ 302133 w 695325"/>
                  <a:gd name="connsiteY539" fmla="*/ 275368 h 466725"/>
                  <a:gd name="connsiteX540" fmla="*/ 303848 w 695325"/>
                  <a:gd name="connsiteY540" fmla="*/ 276225 h 466725"/>
                  <a:gd name="connsiteX541" fmla="*/ 305467 w 695325"/>
                  <a:gd name="connsiteY541" fmla="*/ 279559 h 466725"/>
                  <a:gd name="connsiteX542" fmla="*/ 310610 w 695325"/>
                  <a:gd name="connsiteY542" fmla="*/ 282988 h 466725"/>
                  <a:gd name="connsiteX543" fmla="*/ 315659 w 695325"/>
                  <a:gd name="connsiteY543" fmla="*/ 287274 h 466725"/>
                  <a:gd name="connsiteX544" fmla="*/ 323279 w 695325"/>
                  <a:gd name="connsiteY544" fmla="*/ 296608 h 466725"/>
                  <a:gd name="connsiteX545" fmla="*/ 324041 w 695325"/>
                  <a:gd name="connsiteY545" fmla="*/ 296608 h 466725"/>
                  <a:gd name="connsiteX546" fmla="*/ 324041 w 695325"/>
                  <a:gd name="connsiteY546" fmla="*/ 296608 h 466725"/>
                  <a:gd name="connsiteX547" fmla="*/ 324041 w 695325"/>
                  <a:gd name="connsiteY547" fmla="*/ 297466 h 466725"/>
                  <a:gd name="connsiteX548" fmla="*/ 324898 w 695325"/>
                  <a:gd name="connsiteY548" fmla="*/ 296608 h 466725"/>
                  <a:gd name="connsiteX549" fmla="*/ 325755 w 695325"/>
                  <a:gd name="connsiteY549" fmla="*/ 296608 h 466725"/>
                  <a:gd name="connsiteX550" fmla="*/ 326612 w 695325"/>
                  <a:gd name="connsiteY550" fmla="*/ 295751 h 466725"/>
                  <a:gd name="connsiteX551" fmla="*/ 329184 w 695325"/>
                  <a:gd name="connsiteY551" fmla="*/ 294894 h 466725"/>
                  <a:gd name="connsiteX552" fmla="*/ 329946 w 695325"/>
                  <a:gd name="connsiteY552" fmla="*/ 294037 h 466725"/>
                  <a:gd name="connsiteX553" fmla="*/ 330803 w 695325"/>
                  <a:gd name="connsiteY553" fmla="*/ 293179 h 466725"/>
                  <a:gd name="connsiteX554" fmla="*/ 331660 w 695325"/>
                  <a:gd name="connsiteY554" fmla="*/ 293179 h 466725"/>
                  <a:gd name="connsiteX555" fmla="*/ 332518 w 695325"/>
                  <a:gd name="connsiteY555" fmla="*/ 294037 h 466725"/>
                  <a:gd name="connsiteX556" fmla="*/ 333375 w 695325"/>
                  <a:gd name="connsiteY556" fmla="*/ 294037 h 466725"/>
                  <a:gd name="connsiteX557" fmla="*/ 333375 w 695325"/>
                  <a:gd name="connsiteY557" fmla="*/ 295751 h 466725"/>
                  <a:gd name="connsiteX558" fmla="*/ 332518 w 695325"/>
                  <a:gd name="connsiteY558" fmla="*/ 296608 h 466725"/>
                  <a:gd name="connsiteX559" fmla="*/ 332518 w 695325"/>
                  <a:gd name="connsiteY559" fmla="*/ 297466 h 466725"/>
                  <a:gd name="connsiteX560" fmla="*/ 331660 w 695325"/>
                  <a:gd name="connsiteY560" fmla="*/ 298323 h 466725"/>
                  <a:gd name="connsiteX561" fmla="*/ 330803 w 695325"/>
                  <a:gd name="connsiteY561" fmla="*/ 299180 h 466725"/>
                  <a:gd name="connsiteX562" fmla="*/ 329946 w 695325"/>
                  <a:gd name="connsiteY562" fmla="*/ 300037 h 466725"/>
                  <a:gd name="connsiteX563" fmla="*/ 329184 w 695325"/>
                  <a:gd name="connsiteY563" fmla="*/ 301657 h 466725"/>
                  <a:gd name="connsiteX564" fmla="*/ 328327 w 695325"/>
                  <a:gd name="connsiteY564" fmla="*/ 302514 h 466725"/>
                  <a:gd name="connsiteX565" fmla="*/ 327470 w 695325"/>
                  <a:gd name="connsiteY565" fmla="*/ 304228 h 466725"/>
                  <a:gd name="connsiteX566" fmla="*/ 324898 w 695325"/>
                  <a:gd name="connsiteY566" fmla="*/ 305943 h 466725"/>
                  <a:gd name="connsiteX567" fmla="*/ 323279 w 695325"/>
                  <a:gd name="connsiteY567" fmla="*/ 307657 h 466725"/>
                  <a:gd name="connsiteX568" fmla="*/ 322421 w 695325"/>
                  <a:gd name="connsiteY568" fmla="*/ 307657 h 466725"/>
                  <a:gd name="connsiteX569" fmla="*/ 322421 w 695325"/>
                  <a:gd name="connsiteY569" fmla="*/ 308515 h 466725"/>
                  <a:gd name="connsiteX570" fmla="*/ 323279 w 695325"/>
                  <a:gd name="connsiteY570" fmla="*/ 309372 h 466725"/>
                  <a:gd name="connsiteX571" fmla="*/ 325755 w 695325"/>
                  <a:gd name="connsiteY571" fmla="*/ 310229 h 466725"/>
                  <a:gd name="connsiteX572" fmla="*/ 326612 w 695325"/>
                  <a:gd name="connsiteY572" fmla="*/ 310991 h 466725"/>
                  <a:gd name="connsiteX573" fmla="*/ 326612 w 695325"/>
                  <a:gd name="connsiteY573" fmla="*/ 311848 h 466725"/>
                  <a:gd name="connsiteX574" fmla="*/ 327470 w 695325"/>
                  <a:gd name="connsiteY574" fmla="*/ 312706 h 466725"/>
                  <a:gd name="connsiteX575" fmla="*/ 328327 w 695325"/>
                  <a:gd name="connsiteY575" fmla="*/ 313563 h 466725"/>
                  <a:gd name="connsiteX576" fmla="*/ 331660 w 695325"/>
                  <a:gd name="connsiteY576" fmla="*/ 314420 h 466725"/>
                  <a:gd name="connsiteX577" fmla="*/ 333375 w 695325"/>
                  <a:gd name="connsiteY577" fmla="*/ 315278 h 466725"/>
                  <a:gd name="connsiteX578" fmla="*/ 334232 w 695325"/>
                  <a:gd name="connsiteY578" fmla="*/ 315278 h 466725"/>
                  <a:gd name="connsiteX579" fmla="*/ 335090 w 695325"/>
                  <a:gd name="connsiteY579" fmla="*/ 316135 h 466725"/>
                  <a:gd name="connsiteX580" fmla="*/ 340138 w 695325"/>
                  <a:gd name="connsiteY580" fmla="*/ 320421 h 466725"/>
                  <a:gd name="connsiteX581" fmla="*/ 340995 w 695325"/>
                  <a:gd name="connsiteY581" fmla="*/ 322040 h 466725"/>
                  <a:gd name="connsiteX582" fmla="*/ 342614 w 695325"/>
                  <a:gd name="connsiteY582" fmla="*/ 323755 h 466725"/>
                  <a:gd name="connsiteX583" fmla="*/ 344329 w 695325"/>
                  <a:gd name="connsiteY583" fmla="*/ 324612 h 466725"/>
                  <a:gd name="connsiteX584" fmla="*/ 345186 w 695325"/>
                  <a:gd name="connsiteY584" fmla="*/ 325469 h 466725"/>
                  <a:gd name="connsiteX585" fmla="*/ 346043 w 695325"/>
                  <a:gd name="connsiteY585" fmla="*/ 327184 h 466725"/>
                  <a:gd name="connsiteX586" fmla="*/ 346043 w 695325"/>
                  <a:gd name="connsiteY586" fmla="*/ 328041 h 466725"/>
                  <a:gd name="connsiteX587" fmla="*/ 346043 w 695325"/>
                  <a:gd name="connsiteY587" fmla="*/ 329756 h 466725"/>
                  <a:gd name="connsiteX588" fmla="*/ 345186 w 695325"/>
                  <a:gd name="connsiteY588" fmla="*/ 331470 h 466725"/>
                  <a:gd name="connsiteX589" fmla="*/ 344329 w 695325"/>
                  <a:gd name="connsiteY589" fmla="*/ 332327 h 466725"/>
                  <a:gd name="connsiteX590" fmla="*/ 344329 w 695325"/>
                  <a:gd name="connsiteY590" fmla="*/ 333947 h 466725"/>
                  <a:gd name="connsiteX591" fmla="*/ 345186 w 695325"/>
                  <a:gd name="connsiteY591" fmla="*/ 334804 h 466725"/>
                  <a:gd name="connsiteX592" fmla="*/ 345186 w 695325"/>
                  <a:gd name="connsiteY592" fmla="*/ 334804 h 466725"/>
                  <a:gd name="connsiteX593" fmla="*/ 345186 w 695325"/>
                  <a:gd name="connsiteY593" fmla="*/ 335661 h 466725"/>
                  <a:gd name="connsiteX594" fmla="*/ 345186 w 695325"/>
                  <a:gd name="connsiteY594" fmla="*/ 336518 h 466725"/>
                  <a:gd name="connsiteX595" fmla="*/ 346043 w 695325"/>
                  <a:gd name="connsiteY595" fmla="*/ 337375 h 466725"/>
                  <a:gd name="connsiteX596" fmla="*/ 347663 w 695325"/>
                  <a:gd name="connsiteY596" fmla="*/ 339090 h 466725"/>
                  <a:gd name="connsiteX597" fmla="*/ 347663 w 695325"/>
                  <a:gd name="connsiteY597" fmla="*/ 339947 h 466725"/>
                  <a:gd name="connsiteX598" fmla="*/ 346900 w 695325"/>
                  <a:gd name="connsiteY598" fmla="*/ 340804 h 466725"/>
                  <a:gd name="connsiteX599" fmla="*/ 333375 w 695325"/>
                  <a:gd name="connsiteY599" fmla="*/ 344995 h 466725"/>
                  <a:gd name="connsiteX600" fmla="*/ 329184 w 695325"/>
                  <a:gd name="connsiteY600" fmla="*/ 349282 h 466725"/>
                  <a:gd name="connsiteX601" fmla="*/ 328327 w 695325"/>
                  <a:gd name="connsiteY601" fmla="*/ 349282 h 466725"/>
                  <a:gd name="connsiteX602" fmla="*/ 324041 w 695325"/>
                  <a:gd name="connsiteY602" fmla="*/ 350139 h 466725"/>
                  <a:gd name="connsiteX603" fmla="*/ 322421 w 695325"/>
                  <a:gd name="connsiteY603" fmla="*/ 350139 h 466725"/>
                  <a:gd name="connsiteX604" fmla="*/ 319850 w 695325"/>
                  <a:gd name="connsiteY604" fmla="*/ 349282 h 466725"/>
                  <a:gd name="connsiteX605" fmla="*/ 319850 w 695325"/>
                  <a:gd name="connsiteY605" fmla="*/ 350139 h 466725"/>
                  <a:gd name="connsiteX606" fmla="*/ 319850 w 695325"/>
                  <a:gd name="connsiteY606" fmla="*/ 350996 h 466725"/>
                  <a:gd name="connsiteX607" fmla="*/ 319850 w 695325"/>
                  <a:gd name="connsiteY607" fmla="*/ 351853 h 466725"/>
                  <a:gd name="connsiteX608" fmla="*/ 318992 w 695325"/>
                  <a:gd name="connsiteY608" fmla="*/ 352711 h 466725"/>
                  <a:gd name="connsiteX609" fmla="*/ 318135 w 695325"/>
                  <a:gd name="connsiteY609" fmla="*/ 352711 h 466725"/>
                  <a:gd name="connsiteX610" fmla="*/ 316516 w 695325"/>
                  <a:gd name="connsiteY610" fmla="*/ 352711 h 466725"/>
                  <a:gd name="connsiteX611" fmla="*/ 315659 w 695325"/>
                  <a:gd name="connsiteY611" fmla="*/ 353568 h 466725"/>
                  <a:gd name="connsiteX612" fmla="*/ 313944 w 695325"/>
                  <a:gd name="connsiteY612" fmla="*/ 354330 h 466725"/>
                  <a:gd name="connsiteX613" fmla="*/ 312230 w 695325"/>
                  <a:gd name="connsiteY613" fmla="*/ 356902 h 466725"/>
                  <a:gd name="connsiteX614" fmla="*/ 308039 w 695325"/>
                  <a:gd name="connsiteY614" fmla="*/ 359473 h 466725"/>
                  <a:gd name="connsiteX615" fmla="*/ 302990 w 695325"/>
                  <a:gd name="connsiteY615" fmla="*/ 365379 h 466725"/>
                  <a:gd name="connsiteX616" fmla="*/ 300418 w 695325"/>
                  <a:gd name="connsiteY616" fmla="*/ 367094 h 466725"/>
                  <a:gd name="connsiteX617" fmla="*/ 300418 w 695325"/>
                  <a:gd name="connsiteY617" fmla="*/ 368808 h 466725"/>
                  <a:gd name="connsiteX618" fmla="*/ 300418 w 695325"/>
                  <a:gd name="connsiteY618" fmla="*/ 368808 h 466725"/>
                  <a:gd name="connsiteX619" fmla="*/ 300418 w 695325"/>
                  <a:gd name="connsiteY619" fmla="*/ 368808 h 466725"/>
                  <a:gd name="connsiteX620" fmla="*/ 301276 w 695325"/>
                  <a:gd name="connsiteY620" fmla="*/ 368808 h 466725"/>
                  <a:gd name="connsiteX621" fmla="*/ 303848 w 695325"/>
                  <a:gd name="connsiteY621" fmla="*/ 369665 h 466725"/>
                  <a:gd name="connsiteX622" fmla="*/ 303848 w 695325"/>
                  <a:gd name="connsiteY622" fmla="*/ 369665 h 466725"/>
                  <a:gd name="connsiteX623" fmla="*/ 303848 w 695325"/>
                  <a:gd name="connsiteY623" fmla="*/ 369665 h 466725"/>
                  <a:gd name="connsiteX624" fmla="*/ 303848 w 695325"/>
                  <a:gd name="connsiteY624" fmla="*/ 369665 h 466725"/>
                  <a:gd name="connsiteX625" fmla="*/ 303848 w 695325"/>
                  <a:gd name="connsiteY625" fmla="*/ 369665 h 466725"/>
                  <a:gd name="connsiteX626" fmla="*/ 307181 w 695325"/>
                  <a:gd name="connsiteY626" fmla="*/ 373094 h 466725"/>
                  <a:gd name="connsiteX627" fmla="*/ 307181 w 695325"/>
                  <a:gd name="connsiteY627" fmla="*/ 373094 h 466725"/>
                  <a:gd name="connsiteX628" fmla="*/ 308039 w 695325"/>
                  <a:gd name="connsiteY628" fmla="*/ 373094 h 466725"/>
                  <a:gd name="connsiteX629" fmla="*/ 308039 w 695325"/>
                  <a:gd name="connsiteY629" fmla="*/ 373094 h 466725"/>
                  <a:gd name="connsiteX630" fmla="*/ 308896 w 695325"/>
                  <a:gd name="connsiteY630" fmla="*/ 373952 h 466725"/>
                  <a:gd name="connsiteX631" fmla="*/ 308896 w 695325"/>
                  <a:gd name="connsiteY631" fmla="*/ 373952 h 466725"/>
                  <a:gd name="connsiteX632" fmla="*/ 308039 w 695325"/>
                  <a:gd name="connsiteY632" fmla="*/ 374809 h 466725"/>
                  <a:gd name="connsiteX633" fmla="*/ 307181 w 695325"/>
                  <a:gd name="connsiteY633" fmla="*/ 374809 h 466725"/>
                  <a:gd name="connsiteX634" fmla="*/ 307181 w 695325"/>
                  <a:gd name="connsiteY634" fmla="*/ 374809 h 466725"/>
                  <a:gd name="connsiteX635" fmla="*/ 310610 w 695325"/>
                  <a:gd name="connsiteY635" fmla="*/ 375571 h 466725"/>
                  <a:gd name="connsiteX636" fmla="*/ 310610 w 695325"/>
                  <a:gd name="connsiteY636" fmla="*/ 375571 h 466725"/>
                  <a:gd name="connsiteX637" fmla="*/ 311372 w 695325"/>
                  <a:gd name="connsiteY637" fmla="*/ 377285 h 466725"/>
                  <a:gd name="connsiteX638" fmla="*/ 312230 w 695325"/>
                  <a:gd name="connsiteY638" fmla="*/ 379000 h 466725"/>
                  <a:gd name="connsiteX639" fmla="*/ 312230 w 695325"/>
                  <a:gd name="connsiteY639" fmla="*/ 379000 h 466725"/>
                  <a:gd name="connsiteX640" fmla="*/ 312230 w 695325"/>
                  <a:gd name="connsiteY640" fmla="*/ 380714 h 466725"/>
                  <a:gd name="connsiteX641" fmla="*/ 312230 w 695325"/>
                  <a:gd name="connsiteY641" fmla="*/ 382429 h 466725"/>
                  <a:gd name="connsiteX642" fmla="*/ 310610 w 695325"/>
                  <a:gd name="connsiteY642" fmla="*/ 385000 h 466725"/>
                  <a:gd name="connsiteX643" fmla="*/ 306324 w 695325"/>
                  <a:gd name="connsiteY643" fmla="*/ 385858 h 466725"/>
                  <a:gd name="connsiteX644" fmla="*/ 299561 w 695325"/>
                  <a:gd name="connsiteY644" fmla="*/ 388334 h 466725"/>
                  <a:gd name="connsiteX645" fmla="*/ 298799 w 695325"/>
                  <a:gd name="connsiteY645" fmla="*/ 387477 h 466725"/>
                  <a:gd name="connsiteX646" fmla="*/ 297942 w 695325"/>
                  <a:gd name="connsiteY646" fmla="*/ 387477 h 466725"/>
                  <a:gd name="connsiteX647" fmla="*/ 297942 w 695325"/>
                  <a:gd name="connsiteY647" fmla="*/ 387477 h 466725"/>
                  <a:gd name="connsiteX648" fmla="*/ 297942 w 695325"/>
                  <a:gd name="connsiteY648" fmla="*/ 386620 h 466725"/>
                  <a:gd name="connsiteX649" fmla="*/ 297942 w 695325"/>
                  <a:gd name="connsiteY649" fmla="*/ 386620 h 466725"/>
                  <a:gd name="connsiteX650" fmla="*/ 297942 w 695325"/>
                  <a:gd name="connsiteY650" fmla="*/ 385858 h 466725"/>
                  <a:gd name="connsiteX651" fmla="*/ 297942 w 695325"/>
                  <a:gd name="connsiteY651" fmla="*/ 385858 h 466725"/>
                  <a:gd name="connsiteX652" fmla="*/ 290322 w 695325"/>
                  <a:gd name="connsiteY652" fmla="*/ 381572 h 466725"/>
                  <a:gd name="connsiteX653" fmla="*/ 290322 w 695325"/>
                  <a:gd name="connsiteY653" fmla="*/ 381572 h 466725"/>
                  <a:gd name="connsiteX654" fmla="*/ 286131 w 695325"/>
                  <a:gd name="connsiteY654" fmla="*/ 379857 h 466725"/>
                  <a:gd name="connsiteX655" fmla="*/ 282702 w 695325"/>
                  <a:gd name="connsiteY655" fmla="*/ 381572 h 466725"/>
                  <a:gd name="connsiteX656" fmla="*/ 281845 w 695325"/>
                  <a:gd name="connsiteY656" fmla="*/ 383286 h 466725"/>
                  <a:gd name="connsiteX657" fmla="*/ 282702 w 695325"/>
                  <a:gd name="connsiteY657" fmla="*/ 385858 h 466725"/>
                  <a:gd name="connsiteX658" fmla="*/ 282702 w 695325"/>
                  <a:gd name="connsiteY658" fmla="*/ 385858 h 466725"/>
                  <a:gd name="connsiteX659" fmla="*/ 284417 w 695325"/>
                  <a:gd name="connsiteY659" fmla="*/ 389191 h 466725"/>
                  <a:gd name="connsiteX660" fmla="*/ 284417 w 695325"/>
                  <a:gd name="connsiteY660" fmla="*/ 389191 h 466725"/>
                  <a:gd name="connsiteX661" fmla="*/ 284417 w 695325"/>
                  <a:gd name="connsiteY661" fmla="*/ 391763 h 466725"/>
                  <a:gd name="connsiteX662" fmla="*/ 284417 w 695325"/>
                  <a:gd name="connsiteY662" fmla="*/ 393478 h 466725"/>
                  <a:gd name="connsiteX663" fmla="*/ 283559 w 695325"/>
                  <a:gd name="connsiteY663" fmla="*/ 395192 h 466725"/>
                  <a:gd name="connsiteX664" fmla="*/ 278511 w 695325"/>
                  <a:gd name="connsiteY664" fmla="*/ 411290 h 466725"/>
                  <a:gd name="connsiteX665" fmla="*/ 276797 w 695325"/>
                  <a:gd name="connsiteY665" fmla="*/ 415576 h 466725"/>
                  <a:gd name="connsiteX666" fmla="*/ 276797 w 695325"/>
                  <a:gd name="connsiteY666" fmla="*/ 419767 h 466725"/>
                  <a:gd name="connsiteX667" fmla="*/ 275939 w 695325"/>
                  <a:gd name="connsiteY667" fmla="*/ 421481 h 466725"/>
                  <a:gd name="connsiteX668" fmla="*/ 275082 w 695325"/>
                  <a:gd name="connsiteY668" fmla="*/ 423196 h 466725"/>
                  <a:gd name="connsiteX669" fmla="*/ 274320 w 695325"/>
                  <a:gd name="connsiteY669" fmla="*/ 423196 h 466725"/>
                  <a:gd name="connsiteX670" fmla="*/ 275939 w 695325"/>
                  <a:gd name="connsiteY670" fmla="*/ 424053 h 466725"/>
                  <a:gd name="connsiteX671" fmla="*/ 282702 w 695325"/>
                  <a:gd name="connsiteY671" fmla="*/ 429197 h 466725"/>
                  <a:gd name="connsiteX672" fmla="*/ 283559 w 695325"/>
                  <a:gd name="connsiteY672" fmla="*/ 429197 h 466725"/>
                  <a:gd name="connsiteX673" fmla="*/ 283559 w 695325"/>
                  <a:gd name="connsiteY673" fmla="*/ 429958 h 466725"/>
                  <a:gd name="connsiteX674" fmla="*/ 283559 w 695325"/>
                  <a:gd name="connsiteY674" fmla="*/ 431673 h 466725"/>
                  <a:gd name="connsiteX675" fmla="*/ 284417 w 695325"/>
                  <a:gd name="connsiteY675" fmla="*/ 435102 h 466725"/>
                  <a:gd name="connsiteX676" fmla="*/ 284417 w 695325"/>
                  <a:gd name="connsiteY676" fmla="*/ 435959 h 466725"/>
                  <a:gd name="connsiteX677" fmla="*/ 284417 w 695325"/>
                  <a:gd name="connsiteY677" fmla="*/ 437674 h 466725"/>
                  <a:gd name="connsiteX678" fmla="*/ 286131 w 695325"/>
                  <a:gd name="connsiteY678" fmla="*/ 441007 h 466725"/>
                  <a:gd name="connsiteX679" fmla="*/ 286988 w 695325"/>
                  <a:gd name="connsiteY679" fmla="*/ 442722 h 466725"/>
                  <a:gd name="connsiteX680" fmla="*/ 286988 w 695325"/>
                  <a:gd name="connsiteY680" fmla="*/ 445294 h 466725"/>
                  <a:gd name="connsiteX681" fmla="*/ 286988 w 695325"/>
                  <a:gd name="connsiteY681" fmla="*/ 447008 h 466725"/>
                  <a:gd name="connsiteX682" fmla="*/ 286131 w 695325"/>
                  <a:gd name="connsiteY682" fmla="*/ 448723 h 466725"/>
                  <a:gd name="connsiteX683" fmla="*/ 282702 w 695325"/>
                  <a:gd name="connsiteY683" fmla="*/ 457200 h 466725"/>
                  <a:gd name="connsiteX684" fmla="*/ 282702 w 695325"/>
                  <a:gd name="connsiteY684" fmla="*/ 458057 h 466725"/>
                  <a:gd name="connsiteX685" fmla="*/ 283559 w 695325"/>
                  <a:gd name="connsiteY685" fmla="*/ 458915 h 466725"/>
                  <a:gd name="connsiteX686" fmla="*/ 291179 w 695325"/>
                  <a:gd name="connsiteY686" fmla="*/ 460629 h 466725"/>
                  <a:gd name="connsiteX687" fmla="*/ 298799 w 695325"/>
                  <a:gd name="connsiteY687" fmla="*/ 459772 h 466725"/>
                  <a:gd name="connsiteX688" fmla="*/ 303848 w 695325"/>
                  <a:gd name="connsiteY688" fmla="*/ 460629 h 466725"/>
                  <a:gd name="connsiteX689" fmla="*/ 304705 w 695325"/>
                  <a:gd name="connsiteY689" fmla="*/ 460629 h 466725"/>
                  <a:gd name="connsiteX690" fmla="*/ 305467 w 695325"/>
                  <a:gd name="connsiteY690" fmla="*/ 460629 h 466725"/>
                  <a:gd name="connsiteX691" fmla="*/ 305467 w 695325"/>
                  <a:gd name="connsiteY691" fmla="*/ 461486 h 466725"/>
                  <a:gd name="connsiteX692" fmla="*/ 305467 w 695325"/>
                  <a:gd name="connsiteY692" fmla="*/ 461486 h 466725"/>
                  <a:gd name="connsiteX693" fmla="*/ 305467 w 695325"/>
                  <a:gd name="connsiteY693" fmla="*/ 462248 h 466725"/>
                  <a:gd name="connsiteX694" fmla="*/ 304705 w 695325"/>
                  <a:gd name="connsiteY694" fmla="*/ 462248 h 466725"/>
                  <a:gd name="connsiteX695" fmla="*/ 303848 w 695325"/>
                  <a:gd name="connsiteY695" fmla="*/ 463963 h 466725"/>
                  <a:gd name="connsiteX696" fmla="*/ 303848 w 695325"/>
                  <a:gd name="connsiteY696" fmla="*/ 464820 h 466725"/>
                  <a:gd name="connsiteX697" fmla="*/ 303848 w 695325"/>
                  <a:gd name="connsiteY697" fmla="*/ 465677 h 466725"/>
                  <a:gd name="connsiteX698" fmla="*/ 304705 w 695325"/>
                  <a:gd name="connsiteY698" fmla="*/ 469106 h 466725"/>
                  <a:gd name="connsiteX699" fmla="*/ 305467 w 695325"/>
                  <a:gd name="connsiteY699" fmla="*/ 470821 h 466725"/>
                  <a:gd name="connsiteX700" fmla="*/ 306324 w 695325"/>
                  <a:gd name="connsiteY700" fmla="*/ 471678 h 466725"/>
                  <a:gd name="connsiteX701" fmla="*/ 307181 w 695325"/>
                  <a:gd name="connsiteY701" fmla="*/ 472440 h 466725"/>
                  <a:gd name="connsiteX702" fmla="*/ 308039 w 695325"/>
                  <a:gd name="connsiteY702" fmla="*/ 473297 h 466725"/>
                  <a:gd name="connsiteX703" fmla="*/ 308896 w 695325"/>
                  <a:gd name="connsiteY703" fmla="*/ 473297 h 466725"/>
                  <a:gd name="connsiteX704" fmla="*/ 309753 w 695325"/>
                  <a:gd name="connsiteY704" fmla="*/ 474154 h 466725"/>
                  <a:gd name="connsiteX705" fmla="*/ 311372 w 695325"/>
                  <a:gd name="connsiteY705" fmla="*/ 473297 h 466725"/>
                  <a:gd name="connsiteX706" fmla="*/ 312230 w 695325"/>
                  <a:gd name="connsiteY706" fmla="*/ 473297 h 466725"/>
                  <a:gd name="connsiteX707" fmla="*/ 313087 w 695325"/>
                  <a:gd name="connsiteY707" fmla="*/ 472440 h 466725"/>
                  <a:gd name="connsiteX708" fmla="*/ 314801 w 695325"/>
                  <a:gd name="connsiteY708" fmla="*/ 470821 h 466725"/>
                  <a:gd name="connsiteX709" fmla="*/ 315659 w 695325"/>
                  <a:gd name="connsiteY709" fmla="*/ 469106 h 466725"/>
                  <a:gd name="connsiteX710" fmla="*/ 318992 w 695325"/>
                  <a:gd name="connsiteY710" fmla="*/ 466535 h 466725"/>
                  <a:gd name="connsiteX711" fmla="*/ 323279 w 695325"/>
                  <a:gd name="connsiteY711" fmla="*/ 462248 h 466725"/>
                  <a:gd name="connsiteX712" fmla="*/ 324041 w 695325"/>
                  <a:gd name="connsiteY712" fmla="*/ 461486 h 466725"/>
                  <a:gd name="connsiteX713" fmla="*/ 324898 w 695325"/>
                  <a:gd name="connsiteY713" fmla="*/ 461486 h 466725"/>
                  <a:gd name="connsiteX714" fmla="*/ 325755 w 695325"/>
                  <a:gd name="connsiteY714" fmla="*/ 460629 h 466725"/>
                  <a:gd name="connsiteX715" fmla="*/ 326612 w 695325"/>
                  <a:gd name="connsiteY715" fmla="*/ 460629 h 466725"/>
                  <a:gd name="connsiteX716" fmla="*/ 326612 w 695325"/>
                  <a:gd name="connsiteY716" fmla="*/ 459772 h 466725"/>
                  <a:gd name="connsiteX717" fmla="*/ 326612 w 695325"/>
                  <a:gd name="connsiteY717" fmla="*/ 458057 h 466725"/>
                  <a:gd name="connsiteX718" fmla="*/ 326612 w 695325"/>
                  <a:gd name="connsiteY718" fmla="*/ 457200 h 466725"/>
                  <a:gd name="connsiteX719" fmla="*/ 326612 w 695325"/>
                  <a:gd name="connsiteY719" fmla="*/ 455486 h 466725"/>
                  <a:gd name="connsiteX720" fmla="*/ 327470 w 695325"/>
                  <a:gd name="connsiteY720" fmla="*/ 453771 h 466725"/>
                  <a:gd name="connsiteX721" fmla="*/ 333375 w 695325"/>
                  <a:gd name="connsiteY721" fmla="*/ 447865 h 466725"/>
                  <a:gd name="connsiteX722" fmla="*/ 335090 w 695325"/>
                  <a:gd name="connsiteY722" fmla="*/ 445294 h 466725"/>
                  <a:gd name="connsiteX723" fmla="*/ 335851 w 695325"/>
                  <a:gd name="connsiteY723" fmla="*/ 444436 h 466725"/>
                  <a:gd name="connsiteX724" fmla="*/ 335851 w 695325"/>
                  <a:gd name="connsiteY724" fmla="*/ 443579 h 466725"/>
                  <a:gd name="connsiteX725" fmla="*/ 336709 w 695325"/>
                  <a:gd name="connsiteY725" fmla="*/ 441865 h 466725"/>
                  <a:gd name="connsiteX726" fmla="*/ 340138 w 695325"/>
                  <a:gd name="connsiteY726" fmla="*/ 432530 h 466725"/>
                  <a:gd name="connsiteX727" fmla="*/ 340995 w 695325"/>
                  <a:gd name="connsiteY727" fmla="*/ 431673 h 466725"/>
                  <a:gd name="connsiteX728" fmla="*/ 341757 w 695325"/>
                  <a:gd name="connsiteY728" fmla="*/ 430816 h 466725"/>
                  <a:gd name="connsiteX729" fmla="*/ 342614 w 695325"/>
                  <a:gd name="connsiteY729" fmla="*/ 430816 h 466725"/>
                  <a:gd name="connsiteX730" fmla="*/ 343472 w 695325"/>
                  <a:gd name="connsiteY730" fmla="*/ 432530 h 466725"/>
                  <a:gd name="connsiteX731" fmla="*/ 344329 w 695325"/>
                  <a:gd name="connsiteY731" fmla="*/ 433387 h 466725"/>
                  <a:gd name="connsiteX732" fmla="*/ 349377 w 695325"/>
                  <a:gd name="connsiteY732" fmla="*/ 443579 h 466725"/>
                  <a:gd name="connsiteX733" fmla="*/ 350234 w 695325"/>
                  <a:gd name="connsiteY733" fmla="*/ 444436 h 466725"/>
                  <a:gd name="connsiteX734" fmla="*/ 351949 w 695325"/>
                  <a:gd name="connsiteY734" fmla="*/ 445294 h 466725"/>
                  <a:gd name="connsiteX735" fmla="*/ 353568 w 695325"/>
                  <a:gd name="connsiteY735" fmla="*/ 445294 h 466725"/>
                  <a:gd name="connsiteX736" fmla="*/ 360331 w 695325"/>
                  <a:gd name="connsiteY736" fmla="*/ 441865 h 466725"/>
                  <a:gd name="connsiteX737" fmla="*/ 362045 w 695325"/>
                  <a:gd name="connsiteY737" fmla="*/ 442722 h 466725"/>
                  <a:gd name="connsiteX738" fmla="*/ 365474 w 695325"/>
                  <a:gd name="connsiteY738" fmla="*/ 443579 h 466725"/>
                  <a:gd name="connsiteX739" fmla="*/ 367093 w 695325"/>
                  <a:gd name="connsiteY739" fmla="*/ 443579 h 466725"/>
                  <a:gd name="connsiteX740" fmla="*/ 370523 w 695325"/>
                  <a:gd name="connsiteY740" fmla="*/ 441007 h 466725"/>
                  <a:gd name="connsiteX741" fmla="*/ 369665 w 695325"/>
                  <a:gd name="connsiteY741" fmla="*/ 439388 h 466725"/>
                  <a:gd name="connsiteX742" fmla="*/ 372142 w 695325"/>
                  <a:gd name="connsiteY742" fmla="*/ 439388 h 466725"/>
                  <a:gd name="connsiteX743" fmla="*/ 372999 w 695325"/>
                  <a:gd name="connsiteY743" fmla="*/ 435102 h 466725"/>
                  <a:gd name="connsiteX744" fmla="*/ 373856 w 695325"/>
                  <a:gd name="connsiteY744" fmla="*/ 425768 h 466725"/>
                  <a:gd name="connsiteX745" fmla="*/ 375571 w 695325"/>
                  <a:gd name="connsiteY745" fmla="*/ 421481 h 466725"/>
                  <a:gd name="connsiteX746" fmla="*/ 376428 w 695325"/>
                  <a:gd name="connsiteY746" fmla="*/ 420624 h 466725"/>
                  <a:gd name="connsiteX747" fmla="*/ 378047 w 695325"/>
                  <a:gd name="connsiteY747" fmla="*/ 420624 h 466725"/>
                  <a:gd name="connsiteX748" fmla="*/ 378905 w 695325"/>
                  <a:gd name="connsiteY748" fmla="*/ 419767 h 466725"/>
                  <a:gd name="connsiteX749" fmla="*/ 378905 w 695325"/>
                  <a:gd name="connsiteY749" fmla="*/ 417290 h 466725"/>
                  <a:gd name="connsiteX750" fmla="*/ 377285 w 695325"/>
                  <a:gd name="connsiteY750" fmla="*/ 413861 h 466725"/>
                  <a:gd name="connsiteX751" fmla="*/ 378905 w 695325"/>
                  <a:gd name="connsiteY751" fmla="*/ 409575 h 466725"/>
                  <a:gd name="connsiteX752" fmla="*/ 379762 w 695325"/>
                  <a:gd name="connsiteY752" fmla="*/ 407861 h 466725"/>
                  <a:gd name="connsiteX753" fmla="*/ 378905 w 695325"/>
                  <a:gd name="connsiteY753" fmla="*/ 407098 h 466725"/>
                  <a:gd name="connsiteX754" fmla="*/ 378047 w 695325"/>
                  <a:gd name="connsiteY754" fmla="*/ 407098 h 466725"/>
                  <a:gd name="connsiteX755" fmla="*/ 378047 w 695325"/>
                  <a:gd name="connsiteY755" fmla="*/ 405384 h 466725"/>
                  <a:gd name="connsiteX756" fmla="*/ 378047 w 695325"/>
                  <a:gd name="connsiteY756" fmla="*/ 403669 h 466725"/>
                  <a:gd name="connsiteX757" fmla="*/ 378047 w 695325"/>
                  <a:gd name="connsiteY757" fmla="*/ 402812 h 466725"/>
                  <a:gd name="connsiteX758" fmla="*/ 378047 w 695325"/>
                  <a:gd name="connsiteY758" fmla="*/ 402812 h 466725"/>
                  <a:gd name="connsiteX759" fmla="*/ 378905 w 695325"/>
                  <a:gd name="connsiteY759" fmla="*/ 401098 h 466725"/>
                  <a:gd name="connsiteX760" fmla="*/ 379762 w 695325"/>
                  <a:gd name="connsiteY760" fmla="*/ 399383 h 466725"/>
                  <a:gd name="connsiteX761" fmla="*/ 380619 w 695325"/>
                  <a:gd name="connsiteY761" fmla="*/ 395192 h 466725"/>
                  <a:gd name="connsiteX762" fmla="*/ 380619 w 695325"/>
                  <a:gd name="connsiteY762" fmla="*/ 392620 h 466725"/>
                  <a:gd name="connsiteX763" fmla="*/ 381476 w 695325"/>
                  <a:gd name="connsiteY763" fmla="*/ 390906 h 466725"/>
                  <a:gd name="connsiteX764" fmla="*/ 382334 w 695325"/>
                  <a:gd name="connsiteY764" fmla="*/ 390906 h 466725"/>
                  <a:gd name="connsiteX765" fmla="*/ 383191 w 695325"/>
                  <a:gd name="connsiteY765" fmla="*/ 390049 h 466725"/>
                  <a:gd name="connsiteX766" fmla="*/ 383953 w 695325"/>
                  <a:gd name="connsiteY766" fmla="*/ 390049 h 466725"/>
                  <a:gd name="connsiteX767" fmla="*/ 384810 w 695325"/>
                  <a:gd name="connsiteY767" fmla="*/ 389191 h 466725"/>
                  <a:gd name="connsiteX768" fmla="*/ 384810 w 695325"/>
                  <a:gd name="connsiteY768" fmla="*/ 389191 h 466725"/>
                  <a:gd name="connsiteX769" fmla="*/ 384810 w 695325"/>
                  <a:gd name="connsiteY769" fmla="*/ 389191 h 466725"/>
                  <a:gd name="connsiteX770" fmla="*/ 385667 w 695325"/>
                  <a:gd name="connsiteY770" fmla="*/ 390049 h 466725"/>
                  <a:gd name="connsiteX771" fmla="*/ 386525 w 695325"/>
                  <a:gd name="connsiteY771" fmla="*/ 390906 h 466725"/>
                  <a:gd name="connsiteX772" fmla="*/ 387382 w 695325"/>
                  <a:gd name="connsiteY772" fmla="*/ 390906 h 466725"/>
                  <a:gd name="connsiteX773" fmla="*/ 388239 w 695325"/>
                  <a:gd name="connsiteY773" fmla="*/ 390906 h 466725"/>
                  <a:gd name="connsiteX774" fmla="*/ 389096 w 695325"/>
                  <a:gd name="connsiteY774" fmla="*/ 390906 h 466725"/>
                  <a:gd name="connsiteX775" fmla="*/ 389858 w 695325"/>
                  <a:gd name="connsiteY775" fmla="*/ 390049 h 466725"/>
                  <a:gd name="connsiteX776" fmla="*/ 390716 w 695325"/>
                  <a:gd name="connsiteY776" fmla="*/ 389191 h 466725"/>
                  <a:gd name="connsiteX777" fmla="*/ 390716 w 695325"/>
                  <a:gd name="connsiteY777" fmla="*/ 388334 h 466725"/>
                  <a:gd name="connsiteX778" fmla="*/ 390716 w 695325"/>
                  <a:gd name="connsiteY778" fmla="*/ 386620 h 466725"/>
                  <a:gd name="connsiteX779" fmla="*/ 393287 w 695325"/>
                  <a:gd name="connsiteY779" fmla="*/ 382429 h 466725"/>
                  <a:gd name="connsiteX780" fmla="*/ 395764 w 695325"/>
                  <a:gd name="connsiteY780" fmla="*/ 378143 h 466725"/>
                  <a:gd name="connsiteX781" fmla="*/ 395764 w 695325"/>
                  <a:gd name="connsiteY781" fmla="*/ 377285 h 466725"/>
                  <a:gd name="connsiteX782" fmla="*/ 395764 w 695325"/>
                  <a:gd name="connsiteY782" fmla="*/ 376428 h 466725"/>
                  <a:gd name="connsiteX783" fmla="*/ 395002 w 695325"/>
                  <a:gd name="connsiteY783" fmla="*/ 375571 h 466725"/>
                  <a:gd name="connsiteX784" fmla="*/ 394145 w 695325"/>
                  <a:gd name="connsiteY784" fmla="*/ 374809 h 466725"/>
                  <a:gd name="connsiteX785" fmla="*/ 395002 w 695325"/>
                  <a:gd name="connsiteY785" fmla="*/ 374809 h 466725"/>
                  <a:gd name="connsiteX786" fmla="*/ 395002 w 695325"/>
                  <a:gd name="connsiteY786" fmla="*/ 373952 h 466725"/>
                  <a:gd name="connsiteX787" fmla="*/ 395764 w 695325"/>
                  <a:gd name="connsiteY787" fmla="*/ 373952 h 466725"/>
                  <a:gd name="connsiteX788" fmla="*/ 396621 w 695325"/>
                  <a:gd name="connsiteY788" fmla="*/ 373952 h 466725"/>
                  <a:gd name="connsiteX789" fmla="*/ 397478 w 695325"/>
                  <a:gd name="connsiteY789" fmla="*/ 373094 h 466725"/>
                  <a:gd name="connsiteX790" fmla="*/ 398335 w 695325"/>
                  <a:gd name="connsiteY790" fmla="*/ 372237 h 466725"/>
                  <a:gd name="connsiteX791" fmla="*/ 398335 w 695325"/>
                  <a:gd name="connsiteY791" fmla="*/ 371380 h 466725"/>
                  <a:gd name="connsiteX792" fmla="*/ 398335 w 695325"/>
                  <a:gd name="connsiteY792" fmla="*/ 370523 h 466725"/>
                  <a:gd name="connsiteX793" fmla="*/ 396621 w 695325"/>
                  <a:gd name="connsiteY793" fmla="*/ 367094 h 466725"/>
                  <a:gd name="connsiteX794" fmla="*/ 396621 w 695325"/>
                  <a:gd name="connsiteY794" fmla="*/ 364617 h 466725"/>
                  <a:gd name="connsiteX795" fmla="*/ 396621 w 695325"/>
                  <a:gd name="connsiteY795" fmla="*/ 363760 h 466725"/>
                  <a:gd name="connsiteX796" fmla="*/ 397478 w 695325"/>
                  <a:gd name="connsiteY796" fmla="*/ 362903 h 466725"/>
                  <a:gd name="connsiteX797" fmla="*/ 398335 w 695325"/>
                  <a:gd name="connsiteY797" fmla="*/ 362045 h 466725"/>
                  <a:gd name="connsiteX798" fmla="*/ 399193 w 695325"/>
                  <a:gd name="connsiteY798" fmla="*/ 361188 h 466725"/>
                  <a:gd name="connsiteX799" fmla="*/ 400050 w 695325"/>
                  <a:gd name="connsiteY799" fmla="*/ 361188 h 466725"/>
                  <a:gd name="connsiteX800" fmla="*/ 401669 w 695325"/>
                  <a:gd name="connsiteY800" fmla="*/ 361188 h 466725"/>
                  <a:gd name="connsiteX801" fmla="*/ 402526 w 695325"/>
                  <a:gd name="connsiteY801" fmla="*/ 360331 h 466725"/>
                  <a:gd name="connsiteX802" fmla="*/ 403384 w 695325"/>
                  <a:gd name="connsiteY802" fmla="*/ 359473 h 466725"/>
                  <a:gd name="connsiteX803" fmla="*/ 403384 w 695325"/>
                  <a:gd name="connsiteY803" fmla="*/ 357759 h 466725"/>
                  <a:gd name="connsiteX804" fmla="*/ 404241 w 695325"/>
                  <a:gd name="connsiteY804" fmla="*/ 356044 h 466725"/>
                  <a:gd name="connsiteX805" fmla="*/ 405956 w 695325"/>
                  <a:gd name="connsiteY805" fmla="*/ 354330 h 466725"/>
                  <a:gd name="connsiteX806" fmla="*/ 405956 w 695325"/>
                  <a:gd name="connsiteY806" fmla="*/ 352711 h 466725"/>
                  <a:gd name="connsiteX807" fmla="*/ 408432 w 695325"/>
                  <a:gd name="connsiteY807" fmla="*/ 346710 h 466725"/>
                  <a:gd name="connsiteX808" fmla="*/ 411004 w 695325"/>
                  <a:gd name="connsiteY808" fmla="*/ 339947 h 466725"/>
                  <a:gd name="connsiteX809" fmla="*/ 413575 w 695325"/>
                  <a:gd name="connsiteY809" fmla="*/ 336518 h 466725"/>
                  <a:gd name="connsiteX810" fmla="*/ 414338 w 695325"/>
                  <a:gd name="connsiteY810" fmla="*/ 334804 h 466725"/>
                  <a:gd name="connsiteX811" fmla="*/ 417767 w 695325"/>
                  <a:gd name="connsiteY811" fmla="*/ 331470 h 466725"/>
                  <a:gd name="connsiteX812" fmla="*/ 417767 w 695325"/>
                  <a:gd name="connsiteY812" fmla="*/ 331470 h 466725"/>
                  <a:gd name="connsiteX813" fmla="*/ 418624 w 695325"/>
                  <a:gd name="connsiteY813" fmla="*/ 328898 h 466725"/>
                  <a:gd name="connsiteX814" fmla="*/ 417767 w 695325"/>
                  <a:gd name="connsiteY814" fmla="*/ 327184 h 466725"/>
                  <a:gd name="connsiteX815" fmla="*/ 418624 w 695325"/>
                  <a:gd name="connsiteY815" fmla="*/ 323755 h 466725"/>
                  <a:gd name="connsiteX816" fmla="*/ 418624 w 695325"/>
                  <a:gd name="connsiteY816" fmla="*/ 322040 h 466725"/>
                  <a:gd name="connsiteX817" fmla="*/ 417767 w 695325"/>
                  <a:gd name="connsiteY817" fmla="*/ 320421 h 466725"/>
                  <a:gd name="connsiteX818" fmla="*/ 417767 w 695325"/>
                  <a:gd name="connsiteY818" fmla="*/ 318707 h 466725"/>
                  <a:gd name="connsiteX819" fmla="*/ 416909 w 695325"/>
                  <a:gd name="connsiteY819" fmla="*/ 316992 h 466725"/>
                  <a:gd name="connsiteX820" fmla="*/ 416052 w 695325"/>
                  <a:gd name="connsiteY820" fmla="*/ 315278 h 466725"/>
                  <a:gd name="connsiteX821" fmla="*/ 415195 w 695325"/>
                  <a:gd name="connsiteY821" fmla="*/ 314420 h 466725"/>
                  <a:gd name="connsiteX822" fmla="*/ 414338 w 695325"/>
                  <a:gd name="connsiteY822" fmla="*/ 313563 h 466725"/>
                  <a:gd name="connsiteX823" fmla="*/ 412718 w 695325"/>
                  <a:gd name="connsiteY823" fmla="*/ 312706 h 466725"/>
                  <a:gd name="connsiteX824" fmla="*/ 411861 w 695325"/>
                  <a:gd name="connsiteY824" fmla="*/ 311848 h 466725"/>
                  <a:gd name="connsiteX825" fmla="*/ 411004 w 695325"/>
                  <a:gd name="connsiteY825" fmla="*/ 310991 h 466725"/>
                  <a:gd name="connsiteX826" fmla="*/ 410147 w 695325"/>
                  <a:gd name="connsiteY826" fmla="*/ 309372 h 466725"/>
                  <a:gd name="connsiteX827" fmla="*/ 409289 w 695325"/>
                  <a:gd name="connsiteY827" fmla="*/ 308515 h 466725"/>
                  <a:gd name="connsiteX828" fmla="*/ 409289 w 695325"/>
                  <a:gd name="connsiteY828" fmla="*/ 308515 h 466725"/>
                  <a:gd name="connsiteX829" fmla="*/ 408432 w 695325"/>
                  <a:gd name="connsiteY829" fmla="*/ 307657 h 466725"/>
                  <a:gd name="connsiteX830" fmla="*/ 408432 w 695325"/>
                  <a:gd name="connsiteY830" fmla="*/ 307657 h 466725"/>
                  <a:gd name="connsiteX831" fmla="*/ 408432 w 695325"/>
                  <a:gd name="connsiteY831" fmla="*/ 307657 h 466725"/>
                  <a:gd name="connsiteX832" fmla="*/ 407575 w 695325"/>
                  <a:gd name="connsiteY832" fmla="*/ 306800 h 466725"/>
                  <a:gd name="connsiteX833" fmla="*/ 407575 w 695325"/>
                  <a:gd name="connsiteY833" fmla="*/ 305943 h 466725"/>
                  <a:gd name="connsiteX834" fmla="*/ 405956 w 695325"/>
                  <a:gd name="connsiteY834" fmla="*/ 303371 h 466725"/>
                  <a:gd name="connsiteX835" fmla="*/ 405098 w 695325"/>
                  <a:gd name="connsiteY835" fmla="*/ 302514 h 466725"/>
                  <a:gd name="connsiteX836" fmla="*/ 405098 w 695325"/>
                  <a:gd name="connsiteY836" fmla="*/ 301657 h 466725"/>
                  <a:gd name="connsiteX837" fmla="*/ 405956 w 695325"/>
                  <a:gd name="connsiteY837" fmla="*/ 300037 h 466725"/>
                  <a:gd name="connsiteX838" fmla="*/ 410147 w 695325"/>
                  <a:gd name="connsiteY838" fmla="*/ 297466 h 466725"/>
                  <a:gd name="connsiteX839" fmla="*/ 414338 w 695325"/>
                  <a:gd name="connsiteY839" fmla="*/ 293179 h 466725"/>
                  <a:gd name="connsiteX840" fmla="*/ 420243 w 695325"/>
                  <a:gd name="connsiteY840" fmla="*/ 288131 h 466725"/>
                  <a:gd name="connsiteX841" fmla="*/ 426149 w 695325"/>
                  <a:gd name="connsiteY841" fmla="*/ 283845 h 466725"/>
                  <a:gd name="connsiteX842" fmla="*/ 432054 w 695325"/>
                  <a:gd name="connsiteY842" fmla="*/ 275368 h 466725"/>
                  <a:gd name="connsiteX843" fmla="*/ 433768 w 695325"/>
                  <a:gd name="connsiteY843" fmla="*/ 272796 h 466725"/>
                  <a:gd name="connsiteX844" fmla="*/ 444722 w 695325"/>
                  <a:gd name="connsiteY844" fmla="*/ 263461 h 466725"/>
                  <a:gd name="connsiteX845" fmla="*/ 445580 w 695325"/>
                  <a:gd name="connsiteY845" fmla="*/ 262604 h 466725"/>
                  <a:gd name="connsiteX846" fmla="*/ 446437 w 695325"/>
                  <a:gd name="connsiteY846" fmla="*/ 261747 h 466725"/>
                  <a:gd name="connsiteX847" fmla="*/ 445580 w 695325"/>
                  <a:gd name="connsiteY847" fmla="*/ 260890 h 466725"/>
                  <a:gd name="connsiteX848" fmla="*/ 445580 w 695325"/>
                  <a:gd name="connsiteY848" fmla="*/ 260890 h 466725"/>
                  <a:gd name="connsiteX849" fmla="*/ 443865 w 695325"/>
                  <a:gd name="connsiteY849" fmla="*/ 259175 h 466725"/>
                  <a:gd name="connsiteX850" fmla="*/ 443103 w 695325"/>
                  <a:gd name="connsiteY850" fmla="*/ 258318 h 466725"/>
                  <a:gd name="connsiteX851" fmla="*/ 443103 w 695325"/>
                  <a:gd name="connsiteY851" fmla="*/ 256699 h 466725"/>
                  <a:gd name="connsiteX852" fmla="*/ 443103 w 695325"/>
                  <a:gd name="connsiteY852" fmla="*/ 255841 h 466725"/>
                  <a:gd name="connsiteX853" fmla="*/ 443865 w 695325"/>
                  <a:gd name="connsiteY853" fmla="*/ 254984 h 466725"/>
                  <a:gd name="connsiteX854" fmla="*/ 444722 w 695325"/>
                  <a:gd name="connsiteY854" fmla="*/ 254127 h 466725"/>
                  <a:gd name="connsiteX855" fmla="*/ 448151 w 695325"/>
                  <a:gd name="connsiteY855" fmla="*/ 253270 h 466725"/>
                  <a:gd name="connsiteX856" fmla="*/ 450628 w 695325"/>
                  <a:gd name="connsiteY856" fmla="*/ 251555 h 466725"/>
                  <a:gd name="connsiteX857" fmla="*/ 450628 w 695325"/>
                  <a:gd name="connsiteY857" fmla="*/ 251555 h 466725"/>
                  <a:gd name="connsiteX858" fmla="*/ 451485 w 695325"/>
                  <a:gd name="connsiteY858" fmla="*/ 250698 h 466725"/>
                  <a:gd name="connsiteX859" fmla="*/ 453200 w 695325"/>
                  <a:gd name="connsiteY859" fmla="*/ 250698 h 466725"/>
                  <a:gd name="connsiteX860" fmla="*/ 454914 w 695325"/>
                  <a:gd name="connsiteY860" fmla="*/ 251555 h 466725"/>
                  <a:gd name="connsiteX861" fmla="*/ 455771 w 695325"/>
                  <a:gd name="connsiteY861" fmla="*/ 252412 h 466725"/>
                  <a:gd name="connsiteX862" fmla="*/ 456533 w 695325"/>
                  <a:gd name="connsiteY862" fmla="*/ 253270 h 466725"/>
                  <a:gd name="connsiteX863" fmla="*/ 457391 w 695325"/>
                  <a:gd name="connsiteY863" fmla="*/ 254984 h 466725"/>
                  <a:gd name="connsiteX864" fmla="*/ 457391 w 695325"/>
                  <a:gd name="connsiteY864" fmla="*/ 255841 h 466725"/>
                  <a:gd name="connsiteX865" fmla="*/ 457391 w 695325"/>
                  <a:gd name="connsiteY865" fmla="*/ 257461 h 466725"/>
                  <a:gd name="connsiteX866" fmla="*/ 456533 w 695325"/>
                  <a:gd name="connsiteY866" fmla="*/ 259175 h 466725"/>
                  <a:gd name="connsiteX867" fmla="*/ 456533 w 695325"/>
                  <a:gd name="connsiteY867" fmla="*/ 260890 h 466725"/>
                  <a:gd name="connsiteX868" fmla="*/ 455771 w 695325"/>
                  <a:gd name="connsiteY868" fmla="*/ 261747 h 466725"/>
                  <a:gd name="connsiteX869" fmla="*/ 454057 w 695325"/>
                  <a:gd name="connsiteY869" fmla="*/ 263461 h 466725"/>
                  <a:gd name="connsiteX870" fmla="*/ 453200 w 695325"/>
                  <a:gd name="connsiteY870" fmla="*/ 265176 h 466725"/>
                  <a:gd name="connsiteX871" fmla="*/ 453200 w 695325"/>
                  <a:gd name="connsiteY871" fmla="*/ 266033 h 466725"/>
                  <a:gd name="connsiteX872" fmla="*/ 453200 w 695325"/>
                  <a:gd name="connsiteY872" fmla="*/ 266890 h 466725"/>
                  <a:gd name="connsiteX873" fmla="*/ 454057 w 695325"/>
                  <a:gd name="connsiteY873" fmla="*/ 266890 h 466725"/>
                  <a:gd name="connsiteX874" fmla="*/ 454914 w 695325"/>
                  <a:gd name="connsiteY874" fmla="*/ 266890 h 466725"/>
                  <a:gd name="connsiteX875" fmla="*/ 456533 w 695325"/>
                  <a:gd name="connsiteY875" fmla="*/ 266890 h 466725"/>
                  <a:gd name="connsiteX876" fmla="*/ 459962 w 695325"/>
                  <a:gd name="connsiteY876" fmla="*/ 265176 h 466725"/>
                  <a:gd name="connsiteX877" fmla="*/ 465868 w 695325"/>
                  <a:gd name="connsiteY877" fmla="*/ 264319 h 466725"/>
                  <a:gd name="connsiteX878" fmla="*/ 467582 w 695325"/>
                  <a:gd name="connsiteY878" fmla="*/ 263461 h 466725"/>
                  <a:gd name="connsiteX879" fmla="*/ 470916 w 695325"/>
                  <a:gd name="connsiteY879" fmla="*/ 261747 h 466725"/>
                  <a:gd name="connsiteX880" fmla="*/ 472631 w 695325"/>
                  <a:gd name="connsiteY880" fmla="*/ 260032 h 466725"/>
                  <a:gd name="connsiteX881" fmla="*/ 475107 w 695325"/>
                  <a:gd name="connsiteY881" fmla="*/ 255841 h 466725"/>
                  <a:gd name="connsiteX882" fmla="*/ 475964 w 695325"/>
                  <a:gd name="connsiteY882" fmla="*/ 254984 h 466725"/>
                  <a:gd name="connsiteX883" fmla="*/ 476822 w 695325"/>
                  <a:gd name="connsiteY883" fmla="*/ 253270 h 466725"/>
                  <a:gd name="connsiteX884" fmla="*/ 476822 w 695325"/>
                  <a:gd name="connsiteY884" fmla="*/ 252412 h 466725"/>
                  <a:gd name="connsiteX885" fmla="*/ 475964 w 695325"/>
                  <a:gd name="connsiteY885" fmla="*/ 249841 h 466725"/>
                  <a:gd name="connsiteX886" fmla="*/ 475107 w 695325"/>
                  <a:gd name="connsiteY886" fmla="*/ 248983 h 466725"/>
                  <a:gd name="connsiteX887" fmla="*/ 475107 w 695325"/>
                  <a:gd name="connsiteY887" fmla="*/ 248126 h 466725"/>
                  <a:gd name="connsiteX888" fmla="*/ 475107 w 695325"/>
                  <a:gd name="connsiteY888" fmla="*/ 246412 h 466725"/>
                  <a:gd name="connsiteX889" fmla="*/ 475107 w 695325"/>
                  <a:gd name="connsiteY889" fmla="*/ 246412 h 466725"/>
                  <a:gd name="connsiteX890" fmla="*/ 475107 w 695325"/>
                  <a:gd name="connsiteY890" fmla="*/ 243078 h 466725"/>
                  <a:gd name="connsiteX891" fmla="*/ 475107 w 695325"/>
                  <a:gd name="connsiteY891" fmla="*/ 241364 h 466725"/>
                  <a:gd name="connsiteX892" fmla="*/ 475964 w 695325"/>
                  <a:gd name="connsiteY892" fmla="*/ 239649 h 466725"/>
                  <a:gd name="connsiteX893" fmla="*/ 477679 w 695325"/>
                  <a:gd name="connsiteY893" fmla="*/ 238792 h 466725"/>
                  <a:gd name="connsiteX894" fmla="*/ 477679 w 695325"/>
                  <a:gd name="connsiteY894" fmla="*/ 237935 h 466725"/>
                  <a:gd name="connsiteX895" fmla="*/ 478536 w 695325"/>
                  <a:gd name="connsiteY895" fmla="*/ 236220 h 466725"/>
                  <a:gd name="connsiteX896" fmla="*/ 479393 w 695325"/>
                  <a:gd name="connsiteY896" fmla="*/ 230315 h 466725"/>
                  <a:gd name="connsiteX897" fmla="*/ 479393 w 695325"/>
                  <a:gd name="connsiteY897" fmla="*/ 228600 h 466725"/>
                  <a:gd name="connsiteX898" fmla="*/ 478536 w 695325"/>
                  <a:gd name="connsiteY898" fmla="*/ 226028 h 466725"/>
                  <a:gd name="connsiteX899" fmla="*/ 478536 w 695325"/>
                  <a:gd name="connsiteY899" fmla="*/ 225171 h 466725"/>
                  <a:gd name="connsiteX900" fmla="*/ 479393 w 695325"/>
                  <a:gd name="connsiteY900" fmla="*/ 223552 h 466725"/>
                  <a:gd name="connsiteX901" fmla="*/ 489490 w 695325"/>
                  <a:gd name="connsiteY901" fmla="*/ 209074 h 466725"/>
                  <a:gd name="connsiteX902" fmla="*/ 492824 w 695325"/>
                  <a:gd name="connsiteY902" fmla="*/ 204787 h 466725"/>
                  <a:gd name="connsiteX903" fmla="*/ 496253 w 695325"/>
                  <a:gd name="connsiteY903" fmla="*/ 203168 h 466725"/>
                  <a:gd name="connsiteX904" fmla="*/ 497110 w 695325"/>
                  <a:gd name="connsiteY904" fmla="*/ 201454 h 466725"/>
                  <a:gd name="connsiteX905" fmla="*/ 497967 w 695325"/>
                  <a:gd name="connsiteY905" fmla="*/ 200597 h 466725"/>
                  <a:gd name="connsiteX906" fmla="*/ 497967 w 695325"/>
                  <a:gd name="connsiteY906" fmla="*/ 197168 h 466725"/>
                  <a:gd name="connsiteX907" fmla="*/ 498729 w 695325"/>
                  <a:gd name="connsiteY907" fmla="*/ 191262 h 466725"/>
                  <a:gd name="connsiteX908" fmla="*/ 499586 w 695325"/>
                  <a:gd name="connsiteY908" fmla="*/ 188690 h 466725"/>
                  <a:gd name="connsiteX909" fmla="*/ 500443 w 695325"/>
                  <a:gd name="connsiteY909" fmla="*/ 186976 h 466725"/>
                  <a:gd name="connsiteX910" fmla="*/ 505492 w 695325"/>
                  <a:gd name="connsiteY910" fmla="*/ 181832 h 466725"/>
                  <a:gd name="connsiteX911" fmla="*/ 508064 w 695325"/>
                  <a:gd name="connsiteY911" fmla="*/ 177641 h 466725"/>
                  <a:gd name="connsiteX912" fmla="*/ 509778 w 695325"/>
                  <a:gd name="connsiteY912" fmla="*/ 179356 h 466725"/>
                  <a:gd name="connsiteX913" fmla="*/ 510540 w 695325"/>
                  <a:gd name="connsiteY913" fmla="*/ 181070 h 466725"/>
                  <a:gd name="connsiteX914" fmla="*/ 510540 w 695325"/>
                  <a:gd name="connsiteY914" fmla="*/ 184404 h 466725"/>
                  <a:gd name="connsiteX915" fmla="*/ 510540 w 695325"/>
                  <a:gd name="connsiteY915" fmla="*/ 184404 h 466725"/>
                  <a:gd name="connsiteX916" fmla="*/ 510540 w 695325"/>
                  <a:gd name="connsiteY916" fmla="*/ 184404 h 466725"/>
                  <a:gd name="connsiteX917" fmla="*/ 511397 w 695325"/>
                  <a:gd name="connsiteY917" fmla="*/ 186119 h 466725"/>
                  <a:gd name="connsiteX918" fmla="*/ 512255 w 695325"/>
                  <a:gd name="connsiteY918" fmla="*/ 186119 h 466725"/>
                  <a:gd name="connsiteX919" fmla="*/ 513112 w 695325"/>
                  <a:gd name="connsiteY919" fmla="*/ 186976 h 466725"/>
                  <a:gd name="connsiteX920" fmla="*/ 513969 w 695325"/>
                  <a:gd name="connsiteY920" fmla="*/ 186976 h 466725"/>
                  <a:gd name="connsiteX921" fmla="*/ 516446 w 695325"/>
                  <a:gd name="connsiteY921" fmla="*/ 186119 h 466725"/>
                  <a:gd name="connsiteX922" fmla="*/ 517303 w 695325"/>
                  <a:gd name="connsiteY922" fmla="*/ 185261 h 466725"/>
                  <a:gd name="connsiteX923" fmla="*/ 519017 w 695325"/>
                  <a:gd name="connsiteY923" fmla="*/ 182690 h 466725"/>
                  <a:gd name="connsiteX924" fmla="*/ 520732 w 695325"/>
                  <a:gd name="connsiteY924" fmla="*/ 181832 h 466725"/>
                  <a:gd name="connsiteX925" fmla="*/ 521589 w 695325"/>
                  <a:gd name="connsiteY925" fmla="*/ 180213 h 466725"/>
                  <a:gd name="connsiteX926" fmla="*/ 524066 w 695325"/>
                  <a:gd name="connsiteY926" fmla="*/ 176784 h 466725"/>
                  <a:gd name="connsiteX927" fmla="*/ 524923 w 695325"/>
                  <a:gd name="connsiteY927" fmla="*/ 174212 h 466725"/>
                  <a:gd name="connsiteX928" fmla="*/ 524923 w 695325"/>
                  <a:gd name="connsiteY928" fmla="*/ 173355 h 466725"/>
                  <a:gd name="connsiteX929" fmla="*/ 524923 w 695325"/>
                  <a:gd name="connsiteY929" fmla="*/ 171640 h 466725"/>
                  <a:gd name="connsiteX930" fmla="*/ 524923 w 695325"/>
                  <a:gd name="connsiteY930" fmla="*/ 170021 h 466725"/>
                  <a:gd name="connsiteX931" fmla="*/ 528257 w 695325"/>
                  <a:gd name="connsiteY931" fmla="*/ 166592 h 466725"/>
                  <a:gd name="connsiteX932" fmla="*/ 529971 w 695325"/>
                  <a:gd name="connsiteY932" fmla="*/ 164878 h 466725"/>
                  <a:gd name="connsiteX933" fmla="*/ 530828 w 695325"/>
                  <a:gd name="connsiteY933" fmla="*/ 163163 h 466725"/>
                  <a:gd name="connsiteX934" fmla="*/ 531685 w 695325"/>
                  <a:gd name="connsiteY934" fmla="*/ 163163 h 466725"/>
                  <a:gd name="connsiteX935" fmla="*/ 532543 w 695325"/>
                  <a:gd name="connsiteY935" fmla="*/ 163163 h 466725"/>
                  <a:gd name="connsiteX936" fmla="*/ 534162 w 695325"/>
                  <a:gd name="connsiteY936" fmla="*/ 163163 h 466725"/>
                  <a:gd name="connsiteX937" fmla="*/ 535019 w 695325"/>
                  <a:gd name="connsiteY937" fmla="*/ 162306 h 466725"/>
                  <a:gd name="connsiteX938" fmla="*/ 536734 w 695325"/>
                  <a:gd name="connsiteY938" fmla="*/ 161449 h 466725"/>
                  <a:gd name="connsiteX939" fmla="*/ 537591 w 695325"/>
                  <a:gd name="connsiteY939" fmla="*/ 160591 h 466725"/>
                  <a:gd name="connsiteX940" fmla="*/ 538448 w 695325"/>
                  <a:gd name="connsiteY940" fmla="*/ 159829 h 466725"/>
                  <a:gd name="connsiteX941" fmla="*/ 539306 w 695325"/>
                  <a:gd name="connsiteY941" fmla="*/ 159829 h 466725"/>
                  <a:gd name="connsiteX942" fmla="*/ 542639 w 695325"/>
                  <a:gd name="connsiteY942" fmla="*/ 159829 h 466725"/>
                  <a:gd name="connsiteX943" fmla="*/ 551974 w 695325"/>
                  <a:gd name="connsiteY943" fmla="*/ 156400 h 466725"/>
                  <a:gd name="connsiteX944" fmla="*/ 553593 w 695325"/>
                  <a:gd name="connsiteY944" fmla="*/ 154686 h 466725"/>
                  <a:gd name="connsiteX945" fmla="*/ 562070 w 695325"/>
                  <a:gd name="connsiteY945" fmla="*/ 149543 h 466725"/>
                  <a:gd name="connsiteX946" fmla="*/ 566261 w 695325"/>
                  <a:gd name="connsiteY946" fmla="*/ 146209 h 466725"/>
                  <a:gd name="connsiteX947" fmla="*/ 569690 w 695325"/>
                  <a:gd name="connsiteY947" fmla="*/ 140208 h 466725"/>
                  <a:gd name="connsiteX948" fmla="*/ 573024 w 695325"/>
                  <a:gd name="connsiteY948" fmla="*/ 135160 h 466725"/>
                  <a:gd name="connsiteX949" fmla="*/ 573881 w 695325"/>
                  <a:gd name="connsiteY949" fmla="*/ 133445 h 466725"/>
                  <a:gd name="connsiteX950" fmla="*/ 577215 w 695325"/>
                  <a:gd name="connsiteY950" fmla="*/ 130873 h 466725"/>
                  <a:gd name="connsiteX951" fmla="*/ 578072 w 695325"/>
                  <a:gd name="connsiteY951" fmla="*/ 129159 h 466725"/>
                  <a:gd name="connsiteX952" fmla="*/ 578930 w 695325"/>
                  <a:gd name="connsiteY952" fmla="*/ 129159 h 466725"/>
                  <a:gd name="connsiteX953" fmla="*/ 579787 w 695325"/>
                  <a:gd name="connsiteY953" fmla="*/ 129159 h 466725"/>
                  <a:gd name="connsiteX954" fmla="*/ 580644 w 695325"/>
                  <a:gd name="connsiteY954" fmla="*/ 129159 h 466725"/>
                  <a:gd name="connsiteX955" fmla="*/ 583121 w 695325"/>
                  <a:gd name="connsiteY955" fmla="*/ 131731 h 466725"/>
                  <a:gd name="connsiteX956" fmla="*/ 583978 w 695325"/>
                  <a:gd name="connsiteY956" fmla="*/ 131731 h 466725"/>
                  <a:gd name="connsiteX957" fmla="*/ 585692 w 695325"/>
                  <a:gd name="connsiteY957" fmla="*/ 132588 h 466725"/>
                  <a:gd name="connsiteX958" fmla="*/ 588264 w 695325"/>
                  <a:gd name="connsiteY958" fmla="*/ 132588 h 466725"/>
                  <a:gd name="connsiteX959" fmla="*/ 589883 w 695325"/>
                  <a:gd name="connsiteY959" fmla="*/ 131731 h 466725"/>
                  <a:gd name="connsiteX960" fmla="*/ 591598 w 695325"/>
                  <a:gd name="connsiteY960" fmla="*/ 130873 h 466725"/>
                  <a:gd name="connsiteX961" fmla="*/ 604266 w 695325"/>
                  <a:gd name="connsiteY961" fmla="*/ 123253 h 466725"/>
                  <a:gd name="connsiteX962" fmla="*/ 604266 w 695325"/>
                  <a:gd name="connsiteY962" fmla="*/ 123253 h 466725"/>
                  <a:gd name="connsiteX963" fmla="*/ 604266 w 695325"/>
                  <a:gd name="connsiteY963" fmla="*/ 123253 h 466725"/>
                  <a:gd name="connsiteX964" fmla="*/ 605123 w 695325"/>
                  <a:gd name="connsiteY964" fmla="*/ 122396 h 466725"/>
                  <a:gd name="connsiteX965" fmla="*/ 605981 w 695325"/>
                  <a:gd name="connsiteY965" fmla="*/ 121539 h 466725"/>
                  <a:gd name="connsiteX966" fmla="*/ 606743 w 695325"/>
                  <a:gd name="connsiteY966" fmla="*/ 119824 h 466725"/>
                  <a:gd name="connsiteX967" fmla="*/ 607600 w 695325"/>
                  <a:gd name="connsiteY967" fmla="*/ 118967 h 466725"/>
                  <a:gd name="connsiteX968" fmla="*/ 608457 w 695325"/>
                  <a:gd name="connsiteY968" fmla="*/ 117253 h 466725"/>
                  <a:gd name="connsiteX969" fmla="*/ 609314 w 695325"/>
                  <a:gd name="connsiteY969" fmla="*/ 117253 h 466725"/>
                  <a:gd name="connsiteX970" fmla="*/ 610172 w 695325"/>
                  <a:gd name="connsiteY970" fmla="*/ 117253 h 466725"/>
                  <a:gd name="connsiteX971" fmla="*/ 611886 w 695325"/>
                  <a:gd name="connsiteY971" fmla="*/ 117253 h 466725"/>
                  <a:gd name="connsiteX972" fmla="*/ 614363 w 695325"/>
                  <a:gd name="connsiteY972" fmla="*/ 117253 h 466725"/>
                  <a:gd name="connsiteX973" fmla="*/ 616077 w 695325"/>
                  <a:gd name="connsiteY973" fmla="*/ 117253 h 466725"/>
                  <a:gd name="connsiteX974" fmla="*/ 616934 w 695325"/>
                  <a:gd name="connsiteY974" fmla="*/ 116491 h 466725"/>
                  <a:gd name="connsiteX975" fmla="*/ 621983 w 695325"/>
                  <a:gd name="connsiteY975" fmla="*/ 113062 h 466725"/>
                  <a:gd name="connsiteX976" fmla="*/ 627031 w 695325"/>
                  <a:gd name="connsiteY976" fmla="*/ 108775 h 466725"/>
                  <a:gd name="connsiteX977" fmla="*/ 628745 w 695325"/>
                  <a:gd name="connsiteY977" fmla="*/ 107918 h 466725"/>
                  <a:gd name="connsiteX978" fmla="*/ 630460 w 695325"/>
                  <a:gd name="connsiteY978" fmla="*/ 107061 h 466725"/>
                  <a:gd name="connsiteX979" fmla="*/ 632936 w 695325"/>
                  <a:gd name="connsiteY979" fmla="*/ 106299 h 466725"/>
                  <a:gd name="connsiteX980" fmla="*/ 634651 w 695325"/>
                  <a:gd name="connsiteY980" fmla="*/ 105442 h 466725"/>
                  <a:gd name="connsiteX981" fmla="*/ 637127 w 695325"/>
                  <a:gd name="connsiteY981" fmla="*/ 102870 h 466725"/>
                  <a:gd name="connsiteX982" fmla="*/ 638842 w 695325"/>
                  <a:gd name="connsiteY982" fmla="*/ 101156 h 466725"/>
                  <a:gd name="connsiteX983" fmla="*/ 640556 w 695325"/>
                  <a:gd name="connsiteY983" fmla="*/ 98584 h 466725"/>
                  <a:gd name="connsiteX984" fmla="*/ 640556 w 695325"/>
                  <a:gd name="connsiteY984" fmla="*/ 96869 h 466725"/>
                  <a:gd name="connsiteX985" fmla="*/ 641414 w 695325"/>
                  <a:gd name="connsiteY985" fmla="*/ 94393 h 466725"/>
                  <a:gd name="connsiteX986" fmla="*/ 641414 w 695325"/>
                  <a:gd name="connsiteY986" fmla="*/ 93536 h 466725"/>
                  <a:gd name="connsiteX987" fmla="*/ 642271 w 695325"/>
                  <a:gd name="connsiteY987" fmla="*/ 91821 h 466725"/>
                  <a:gd name="connsiteX988" fmla="*/ 643033 w 695325"/>
                  <a:gd name="connsiteY988" fmla="*/ 90964 h 466725"/>
                  <a:gd name="connsiteX989" fmla="*/ 643890 w 695325"/>
                  <a:gd name="connsiteY989" fmla="*/ 90106 h 466725"/>
                  <a:gd name="connsiteX990" fmla="*/ 647319 w 695325"/>
                  <a:gd name="connsiteY990" fmla="*/ 89249 h 466725"/>
                  <a:gd name="connsiteX991" fmla="*/ 648176 w 695325"/>
                  <a:gd name="connsiteY991" fmla="*/ 89249 h 466725"/>
                  <a:gd name="connsiteX992" fmla="*/ 649796 w 695325"/>
                  <a:gd name="connsiteY992" fmla="*/ 89249 h 466725"/>
                  <a:gd name="connsiteX993" fmla="*/ 651510 w 695325"/>
                  <a:gd name="connsiteY993" fmla="*/ 90106 h 466725"/>
                  <a:gd name="connsiteX994" fmla="*/ 654082 w 695325"/>
                  <a:gd name="connsiteY994" fmla="*/ 92678 h 466725"/>
                  <a:gd name="connsiteX995" fmla="*/ 656558 w 695325"/>
                  <a:gd name="connsiteY995" fmla="*/ 94393 h 466725"/>
                  <a:gd name="connsiteX996" fmla="*/ 659130 w 695325"/>
                  <a:gd name="connsiteY996" fmla="*/ 94393 h 466725"/>
                  <a:gd name="connsiteX997" fmla="*/ 675989 w 695325"/>
                  <a:gd name="connsiteY997" fmla="*/ 87535 h 466725"/>
                  <a:gd name="connsiteX998" fmla="*/ 677704 w 695325"/>
                  <a:gd name="connsiteY998" fmla="*/ 87535 h 466725"/>
                  <a:gd name="connsiteX999" fmla="*/ 681038 w 695325"/>
                  <a:gd name="connsiteY999" fmla="*/ 87535 h 466725"/>
                  <a:gd name="connsiteX1000" fmla="*/ 681895 w 695325"/>
                  <a:gd name="connsiteY1000" fmla="*/ 87535 h 466725"/>
                  <a:gd name="connsiteX1001" fmla="*/ 682752 w 695325"/>
                  <a:gd name="connsiteY1001" fmla="*/ 87535 h 466725"/>
                  <a:gd name="connsiteX1002" fmla="*/ 683609 w 695325"/>
                  <a:gd name="connsiteY1002" fmla="*/ 87535 h 466725"/>
                  <a:gd name="connsiteX1003" fmla="*/ 684467 w 695325"/>
                  <a:gd name="connsiteY1003" fmla="*/ 87535 h 466725"/>
                  <a:gd name="connsiteX1004" fmla="*/ 687800 w 695325"/>
                  <a:gd name="connsiteY1004" fmla="*/ 88392 h 466725"/>
                  <a:gd name="connsiteX1005" fmla="*/ 687800 w 695325"/>
                  <a:gd name="connsiteY1005" fmla="*/ 88392 h 466725"/>
                  <a:gd name="connsiteX1006" fmla="*/ 688658 w 695325"/>
                  <a:gd name="connsiteY1006" fmla="*/ 87535 h 466725"/>
                  <a:gd name="connsiteX1007" fmla="*/ 688658 w 695325"/>
                  <a:gd name="connsiteY1007" fmla="*/ 87535 h 466725"/>
                  <a:gd name="connsiteX1008" fmla="*/ 689515 w 695325"/>
                  <a:gd name="connsiteY1008" fmla="*/ 85820 h 466725"/>
                  <a:gd name="connsiteX1009" fmla="*/ 690372 w 695325"/>
                  <a:gd name="connsiteY1009" fmla="*/ 84963 h 466725"/>
                  <a:gd name="connsiteX1010" fmla="*/ 690372 w 695325"/>
                  <a:gd name="connsiteY1010" fmla="*/ 84963 h 466725"/>
                  <a:gd name="connsiteX1011" fmla="*/ 692849 w 695325"/>
                  <a:gd name="connsiteY1011" fmla="*/ 84201 h 466725"/>
                  <a:gd name="connsiteX1012" fmla="*/ 692849 w 695325"/>
                  <a:gd name="connsiteY1012" fmla="*/ 84201 h 466725"/>
                  <a:gd name="connsiteX1013" fmla="*/ 693706 w 695325"/>
                  <a:gd name="connsiteY1013" fmla="*/ 84201 h 466725"/>
                  <a:gd name="connsiteX1014" fmla="*/ 693706 w 695325"/>
                  <a:gd name="connsiteY1014" fmla="*/ 83344 h 466725"/>
                  <a:gd name="connsiteX1015" fmla="*/ 693706 w 695325"/>
                  <a:gd name="connsiteY1015" fmla="*/ 82486 h 466725"/>
                  <a:gd name="connsiteX1016" fmla="*/ 694563 w 695325"/>
                  <a:gd name="connsiteY1016" fmla="*/ 81629 h 466725"/>
                  <a:gd name="connsiteX1017" fmla="*/ 694563 w 695325"/>
                  <a:gd name="connsiteY1017" fmla="*/ 80772 h 466725"/>
                  <a:gd name="connsiteX1018" fmla="*/ 695420 w 695325"/>
                  <a:gd name="connsiteY1018" fmla="*/ 79915 h 466725"/>
                  <a:gd name="connsiteX1019" fmla="*/ 696278 w 695325"/>
                  <a:gd name="connsiteY1019" fmla="*/ 79915 h 466725"/>
                  <a:gd name="connsiteX1020" fmla="*/ 697897 w 695325"/>
                  <a:gd name="connsiteY1020" fmla="*/ 78200 h 466725"/>
                  <a:gd name="connsiteX1021" fmla="*/ 698754 w 695325"/>
                  <a:gd name="connsiteY1021" fmla="*/ 78200 h 466725"/>
                  <a:gd name="connsiteX1022" fmla="*/ 698754 w 695325"/>
                  <a:gd name="connsiteY1022" fmla="*/ 77343 h 466725"/>
                  <a:gd name="connsiteX1023" fmla="*/ 698754 w 695325"/>
                  <a:gd name="connsiteY1023" fmla="*/ 77343 h 466725"/>
                  <a:gd name="connsiteX1024" fmla="*/ 699611 w 695325"/>
                  <a:gd name="connsiteY1024" fmla="*/ 76486 h 466725"/>
                  <a:gd name="connsiteX1025" fmla="*/ 699611 w 695325"/>
                  <a:gd name="connsiteY1025" fmla="*/ 73152 h 466725"/>
                  <a:gd name="connsiteX1026" fmla="*/ 698754 w 695325"/>
                  <a:gd name="connsiteY1026" fmla="*/ 71437 h 466725"/>
                  <a:gd name="connsiteX1027" fmla="*/ 698754 w 695325"/>
                  <a:gd name="connsiteY1027" fmla="*/ 71437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</a:cxnLst>
                <a:rect l="l" t="t" r="r" b="b"/>
                <a:pathLst>
                  <a:path w="695325" h="466725">
                    <a:moveTo>
                      <a:pt x="698754" y="71437"/>
                    </a:moveTo>
                    <a:lnTo>
                      <a:pt x="698754" y="70580"/>
                    </a:lnTo>
                    <a:lnTo>
                      <a:pt x="696278" y="68008"/>
                    </a:lnTo>
                    <a:lnTo>
                      <a:pt x="695420" y="67151"/>
                    </a:lnTo>
                    <a:lnTo>
                      <a:pt x="694563" y="67151"/>
                    </a:lnTo>
                    <a:lnTo>
                      <a:pt x="693706" y="67151"/>
                    </a:lnTo>
                    <a:lnTo>
                      <a:pt x="692849" y="67151"/>
                    </a:lnTo>
                    <a:lnTo>
                      <a:pt x="691991" y="67151"/>
                    </a:lnTo>
                    <a:lnTo>
                      <a:pt x="691134" y="68008"/>
                    </a:lnTo>
                    <a:lnTo>
                      <a:pt x="691134" y="68008"/>
                    </a:lnTo>
                    <a:lnTo>
                      <a:pt x="690372" y="68008"/>
                    </a:lnTo>
                    <a:lnTo>
                      <a:pt x="686943" y="73152"/>
                    </a:lnTo>
                    <a:lnTo>
                      <a:pt x="686086" y="73152"/>
                    </a:lnTo>
                    <a:lnTo>
                      <a:pt x="685229" y="73152"/>
                    </a:lnTo>
                    <a:lnTo>
                      <a:pt x="685229" y="72295"/>
                    </a:lnTo>
                    <a:lnTo>
                      <a:pt x="686086" y="69723"/>
                    </a:lnTo>
                    <a:lnTo>
                      <a:pt x="686086" y="68866"/>
                    </a:lnTo>
                    <a:lnTo>
                      <a:pt x="685229" y="67151"/>
                    </a:lnTo>
                    <a:lnTo>
                      <a:pt x="685229" y="67151"/>
                    </a:lnTo>
                    <a:lnTo>
                      <a:pt x="684467" y="66294"/>
                    </a:lnTo>
                    <a:lnTo>
                      <a:pt x="684467" y="65437"/>
                    </a:lnTo>
                    <a:lnTo>
                      <a:pt x="686086" y="61246"/>
                    </a:lnTo>
                    <a:lnTo>
                      <a:pt x="686086" y="59531"/>
                    </a:lnTo>
                    <a:lnTo>
                      <a:pt x="685229" y="54388"/>
                    </a:lnTo>
                    <a:lnTo>
                      <a:pt x="684467" y="52673"/>
                    </a:lnTo>
                    <a:lnTo>
                      <a:pt x="683609" y="51054"/>
                    </a:lnTo>
                    <a:lnTo>
                      <a:pt x="681038" y="50197"/>
                    </a:lnTo>
                    <a:lnTo>
                      <a:pt x="680180" y="49340"/>
                    </a:lnTo>
                    <a:lnTo>
                      <a:pt x="679323" y="47625"/>
                    </a:lnTo>
                    <a:lnTo>
                      <a:pt x="678561" y="47625"/>
                    </a:lnTo>
                    <a:lnTo>
                      <a:pt x="677704" y="46768"/>
                    </a:lnTo>
                    <a:lnTo>
                      <a:pt x="675989" y="45910"/>
                    </a:lnTo>
                    <a:lnTo>
                      <a:pt x="675989" y="45053"/>
                    </a:lnTo>
                    <a:lnTo>
                      <a:pt x="675132" y="44196"/>
                    </a:lnTo>
                    <a:lnTo>
                      <a:pt x="674275" y="36576"/>
                    </a:lnTo>
                    <a:lnTo>
                      <a:pt x="674275" y="35719"/>
                    </a:lnTo>
                    <a:lnTo>
                      <a:pt x="673418" y="34004"/>
                    </a:lnTo>
                    <a:lnTo>
                      <a:pt x="674275" y="30671"/>
                    </a:lnTo>
                    <a:lnTo>
                      <a:pt x="677704" y="27242"/>
                    </a:lnTo>
                    <a:lnTo>
                      <a:pt x="686943" y="15335"/>
                    </a:lnTo>
                    <a:lnTo>
                      <a:pt x="691134" y="8573"/>
                    </a:lnTo>
                    <a:lnTo>
                      <a:pt x="692849" y="5144"/>
                    </a:lnTo>
                    <a:lnTo>
                      <a:pt x="694563" y="2572"/>
                    </a:lnTo>
                    <a:lnTo>
                      <a:pt x="694563" y="857"/>
                    </a:lnTo>
                    <a:lnTo>
                      <a:pt x="695420" y="0"/>
                    </a:lnTo>
                    <a:lnTo>
                      <a:pt x="693706" y="0"/>
                    </a:lnTo>
                    <a:lnTo>
                      <a:pt x="666655" y="0"/>
                    </a:lnTo>
                    <a:lnTo>
                      <a:pt x="661607" y="1715"/>
                    </a:lnTo>
                    <a:lnTo>
                      <a:pt x="652367" y="7715"/>
                    </a:lnTo>
                    <a:lnTo>
                      <a:pt x="650653" y="9430"/>
                    </a:lnTo>
                    <a:lnTo>
                      <a:pt x="648176" y="11049"/>
                    </a:lnTo>
                    <a:lnTo>
                      <a:pt x="642271" y="12763"/>
                    </a:lnTo>
                    <a:lnTo>
                      <a:pt x="632936" y="15335"/>
                    </a:lnTo>
                    <a:lnTo>
                      <a:pt x="630460" y="15335"/>
                    </a:lnTo>
                    <a:lnTo>
                      <a:pt x="628745" y="14478"/>
                    </a:lnTo>
                    <a:lnTo>
                      <a:pt x="627031" y="14478"/>
                    </a:lnTo>
                    <a:lnTo>
                      <a:pt x="625316" y="13621"/>
                    </a:lnTo>
                    <a:lnTo>
                      <a:pt x="622840" y="11906"/>
                    </a:lnTo>
                    <a:lnTo>
                      <a:pt x="621983" y="11906"/>
                    </a:lnTo>
                    <a:lnTo>
                      <a:pt x="620268" y="11906"/>
                    </a:lnTo>
                    <a:lnTo>
                      <a:pt x="615220" y="15335"/>
                    </a:lnTo>
                    <a:lnTo>
                      <a:pt x="582263" y="27242"/>
                    </a:lnTo>
                    <a:lnTo>
                      <a:pt x="576358" y="30671"/>
                    </a:lnTo>
                    <a:lnTo>
                      <a:pt x="568833" y="34004"/>
                    </a:lnTo>
                    <a:lnTo>
                      <a:pt x="566261" y="35719"/>
                    </a:lnTo>
                    <a:lnTo>
                      <a:pt x="564547" y="35719"/>
                    </a:lnTo>
                    <a:lnTo>
                      <a:pt x="557879" y="37433"/>
                    </a:lnTo>
                    <a:lnTo>
                      <a:pt x="551117" y="40005"/>
                    </a:lnTo>
                    <a:lnTo>
                      <a:pt x="545211" y="42481"/>
                    </a:lnTo>
                    <a:lnTo>
                      <a:pt x="540068" y="45910"/>
                    </a:lnTo>
                    <a:lnTo>
                      <a:pt x="539306" y="46768"/>
                    </a:lnTo>
                    <a:lnTo>
                      <a:pt x="535876" y="48482"/>
                    </a:lnTo>
                    <a:lnTo>
                      <a:pt x="535019" y="47625"/>
                    </a:lnTo>
                    <a:lnTo>
                      <a:pt x="533400" y="47625"/>
                    </a:lnTo>
                    <a:lnTo>
                      <a:pt x="529971" y="49340"/>
                    </a:lnTo>
                    <a:lnTo>
                      <a:pt x="527495" y="46768"/>
                    </a:lnTo>
                    <a:lnTo>
                      <a:pt x="517303" y="49340"/>
                    </a:lnTo>
                    <a:lnTo>
                      <a:pt x="513969" y="47625"/>
                    </a:lnTo>
                    <a:lnTo>
                      <a:pt x="512255" y="47625"/>
                    </a:lnTo>
                    <a:lnTo>
                      <a:pt x="509778" y="46768"/>
                    </a:lnTo>
                    <a:lnTo>
                      <a:pt x="508921" y="45910"/>
                    </a:lnTo>
                    <a:lnTo>
                      <a:pt x="508064" y="44196"/>
                    </a:lnTo>
                    <a:lnTo>
                      <a:pt x="507206" y="43339"/>
                    </a:lnTo>
                    <a:lnTo>
                      <a:pt x="506349" y="42481"/>
                    </a:lnTo>
                    <a:lnTo>
                      <a:pt x="505492" y="42481"/>
                    </a:lnTo>
                    <a:lnTo>
                      <a:pt x="504634" y="42481"/>
                    </a:lnTo>
                    <a:lnTo>
                      <a:pt x="502158" y="45053"/>
                    </a:lnTo>
                    <a:lnTo>
                      <a:pt x="501301" y="46768"/>
                    </a:lnTo>
                    <a:lnTo>
                      <a:pt x="502158" y="49340"/>
                    </a:lnTo>
                    <a:lnTo>
                      <a:pt x="503015" y="51054"/>
                    </a:lnTo>
                    <a:lnTo>
                      <a:pt x="504634" y="51911"/>
                    </a:lnTo>
                    <a:lnTo>
                      <a:pt x="505492" y="52673"/>
                    </a:lnTo>
                    <a:lnTo>
                      <a:pt x="506349" y="54388"/>
                    </a:lnTo>
                    <a:lnTo>
                      <a:pt x="506349" y="55245"/>
                    </a:lnTo>
                    <a:lnTo>
                      <a:pt x="505492" y="56960"/>
                    </a:lnTo>
                    <a:lnTo>
                      <a:pt x="504634" y="57817"/>
                    </a:lnTo>
                    <a:lnTo>
                      <a:pt x="490347" y="70580"/>
                    </a:lnTo>
                    <a:lnTo>
                      <a:pt x="485299" y="74771"/>
                    </a:lnTo>
                    <a:lnTo>
                      <a:pt x="481013" y="78200"/>
                    </a:lnTo>
                    <a:lnTo>
                      <a:pt x="477679" y="81629"/>
                    </a:lnTo>
                    <a:lnTo>
                      <a:pt x="475964" y="82486"/>
                    </a:lnTo>
                    <a:lnTo>
                      <a:pt x="473488" y="84963"/>
                    </a:lnTo>
                    <a:lnTo>
                      <a:pt x="460820" y="98584"/>
                    </a:lnTo>
                    <a:lnTo>
                      <a:pt x="460820" y="98584"/>
                    </a:lnTo>
                    <a:lnTo>
                      <a:pt x="459962" y="100298"/>
                    </a:lnTo>
                    <a:lnTo>
                      <a:pt x="459105" y="102013"/>
                    </a:lnTo>
                    <a:lnTo>
                      <a:pt x="459105" y="105442"/>
                    </a:lnTo>
                    <a:lnTo>
                      <a:pt x="459962" y="108775"/>
                    </a:lnTo>
                    <a:lnTo>
                      <a:pt x="459962" y="109633"/>
                    </a:lnTo>
                    <a:lnTo>
                      <a:pt x="459105" y="111347"/>
                    </a:lnTo>
                    <a:lnTo>
                      <a:pt x="455771" y="113062"/>
                    </a:lnTo>
                    <a:lnTo>
                      <a:pt x="453200" y="114776"/>
                    </a:lnTo>
                    <a:lnTo>
                      <a:pt x="451485" y="115633"/>
                    </a:lnTo>
                    <a:lnTo>
                      <a:pt x="449009" y="118967"/>
                    </a:lnTo>
                    <a:lnTo>
                      <a:pt x="447294" y="120682"/>
                    </a:lnTo>
                    <a:lnTo>
                      <a:pt x="444722" y="122396"/>
                    </a:lnTo>
                    <a:lnTo>
                      <a:pt x="437959" y="124968"/>
                    </a:lnTo>
                    <a:lnTo>
                      <a:pt x="434626" y="125825"/>
                    </a:lnTo>
                    <a:lnTo>
                      <a:pt x="427863" y="126682"/>
                    </a:lnTo>
                    <a:lnTo>
                      <a:pt x="426149" y="126682"/>
                    </a:lnTo>
                    <a:lnTo>
                      <a:pt x="421100" y="129159"/>
                    </a:lnTo>
                    <a:lnTo>
                      <a:pt x="418624" y="129159"/>
                    </a:lnTo>
                    <a:lnTo>
                      <a:pt x="415195" y="126682"/>
                    </a:lnTo>
                    <a:lnTo>
                      <a:pt x="414338" y="125825"/>
                    </a:lnTo>
                    <a:lnTo>
                      <a:pt x="412718" y="124968"/>
                    </a:lnTo>
                    <a:lnTo>
                      <a:pt x="409289" y="124111"/>
                    </a:lnTo>
                    <a:lnTo>
                      <a:pt x="370523" y="128302"/>
                    </a:lnTo>
                    <a:lnTo>
                      <a:pt x="367093" y="128302"/>
                    </a:lnTo>
                    <a:lnTo>
                      <a:pt x="364617" y="127540"/>
                    </a:lnTo>
                    <a:lnTo>
                      <a:pt x="362045" y="125825"/>
                    </a:lnTo>
                    <a:lnTo>
                      <a:pt x="361188" y="124968"/>
                    </a:lnTo>
                    <a:lnTo>
                      <a:pt x="361188" y="123253"/>
                    </a:lnTo>
                    <a:lnTo>
                      <a:pt x="361188" y="123253"/>
                    </a:lnTo>
                    <a:lnTo>
                      <a:pt x="361188" y="123253"/>
                    </a:lnTo>
                    <a:lnTo>
                      <a:pt x="357854" y="120682"/>
                    </a:lnTo>
                    <a:lnTo>
                      <a:pt x="347663" y="116491"/>
                    </a:lnTo>
                    <a:lnTo>
                      <a:pt x="339281" y="114776"/>
                    </a:lnTo>
                    <a:lnTo>
                      <a:pt x="335090" y="114776"/>
                    </a:lnTo>
                    <a:lnTo>
                      <a:pt x="332518" y="115633"/>
                    </a:lnTo>
                    <a:lnTo>
                      <a:pt x="329946" y="117253"/>
                    </a:lnTo>
                    <a:lnTo>
                      <a:pt x="328327" y="119824"/>
                    </a:lnTo>
                    <a:lnTo>
                      <a:pt x="326612" y="120682"/>
                    </a:lnTo>
                    <a:lnTo>
                      <a:pt x="324898" y="121539"/>
                    </a:lnTo>
                    <a:lnTo>
                      <a:pt x="318135" y="123253"/>
                    </a:lnTo>
                    <a:lnTo>
                      <a:pt x="310610" y="125825"/>
                    </a:lnTo>
                    <a:lnTo>
                      <a:pt x="297942" y="129159"/>
                    </a:lnTo>
                    <a:lnTo>
                      <a:pt x="294513" y="130873"/>
                    </a:lnTo>
                    <a:lnTo>
                      <a:pt x="292894" y="130873"/>
                    </a:lnTo>
                    <a:lnTo>
                      <a:pt x="288608" y="131731"/>
                    </a:lnTo>
                    <a:lnTo>
                      <a:pt x="286131" y="132588"/>
                    </a:lnTo>
                    <a:lnTo>
                      <a:pt x="281083" y="134302"/>
                    </a:lnTo>
                    <a:lnTo>
                      <a:pt x="270891" y="132588"/>
                    </a:lnTo>
                    <a:lnTo>
                      <a:pt x="266700" y="132588"/>
                    </a:lnTo>
                    <a:lnTo>
                      <a:pt x="265843" y="136874"/>
                    </a:lnTo>
                    <a:lnTo>
                      <a:pt x="262509" y="141065"/>
                    </a:lnTo>
                    <a:lnTo>
                      <a:pt x="255746" y="141923"/>
                    </a:lnTo>
                    <a:lnTo>
                      <a:pt x="253175" y="141065"/>
                    </a:lnTo>
                    <a:lnTo>
                      <a:pt x="249841" y="137731"/>
                    </a:lnTo>
                    <a:lnTo>
                      <a:pt x="248126" y="136874"/>
                    </a:lnTo>
                    <a:lnTo>
                      <a:pt x="246412" y="137731"/>
                    </a:lnTo>
                    <a:lnTo>
                      <a:pt x="246412" y="139351"/>
                    </a:lnTo>
                    <a:lnTo>
                      <a:pt x="246412" y="141065"/>
                    </a:lnTo>
                    <a:lnTo>
                      <a:pt x="244792" y="141923"/>
                    </a:lnTo>
                    <a:lnTo>
                      <a:pt x="245555" y="143637"/>
                    </a:lnTo>
                    <a:lnTo>
                      <a:pt x="245555" y="146209"/>
                    </a:lnTo>
                    <a:lnTo>
                      <a:pt x="244792" y="147066"/>
                    </a:lnTo>
                    <a:lnTo>
                      <a:pt x="243078" y="147066"/>
                    </a:lnTo>
                    <a:lnTo>
                      <a:pt x="242221" y="145352"/>
                    </a:lnTo>
                    <a:lnTo>
                      <a:pt x="241364" y="143637"/>
                    </a:lnTo>
                    <a:lnTo>
                      <a:pt x="241364" y="141923"/>
                    </a:lnTo>
                    <a:lnTo>
                      <a:pt x="238887" y="140208"/>
                    </a:lnTo>
                    <a:lnTo>
                      <a:pt x="235458" y="141065"/>
                    </a:lnTo>
                    <a:lnTo>
                      <a:pt x="228695" y="146209"/>
                    </a:lnTo>
                    <a:lnTo>
                      <a:pt x="225362" y="147066"/>
                    </a:lnTo>
                    <a:lnTo>
                      <a:pt x="220313" y="147923"/>
                    </a:lnTo>
                    <a:lnTo>
                      <a:pt x="218599" y="147923"/>
                    </a:lnTo>
                    <a:lnTo>
                      <a:pt x="213550" y="146209"/>
                    </a:lnTo>
                    <a:lnTo>
                      <a:pt x="211836" y="146209"/>
                    </a:lnTo>
                    <a:lnTo>
                      <a:pt x="207645" y="147923"/>
                    </a:lnTo>
                    <a:lnTo>
                      <a:pt x="205073" y="147923"/>
                    </a:lnTo>
                    <a:lnTo>
                      <a:pt x="204216" y="147066"/>
                    </a:lnTo>
                    <a:lnTo>
                      <a:pt x="201740" y="141065"/>
                    </a:lnTo>
                    <a:lnTo>
                      <a:pt x="200882" y="139351"/>
                    </a:lnTo>
                    <a:lnTo>
                      <a:pt x="199168" y="139351"/>
                    </a:lnTo>
                    <a:lnTo>
                      <a:pt x="194120" y="138589"/>
                    </a:lnTo>
                    <a:lnTo>
                      <a:pt x="193262" y="139351"/>
                    </a:lnTo>
                    <a:lnTo>
                      <a:pt x="190786" y="140208"/>
                    </a:lnTo>
                    <a:lnTo>
                      <a:pt x="189929" y="141923"/>
                    </a:lnTo>
                    <a:lnTo>
                      <a:pt x="189071" y="144494"/>
                    </a:lnTo>
                    <a:lnTo>
                      <a:pt x="187357" y="147066"/>
                    </a:lnTo>
                    <a:lnTo>
                      <a:pt x="186500" y="148781"/>
                    </a:lnTo>
                    <a:lnTo>
                      <a:pt x="184785" y="149543"/>
                    </a:lnTo>
                    <a:lnTo>
                      <a:pt x="182309" y="150400"/>
                    </a:lnTo>
                    <a:lnTo>
                      <a:pt x="180594" y="150400"/>
                    </a:lnTo>
                    <a:lnTo>
                      <a:pt x="178880" y="151257"/>
                    </a:lnTo>
                    <a:lnTo>
                      <a:pt x="177260" y="150400"/>
                    </a:lnTo>
                    <a:lnTo>
                      <a:pt x="173831" y="148781"/>
                    </a:lnTo>
                    <a:lnTo>
                      <a:pt x="170498" y="147066"/>
                    </a:lnTo>
                    <a:lnTo>
                      <a:pt x="162020" y="147923"/>
                    </a:lnTo>
                    <a:lnTo>
                      <a:pt x="158687" y="147066"/>
                    </a:lnTo>
                    <a:lnTo>
                      <a:pt x="155258" y="147066"/>
                    </a:lnTo>
                    <a:lnTo>
                      <a:pt x="149352" y="149543"/>
                    </a:lnTo>
                    <a:lnTo>
                      <a:pt x="149352" y="149543"/>
                    </a:lnTo>
                    <a:lnTo>
                      <a:pt x="141827" y="150400"/>
                    </a:lnTo>
                    <a:lnTo>
                      <a:pt x="117348" y="152114"/>
                    </a:lnTo>
                    <a:lnTo>
                      <a:pt x="102965" y="150400"/>
                    </a:lnTo>
                    <a:lnTo>
                      <a:pt x="90297" y="143637"/>
                    </a:lnTo>
                    <a:lnTo>
                      <a:pt x="80200" y="136017"/>
                    </a:lnTo>
                    <a:lnTo>
                      <a:pt x="76772" y="136017"/>
                    </a:lnTo>
                    <a:lnTo>
                      <a:pt x="74295" y="136874"/>
                    </a:lnTo>
                    <a:lnTo>
                      <a:pt x="72581" y="137731"/>
                    </a:lnTo>
                    <a:lnTo>
                      <a:pt x="71723" y="139351"/>
                    </a:lnTo>
                    <a:lnTo>
                      <a:pt x="69247" y="140208"/>
                    </a:lnTo>
                    <a:lnTo>
                      <a:pt x="67532" y="141065"/>
                    </a:lnTo>
                    <a:lnTo>
                      <a:pt x="63341" y="141065"/>
                    </a:lnTo>
                    <a:lnTo>
                      <a:pt x="61627" y="141065"/>
                    </a:lnTo>
                    <a:lnTo>
                      <a:pt x="58293" y="143637"/>
                    </a:lnTo>
                    <a:lnTo>
                      <a:pt x="54864" y="151257"/>
                    </a:lnTo>
                    <a:lnTo>
                      <a:pt x="52292" y="153829"/>
                    </a:lnTo>
                    <a:lnTo>
                      <a:pt x="48101" y="154686"/>
                    </a:lnTo>
                    <a:lnTo>
                      <a:pt x="35433" y="156400"/>
                    </a:lnTo>
                    <a:lnTo>
                      <a:pt x="28670" y="158115"/>
                    </a:lnTo>
                    <a:lnTo>
                      <a:pt x="26194" y="158115"/>
                    </a:lnTo>
                    <a:lnTo>
                      <a:pt x="25337" y="158115"/>
                    </a:lnTo>
                    <a:lnTo>
                      <a:pt x="22765" y="157258"/>
                    </a:lnTo>
                    <a:lnTo>
                      <a:pt x="22765" y="157258"/>
                    </a:lnTo>
                    <a:lnTo>
                      <a:pt x="22003" y="158972"/>
                    </a:lnTo>
                    <a:lnTo>
                      <a:pt x="24479" y="165735"/>
                    </a:lnTo>
                    <a:lnTo>
                      <a:pt x="24479" y="167449"/>
                    </a:lnTo>
                    <a:lnTo>
                      <a:pt x="26194" y="180213"/>
                    </a:lnTo>
                    <a:lnTo>
                      <a:pt x="24479" y="183547"/>
                    </a:lnTo>
                    <a:lnTo>
                      <a:pt x="24479" y="183547"/>
                    </a:lnTo>
                    <a:lnTo>
                      <a:pt x="23622" y="184404"/>
                    </a:lnTo>
                    <a:lnTo>
                      <a:pt x="23622" y="184404"/>
                    </a:lnTo>
                    <a:lnTo>
                      <a:pt x="22765" y="188690"/>
                    </a:lnTo>
                    <a:lnTo>
                      <a:pt x="22003" y="190405"/>
                    </a:lnTo>
                    <a:lnTo>
                      <a:pt x="21146" y="198882"/>
                    </a:lnTo>
                    <a:lnTo>
                      <a:pt x="21146" y="199739"/>
                    </a:lnTo>
                    <a:lnTo>
                      <a:pt x="20288" y="199739"/>
                    </a:lnTo>
                    <a:lnTo>
                      <a:pt x="19431" y="200597"/>
                    </a:lnTo>
                    <a:lnTo>
                      <a:pt x="18574" y="201454"/>
                    </a:lnTo>
                    <a:lnTo>
                      <a:pt x="17717" y="201454"/>
                    </a:lnTo>
                    <a:lnTo>
                      <a:pt x="17717" y="202311"/>
                    </a:lnTo>
                    <a:lnTo>
                      <a:pt x="17717" y="203168"/>
                    </a:lnTo>
                    <a:lnTo>
                      <a:pt x="19431" y="203930"/>
                    </a:lnTo>
                    <a:lnTo>
                      <a:pt x="19431" y="204787"/>
                    </a:lnTo>
                    <a:lnTo>
                      <a:pt x="19431" y="205645"/>
                    </a:lnTo>
                    <a:lnTo>
                      <a:pt x="18574" y="206502"/>
                    </a:lnTo>
                    <a:lnTo>
                      <a:pt x="16859" y="206502"/>
                    </a:lnTo>
                    <a:lnTo>
                      <a:pt x="14383" y="208216"/>
                    </a:lnTo>
                    <a:lnTo>
                      <a:pt x="13526" y="208216"/>
                    </a:lnTo>
                    <a:lnTo>
                      <a:pt x="13526" y="209931"/>
                    </a:lnTo>
                    <a:lnTo>
                      <a:pt x="11811" y="214122"/>
                    </a:lnTo>
                    <a:lnTo>
                      <a:pt x="10192" y="214979"/>
                    </a:lnTo>
                    <a:lnTo>
                      <a:pt x="9335" y="214979"/>
                    </a:lnTo>
                    <a:lnTo>
                      <a:pt x="8477" y="215836"/>
                    </a:lnTo>
                    <a:lnTo>
                      <a:pt x="9335" y="216694"/>
                    </a:lnTo>
                    <a:lnTo>
                      <a:pt x="9335" y="217551"/>
                    </a:lnTo>
                    <a:lnTo>
                      <a:pt x="9335" y="219265"/>
                    </a:lnTo>
                    <a:lnTo>
                      <a:pt x="9335" y="220123"/>
                    </a:lnTo>
                    <a:lnTo>
                      <a:pt x="8477" y="220980"/>
                    </a:lnTo>
                    <a:lnTo>
                      <a:pt x="5906" y="220980"/>
                    </a:lnTo>
                    <a:lnTo>
                      <a:pt x="3429" y="222694"/>
                    </a:lnTo>
                    <a:lnTo>
                      <a:pt x="857" y="222694"/>
                    </a:lnTo>
                    <a:lnTo>
                      <a:pt x="857" y="226028"/>
                    </a:lnTo>
                    <a:lnTo>
                      <a:pt x="0" y="226028"/>
                    </a:lnTo>
                    <a:lnTo>
                      <a:pt x="857" y="226886"/>
                    </a:lnTo>
                    <a:lnTo>
                      <a:pt x="1715" y="226886"/>
                    </a:lnTo>
                    <a:lnTo>
                      <a:pt x="2572" y="227743"/>
                    </a:lnTo>
                    <a:lnTo>
                      <a:pt x="5048" y="226886"/>
                    </a:lnTo>
                    <a:lnTo>
                      <a:pt x="5906" y="226886"/>
                    </a:lnTo>
                    <a:lnTo>
                      <a:pt x="7620" y="228600"/>
                    </a:lnTo>
                    <a:lnTo>
                      <a:pt x="7620" y="230315"/>
                    </a:lnTo>
                    <a:lnTo>
                      <a:pt x="8477" y="232029"/>
                    </a:lnTo>
                    <a:lnTo>
                      <a:pt x="9335" y="233744"/>
                    </a:lnTo>
                    <a:lnTo>
                      <a:pt x="10954" y="235458"/>
                    </a:lnTo>
                    <a:lnTo>
                      <a:pt x="10954" y="237077"/>
                    </a:lnTo>
                    <a:lnTo>
                      <a:pt x="10954" y="238792"/>
                    </a:lnTo>
                    <a:lnTo>
                      <a:pt x="10954" y="241364"/>
                    </a:lnTo>
                    <a:lnTo>
                      <a:pt x="11811" y="242221"/>
                    </a:lnTo>
                    <a:lnTo>
                      <a:pt x="13526" y="244793"/>
                    </a:lnTo>
                    <a:lnTo>
                      <a:pt x="14383" y="246412"/>
                    </a:lnTo>
                    <a:lnTo>
                      <a:pt x="15240" y="247269"/>
                    </a:lnTo>
                    <a:lnTo>
                      <a:pt x="16097" y="248126"/>
                    </a:lnTo>
                    <a:lnTo>
                      <a:pt x="16859" y="247269"/>
                    </a:lnTo>
                    <a:lnTo>
                      <a:pt x="17717" y="246412"/>
                    </a:lnTo>
                    <a:lnTo>
                      <a:pt x="17717" y="246412"/>
                    </a:lnTo>
                    <a:lnTo>
                      <a:pt x="17717" y="246412"/>
                    </a:lnTo>
                    <a:lnTo>
                      <a:pt x="17717" y="246412"/>
                    </a:lnTo>
                    <a:lnTo>
                      <a:pt x="17717" y="246412"/>
                    </a:lnTo>
                    <a:lnTo>
                      <a:pt x="17717" y="246412"/>
                    </a:lnTo>
                    <a:lnTo>
                      <a:pt x="17717" y="246412"/>
                    </a:lnTo>
                    <a:lnTo>
                      <a:pt x="19431" y="248126"/>
                    </a:lnTo>
                    <a:lnTo>
                      <a:pt x="19431" y="249841"/>
                    </a:lnTo>
                    <a:lnTo>
                      <a:pt x="17717" y="251555"/>
                    </a:lnTo>
                    <a:lnTo>
                      <a:pt x="15240" y="252412"/>
                    </a:lnTo>
                    <a:lnTo>
                      <a:pt x="17717" y="253270"/>
                    </a:lnTo>
                    <a:lnTo>
                      <a:pt x="19431" y="254127"/>
                    </a:lnTo>
                    <a:lnTo>
                      <a:pt x="20288" y="254127"/>
                    </a:lnTo>
                    <a:lnTo>
                      <a:pt x="19431" y="257461"/>
                    </a:lnTo>
                    <a:lnTo>
                      <a:pt x="14383" y="266033"/>
                    </a:lnTo>
                    <a:lnTo>
                      <a:pt x="14383" y="268510"/>
                    </a:lnTo>
                    <a:lnTo>
                      <a:pt x="16859" y="279559"/>
                    </a:lnTo>
                    <a:lnTo>
                      <a:pt x="18574" y="285560"/>
                    </a:lnTo>
                    <a:lnTo>
                      <a:pt x="20288" y="290608"/>
                    </a:lnTo>
                    <a:lnTo>
                      <a:pt x="19431" y="299180"/>
                    </a:lnTo>
                    <a:lnTo>
                      <a:pt x="18574" y="308515"/>
                    </a:lnTo>
                    <a:lnTo>
                      <a:pt x="16859" y="314420"/>
                    </a:lnTo>
                    <a:lnTo>
                      <a:pt x="20288" y="313563"/>
                    </a:lnTo>
                    <a:lnTo>
                      <a:pt x="24479" y="311848"/>
                    </a:lnTo>
                    <a:lnTo>
                      <a:pt x="25337" y="310991"/>
                    </a:lnTo>
                    <a:lnTo>
                      <a:pt x="26194" y="310229"/>
                    </a:lnTo>
                    <a:lnTo>
                      <a:pt x="27051" y="309372"/>
                    </a:lnTo>
                    <a:lnTo>
                      <a:pt x="27051" y="307657"/>
                    </a:lnTo>
                    <a:lnTo>
                      <a:pt x="27051" y="303371"/>
                    </a:lnTo>
                    <a:lnTo>
                      <a:pt x="27051" y="302514"/>
                    </a:lnTo>
                    <a:lnTo>
                      <a:pt x="27908" y="300799"/>
                    </a:lnTo>
                    <a:lnTo>
                      <a:pt x="29528" y="300037"/>
                    </a:lnTo>
                    <a:lnTo>
                      <a:pt x="32957" y="300037"/>
                    </a:lnTo>
                    <a:lnTo>
                      <a:pt x="34576" y="300037"/>
                    </a:lnTo>
                    <a:lnTo>
                      <a:pt x="36290" y="299180"/>
                    </a:lnTo>
                    <a:lnTo>
                      <a:pt x="37148" y="298323"/>
                    </a:lnTo>
                    <a:lnTo>
                      <a:pt x="38005" y="297466"/>
                    </a:lnTo>
                    <a:lnTo>
                      <a:pt x="38862" y="296608"/>
                    </a:lnTo>
                    <a:lnTo>
                      <a:pt x="38862" y="295751"/>
                    </a:lnTo>
                    <a:lnTo>
                      <a:pt x="38862" y="294894"/>
                    </a:lnTo>
                    <a:lnTo>
                      <a:pt x="38005" y="294037"/>
                    </a:lnTo>
                    <a:lnTo>
                      <a:pt x="38005" y="293179"/>
                    </a:lnTo>
                    <a:lnTo>
                      <a:pt x="34576" y="290608"/>
                    </a:lnTo>
                    <a:lnTo>
                      <a:pt x="33814" y="288989"/>
                    </a:lnTo>
                    <a:lnTo>
                      <a:pt x="32957" y="288131"/>
                    </a:lnTo>
                    <a:lnTo>
                      <a:pt x="32957" y="287274"/>
                    </a:lnTo>
                    <a:lnTo>
                      <a:pt x="32099" y="283845"/>
                    </a:lnTo>
                    <a:lnTo>
                      <a:pt x="32099" y="282131"/>
                    </a:lnTo>
                    <a:lnTo>
                      <a:pt x="32099" y="281273"/>
                    </a:lnTo>
                    <a:lnTo>
                      <a:pt x="32099" y="279559"/>
                    </a:lnTo>
                    <a:lnTo>
                      <a:pt x="32957" y="278702"/>
                    </a:lnTo>
                    <a:lnTo>
                      <a:pt x="33814" y="276225"/>
                    </a:lnTo>
                    <a:lnTo>
                      <a:pt x="34576" y="275368"/>
                    </a:lnTo>
                    <a:lnTo>
                      <a:pt x="34576" y="274511"/>
                    </a:lnTo>
                    <a:lnTo>
                      <a:pt x="35433" y="272796"/>
                    </a:lnTo>
                    <a:lnTo>
                      <a:pt x="35433" y="270224"/>
                    </a:lnTo>
                    <a:lnTo>
                      <a:pt x="36290" y="268510"/>
                    </a:lnTo>
                    <a:lnTo>
                      <a:pt x="37148" y="267748"/>
                    </a:lnTo>
                    <a:lnTo>
                      <a:pt x="40481" y="264319"/>
                    </a:lnTo>
                    <a:lnTo>
                      <a:pt x="41339" y="262604"/>
                    </a:lnTo>
                    <a:lnTo>
                      <a:pt x="42196" y="260890"/>
                    </a:lnTo>
                    <a:lnTo>
                      <a:pt x="43053" y="260032"/>
                    </a:lnTo>
                    <a:lnTo>
                      <a:pt x="44768" y="258318"/>
                    </a:lnTo>
                    <a:lnTo>
                      <a:pt x="48101" y="255841"/>
                    </a:lnTo>
                    <a:lnTo>
                      <a:pt x="50673" y="253270"/>
                    </a:lnTo>
                    <a:lnTo>
                      <a:pt x="51530" y="252412"/>
                    </a:lnTo>
                    <a:lnTo>
                      <a:pt x="53150" y="250698"/>
                    </a:lnTo>
                    <a:lnTo>
                      <a:pt x="62484" y="248983"/>
                    </a:lnTo>
                    <a:lnTo>
                      <a:pt x="69247" y="248983"/>
                    </a:lnTo>
                    <a:lnTo>
                      <a:pt x="70866" y="248126"/>
                    </a:lnTo>
                    <a:lnTo>
                      <a:pt x="73438" y="248126"/>
                    </a:lnTo>
                    <a:lnTo>
                      <a:pt x="74295" y="247269"/>
                    </a:lnTo>
                    <a:lnTo>
                      <a:pt x="75152" y="247269"/>
                    </a:lnTo>
                    <a:lnTo>
                      <a:pt x="77629" y="245650"/>
                    </a:lnTo>
                    <a:lnTo>
                      <a:pt x="79343" y="244793"/>
                    </a:lnTo>
                    <a:lnTo>
                      <a:pt x="80200" y="243935"/>
                    </a:lnTo>
                    <a:lnTo>
                      <a:pt x="81915" y="243935"/>
                    </a:lnTo>
                    <a:lnTo>
                      <a:pt x="87821" y="244793"/>
                    </a:lnTo>
                    <a:lnTo>
                      <a:pt x="89440" y="244793"/>
                    </a:lnTo>
                    <a:lnTo>
                      <a:pt x="90297" y="244793"/>
                    </a:lnTo>
                    <a:lnTo>
                      <a:pt x="91154" y="244793"/>
                    </a:lnTo>
                    <a:lnTo>
                      <a:pt x="92869" y="244793"/>
                    </a:lnTo>
                    <a:lnTo>
                      <a:pt x="94488" y="246412"/>
                    </a:lnTo>
                    <a:lnTo>
                      <a:pt x="97917" y="248126"/>
                    </a:lnTo>
                    <a:lnTo>
                      <a:pt x="98774" y="248983"/>
                    </a:lnTo>
                    <a:lnTo>
                      <a:pt x="98774" y="250698"/>
                    </a:lnTo>
                    <a:lnTo>
                      <a:pt x="98774" y="252412"/>
                    </a:lnTo>
                    <a:lnTo>
                      <a:pt x="97917" y="254127"/>
                    </a:lnTo>
                    <a:lnTo>
                      <a:pt x="97060" y="255841"/>
                    </a:lnTo>
                    <a:lnTo>
                      <a:pt x="96203" y="256699"/>
                    </a:lnTo>
                    <a:lnTo>
                      <a:pt x="96203" y="256699"/>
                    </a:lnTo>
                    <a:lnTo>
                      <a:pt x="97060" y="256699"/>
                    </a:lnTo>
                    <a:lnTo>
                      <a:pt x="97917" y="256699"/>
                    </a:lnTo>
                    <a:lnTo>
                      <a:pt x="102108" y="254127"/>
                    </a:lnTo>
                    <a:lnTo>
                      <a:pt x="103823" y="252412"/>
                    </a:lnTo>
                    <a:lnTo>
                      <a:pt x="103823" y="251555"/>
                    </a:lnTo>
                    <a:lnTo>
                      <a:pt x="104680" y="249841"/>
                    </a:lnTo>
                    <a:lnTo>
                      <a:pt x="105537" y="249841"/>
                    </a:lnTo>
                    <a:lnTo>
                      <a:pt x="106394" y="249841"/>
                    </a:lnTo>
                    <a:lnTo>
                      <a:pt x="107156" y="250698"/>
                    </a:lnTo>
                    <a:lnTo>
                      <a:pt x="108014" y="251555"/>
                    </a:lnTo>
                    <a:lnTo>
                      <a:pt x="108014" y="252412"/>
                    </a:lnTo>
                    <a:lnTo>
                      <a:pt x="108014" y="253270"/>
                    </a:lnTo>
                    <a:lnTo>
                      <a:pt x="108014" y="254127"/>
                    </a:lnTo>
                    <a:lnTo>
                      <a:pt x="108871" y="254984"/>
                    </a:lnTo>
                    <a:lnTo>
                      <a:pt x="111442" y="253270"/>
                    </a:lnTo>
                    <a:lnTo>
                      <a:pt x="113919" y="252412"/>
                    </a:lnTo>
                    <a:lnTo>
                      <a:pt x="120682" y="250698"/>
                    </a:lnTo>
                    <a:lnTo>
                      <a:pt x="122396" y="250698"/>
                    </a:lnTo>
                    <a:lnTo>
                      <a:pt x="122396" y="251555"/>
                    </a:lnTo>
                    <a:lnTo>
                      <a:pt x="123254" y="251555"/>
                    </a:lnTo>
                    <a:lnTo>
                      <a:pt x="123254" y="254127"/>
                    </a:lnTo>
                    <a:lnTo>
                      <a:pt x="123254" y="254984"/>
                    </a:lnTo>
                    <a:lnTo>
                      <a:pt x="124111" y="254984"/>
                    </a:lnTo>
                    <a:lnTo>
                      <a:pt x="124873" y="254984"/>
                    </a:lnTo>
                    <a:lnTo>
                      <a:pt x="128302" y="253270"/>
                    </a:lnTo>
                    <a:lnTo>
                      <a:pt x="129159" y="252412"/>
                    </a:lnTo>
                    <a:lnTo>
                      <a:pt x="133350" y="252412"/>
                    </a:lnTo>
                    <a:lnTo>
                      <a:pt x="136684" y="252412"/>
                    </a:lnTo>
                    <a:lnTo>
                      <a:pt x="140113" y="253270"/>
                    </a:lnTo>
                    <a:lnTo>
                      <a:pt x="144304" y="253270"/>
                    </a:lnTo>
                    <a:lnTo>
                      <a:pt x="145161" y="253270"/>
                    </a:lnTo>
                    <a:lnTo>
                      <a:pt x="146018" y="254127"/>
                    </a:lnTo>
                    <a:lnTo>
                      <a:pt x="146875" y="255841"/>
                    </a:lnTo>
                    <a:lnTo>
                      <a:pt x="147733" y="255841"/>
                    </a:lnTo>
                    <a:lnTo>
                      <a:pt x="148590" y="256699"/>
                    </a:lnTo>
                    <a:lnTo>
                      <a:pt x="150209" y="256699"/>
                    </a:lnTo>
                    <a:lnTo>
                      <a:pt x="151067" y="257461"/>
                    </a:lnTo>
                    <a:lnTo>
                      <a:pt x="151067" y="258318"/>
                    </a:lnTo>
                    <a:lnTo>
                      <a:pt x="151924" y="260032"/>
                    </a:lnTo>
                    <a:lnTo>
                      <a:pt x="151924" y="261747"/>
                    </a:lnTo>
                    <a:lnTo>
                      <a:pt x="151067" y="265176"/>
                    </a:lnTo>
                    <a:lnTo>
                      <a:pt x="151067" y="266033"/>
                    </a:lnTo>
                    <a:lnTo>
                      <a:pt x="151924" y="266033"/>
                    </a:lnTo>
                    <a:lnTo>
                      <a:pt x="153638" y="265176"/>
                    </a:lnTo>
                    <a:lnTo>
                      <a:pt x="155258" y="264319"/>
                    </a:lnTo>
                    <a:lnTo>
                      <a:pt x="155258" y="264319"/>
                    </a:lnTo>
                    <a:lnTo>
                      <a:pt x="156115" y="265176"/>
                    </a:lnTo>
                    <a:lnTo>
                      <a:pt x="156115" y="266033"/>
                    </a:lnTo>
                    <a:lnTo>
                      <a:pt x="156972" y="266033"/>
                    </a:lnTo>
                    <a:lnTo>
                      <a:pt x="158687" y="266033"/>
                    </a:lnTo>
                    <a:lnTo>
                      <a:pt x="167926" y="261747"/>
                    </a:lnTo>
                    <a:lnTo>
                      <a:pt x="169640" y="261747"/>
                    </a:lnTo>
                    <a:lnTo>
                      <a:pt x="170498" y="263461"/>
                    </a:lnTo>
                    <a:lnTo>
                      <a:pt x="169640" y="266890"/>
                    </a:lnTo>
                    <a:lnTo>
                      <a:pt x="169640" y="268510"/>
                    </a:lnTo>
                    <a:lnTo>
                      <a:pt x="169640" y="271082"/>
                    </a:lnTo>
                    <a:lnTo>
                      <a:pt x="170498" y="275368"/>
                    </a:lnTo>
                    <a:lnTo>
                      <a:pt x="171355" y="278702"/>
                    </a:lnTo>
                    <a:lnTo>
                      <a:pt x="172974" y="278702"/>
                    </a:lnTo>
                    <a:lnTo>
                      <a:pt x="173831" y="278702"/>
                    </a:lnTo>
                    <a:lnTo>
                      <a:pt x="175546" y="277940"/>
                    </a:lnTo>
                    <a:lnTo>
                      <a:pt x="178117" y="276225"/>
                    </a:lnTo>
                    <a:lnTo>
                      <a:pt x="183166" y="271082"/>
                    </a:lnTo>
                    <a:lnTo>
                      <a:pt x="184023" y="267748"/>
                    </a:lnTo>
                    <a:lnTo>
                      <a:pt x="185642" y="266890"/>
                    </a:lnTo>
                    <a:lnTo>
                      <a:pt x="188214" y="265176"/>
                    </a:lnTo>
                    <a:lnTo>
                      <a:pt x="194120" y="263461"/>
                    </a:lnTo>
                    <a:lnTo>
                      <a:pt x="200025" y="262604"/>
                    </a:lnTo>
                    <a:lnTo>
                      <a:pt x="205931" y="260032"/>
                    </a:lnTo>
                    <a:lnTo>
                      <a:pt x="206788" y="259175"/>
                    </a:lnTo>
                    <a:lnTo>
                      <a:pt x="206788" y="258318"/>
                    </a:lnTo>
                    <a:lnTo>
                      <a:pt x="205931" y="258318"/>
                    </a:lnTo>
                    <a:lnTo>
                      <a:pt x="203359" y="260032"/>
                    </a:lnTo>
                    <a:lnTo>
                      <a:pt x="202597" y="260032"/>
                    </a:lnTo>
                    <a:lnTo>
                      <a:pt x="201740" y="260032"/>
                    </a:lnTo>
                    <a:lnTo>
                      <a:pt x="200882" y="260032"/>
                    </a:lnTo>
                    <a:lnTo>
                      <a:pt x="200025" y="259175"/>
                    </a:lnTo>
                    <a:lnTo>
                      <a:pt x="200882" y="259175"/>
                    </a:lnTo>
                    <a:lnTo>
                      <a:pt x="202597" y="256699"/>
                    </a:lnTo>
                    <a:lnTo>
                      <a:pt x="203359" y="255841"/>
                    </a:lnTo>
                    <a:lnTo>
                      <a:pt x="205931" y="252412"/>
                    </a:lnTo>
                    <a:lnTo>
                      <a:pt x="207645" y="249841"/>
                    </a:lnTo>
                    <a:lnTo>
                      <a:pt x="209264" y="248126"/>
                    </a:lnTo>
                    <a:lnTo>
                      <a:pt x="210979" y="246412"/>
                    </a:lnTo>
                    <a:lnTo>
                      <a:pt x="210979" y="246412"/>
                    </a:lnTo>
                    <a:lnTo>
                      <a:pt x="212693" y="243078"/>
                    </a:lnTo>
                    <a:lnTo>
                      <a:pt x="213550" y="242221"/>
                    </a:lnTo>
                    <a:lnTo>
                      <a:pt x="215170" y="241364"/>
                    </a:lnTo>
                    <a:lnTo>
                      <a:pt x="216884" y="242221"/>
                    </a:lnTo>
                    <a:lnTo>
                      <a:pt x="218599" y="243078"/>
                    </a:lnTo>
                    <a:lnTo>
                      <a:pt x="219456" y="243935"/>
                    </a:lnTo>
                    <a:lnTo>
                      <a:pt x="219456" y="245650"/>
                    </a:lnTo>
                    <a:lnTo>
                      <a:pt x="219456" y="246412"/>
                    </a:lnTo>
                    <a:lnTo>
                      <a:pt x="219456" y="247269"/>
                    </a:lnTo>
                    <a:lnTo>
                      <a:pt x="218599" y="248983"/>
                    </a:lnTo>
                    <a:lnTo>
                      <a:pt x="217742" y="250698"/>
                    </a:lnTo>
                    <a:lnTo>
                      <a:pt x="217742" y="252412"/>
                    </a:lnTo>
                    <a:lnTo>
                      <a:pt x="217742" y="253270"/>
                    </a:lnTo>
                    <a:lnTo>
                      <a:pt x="218599" y="254127"/>
                    </a:lnTo>
                    <a:lnTo>
                      <a:pt x="220313" y="254984"/>
                    </a:lnTo>
                    <a:lnTo>
                      <a:pt x="221933" y="254984"/>
                    </a:lnTo>
                    <a:lnTo>
                      <a:pt x="224504" y="253270"/>
                    </a:lnTo>
                    <a:lnTo>
                      <a:pt x="226219" y="251555"/>
                    </a:lnTo>
                    <a:lnTo>
                      <a:pt x="226981" y="249841"/>
                    </a:lnTo>
                    <a:lnTo>
                      <a:pt x="228695" y="247269"/>
                    </a:lnTo>
                    <a:lnTo>
                      <a:pt x="229553" y="245650"/>
                    </a:lnTo>
                    <a:lnTo>
                      <a:pt x="229553" y="242221"/>
                    </a:lnTo>
                    <a:lnTo>
                      <a:pt x="230410" y="241364"/>
                    </a:lnTo>
                    <a:lnTo>
                      <a:pt x="231267" y="240506"/>
                    </a:lnTo>
                    <a:lnTo>
                      <a:pt x="235458" y="236220"/>
                    </a:lnTo>
                    <a:lnTo>
                      <a:pt x="237173" y="235458"/>
                    </a:lnTo>
                    <a:lnTo>
                      <a:pt x="238887" y="235458"/>
                    </a:lnTo>
                    <a:lnTo>
                      <a:pt x="241364" y="236220"/>
                    </a:lnTo>
                    <a:lnTo>
                      <a:pt x="244792" y="239649"/>
                    </a:lnTo>
                    <a:lnTo>
                      <a:pt x="246412" y="240506"/>
                    </a:lnTo>
                    <a:lnTo>
                      <a:pt x="247269" y="241364"/>
                    </a:lnTo>
                    <a:lnTo>
                      <a:pt x="249841" y="241364"/>
                    </a:lnTo>
                    <a:lnTo>
                      <a:pt x="253175" y="240506"/>
                    </a:lnTo>
                    <a:lnTo>
                      <a:pt x="260795" y="238792"/>
                    </a:lnTo>
                    <a:lnTo>
                      <a:pt x="261652" y="238792"/>
                    </a:lnTo>
                    <a:lnTo>
                      <a:pt x="263271" y="238792"/>
                    </a:lnTo>
                    <a:lnTo>
                      <a:pt x="264128" y="238792"/>
                    </a:lnTo>
                    <a:lnTo>
                      <a:pt x="270891" y="237077"/>
                    </a:lnTo>
                    <a:lnTo>
                      <a:pt x="274320" y="235458"/>
                    </a:lnTo>
                    <a:lnTo>
                      <a:pt x="275939" y="235458"/>
                    </a:lnTo>
                    <a:lnTo>
                      <a:pt x="286131" y="235458"/>
                    </a:lnTo>
                    <a:lnTo>
                      <a:pt x="286988" y="236220"/>
                    </a:lnTo>
                    <a:lnTo>
                      <a:pt x="287750" y="236220"/>
                    </a:lnTo>
                    <a:lnTo>
                      <a:pt x="287750" y="237077"/>
                    </a:lnTo>
                    <a:lnTo>
                      <a:pt x="286988" y="239649"/>
                    </a:lnTo>
                    <a:lnTo>
                      <a:pt x="278511" y="247269"/>
                    </a:lnTo>
                    <a:lnTo>
                      <a:pt x="277654" y="247269"/>
                    </a:lnTo>
                    <a:lnTo>
                      <a:pt x="277654" y="248126"/>
                    </a:lnTo>
                    <a:lnTo>
                      <a:pt x="277654" y="249841"/>
                    </a:lnTo>
                    <a:lnTo>
                      <a:pt x="277654" y="251555"/>
                    </a:lnTo>
                    <a:lnTo>
                      <a:pt x="277654" y="252412"/>
                    </a:lnTo>
                    <a:lnTo>
                      <a:pt x="278511" y="253270"/>
                    </a:lnTo>
                    <a:lnTo>
                      <a:pt x="281083" y="253270"/>
                    </a:lnTo>
                    <a:lnTo>
                      <a:pt x="281845" y="254127"/>
                    </a:lnTo>
                    <a:lnTo>
                      <a:pt x="281845" y="255841"/>
                    </a:lnTo>
                    <a:lnTo>
                      <a:pt x="280225" y="260032"/>
                    </a:lnTo>
                    <a:lnTo>
                      <a:pt x="278511" y="265176"/>
                    </a:lnTo>
                    <a:lnTo>
                      <a:pt x="276797" y="268510"/>
                    </a:lnTo>
                    <a:lnTo>
                      <a:pt x="275939" y="269367"/>
                    </a:lnTo>
                    <a:lnTo>
                      <a:pt x="276797" y="271082"/>
                    </a:lnTo>
                    <a:lnTo>
                      <a:pt x="276797" y="271939"/>
                    </a:lnTo>
                    <a:lnTo>
                      <a:pt x="276797" y="273653"/>
                    </a:lnTo>
                    <a:lnTo>
                      <a:pt x="277654" y="276225"/>
                    </a:lnTo>
                    <a:lnTo>
                      <a:pt x="276797" y="282988"/>
                    </a:lnTo>
                    <a:lnTo>
                      <a:pt x="276797" y="283845"/>
                    </a:lnTo>
                    <a:lnTo>
                      <a:pt x="276797" y="284702"/>
                    </a:lnTo>
                    <a:lnTo>
                      <a:pt x="277654" y="284702"/>
                    </a:lnTo>
                    <a:lnTo>
                      <a:pt x="278511" y="283845"/>
                    </a:lnTo>
                    <a:lnTo>
                      <a:pt x="281083" y="282131"/>
                    </a:lnTo>
                    <a:lnTo>
                      <a:pt x="283559" y="281273"/>
                    </a:lnTo>
                    <a:lnTo>
                      <a:pt x="287750" y="280416"/>
                    </a:lnTo>
                    <a:lnTo>
                      <a:pt x="292894" y="279559"/>
                    </a:lnTo>
                    <a:lnTo>
                      <a:pt x="294513" y="278702"/>
                    </a:lnTo>
                    <a:lnTo>
                      <a:pt x="295370" y="277082"/>
                    </a:lnTo>
                    <a:lnTo>
                      <a:pt x="297085" y="276225"/>
                    </a:lnTo>
                    <a:lnTo>
                      <a:pt x="298799" y="275368"/>
                    </a:lnTo>
                    <a:lnTo>
                      <a:pt x="300418" y="274511"/>
                    </a:lnTo>
                    <a:lnTo>
                      <a:pt x="302133" y="275368"/>
                    </a:lnTo>
                    <a:lnTo>
                      <a:pt x="303848" y="276225"/>
                    </a:lnTo>
                    <a:lnTo>
                      <a:pt x="305467" y="279559"/>
                    </a:lnTo>
                    <a:lnTo>
                      <a:pt x="310610" y="282988"/>
                    </a:lnTo>
                    <a:lnTo>
                      <a:pt x="315659" y="287274"/>
                    </a:lnTo>
                    <a:lnTo>
                      <a:pt x="323279" y="296608"/>
                    </a:lnTo>
                    <a:lnTo>
                      <a:pt x="324041" y="296608"/>
                    </a:lnTo>
                    <a:lnTo>
                      <a:pt x="324041" y="296608"/>
                    </a:lnTo>
                    <a:lnTo>
                      <a:pt x="324041" y="297466"/>
                    </a:lnTo>
                    <a:lnTo>
                      <a:pt x="324898" y="296608"/>
                    </a:lnTo>
                    <a:lnTo>
                      <a:pt x="325755" y="296608"/>
                    </a:lnTo>
                    <a:lnTo>
                      <a:pt x="326612" y="295751"/>
                    </a:lnTo>
                    <a:lnTo>
                      <a:pt x="329184" y="294894"/>
                    </a:lnTo>
                    <a:lnTo>
                      <a:pt x="329946" y="294037"/>
                    </a:lnTo>
                    <a:lnTo>
                      <a:pt x="330803" y="293179"/>
                    </a:lnTo>
                    <a:lnTo>
                      <a:pt x="331660" y="293179"/>
                    </a:lnTo>
                    <a:lnTo>
                      <a:pt x="332518" y="294037"/>
                    </a:lnTo>
                    <a:lnTo>
                      <a:pt x="333375" y="294037"/>
                    </a:lnTo>
                    <a:lnTo>
                      <a:pt x="333375" y="295751"/>
                    </a:lnTo>
                    <a:lnTo>
                      <a:pt x="332518" y="296608"/>
                    </a:lnTo>
                    <a:lnTo>
                      <a:pt x="332518" y="297466"/>
                    </a:lnTo>
                    <a:lnTo>
                      <a:pt x="331660" y="298323"/>
                    </a:lnTo>
                    <a:lnTo>
                      <a:pt x="330803" y="299180"/>
                    </a:lnTo>
                    <a:lnTo>
                      <a:pt x="329946" y="300037"/>
                    </a:lnTo>
                    <a:lnTo>
                      <a:pt x="329184" y="301657"/>
                    </a:lnTo>
                    <a:lnTo>
                      <a:pt x="328327" y="302514"/>
                    </a:lnTo>
                    <a:lnTo>
                      <a:pt x="327470" y="304228"/>
                    </a:lnTo>
                    <a:lnTo>
                      <a:pt x="324898" y="305943"/>
                    </a:lnTo>
                    <a:lnTo>
                      <a:pt x="323279" y="307657"/>
                    </a:lnTo>
                    <a:lnTo>
                      <a:pt x="322421" y="307657"/>
                    </a:lnTo>
                    <a:lnTo>
                      <a:pt x="322421" y="308515"/>
                    </a:lnTo>
                    <a:lnTo>
                      <a:pt x="323279" y="309372"/>
                    </a:lnTo>
                    <a:lnTo>
                      <a:pt x="325755" y="310229"/>
                    </a:lnTo>
                    <a:lnTo>
                      <a:pt x="326612" y="310991"/>
                    </a:lnTo>
                    <a:lnTo>
                      <a:pt x="326612" y="311848"/>
                    </a:lnTo>
                    <a:lnTo>
                      <a:pt x="327470" y="312706"/>
                    </a:lnTo>
                    <a:lnTo>
                      <a:pt x="328327" y="313563"/>
                    </a:lnTo>
                    <a:lnTo>
                      <a:pt x="331660" y="314420"/>
                    </a:lnTo>
                    <a:lnTo>
                      <a:pt x="333375" y="315278"/>
                    </a:lnTo>
                    <a:lnTo>
                      <a:pt x="334232" y="315278"/>
                    </a:lnTo>
                    <a:lnTo>
                      <a:pt x="335090" y="316135"/>
                    </a:lnTo>
                    <a:lnTo>
                      <a:pt x="340138" y="320421"/>
                    </a:lnTo>
                    <a:lnTo>
                      <a:pt x="340995" y="322040"/>
                    </a:lnTo>
                    <a:lnTo>
                      <a:pt x="342614" y="323755"/>
                    </a:lnTo>
                    <a:lnTo>
                      <a:pt x="344329" y="324612"/>
                    </a:lnTo>
                    <a:lnTo>
                      <a:pt x="345186" y="325469"/>
                    </a:lnTo>
                    <a:lnTo>
                      <a:pt x="346043" y="327184"/>
                    </a:lnTo>
                    <a:lnTo>
                      <a:pt x="346043" y="328041"/>
                    </a:lnTo>
                    <a:lnTo>
                      <a:pt x="346043" y="329756"/>
                    </a:lnTo>
                    <a:lnTo>
                      <a:pt x="345186" y="331470"/>
                    </a:lnTo>
                    <a:lnTo>
                      <a:pt x="344329" y="332327"/>
                    </a:lnTo>
                    <a:lnTo>
                      <a:pt x="344329" y="333947"/>
                    </a:lnTo>
                    <a:lnTo>
                      <a:pt x="345186" y="334804"/>
                    </a:lnTo>
                    <a:lnTo>
                      <a:pt x="345186" y="334804"/>
                    </a:lnTo>
                    <a:lnTo>
                      <a:pt x="345186" y="335661"/>
                    </a:lnTo>
                    <a:lnTo>
                      <a:pt x="345186" y="336518"/>
                    </a:lnTo>
                    <a:lnTo>
                      <a:pt x="346043" y="337375"/>
                    </a:lnTo>
                    <a:lnTo>
                      <a:pt x="347663" y="339090"/>
                    </a:lnTo>
                    <a:lnTo>
                      <a:pt x="347663" y="339947"/>
                    </a:lnTo>
                    <a:lnTo>
                      <a:pt x="346900" y="340804"/>
                    </a:lnTo>
                    <a:lnTo>
                      <a:pt x="333375" y="344995"/>
                    </a:lnTo>
                    <a:lnTo>
                      <a:pt x="329184" y="349282"/>
                    </a:lnTo>
                    <a:lnTo>
                      <a:pt x="328327" y="349282"/>
                    </a:lnTo>
                    <a:lnTo>
                      <a:pt x="324041" y="350139"/>
                    </a:lnTo>
                    <a:lnTo>
                      <a:pt x="322421" y="350139"/>
                    </a:lnTo>
                    <a:lnTo>
                      <a:pt x="319850" y="349282"/>
                    </a:lnTo>
                    <a:lnTo>
                      <a:pt x="319850" y="350139"/>
                    </a:lnTo>
                    <a:lnTo>
                      <a:pt x="319850" y="350996"/>
                    </a:lnTo>
                    <a:lnTo>
                      <a:pt x="319850" y="351853"/>
                    </a:lnTo>
                    <a:lnTo>
                      <a:pt x="318992" y="352711"/>
                    </a:lnTo>
                    <a:lnTo>
                      <a:pt x="318135" y="352711"/>
                    </a:lnTo>
                    <a:lnTo>
                      <a:pt x="316516" y="352711"/>
                    </a:lnTo>
                    <a:lnTo>
                      <a:pt x="315659" y="353568"/>
                    </a:lnTo>
                    <a:lnTo>
                      <a:pt x="313944" y="354330"/>
                    </a:lnTo>
                    <a:lnTo>
                      <a:pt x="312230" y="356902"/>
                    </a:lnTo>
                    <a:lnTo>
                      <a:pt x="308039" y="359473"/>
                    </a:lnTo>
                    <a:lnTo>
                      <a:pt x="302990" y="365379"/>
                    </a:lnTo>
                    <a:lnTo>
                      <a:pt x="300418" y="367094"/>
                    </a:lnTo>
                    <a:lnTo>
                      <a:pt x="300418" y="368808"/>
                    </a:lnTo>
                    <a:lnTo>
                      <a:pt x="300418" y="368808"/>
                    </a:lnTo>
                    <a:lnTo>
                      <a:pt x="300418" y="368808"/>
                    </a:lnTo>
                    <a:lnTo>
                      <a:pt x="301276" y="368808"/>
                    </a:lnTo>
                    <a:lnTo>
                      <a:pt x="303848" y="369665"/>
                    </a:lnTo>
                    <a:lnTo>
                      <a:pt x="303848" y="369665"/>
                    </a:lnTo>
                    <a:lnTo>
                      <a:pt x="303848" y="369665"/>
                    </a:lnTo>
                    <a:lnTo>
                      <a:pt x="303848" y="369665"/>
                    </a:lnTo>
                    <a:lnTo>
                      <a:pt x="303848" y="369665"/>
                    </a:lnTo>
                    <a:lnTo>
                      <a:pt x="307181" y="373094"/>
                    </a:lnTo>
                    <a:lnTo>
                      <a:pt x="307181" y="373094"/>
                    </a:lnTo>
                    <a:lnTo>
                      <a:pt x="308039" y="373094"/>
                    </a:lnTo>
                    <a:lnTo>
                      <a:pt x="308039" y="373094"/>
                    </a:lnTo>
                    <a:lnTo>
                      <a:pt x="308896" y="373952"/>
                    </a:lnTo>
                    <a:lnTo>
                      <a:pt x="308896" y="373952"/>
                    </a:lnTo>
                    <a:lnTo>
                      <a:pt x="308039" y="374809"/>
                    </a:lnTo>
                    <a:lnTo>
                      <a:pt x="307181" y="374809"/>
                    </a:lnTo>
                    <a:lnTo>
                      <a:pt x="307181" y="374809"/>
                    </a:lnTo>
                    <a:lnTo>
                      <a:pt x="310610" y="375571"/>
                    </a:lnTo>
                    <a:lnTo>
                      <a:pt x="310610" y="375571"/>
                    </a:lnTo>
                    <a:lnTo>
                      <a:pt x="311372" y="377285"/>
                    </a:lnTo>
                    <a:lnTo>
                      <a:pt x="312230" y="379000"/>
                    </a:lnTo>
                    <a:lnTo>
                      <a:pt x="312230" y="379000"/>
                    </a:lnTo>
                    <a:lnTo>
                      <a:pt x="312230" y="380714"/>
                    </a:lnTo>
                    <a:lnTo>
                      <a:pt x="312230" y="382429"/>
                    </a:lnTo>
                    <a:lnTo>
                      <a:pt x="310610" y="385000"/>
                    </a:lnTo>
                    <a:lnTo>
                      <a:pt x="306324" y="385858"/>
                    </a:lnTo>
                    <a:lnTo>
                      <a:pt x="299561" y="388334"/>
                    </a:lnTo>
                    <a:lnTo>
                      <a:pt x="298799" y="387477"/>
                    </a:lnTo>
                    <a:lnTo>
                      <a:pt x="297942" y="387477"/>
                    </a:lnTo>
                    <a:lnTo>
                      <a:pt x="297942" y="387477"/>
                    </a:lnTo>
                    <a:lnTo>
                      <a:pt x="297942" y="386620"/>
                    </a:lnTo>
                    <a:lnTo>
                      <a:pt x="297942" y="386620"/>
                    </a:lnTo>
                    <a:lnTo>
                      <a:pt x="297942" y="385858"/>
                    </a:lnTo>
                    <a:lnTo>
                      <a:pt x="297942" y="385858"/>
                    </a:lnTo>
                    <a:lnTo>
                      <a:pt x="290322" y="381572"/>
                    </a:lnTo>
                    <a:lnTo>
                      <a:pt x="290322" y="381572"/>
                    </a:lnTo>
                    <a:lnTo>
                      <a:pt x="286131" y="379857"/>
                    </a:lnTo>
                    <a:lnTo>
                      <a:pt x="282702" y="381572"/>
                    </a:lnTo>
                    <a:lnTo>
                      <a:pt x="281845" y="383286"/>
                    </a:lnTo>
                    <a:lnTo>
                      <a:pt x="282702" y="385858"/>
                    </a:lnTo>
                    <a:lnTo>
                      <a:pt x="282702" y="385858"/>
                    </a:lnTo>
                    <a:lnTo>
                      <a:pt x="284417" y="389191"/>
                    </a:lnTo>
                    <a:lnTo>
                      <a:pt x="284417" y="389191"/>
                    </a:lnTo>
                    <a:lnTo>
                      <a:pt x="284417" y="391763"/>
                    </a:lnTo>
                    <a:lnTo>
                      <a:pt x="284417" y="393478"/>
                    </a:lnTo>
                    <a:lnTo>
                      <a:pt x="283559" y="395192"/>
                    </a:lnTo>
                    <a:lnTo>
                      <a:pt x="278511" y="411290"/>
                    </a:lnTo>
                    <a:lnTo>
                      <a:pt x="276797" y="415576"/>
                    </a:lnTo>
                    <a:lnTo>
                      <a:pt x="276797" y="419767"/>
                    </a:lnTo>
                    <a:lnTo>
                      <a:pt x="275939" y="421481"/>
                    </a:lnTo>
                    <a:lnTo>
                      <a:pt x="275082" y="423196"/>
                    </a:lnTo>
                    <a:lnTo>
                      <a:pt x="274320" y="423196"/>
                    </a:lnTo>
                    <a:lnTo>
                      <a:pt x="275939" y="424053"/>
                    </a:lnTo>
                    <a:lnTo>
                      <a:pt x="282702" y="429197"/>
                    </a:lnTo>
                    <a:lnTo>
                      <a:pt x="283559" y="429197"/>
                    </a:lnTo>
                    <a:lnTo>
                      <a:pt x="283559" y="429958"/>
                    </a:lnTo>
                    <a:lnTo>
                      <a:pt x="283559" y="431673"/>
                    </a:lnTo>
                    <a:lnTo>
                      <a:pt x="284417" y="435102"/>
                    </a:lnTo>
                    <a:lnTo>
                      <a:pt x="284417" y="435959"/>
                    </a:lnTo>
                    <a:lnTo>
                      <a:pt x="284417" y="437674"/>
                    </a:lnTo>
                    <a:lnTo>
                      <a:pt x="286131" y="441007"/>
                    </a:lnTo>
                    <a:lnTo>
                      <a:pt x="286988" y="442722"/>
                    </a:lnTo>
                    <a:lnTo>
                      <a:pt x="286988" y="445294"/>
                    </a:lnTo>
                    <a:lnTo>
                      <a:pt x="286988" y="447008"/>
                    </a:lnTo>
                    <a:lnTo>
                      <a:pt x="286131" y="448723"/>
                    </a:lnTo>
                    <a:lnTo>
                      <a:pt x="282702" y="457200"/>
                    </a:lnTo>
                    <a:lnTo>
                      <a:pt x="282702" y="458057"/>
                    </a:lnTo>
                    <a:lnTo>
                      <a:pt x="283559" y="458915"/>
                    </a:lnTo>
                    <a:lnTo>
                      <a:pt x="291179" y="460629"/>
                    </a:lnTo>
                    <a:lnTo>
                      <a:pt x="298799" y="459772"/>
                    </a:lnTo>
                    <a:lnTo>
                      <a:pt x="303848" y="460629"/>
                    </a:lnTo>
                    <a:lnTo>
                      <a:pt x="304705" y="460629"/>
                    </a:lnTo>
                    <a:lnTo>
                      <a:pt x="305467" y="460629"/>
                    </a:lnTo>
                    <a:lnTo>
                      <a:pt x="305467" y="461486"/>
                    </a:lnTo>
                    <a:lnTo>
                      <a:pt x="305467" y="461486"/>
                    </a:lnTo>
                    <a:lnTo>
                      <a:pt x="305467" y="462248"/>
                    </a:lnTo>
                    <a:lnTo>
                      <a:pt x="304705" y="462248"/>
                    </a:lnTo>
                    <a:lnTo>
                      <a:pt x="303848" y="463963"/>
                    </a:lnTo>
                    <a:lnTo>
                      <a:pt x="303848" y="464820"/>
                    </a:lnTo>
                    <a:lnTo>
                      <a:pt x="303848" y="465677"/>
                    </a:lnTo>
                    <a:lnTo>
                      <a:pt x="304705" y="469106"/>
                    </a:lnTo>
                    <a:lnTo>
                      <a:pt x="305467" y="470821"/>
                    </a:lnTo>
                    <a:lnTo>
                      <a:pt x="306324" y="471678"/>
                    </a:lnTo>
                    <a:lnTo>
                      <a:pt x="307181" y="472440"/>
                    </a:lnTo>
                    <a:lnTo>
                      <a:pt x="308039" y="473297"/>
                    </a:lnTo>
                    <a:lnTo>
                      <a:pt x="308896" y="473297"/>
                    </a:lnTo>
                    <a:lnTo>
                      <a:pt x="309753" y="474154"/>
                    </a:lnTo>
                    <a:lnTo>
                      <a:pt x="311372" y="473297"/>
                    </a:lnTo>
                    <a:lnTo>
                      <a:pt x="312230" y="473297"/>
                    </a:lnTo>
                    <a:lnTo>
                      <a:pt x="313087" y="472440"/>
                    </a:lnTo>
                    <a:lnTo>
                      <a:pt x="314801" y="470821"/>
                    </a:lnTo>
                    <a:lnTo>
                      <a:pt x="315659" y="469106"/>
                    </a:lnTo>
                    <a:lnTo>
                      <a:pt x="318992" y="466535"/>
                    </a:lnTo>
                    <a:lnTo>
                      <a:pt x="323279" y="462248"/>
                    </a:lnTo>
                    <a:lnTo>
                      <a:pt x="324041" y="461486"/>
                    </a:lnTo>
                    <a:lnTo>
                      <a:pt x="324898" y="461486"/>
                    </a:lnTo>
                    <a:lnTo>
                      <a:pt x="325755" y="460629"/>
                    </a:lnTo>
                    <a:lnTo>
                      <a:pt x="326612" y="460629"/>
                    </a:lnTo>
                    <a:lnTo>
                      <a:pt x="326612" y="459772"/>
                    </a:lnTo>
                    <a:lnTo>
                      <a:pt x="326612" y="458057"/>
                    </a:lnTo>
                    <a:lnTo>
                      <a:pt x="326612" y="457200"/>
                    </a:lnTo>
                    <a:lnTo>
                      <a:pt x="326612" y="455486"/>
                    </a:lnTo>
                    <a:lnTo>
                      <a:pt x="327470" y="453771"/>
                    </a:lnTo>
                    <a:lnTo>
                      <a:pt x="333375" y="447865"/>
                    </a:lnTo>
                    <a:lnTo>
                      <a:pt x="335090" y="445294"/>
                    </a:lnTo>
                    <a:lnTo>
                      <a:pt x="335851" y="444436"/>
                    </a:lnTo>
                    <a:lnTo>
                      <a:pt x="335851" y="443579"/>
                    </a:lnTo>
                    <a:lnTo>
                      <a:pt x="336709" y="441865"/>
                    </a:lnTo>
                    <a:lnTo>
                      <a:pt x="340138" y="432530"/>
                    </a:lnTo>
                    <a:lnTo>
                      <a:pt x="340995" y="431673"/>
                    </a:lnTo>
                    <a:lnTo>
                      <a:pt x="341757" y="430816"/>
                    </a:lnTo>
                    <a:lnTo>
                      <a:pt x="342614" y="430816"/>
                    </a:lnTo>
                    <a:lnTo>
                      <a:pt x="343472" y="432530"/>
                    </a:lnTo>
                    <a:lnTo>
                      <a:pt x="344329" y="433387"/>
                    </a:lnTo>
                    <a:lnTo>
                      <a:pt x="349377" y="443579"/>
                    </a:lnTo>
                    <a:lnTo>
                      <a:pt x="350234" y="444436"/>
                    </a:lnTo>
                    <a:lnTo>
                      <a:pt x="351949" y="445294"/>
                    </a:lnTo>
                    <a:lnTo>
                      <a:pt x="353568" y="445294"/>
                    </a:lnTo>
                    <a:lnTo>
                      <a:pt x="360331" y="441865"/>
                    </a:lnTo>
                    <a:lnTo>
                      <a:pt x="362045" y="442722"/>
                    </a:lnTo>
                    <a:lnTo>
                      <a:pt x="365474" y="443579"/>
                    </a:lnTo>
                    <a:lnTo>
                      <a:pt x="367093" y="443579"/>
                    </a:lnTo>
                    <a:lnTo>
                      <a:pt x="370523" y="441007"/>
                    </a:lnTo>
                    <a:lnTo>
                      <a:pt x="369665" y="439388"/>
                    </a:lnTo>
                    <a:lnTo>
                      <a:pt x="372142" y="439388"/>
                    </a:lnTo>
                    <a:lnTo>
                      <a:pt x="372999" y="435102"/>
                    </a:lnTo>
                    <a:lnTo>
                      <a:pt x="373856" y="425768"/>
                    </a:lnTo>
                    <a:lnTo>
                      <a:pt x="375571" y="421481"/>
                    </a:lnTo>
                    <a:lnTo>
                      <a:pt x="376428" y="420624"/>
                    </a:lnTo>
                    <a:lnTo>
                      <a:pt x="378047" y="420624"/>
                    </a:lnTo>
                    <a:lnTo>
                      <a:pt x="378905" y="419767"/>
                    </a:lnTo>
                    <a:lnTo>
                      <a:pt x="378905" y="417290"/>
                    </a:lnTo>
                    <a:lnTo>
                      <a:pt x="377285" y="413861"/>
                    </a:lnTo>
                    <a:lnTo>
                      <a:pt x="378905" y="409575"/>
                    </a:lnTo>
                    <a:lnTo>
                      <a:pt x="379762" y="407861"/>
                    </a:lnTo>
                    <a:lnTo>
                      <a:pt x="378905" y="407098"/>
                    </a:lnTo>
                    <a:lnTo>
                      <a:pt x="378047" y="407098"/>
                    </a:lnTo>
                    <a:lnTo>
                      <a:pt x="378047" y="405384"/>
                    </a:lnTo>
                    <a:lnTo>
                      <a:pt x="378047" y="403669"/>
                    </a:lnTo>
                    <a:lnTo>
                      <a:pt x="378047" y="402812"/>
                    </a:lnTo>
                    <a:lnTo>
                      <a:pt x="378047" y="402812"/>
                    </a:lnTo>
                    <a:lnTo>
                      <a:pt x="378905" y="401098"/>
                    </a:lnTo>
                    <a:lnTo>
                      <a:pt x="379762" y="399383"/>
                    </a:lnTo>
                    <a:lnTo>
                      <a:pt x="380619" y="395192"/>
                    </a:lnTo>
                    <a:lnTo>
                      <a:pt x="380619" y="392620"/>
                    </a:lnTo>
                    <a:lnTo>
                      <a:pt x="381476" y="390906"/>
                    </a:lnTo>
                    <a:lnTo>
                      <a:pt x="382334" y="390906"/>
                    </a:lnTo>
                    <a:lnTo>
                      <a:pt x="383191" y="390049"/>
                    </a:lnTo>
                    <a:lnTo>
                      <a:pt x="383953" y="390049"/>
                    </a:lnTo>
                    <a:lnTo>
                      <a:pt x="384810" y="389191"/>
                    </a:lnTo>
                    <a:lnTo>
                      <a:pt x="384810" y="389191"/>
                    </a:lnTo>
                    <a:lnTo>
                      <a:pt x="384810" y="389191"/>
                    </a:lnTo>
                    <a:lnTo>
                      <a:pt x="385667" y="390049"/>
                    </a:lnTo>
                    <a:lnTo>
                      <a:pt x="386525" y="390906"/>
                    </a:lnTo>
                    <a:lnTo>
                      <a:pt x="387382" y="390906"/>
                    </a:lnTo>
                    <a:lnTo>
                      <a:pt x="388239" y="390906"/>
                    </a:lnTo>
                    <a:lnTo>
                      <a:pt x="389096" y="390906"/>
                    </a:lnTo>
                    <a:lnTo>
                      <a:pt x="389858" y="390049"/>
                    </a:lnTo>
                    <a:lnTo>
                      <a:pt x="390716" y="389191"/>
                    </a:lnTo>
                    <a:lnTo>
                      <a:pt x="390716" y="388334"/>
                    </a:lnTo>
                    <a:lnTo>
                      <a:pt x="390716" y="386620"/>
                    </a:lnTo>
                    <a:lnTo>
                      <a:pt x="393287" y="382429"/>
                    </a:lnTo>
                    <a:lnTo>
                      <a:pt x="395764" y="378143"/>
                    </a:lnTo>
                    <a:lnTo>
                      <a:pt x="395764" y="377285"/>
                    </a:lnTo>
                    <a:lnTo>
                      <a:pt x="395764" y="376428"/>
                    </a:lnTo>
                    <a:lnTo>
                      <a:pt x="395002" y="375571"/>
                    </a:lnTo>
                    <a:lnTo>
                      <a:pt x="394145" y="374809"/>
                    </a:lnTo>
                    <a:lnTo>
                      <a:pt x="395002" y="374809"/>
                    </a:lnTo>
                    <a:lnTo>
                      <a:pt x="395002" y="373952"/>
                    </a:lnTo>
                    <a:lnTo>
                      <a:pt x="395764" y="373952"/>
                    </a:lnTo>
                    <a:lnTo>
                      <a:pt x="396621" y="373952"/>
                    </a:lnTo>
                    <a:lnTo>
                      <a:pt x="397478" y="373094"/>
                    </a:lnTo>
                    <a:lnTo>
                      <a:pt x="398335" y="372237"/>
                    </a:lnTo>
                    <a:lnTo>
                      <a:pt x="398335" y="371380"/>
                    </a:lnTo>
                    <a:lnTo>
                      <a:pt x="398335" y="370523"/>
                    </a:lnTo>
                    <a:lnTo>
                      <a:pt x="396621" y="367094"/>
                    </a:lnTo>
                    <a:lnTo>
                      <a:pt x="396621" y="364617"/>
                    </a:lnTo>
                    <a:lnTo>
                      <a:pt x="396621" y="363760"/>
                    </a:lnTo>
                    <a:lnTo>
                      <a:pt x="397478" y="362903"/>
                    </a:lnTo>
                    <a:lnTo>
                      <a:pt x="398335" y="362045"/>
                    </a:lnTo>
                    <a:lnTo>
                      <a:pt x="399193" y="361188"/>
                    </a:lnTo>
                    <a:lnTo>
                      <a:pt x="400050" y="361188"/>
                    </a:lnTo>
                    <a:lnTo>
                      <a:pt x="401669" y="361188"/>
                    </a:lnTo>
                    <a:lnTo>
                      <a:pt x="402526" y="360331"/>
                    </a:lnTo>
                    <a:lnTo>
                      <a:pt x="403384" y="359473"/>
                    </a:lnTo>
                    <a:lnTo>
                      <a:pt x="403384" y="357759"/>
                    </a:lnTo>
                    <a:lnTo>
                      <a:pt x="404241" y="356044"/>
                    </a:lnTo>
                    <a:lnTo>
                      <a:pt x="405956" y="354330"/>
                    </a:lnTo>
                    <a:lnTo>
                      <a:pt x="405956" y="352711"/>
                    </a:lnTo>
                    <a:lnTo>
                      <a:pt x="408432" y="346710"/>
                    </a:lnTo>
                    <a:lnTo>
                      <a:pt x="411004" y="339947"/>
                    </a:lnTo>
                    <a:lnTo>
                      <a:pt x="413575" y="336518"/>
                    </a:lnTo>
                    <a:lnTo>
                      <a:pt x="414338" y="334804"/>
                    </a:lnTo>
                    <a:lnTo>
                      <a:pt x="417767" y="331470"/>
                    </a:lnTo>
                    <a:lnTo>
                      <a:pt x="417767" y="331470"/>
                    </a:lnTo>
                    <a:lnTo>
                      <a:pt x="418624" y="328898"/>
                    </a:lnTo>
                    <a:lnTo>
                      <a:pt x="417767" y="327184"/>
                    </a:lnTo>
                    <a:lnTo>
                      <a:pt x="418624" y="323755"/>
                    </a:lnTo>
                    <a:lnTo>
                      <a:pt x="418624" y="322040"/>
                    </a:lnTo>
                    <a:lnTo>
                      <a:pt x="417767" y="320421"/>
                    </a:lnTo>
                    <a:lnTo>
                      <a:pt x="417767" y="318707"/>
                    </a:lnTo>
                    <a:lnTo>
                      <a:pt x="416909" y="316992"/>
                    </a:lnTo>
                    <a:lnTo>
                      <a:pt x="416052" y="315278"/>
                    </a:lnTo>
                    <a:lnTo>
                      <a:pt x="415195" y="314420"/>
                    </a:lnTo>
                    <a:lnTo>
                      <a:pt x="414338" y="313563"/>
                    </a:lnTo>
                    <a:lnTo>
                      <a:pt x="412718" y="312706"/>
                    </a:lnTo>
                    <a:lnTo>
                      <a:pt x="411861" y="311848"/>
                    </a:lnTo>
                    <a:lnTo>
                      <a:pt x="411004" y="310991"/>
                    </a:lnTo>
                    <a:lnTo>
                      <a:pt x="410147" y="309372"/>
                    </a:lnTo>
                    <a:lnTo>
                      <a:pt x="409289" y="308515"/>
                    </a:lnTo>
                    <a:lnTo>
                      <a:pt x="409289" y="308515"/>
                    </a:lnTo>
                    <a:lnTo>
                      <a:pt x="408432" y="307657"/>
                    </a:lnTo>
                    <a:lnTo>
                      <a:pt x="408432" y="307657"/>
                    </a:lnTo>
                    <a:lnTo>
                      <a:pt x="408432" y="307657"/>
                    </a:lnTo>
                    <a:lnTo>
                      <a:pt x="407575" y="306800"/>
                    </a:lnTo>
                    <a:lnTo>
                      <a:pt x="407575" y="305943"/>
                    </a:lnTo>
                    <a:lnTo>
                      <a:pt x="405956" y="303371"/>
                    </a:lnTo>
                    <a:lnTo>
                      <a:pt x="405098" y="302514"/>
                    </a:lnTo>
                    <a:lnTo>
                      <a:pt x="405098" y="301657"/>
                    </a:lnTo>
                    <a:lnTo>
                      <a:pt x="405956" y="300037"/>
                    </a:lnTo>
                    <a:lnTo>
                      <a:pt x="410147" y="297466"/>
                    </a:lnTo>
                    <a:lnTo>
                      <a:pt x="414338" y="293179"/>
                    </a:lnTo>
                    <a:lnTo>
                      <a:pt x="420243" y="288131"/>
                    </a:lnTo>
                    <a:lnTo>
                      <a:pt x="426149" y="283845"/>
                    </a:lnTo>
                    <a:lnTo>
                      <a:pt x="432054" y="275368"/>
                    </a:lnTo>
                    <a:lnTo>
                      <a:pt x="433768" y="272796"/>
                    </a:lnTo>
                    <a:lnTo>
                      <a:pt x="444722" y="263461"/>
                    </a:lnTo>
                    <a:lnTo>
                      <a:pt x="445580" y="262604"/>
                    </a:lnTo>
                    <a:lnTo>
                      <a:pt x="446437" y="261747"/>
                    </a:lnTo>
                    <a:lnTo>
                      <a:pt x="445580" y="260890"/>
                    </a:lnTo>
                    <a:lnTo>
                      <a:pt x="445580" y="260890"/>
                    </a:lnTo>
                    <a:lnTo>
                      <a:pt x="443865" y="259175"/>
                    </a:lnTo>
                    <a:lnTo>
                      <a:pt x="443103" y="258318"/>
                    </a:lnTo>
                    <a:lnTo>
                      <a:pt x="443103" y="256699"/>
                    </a:lnTo>
                    <a:lnTo>
                      <a:pt x="443103" y="255841"/>
                    </a:lnTo>
                    <a:lnTo>
                      <a:pt x="443865" y="254984"/>
                    </a:lnTo>
                    <a:lnTo>
                      <a:pt x="444722" y="254127"/>
                    </a:lnTo>
                    <a:lnTo>
                      <a:pt x="448151" y="253270"/>
                    </a:lnTo>
                    <a:lnTo>
                      <a:pt x="450628" y="251555"/>
                    </a:lnTo>
                    <a:lnTo>
                      <a:pt x="450628" y="251555"/>
                    </a:lnTo>
                    <a:lnTo>
                      <a:pt x="451485" y="250698"/>
                    </a:lnTo>
                    <a:lnTo>
                      <a:pt x="453200" y="250698"/>
                    </a:lnTo>
                    <a:lnTo>
                      <a:pt x="454914" y="251555"/>
                    </a:lnTo>
                    <a:lnTo>
                      <a:pt x="455771" y="252412"/>
                    </a:lnTo>
                    <a:lnTo>
                      <a:pt x="456533" y="253270"/>
                    </a:lnTo>
                    <a:lnTo>
                      <a:pt x="457391" y="254984"/>
                    </a:lnTo>
                    <a:lnTo>
                      <a:pt x="457391" y="255841"/>
                    </a:lnTo>
                    <a:lnTo>
                      <a:pt x="457391" y="257461"/>
                    </a:lnTo>
                    <a:lnTo>
                      <a:pt x="456533" y="259175"/>
                    </a:lnTo>
                    <a:lnTo>
                      <a:pt x="456533" y="260890"/>
                    </a:lnTo>
                    <a:lnTo>
                      <a:pt x="455771" y="261747"/>
                    </a:lnTo>
                    <a:lnTo>
                      <a:pt x="454057" y="263461"/>
                    </a:lnTo>
                    <a:lnTo>
                      <a:pt x="453200" y="265176"/>
                    </a:lnTo>
                    <a:lnTo>
                      <a:pt x="453200" y="266033"/>
                    </a:lnTo>
                    <a:lnTo>
                      <a:pt x="453200" y="266890"/>
                    </a:lnTo>
                    <a:lnTo>
                      <a:pt x="454057" y="266890"/>
                    </a:lnTo>
                    <a:lnTo>
                      <a:pt x="454914" y="266890"/>
                    </a:lnTo>
                    <a:lnTo>
                      <a:pt x="456533" y="266890"/>
                    </a:lnTo>
                    <a:lnTo>
                      <a:pt x="459962" y="265176"/>
                    </a:lnTo>
                    <a:lnTo>
                      <a:pt x="465868" y="264319"/>
                    </a:lnTo>
                    <a:lnTo>
                      <a:pt x="467582" y="263461"/>
                    </a:lnTo>
                    <a:lnTo>
                      <a:pt x="470916" y="261747"/>
                    </a:lnTo>
                    <a:lnTo>
                      <a:pt x="472631" y="260032"/>
                    </a:lnTo>
                    <a:lnTo>
                      <a:pt x="475107" y="255841"/>
                    </a:lnTo>
                    <a:lnTo>
                      <a:pt x="475964" y="254984"/>
                    </a:lnTo>
                    <a:lnTo>
                      <a:pt x="476822" y="253270"/>
                    </a:lnTo>
                    <a:lnTo>
                      <a:pt x="476822" y="252412"/>
                    </a:lnTo>
                    <a:lnTo>
                      <a:pt x="475964" y="249841"/>
                    </a:lnTo>
                    <a:lnTo>
                      <a:pt x="475107" y="248983"/>
                    </a:lnTo>
                    <a:lnTo>
                      <a:pt x="475107" y="248126"/>
                    </a:lnTo>
                    <a:lnTo>
                      <a:pt x="475107" y="246412"/>
                    </a:lnTo>
                    <a:lnTo>
                      <a:pt x="475107" y="246412"/>
                    </a:lnTo>
                    <a:lnTo>
                      <a:pt x="475107" y="243078"/>
                    </a:lnTo>
                    <a:lnTo>
                      <a:pt x="475107" y="241364"/>
                    </a:lnTo>
                    <a:lnTo>
                      <a:pt x="475964" y="239649"/>
                    </a:lnTo>
                    <a:lnTo>
                      <a:pt x="477679" y="238792"/>
                    </a:lnTo>
                    <a:lnTo>
                      <a:pt x="477679" y="237935"/>
                    </a:lnTo>
                    <a:lnTo>
                      <a:pt x="478536" y="236220"/>
                    </a:lnTo>
                    <a:lnTo>
                      <a:pt x="479393" y="230315"/>
                    </a:lnTo>
                    <a:lnTo>
                      <a:pt x="479393" y="228600"/>
                    </a:lnTo>
                    <a:lnTo>
                      <a:pt x="478536" y="226028"/>
                    </a:lnTo>
                    <a:lnTo>
                      <a:pt x="478536" y="225171"/>
                    </a:lnTo>
                    <a:lnTo>
                      <a:pt x="479393" y="223552"/>
                    </a:lnTo>
                    <a:lnTo>
                      <a:pt x="489490" y="209074"/>
                    </a:lnTo>
                    <a:lnTo>
                      <a:pt x="492824" y="204787"/>
                    </a:lnTo>
                    <a:lnTo>
                      <a:pt x="496253" y="203168"/>
                    </a:lnTo>
                    <a:lnTo>
                      <a:pt x="497110" y="201454"/>
                    </a:lnTo>
                    <a:lnTo>
                      <a:pt x="497967" y="200597"/>
                    </a:lnTo>
                    <a:lnTo>
                      <a:pt x="497967" y="197168"/>
                    </a:lnTo>
                    <a:lnTo>
                      <a:pt x="498729" y="191262"/>
                    </a:lnTo>
                    <a:lnTo>
                      <a:pt x="499586" y="188690"/>
                    </a:lnTo>
                    <a:lnTo>
                      <a:pt x="500443" y="186976"/>
                    </a:lnTo>
                    <a:lnTo>
                      <a:pt x="505492" y="181832"/>
                    </a:lnTo>
                    <a:lnTo>
                      <a:pt x="508064" y="177641"/>
                    </a:lnTo>
                    <a:lnTo>
                      <a:pt x="509778" y="179356"/>
                    </a:lnTo>
                    <a:lnTo>
                      <a:pt x="510540" y="181070"/>
                    </a:lnTo>
                    <a:lnTo>
                      <a:pt x="510540" y="184404"/>
                    </a:lnTo>
                    <a:lnTo>
                      <a:pt x="510540" y="184404"/>
                    </a:lnTo>
                    <a:lnTo>
                      <a:pt x="510540" y="184404"/>
                    </a:lnTo>
                    <a:lnTo>
                      <a:pt x="511397" y="186119"/>
                    </a:lnTo>
                    <a:lnTo>
                      <a:pt x="512255" y="186119"/>
                    </a:lnTo>
                    <a:lnTo>
                      <a:pt x="513112" y="186976"/>
                    </a:lnTo>
                    <a:lnTo>
                      <a:pt x="513969" y="186976"/>
                    </a:lnTo>
                    <a:lnTo>
                      <a:pt x="516446" y="186119"/>
                    </a:lnTo>
                    <a:lnTo>
                      <a:pt x="517303" y="185261"/>
                    </a:lnTo>
                    <a:lnTo>
                      <a:pt x="519017" y="182690"/>
                    </a:lnTo>
                    <a:lnTo>
                      <a:pt x="520732" y="181832"/>
                    </a:lnTo>
                    <a:lnTo>
                      <a:pt x="521589" y="180213"/>
                    </a:lnTo>
                    <a:lnTo>
                      <a:pt x="524066" y="176784"/>
                    </a:lnTo>
                    <a:lnTo>
                      <a:pt x="524923" y="174212"/>
                    </a:lnTo>
                    <a:lnTo>
                      <a:pt x="524923" y="173355"/>
                    </a:lnTo>
                    <a:lnTo>
                      <a:pt x="524923" y="171640"/>
                    </a:lnTo>
                    <a:lnTo>
                      <a:pt x="524923" y="170021"/>
                    </a:lnTo>
                    <a:lnTo>
                      <a:pt x="528257" y="166592"/>
                    </a:lnTo>
                    <a:lnTo>
                      <a:pt x="529971" y="164878"/>
                    </a:lnTo>
                    <a:lnTo>
                      <a:pt x="530828" y="163163"/>
                    </a:lnTo>
                    <a:lnTo>
                      <a:pt x="531685" y="163163"/>
                    </a:lnTo>
                    <a:lnTo>
                      <a:pt x="532543" y="163163"/>
                    </a:lnTo>
                    <a:lnTo>
                      <a:pt x="534162" y="163163"/>
                    </a:lnTo>
                    <a:lnTo>
                      <a:pt x="535019" y="162306"/>
                    </a:lnTo>
                    <a:lnTo>
                      <a:pt x="536734" y="161449"/>
                    </a:lnTo>
                    <a:lnTo>
                      <a:pt x="537591" y="160591"/>
                    </a:lnTo>
                    <a:lnTo>
                      <a:pt x="538448" y="159829"/>
                    </a:lnTo>
                    <a:lnTo>
                      <a:pt x="539306" y="159829"/>
                    </a:lnTo>
                    <a:lnTo>
                      <a:pt x="542639" y="159829"/>
                    </a:lnTo>
                    <a:lnTo>
                      <a:pt x="551974" y="156400"/>
                    </a:lnTo>
                    <a:lnTo>
                      <a:pt x="553593" y="154686"/>
                    </a:lnTo>
                    <a:lnTo>
                      <a:pt x="562070" y="149543"/>
                    </a:lnTo>
                    <a:lnTo>
                      <a:pt x="566261" y="146209"/>
                    </a:lnTo>
                    <a:lnTo>
                      <a:pt x="569690" y="140208"/>
                    </a:lnTo>
                    <a:lnTo>
                      <a:pt x="573024" y="135160"/>
                    </a:lnTo>
                    <a:lnTo>
                      <a:pt x="573881" y="133445"/>
                    </a:lnTo>
                    <a:lnTo>
                      <a:pt x="577215" y="130873"/>
                    </a:lnTo>
                    <a:lnTo>
                      <a:pt x="578072" y="129159"/>
                    </a:lnTo>
                    <a:lnTo>
                      <a:pt x="578930" y="129159"/>
                    </a:lnTo>
                    <a:lnTo>
                      <a:pt x="579787" y="129159"/>
                    </a:lnTo>
                    <a:lnTo>
                      <a:pt x="580644" y="129159"/>
                    </a:lnTo>
                    <a:lnTo>
                      <a:pt x="583121" y="131731"/>
                    </a:lnTo>
                    <a:lnTo>
                      <a:pt x="583978" y="131731"/>
                    </a:lnTo>
                    <a:lnTo>
                      <a:pt x="585692" y="132588"/>
                    </a:lnTo>
                    <a:lnTo>
                      <a:pt x="588264" y="132588"/>
                    </a:lnTo>
                    <a:lnTo>
                      <a:pt x="589883" y="131731"/>
                    </a:lnTo>
                    <a:lnTo>
                      <a:pt x="591598" y="130873"/>
                    </a:lnTo>
                    <a:lnTo>
                      <a:pt x="604266" y="123253"/>
                    </a:lnTo>
                    <a:lnTo>
                      <a:pt x="604266" y="123253"/>
                    </a:lnTo>
                    <a:lnTo>
                      <a:pt x="604266" y="123253"/>
                    </a:lnTo>
                    <a:lnTo>
                      <a:pt x="605123" y="122396"/>
                    </a:lnTo>
                    <a:lnTo>
                      <a:pt x="605981" y="121539"/>
                    </a:lnTo>
                    <a:lnTo>
                      <a:pt x="606743" y="119824"/>
                    </a:lnTo>
                    <a:lnTo>
                      <a:pt x="607600" y="118967"/>
                    </a:lnTo>
                    <a:lnTo>
                      <a:pt x="608457" y="117253"/>
                    </a:lnTo>
                    <a:lnTo>
                      <a:pt x="609314" y="117253"/>
                    </a:lnTo>
                    <a:lnTo>
                      <a:pt x="610172" y="117253"/>
                    </a:lnTo>
                    <a:lnTo>
                      <a:pt x="611886" y="117253"/>
                    </a:lnTo>
                    <a:lnTo>
                      <a:pt x="614363" y="117253"/>
                    </a:lnTo>
                    <a:lnTo>
                      <a:pt x="616077" y="117253"/>
                    </a:lnTo>
                    <a:lnTo>
                      <a:pt x="616934" y="116491"/>
                    </a:lnTo>
                    <a:lnTo>
                      <a:pt x="621983" y="113062"/>
                    </a:lnTo>
                    <a:lnTo>
                      <a:pt x="627031" y="108775"/>
                    </a:lnTo>
                    <a:lnTo>
                      <a:pt x="628745" y="107918"/>
                    </a:lnTo>
                    <a:lnTo>
                      <a:pt x="630460" y="107061"/>
                    </a:lnTo>
                    <a:lnTo>
                      <a:pt x="632936" y="106299"/>
                    </a:lnTo>
                    <a:lnTo>
                      <a:pt x="634651" y="105442"/>
                    </a:lnTo>
                    <a:lnTo>
                      <a:pt x="637127" y="102870"/>
                    </a:lnTo>
                    <a:lnTo>
                      <a:pt x="638842" y="101156"/>
                    </a:lnTo>
                    <a:lnTo>
                      <a:pt x="640556" y="98584"/>
                    </a:lnTo>
                    <a:lnTo>
                      <a:pt x="640556" y="96869"/>
                    </a:lnTo>
                    <a:lnTo>
                      <a:pt x="641414" y="94393"/>
                    </a:lnTo>
                    <a:lnTo>
                      <a:pt x="641414" y="93536"/>
                    </a:lnTo>
                    <a:lnTo>
                      <a:pt x="642271" y="91821"/>
                    </a:lnTo>
                    <a:lnTo>
                      <a:pt x="643033" y="90964"/>
                    </a:lnTo>
                    <a:lnTo>
                      <a:pt x="643890" y="90106"/>
                    </a:lnTo>
                    <a:lnTo>
                      <a:pt x="647319" y="89249"/>
                    </a:lnTo>
                    <a:lnTo>
                      <a:pt x="648176" y="89249"/>
                    </a:lnTo>
                    <a:lnTo>
                      <a:pt x="649796" y="89249"/>
                    </a:lnTo>
                    <a:lnTo>
                      <a:pt x="651510" y="90106"/>
                    </a:lnTo>
                    <a:lnTo>
                      <a:pt x="654082" y="92678"/>
                    </a:lnTo>
                    <a:lnTo>
                      <a:pt x="656558" y="94393"/>
                    </a:lnTo>
                    <a:lnTo>
                      <a:pt x="659130" y="94393"/>
                    </a:lnTo>
                    <a:lnTo>
                      <a:pt x="675989" y="87535"/>
                    </a:lnTo>
                    <a:lnTo>
                      <a:pt x="677704" y="87535"/>
                    </a:lnTo>
                    <a:lnTo>
                      <a:pt x="681038" y="87535"/>
                    </a:lnTo>
                    <a:lnTo>
                      <a:pt x="681895" y="87535"/>
                    </a:lnTo>
                    <a:lnTo>
                      <a:pt x="682752" y="87535"/>
                    </a:lnTo>
                    <a:lnTo>
                      <a:pt x="683609" y="87535"/>
                    </a:lnTo>
                    <a:lnTo>
                      <a:pt x="684467" y="87535"/>
                    </a:lnTo>
                    <a:lnTo>
                      <a:pt x="687800" y="88392"/>
                    </a:lnTo>
                    <a:lnTo>
                      <a:pt x="687800" y="88392"/>
                    </a:lnTo>
                    <a:lnTo>
                      <a:pt x="688658" y="87535"/>
                    </a:lnTo>
                    <a:lnTo>
                      <a:pt x="688658" y="87535"/>
                    </a:lnTo>
                    <a:lnTo>
                      <a:pt x="689515" y="85820"/>
                    </a:lnTo>
                    <a:lnTo>
                      <a:pt x="690372" y="84963"/>
                    </a:lnTo>
                    <a:lnTo>
                      <a:pt x="690372" y="84963"/>
                    </a:lnTo>
                    <a:lnTo>
                      <a:pt x="692849" y="84201"/>
                    </a:lnTo>
                    <a:lnTo>
                      <a:pt x="692849" y="84201"/>
                    </a:lnTo>
                    <a:lnTo>
                      <a:pt x="693706" y="84201"/>
                    </a:lnTo>
                    <a:lnTo>
                      <a:pt x="693706" y="83344"/>
                    </a:lnTo>
                    <a:lnTo>
                      <a:pt x="693706" y="82486"/>
                    </a:lnTo>
                    <a:lnTo>
                      <a:pt x="694563" y="81629"/>
                    </a:lnTo>
                    <a:lnTo>
                      <a:pt x="694563" y="80772"/>
                    </a:lnTo>
                    <a:lnTo>
                      <a:pt x="695420" y="79915"/>
                    </a:lnTo>
                    <a:lnTo>
                      <a:pt x="696278" y="79915"/>
                    </a:lnTo>
                    <a:lnTo>
                      <a:pt x="697897" y="78200"/>
                    </a:lnTo>
                    <a:lnTo>
                      <a:pt x="698754" y="78200"/>
                    </a:lnTo>
                    <a:lnTo>
                      <a:pt x="698754" y="77343"/>
                    </a:lnTo>
                    <a:lnTo>
                      <a:pt x="698754" y="77343"/>
                    </a:lnTo>
                    <a:lnTo>
                      <a:pt x="699611" y="76486"/>
                    </a:lnTo>
                    <a:lnTo>
                      <a:pt x="699611" y="73152"/>
                    </a:lnTo>
                    <a:lnTo>
                      <a:pt x="698754" y="71437"/>
                    </a:lnTo>
                    <a:lnTo>
                      <a:pt x="698754" y="71437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52" name="Freeform: Shape 156">
                <a:extLst>
                  <a:ext uri="{FF2B5EF4-FFF2-40B4-BE49-F238E27FC236}">
                    <a16:creationId xmlns:a16="http://schemas.microsoft.com/office/drawing/2014/main" id="{4AA3E00A-9F1D-457D-B563-8A3AC8766B0B}"/>
                  </a:ext>
                </a:extLst>
              </p:cNvPr>
              <p:cNvSpPr/>
              <p:nvPr/>
            </p:nvSpPr>
            <p:spPr>
              <a:xfrm>
                <a:off x="7066978" y="2605088"/>
                <a:ext cx="638175" cy="333375"/>
              </a:xfrm>
              <a:custGeom>
                <a:avLst/>
                <a:gdLst>
                  <a:gd name="connsiteX0" fmla="*/ 642271 w 638175"/>
                  <a:gd name="connsiteY0" fmla="*/ 168783 h 333375"/>
                  <a:gd name="connsiteX1" fmla="*/ 636270 w 638175"/>
                  <a:gd name="connsiteY1" fmla="*/ 162782 h 333375"/>
                  <a:gd name="connsiteX2" fmla="*/ 635413 w 638175"/>
                  <a:gd name="connsiteY2" fmla="*/ 160306 h 333375"/>
                  <a:gd name="connsiteX3" fmla="*/ 635413 w 638175"/>
                  <a:gd name="connsiteY3" fmla="*/ 155162 h 333375"/>
                  <a:gd name="connsiteX4" fmla="*/ 638842 w 638175"/>
                  <a:gd name="connsiteY4" fmla="*/ 148400 h 333375"/>
                  <a:gd name="connsiteX5" fmla="*/ 638842 w 638175"/>
                  <a:gd name="connsiteY5" fmla="*/ 144209 h 333375"/>
                  <a:gd name="connsiteX6" fmla="*/ 634555 w 638175"/>
                  <a:gd name="connsiteY6" fmla="*/ 142494 h 333375"/>
                  <a:gd name="connsiteX7" fmla="*/ 627793 w 638175"/>
                  <a:gd name="connsiteY7" fmla="*/ 137350 h 333375"/>
                  <a:gd name="connsiteX8" fmla="*/ 626936 w 638175"/>
                  <a:gd name="connsiteY8" fmla="*/ 136493 h 333375"/>
                  <a:gd name="connsiteX9" fmla="*/ 626078 w 638175"/>
                  <a:gd name="connsiteY9" fmla="*/ 133160 h 333375"/>
                  <a:gd name="connsiteX10" fmla="*/ 625221 w 638175"/>
                  <a:gd name="connsiteY10" fmla="*/ 133160 h 333375"/>
                  <a:gd name="connsiteX11" fmla="*/ 624364 w 638175"/>
                  <a:gd name="connsiteY11" fmla="*/ 133160 h 333375"/>
                  <a:gd name="connsiteX12" fmla="*/ 622649 w 638175"/>
                  <a:gd name="connsiteY12" fmla="*/ 132302 h 333375"/>
                  <a:gd name="connsiteX13" fmla="*/ 615887 w 638175"/>
                  <a:gd name="connsiteY13" fmla="*/ 126397 h 333375"/>
                  <a:gd name="connsiteX14" fmla="*/ 611600 w 638175"/>
                  <a:gd name="connsiteY14" fmla="*/ 124682 h 333375"/>
                  <a:gd name="connsiteX15" fmla="*/ 606457 w 638175"/>
                  <a:gd name="connsiteY15" fmla="*/ 127159 h 333375"/>
                  <a:gd name="connsiteX16" fmla="*/ 602171 w 638175"/>
                  <a:gd name="connsiteY16" fmla="*/ 129731 h 333375"/>
                  <a:gd name="connsiteX17" fmla="*/ 598837 w 638175"/>
                  <a:gd name="connsiteY17" fmla="*/ 130588 h 333375"/>
                  <a:gd name="connsiteX18" fmla="*/ 595408 w 638175"/>
                  <a:gd name="connsiteY18" fmla="*/ 129731 h 333375"/>
                  <a:gd name="connsiteX19" fmla="*/ 591122 w 638175"/>
                  <a:gd name="connsiteY19" fmla="*/ 127159 h 333375"/>
                  <a:gd name="connsiteX20" fmla="*/ 589407 w 638175"/>
                  <a:gd name="connsiteY20" fmla="*/ 118681 h 333375"/>
                  <a:gd name="connsiteX21" fmla="*/ 585216 w 638175"/>
                  <a:gd name="connsiteY21" fmla="*/ 111919 h 333375"/>
                  <a:gd name="connsiteX22" fmla="*/ 576644 w 638175"/>
                  <a:gd name="connsiteY22" fmla="*/ 106871 h 333375"/>
                  <a:gd name="connsiteX23" fmla="*/ 569023 w 638175"/>
                  <a:gd name="connsiteY23" fmla="*/ 98393 h 333375"/>
                  <a:gd name="connsiteX24" fmla="*/ 559594 w 638175"/>
                  <a:gd name="connsiteY24" fmla="*/ 95821 h 333375"/>
                  <a:gd name="connsiteX25" fmla="*/ 553688 w 638175"/>
                  <a:gd name="connsiteY25" fmla="*/ 98393 h 333375"/>
                  <a:gd name="connsiteX26" fmla="*/ 550259 w 638175"/>
                  <a:gd name="connsiteY26" fmla="*/ 105156 h 333375"/>
                  <a:gd name="connsiteX27" fmla="*/ 548545 w 638175"/>
                  <a:gd name="connsiteY27" fmla="*/ 111062 h 333375"/>
                  <a:gd name="connsiteX28" fmla="*/ 548545 w 638175"/>
                  <a:gd name="connsiteY28" fmla="*/ 118681 h 333375"/>
                  <a:gd name="connsiteX29" fmla="*/ 546830 w 638175"/>
                  <a:gd name="connsiteY29" fmla="*/ 119539 h 333375"/>
                  <a:gd name="connsiteX30" fmla="*/ 542544 w 638175"/>
                  <a:gd name="connsiteY30" fmla="*/ 111062 h 333375"/>
                  <a:gd name="connsiteX31" fmla="*/ 539210 w 638175"/>
                  <a:gd name="connsiteY31" fmla="*/ 106871 h 333375"/>
                  <a:gd name="connsiteX32" fmla="*/ 543401 w 638175"/>
                  <a:gd name="connsiteY32" fmla="*/ 100870 h 333375"/>
                  <a:gd name="connsiteX33" fmla="*/ 540068 w 638175"/>
                  <a:gd name="connsiteY33" fmla="*/ 95821 h 333375"/>
                  <a:gd name="connsiteX34" fmla="*/ 547688 w 638175"/>
                  <a:gd name="connsiteY34" fmla="*/ 90678 h 333375"/>
                  <a:gd name="connsiteX35" fmla="*/ 557879 w 638175"/>
                  <a:gd name="connsiteY35" fmla="*/ 83058 h 333375"/>
                  <a:gd name="connsiteX36" fmla="*/ 557022 w 638175"/>
                  <a:gd name="connsiteY36" fmla="*/ 77152 h 333375"/>
                  <a:gd name="connsiteX37" fmla="*/ 555403 w 638175"/>
                  <a:gd name="connsiteY37" fmla="*/ 70390 h 333375"/>
                  <a:gd name="connsiteX38" fmla="*/ 549402 w 638175"/>
                  <a:gd name="connsiteY38" fmla="*/ 63627 h 333375"/>
                  <a:gd name="connsiteX39" fmla="*/ 548545 w 638175"/>
                  <a:gd name="connsiteY39" fmla="*/ 61055 h 333375"/>
                  <a:gd name="connsiteX40" fmla="*/ 546830 w 638175"/>
                  <a:gd name="connsiteY40" fmla="*/ 55054 h 333375"/>
                  <a:gd name="connsiteX41" fmla="*/ 545973 w 638175"/>
                  <a:gd name="connsiteY41" fmla="*/ 53435 h 333375"/>
                  <a:gd name="connsiteX42" fmla="*/ 544258 w 638175"/>
                  <a:gd name="connsiteY42" fmla="*/ 50863 h 333375"/>
                  <a:gd name="connsiteX43" fmla="*/ 542544 w 638175"/>
                  <a:gd name="connsiteY43" fmla="*/ 50863 h 333375"/>
                  <a:gd name="connsiteX44" fmla="*/ 541782 w 638175"/>
                  <a:gd name="connsiteY44" fmla="*/ 50006 h 333375"/>
                  <a:gd name="connsiteX45" fmla="*/ 541782 w 638175"/>
                  <a:gd name="connsiteY45" fmla="*/ 49149 h 333375"/>
                  <a:gd name="connsiteX46" fmla="*/ 542544 w 638175"/>
                  <a:gd name="connsiteY46" fmla="*/ 47435 h 333375"/>
                  <a:gd name="connsiteX47" fmla="*/ 532352 w 638175"/>
                  <a:gd name="connsiteY47" fmla="*/ 42386 h 333375"/>
                  <a:gd name="connsiteX48" fmla="*/ 530638 w 638175"/>
                  <a:gd name="connsiteY48" fmla="*/ 33909 h 333375"/>
                  <a:gd name="connsiteX49" fmla="*/ 523018 w 638175"/>
                  <a:gd name="connsiteY49" fmla="*/ 36481 h 333375"/>
                  <a:gd name="connsiteX50" fmla="*/ 513588 w 638175"/>
                  <a:gd name="connsiteY50" fmla="*/ 43244 h 333375"/>
                  <a:gd name="connsiteX51" fmla="*/ 511112 w 638175"/>
                  <a:gd name="connsiteY51" fmla="*/ 33052 h 333375"/>
                  <a:gd name="connsiteX52" fmla="*/ 511969 w 638175"/>
                  <a:gd name="connsiteY52" fmla="*/ 31337 h 333375"/>
                  <a:gd name="connsiteX53" fmla="*/ 512731 w 638175"/>
                  <a:gd name="connsiteY53" fmla="*/ 29623 h 333375"/>
                  <a:gd name="connsiteX54" fmla="*/ 515303 w 638175"/>
                  <a:gd name="connsiteY54" fmla="*/ 27908 h 333375"/>
                  <a:gd name="connsiteX55" fmla="*/ 526447 w 638175"/>
                  <a:gd name="connsiteY55" fmla="*/ 24575 h 333375"/>
                  <a:gd name="connsiteX56" fmla="*/ 528066 w 638175"/>
                  <a:gd name="connsiteY56" fmla="*/ 23717 h 333375"/>
                  <a:gd name="connsiteX57" fmla="*/ 529780 w 638175"/>
                  <a:gd name="connsiteY57" fmla="*/ 20288 h 333375"/>
                  <a:gd name="connsiteX58" fmla="*/ 532352 w 638175"/>
                  <a:gd name="connsiteY58" fmla="*/ 16097 h 333375"/>
                  <a:gd name="connsiteX59" fmla="*/ 532352 w 638175"/>
                  <a:gd name="connsiteY59" fmla="*/ 14383 h 333375"/>
                  <a:gd name="connsiteX60" fmla="*/ 530638 w 638175"/>
                  <a:gd name="connsiteY60" fmla="*/ 11811 h 333375"/>
                  <a:gd name="connsiteX61" fmla="*/ 528923 w 638175"/>
                  <a:gd name="connsiteY61" fmla="*/ 10954 h 333375"/>
                  <a:gd name="connsiteX62" fmla="*/ 527304 w 638175"/>
                  <a:gd name="connsiteY62" fmla="*/ 11811 h 333375"/>
                  <a:gd name="connsiteX63" fmla="*/ 525589 w 638175"/>
                  <a:gd name="connsiteY63" fmla="*/ 13525 h 333375"/>
                  <a:gd name="connsiteX64" fmla="*/ 521303 w 638175"/>
                  <a:gd name="connsiteY64" fmla="*/ 16097 h 333375"/>
                  <a:gd name="connsiteX65" fmla="*/ 517874 w 638175"/>
                  <a:gd name="connsiteY65" fmla="*/ 16097 h 333375"/>
                  <a:gd name="connsiteX66" fmla="*/ 514445 w 638175"/>
                  <a:gd name="connsiteY66" fmla="*/ 14383 h 333375"/>
                  <a:gd name="connsiteX67" fmla="*/ 511112 w 638175"/>
                  <a:gd name="connsiteY67" fmla="*/ 10096 h 333375"/>
                  <a:gd name="connsiteX68" fmla="*/ 510254 w 638175"/>
                  <a:gd name="connsiteY68" fmla="*/ 8477 h 333375"/>
                  <a:gd name="connsiteX69" fmla="*/ 508540 w 638175"/>
                  <a:gd name="connsiteY69" fmla="*/ 1619 h 333375"/>
                  <a:gd name="connsiteX70" fmla="*/ 507682 w 638175"/>
                  <a:gd name="connsiteY70" fmla="*/ 0 h 333375"/>
                  <a:gd name="connsiteX71" fmla="*/ 499967 w 638175"/>
                  <a:gd name="connsiteY71" fmla="*/ 0 h 333375"/>
                  <a:gd name="connsiteX72" fmla="*/ 493205 w 638175"/>
                  <a:gd name="connsiteY72" fmla="*/ 857 h 333375"/>
                  <a:gd name="connsiteX73" fmla="*/ 486346 w 638175"/>
                  <a:gd name="connsiteY73" fmla="*/ 1619 h 333375"/>
                  <a:gd name="connsiteX74" fmla="*/ 476155 w 638175"/>
                  <a:gd name="connsiteY74" fmla="*/ 5906 h 333375"/>
                  <a:gd name="connsiteX75" fmla="*/ 468439 w 638175"/>
                  <a:gd name="connsiteY75" fmla="*/ 2477 h 333375"/>
                  <a:gd name="connsiteX76" fmla="*/ 466820 w 638175"/>
                  <a:gd name="connsiteY76" fmla="*/ 3334 h 333375"/>
                  <a:gd name="connsiteX77" fmla="*/ 463391 w 638175"/>
                  <a:gd name="connsiteY77" fmla="*/ 3334 h 333375"/>
                  <a:gd name="connsiteX78" fmla="*/ 463391 w 638175"/>
                  <a:gd name="connsiteY78" fmla="*/ 11811 h 333375"/>
                  <a:gd name="connsiteX79" fmla="*/ 459962 w 638175"/>
                  <a:gd name="connsiteY79" fmla="*/ 19431 h 333375"/>
                  <a:gd name="connsiteX80" fmla="*/ 452342 w 638175"/>
                  <a:gd name="connsiteY80" fmla="*/ 17812 h 333375"/>
                  <a:gd name="connsiteX81" fmla="*/ 446341 w 638175"/>
                  <a:gd name="connsiteY81" fmla="*/ 15240 h 333375"/>
                  <a:gd name="connsiteX82" fmla="*/ 445484 w 638175"/>
                  <a:gd name="connsiteY82" fmla="*/ 15240 h 333375"/>
                  <a:gd name="connsiteX83" fmla="*/ 443770 w 638175"/>
                  <a:gd name="connsiteY83" fmla="*/ 15240 h 333375"/>
                  <a:gd name="connsiteX84" fmla="*/ 442913 w 638175"/>
                  <a:gd name="connsiteY84" fmla="*/ 16097 h 333375"/>
                  <a:gd name="connsiteX85" fmla="*/ 442055 w 638175"/>
                  <a:gd name="connsiteY85" fmla="*/ 16954 h 333375"/>
                  <a:gd name="connsiteX86" fmla="*/ 442055 w 638175"/>
                  <a:gd name="connsiteY86" fmla="*/ 17812 h 333375"/>
                  <a:gd name="connsiteX87" fmla="*/ 442055 w 638175"/>
                  <a:gd name="connsiteY87" fmla="*/ 18669 h 333375"/>
                  <a:gd name="connsiteX88" fmla="*/ 442055 w 638175"/>
                  <a:gd name="connsiteY88" fmla="*/ 19431 h 333375"/>
                  <a:gd name="connsiteX89" fmla="*/ 437864 w 638175"/>
                  <a:gd name="connsiteY89" fmla="*/ 20288 h 333375"/>
                  <a:gd name="connsiteX90" fmla="*/ 437007 w 638175"/>
                  <a:gd name="connsiteY90" fmla="*/ 22003 h 333375"/>
                  <a:gd name="connsiteX91" fmla="*/ 438626 w 638175"/>
                  <a:gd name="connsiteY91" fmla="*/ 26289 h 333375"/>
                  <a:gd name="connsiteX92" fmla="*/ 438626 w 638175"/>
                  <a:gd name="connsiteY92" fmla="*/ 29623 h 333375"/>
                  <a:gd name="connsiteX93" fmla="*/ 437007 w 638175"/>
                  <a:gd name="connsiteY93" fmla="*/ 29623 h 333375"/>
                  <a:gd name="connsiteX94" fmla="*/ 433578 w 638175"/>
                  <a:gd name="connsiteY94" fmla="*/ 29623 h 333375"/>
                  <a:gd name="connsiteX95" fmla="*/ 432721 w 638175"/>
                  <a:gd name="connsiteY95" fmla="*/ 31337 h 333375"/>
                  <a:gd name="connsiteX96" fmla="*/ 430149 w 638175"/>
                  <a:gd name="connsiteY96" fmla="*/ 27908 h 333375"/>
                  <a:gd name="connsiteX97" fmla="*/ 430149 w 638175"/>
                  <a:gd name="connsiteY97" fmla="*/ 22860 h 333375"/>
                  <a:gd name="connsiteX98" fmla="*/ 427577 w 638175"/>
                  <a:gd name="connsiteY98" fmla="*/ 24575 h 333375"/>
                  <a:gd name="connsiteX99" fmla="*/ 425863 w 638175"/>
                  <a:gd name="connsiteY99" fmla="*/ 30480 h 333375"/>
                  <a:gd name="connsiteX100" fmla="*/ 421672 w 638175"/>
                  <a:gd name="connsiteY100" fmla="*/ 28765 h 333375"/>
                  <a:gd name="connsiteX101" fmla="*/ 414814 w 638175"/>
                  <a:gd name="connsiteY101" fmla="*/ 29623 h 333375"/>
                  <a:gd name="connsiteX102" fmla="*/ 411385 w 638175"/>
                  <a:gd name="connsiteY102" fmla="*/ 32194 h 333375"/>
                  <a:gd name="connsiteX103" fmla="*/ 412242 w 638175"/>
                  <a:gd name="connsiteY103" fmla="*/ 39815 h 333375"/>
                  <a:gd name="connsiteX104" fmla="*/ 405479 w 638175"/>
                  <a:gd name="connsiteY104" fmla="*/ 38957 h 333375"/>
                  <a:gd name="connsiteX105" fmla="*/ 404622 w 638175"/>
                  <a:gd name="connsiteY105" fmla="*/ 38100 h 333375"/>
                  <a:gd name="connsiteX106" fmla="*/ 404622 w 638175"/>
                  <a:gd name="connsiteY106" fmla="*/ 37243 h 333375"/>
                  <a:gd name="connsiteX107" fmla="*/ 404622 w 638175"/>
                  <a:gd name="connsiteY107" fmla="*/ 36481 h 333375"/>
                  <a:gd name="connsiteX108" fmla="*/ 403765 w 638175"/>
                  <a:gd name="connsiteY108" fmla="*/ 35623 h 333375"/>
                  <a:gd name="connsiteX109" fmla="*/ 402907 w 638175"/>
                  <a:gd name="connsiteY109" fmla="*/ 34766 h 333375"/>
                  <a:gd name="connsiteX110" fmla="*/ 402050 w 638175"/>
                  <a:gd name="connsiteY110" fmla="*/ 34766 h 333375"/>
                  <a:gd name="connsiteX111" fmla="*/ 393478 w 638175"/>
                  <a:gd name="connsiteY111" fmla="*/ 33052 h 333375"/>
                  <a:gd name="connsiteX112" fmla="*/ 391858 w 638175"/>
                  <a:gd name="connsiteY112" fmla="*/ 32194 h 333375"/>
                  <a:gd name="connsiteX113" fmla="*/ 385858 w 638175"/>
                  <a:gd name="connsiteY113" fmla="*/ 28765 h 333375"/>
                  <a:gd name="connsiteX114" fmla="*/ 379000 w 638175"/>
                  <a:gd name="connsiteY114" fmla="*/ 27146 h 333375"/>
                  <a:gd name="connsiteX115" fmla="*/ 377380 w 638175"/>
                  <a:gd name="connsiteY115" fmla="*/ 26289 h 333375"/>
                  <a:gd name="connsiteX116" fmla="*/ 375666 w 638175"/>
                  <a:gd name="connsiteY116" fmla="*/ 25432 h 333375"/>
                  <a:gd name="connsiteX117" fmla="*/ 376523 w 638175"/>
                  <a:gd name="connsiteY117" fmla="*/ 27908 h 333375"/>
                  <a:gd name="connsiteX118" fmla="*/ 379000 w 638175"/>
                  <a:gd name="connsiteY118" fmla="*/ 29623 h 333375"/>
                  <a:gd name="connsiteX119" fmla="*/ 379000 w 638175"/>
                  <a:gd name="connsiteY119" fmla="*/ 31337 h 333375"/>
                  <a:gd name="connsiteX120" fmla="*/ 376523 w 638175"/>
                  <a:gd name="connsiteY120" fmla="*/ 30480 h 333375"/>
                  <a:gd name="connsiteX121" fmla="*/ 368808 w 638175"/>
                  <a:gd name="connsiteY121" fmla="*/ 26289 h 333375"/>
                  <a:gd name="connsiteX122" fmla="*/ 364522 w 638175"/>
                  <a:gd name="connsiteY122" fmla="*/ 25432 h 333375"/>
                  <a:gd name="connsiteX123" fmla="*/ 360331 w 638175"/>
                  <a:gd name="connsiteY123" fmla="*/ 25432 h 333375"/>
                  <a:gd name="connsiteX124" fmla="*/ 358616 w 638175"/>
                  <a:gd name="connsiteY124" fmla="*/ 25432 h 333375"/>
                  <a:gd name="connsiteX125" fmla="*/ 356045 w 638175"/>
                  <a:gd name="connsiteY125" fmla="*/ 25432 h 333375"/>
                  <a:gd name="connsiteX126" fmla="*/ 354330 w 638175"/>
                  <a:gd name="connsiteY126" fmla="*/ 24575 h 333375"/>
                  <a:gd name="connsiteX127" fmla="*/ 354330 w 638175"/>
                  <a:gd name="connsiteY127" fmla="*/ 19431 h 333375"/>
                  <a:gd name="connsiteX128" fmla="*/ 353473 w 638175"/>
                  <a:gd name="connsiteY128" fmla="*/ 17812 h 333375"/>
                  <a:gd name="connsiteX129" fmla="*/ 347567 w 638175"/>
                  <a:gd name="connsiteY129" fmla="*/ 10954 h 333375"/>
                  <a:gd name="connsiteX130" fmla="*/ 344138 w 638175"/>
                  <a:gd name="connsiteY130" fmla="*/ 7620 h 333375"/>
                  <a:gd name="connsiteX131" fmla="*/ 339852 w 638175"/>
                  <a:gd name="connsiteY131" fmla="*/ 6763 h 333375"/>
                  <a:gd name="connsiteX132" fmla="*/ 336423 w 638175"/>
                  <a:gd name="connsiteY132" fmla="*/ 6763 h 333375"/>
                  <a:gd name="connsiteX133" fmla="*/ 333851 w 638175"/>
                  <a:gd name="connsiteY133" fmla="*/ 8477 h 333375"/>
                  <a:gd name="connsiteX134" fmla="*/ 327946 w 638175"/>
                  <a:gd name="connsiteY134" fmla="*/ 17812 h 333375"/>
                  <a:gd name="connsiteX135" fmla="*/ 327088 w 638175"/>
                  <a:gd name="connsiteY135" fmla="*/ 18669 h 333375"/>
                  <a:gd name="connsiteX136" fmla="*/ 324517 w 638175"/>
                  <a:gd name="connsiteY136" fmla="*/ 19431 h 333375"/>
                  <a:gd name="connsiteX137" fmla="*/ 321945 w 638175"/>
                  <a:gd name="connsiteY137" fmla="*/ 20288 h 333375"/>
                  <a:gd name="connsiteX138" fmla="*/ 316897 w 638175"/>
                  <a:gd name="connsiteY138" fmla="*/ 20288 h 333375"/>
                  <a:gd name="connsiteX139" fmla="*/ 313468 w 638175"/>
                  <a:gd name="connsiteY139" fmla="*/ 20288 h 333375"/>
                  <a:gd name="connsiteX140" fmla="*/ 310896 w 638175"/>
                  <a:gd name="connsiteY140" fmla="*/ 22003 h 333375"/>
                  <a:gd name="connsiteX141" fmla="*/ 310039 w 638175"/>
                  <a:gd name="connsiteY141" fmla="*/ 22860 h 333375"/>
                  <a:gd name="connsiteX142" fmla="*/ 308324 w 638175"/>
                  <a:gd name="connsiteY142" fmla="*/ 26289 h 333375"/>
                  <a:gd name="connsiteX143" fmla="*/ 306610 w 638175"/>
                  <a:gd name="connsiteY143" fmla="*/ 27908 h 333375"/>
                  <a:gd name="connsiteX144" fmla="*/ 305753 w 638175"/>
                  <a:gd name="connsiteY144" fmla="*/ 27908 h 333375"/>
                  <a:gd name="connsiteX145" fmla="*/ 301562 w 638175"/>
                  <a:gd name="connsiteY145" fmla="*/ 27908 h 333375"/>
                  <a:gd name="connsiteX146" fmla="*/ 299847 w 638175"/>
                  <a:gd name="connsiteY146" fmla="*/ 33909 h 333375"/>
                  <a:gd name="connsiteX147" fmla="*/ 304133 w 638175"/>
                  <a:gd name="connsiteY147" fmla="*/ 38957 h 333375"/>
                  <a:gd name="connsiteX148" fmla="*/ 308324 w 638175"/>
                  <a:gd name="connsiteY148" fmla="*/ 43244 h 333375"/>
                  <a:gd name="connsiteX149" fmla="*/ 301562 w 638175"/>
                  <a:gd name="connsiteY149" fmla="*/ 49149 h 333375"/>
                  <a:gd name="connsiteX150" fmla="*/ 297275 w 638175"/>
                  <a:gd name="connsiteY150" fmla="*/ 55054 h 333375"/>
                  <a:gd name="connsiteX151" fmla="*/ 288798 w 638175"/>
                  <a:gd name="connsiteY151" fmla="*/ 55054 h 333375"/>
                  <a:gd name="connsiteX152" fmla="*/ 284512 w 638175"/>
                  <a:gd name="connsiteY152" fmla="*/ 59341 h 333375"/>
                  <a:gd name="connsiteX153" fmla="*/ 278511 w 638175"/>
                  <a:gd name="connsiteY153" fmla="*/ 61055 h 333375"/>
                  <a:gd name="connsiteX154" fmla="*/ 272605 w 638175"/>
                  <a:gd name="connsiteY154" fmla="*/ 63627 h 333375"/>
                  <a:gd name="connsiteX155" fmla="*/ 270891 w 638175"/>
                  <a:gd name="connsiteY155" fmla="*/ 65246 h 333375"/>
                  <a:gd name="connsiteX156" fmla="*/ 269177 w 638175"/>
                  <a:gd name="connsiteY156" fmla="*/ 66104 h 333375"/>
                  <a:gd name="connsiteX157" fmla="*/ 266605 w 638175"/>
                  <a:gd name="connsiteY157" fmla="*/ 66961 h 333375"/>
                  <a:gd name="connsiteX158" fmla="*/ 264890 w 638175"/>
                  <a:gd name="connsiteY158" fmla="*/ 66961 h 333375"/>
                  <a:gd name="connsiteX159" fmla="*/ 262319 w 638175"/>
                  <a:gd name="connsiteY159" fmla="*/ 66961 h 333375"/>
                  <a:gd name="connsiteX160" fmla="*/ 260604 w 638175"/>
                  <a:gd name="connsiteY160" fmla="*/ 67818 h 333375"/>
                  <a:gd name="connsiteX161" fmla="*/ 258985 w 638175"/>
                  <a:gd name="connsiteY161" fmla="*/ 68675 h 333375"/>
                  <a:gd name="connsiteX162" fmla="*/ 258985 w 638175"/>
                  <a:gd name="connsiteY162" fmla="*/ 69533 h 333375"/>
                  <a:gd name="connsiteX163" fmla="*/ 259747 w 638175"/>
                  <a:gd name="connsiteY163" fmla="*/ 70390 h 333375"/>
                  <a:gd name="connsiteX164" fmla="*/ 259747 w 638175"/>
                  <a:gd name="connsiteY164" fmla="*/ 71247 h 333375"/>
                  <a:gd name="connsiteX165" fmla="*/ 259747 w 638175"/>
                  <a:gd name="connsiteY165" fmla="*/ 72104 h 333375"/>
                  <a:gd name="connsiteX166" fmla="*/ 258128 w 638175"/>
                  <a:gd name="connsiteY166" fmla="*/ 72104 h 333375"/>
                  <a:gd name="connsiteX167" fmla="*/ 257270 w 638175"/>
                  <a:gd name="connsiteY167" fmla="*/ 72104 h 333375"/>
                  <a:gd name="connsiteX168" fmla="*/ 256413 w 638175"/>
                  <a:gd name="connsiteY168" fmla="*/ 72866 h 333375"/>
                  <a:gd name="connsiteX169" fmla="*/ 255556 w 638175"/>
                  <a:gd name="connsiteY169" fmla="*/ 73723 h 333375"/>
                  <a:gd name="connsiteX170" fmla="*/ 254698 w 638175"/>
                  <a:gd name="connsiteY170" fmla="*/ 74581 h 333375"/>
                  <a:gd name="connsiteX171" fmla="*/ 247840 w 638175"/>
                  <a:gd name="connsiteY171" fmla="*/ 77152 h 333375"/>
                  <a:gd name="connsiteX172" fmla="*/ 246126 w 638175"/>
                  <a:gd name="connsiteY172" fmla="*/ 78010 h 333375"/>
                  <a:gd name="connsiteX173" fmla="*/ 238506 w 638175"/>
                  <a:gd name="connsiteY173" fmla="*/ 84773 h 333375"/>
                  <a:gd name="connsiteX174" fmla="*/ 236791 w 638175"/>
                  <a:gd name="connsiteY174" fmla="*/ 85630 h 333375"/>
                  <a:gd name="connsiteX175" fmla="*/ 235077 w 638175"/>
                  <a:gd name="connsiteY175" fmla="*/ 84773 h 333375"/>
                  <a:gd name="connsiteX176" fmla="*/ 233363 w 638175"/>
                  <a:gd name="connsiteY176" fmla="*/ 83915 h 333375"/>
                  <a:gd name="connsiteX177" fmla="*/ 231648 w 638175"/>
                  <a:gd name="connsiteY177" fmla="*/ 84773 h 333375"/>
                  <a:gd name="connsiteX178" fmla="*/ 229933 w 638175"/>
                  <a:gd name="connsiteY178" fmla="*/ 86487 h 333375"/>
                  <a:gd name="connsiteX179" fmla="*/ 228314 w 638175"/>
                  <a:gd name="connsiteY179" fmla="*/ 87344 h 333375"/>
                  <a:gd name="connsiteX180" fmla="*/ 225743 w 638175"/>
                  <a:gd name="connsiteY180" fmla="*/ 87344 h 333375"/>
                  <a:gd name="connsiteX181" fmla="*/ 219742 w 638175"/>
                  <a:gd name="connsiteY181" fmla="*/ 86487 h 333375"/>
                  <a:gd name="connsiteX182" fmla="*/ 207836 w 638175"/>
                  <a:gd name="connsiteY182" fmla="*/ 87344 h 333375"/>
                  <a:gd name="connsiteX183" fmla="*/ 198501 w 638175"/>
                  <a:gd name="connsiteY183" fmla="*/ 94107 h 333375"/>
                  <a:gd name="connsiteX184" fmla="*/ 194215 w 638175"/>
                  <a:gd name="connsiteY184" fmla="*/ 96679 h 333375"/>
                  <a:gd name="connsiteX185" fmla="*/ 188214 w 638175"/>
                  <a:gd name="connsiteY185" fmla="*/ 101727 h 333375"/>
                  <a:gd name="connsiteX186" fmla="*/ 183166 w 638175"/>
                  <a:gd name="connsiteY186" fmla="*/ 104299 h 333375"/>
                  <a:gd name="connsiteX187" fmla="*/ 179737 w 638175"/>
                  <a:gd name="connsiteY187" fmla="*/ 106871 h 333375"/>
                  <a:gd name="connsiteX188" fmla="*/ 176308 w 638175"/>
                  <a:gd name="connsiteY188" fmla="*/ 110204 h 333375"/>
                  <a:gd name="connsiteX189" fmla="*/ 175450 w 638175"/>
                  <a:gd name="connsiteY189" fmla="*/ 114490 h 333375"/>
                  <a:gd name="connsiteX190" fmla="*/ 173736 w 638175"/>
                  <a:gd name="connsiteY190" fmla="*/ 118681 h 333375"/>
                  <a:gd name="connsiteX191" fmla="*/ 171164 w 638175"/>
                  <a:gd name="connsiteY191" fmla="*/ 122968 h 333375"/>
                  <a:gd name="connsiteX192" fmla="*/ 168688 w 638175"/>
                  <a:gd name="connsiteY192" fmla="*/ 126397 h 333375"/>
                  <a:gd name="connsiteX193" fmla="*/ 158401 w 638175"/>
                  <a:gd name="connsiteY193" fmla="*/ 133160 h 333375"/>
                  <a:gd name="connsiteX194" fmla="*/ 155829 w 638175"/>
                  <a:gd name="connsiteY194" fmla="*/ 136493 h 333375"/>
                  <a:gd name="connsiteX195" fmla="*/ 154210 w 638175"/>
                  <a:gd name="connsiteY195" fmla="*/ 138208 h 333375"/>
                  <a:gd name="connsiteX196" fmla="*/ 149923 w 638175"/>
                  <a:gd name="connsiteY196" fmla="*/ 139065 h 333375"/>
                  <a:gd name="connsiteX197" fmla="*/ 148209 w 638175"/>
                  <a:gd name="connsiteY197" fmla="*/ 140779 h 333375"/>
                  <a:gd name="connsiteX198" fmla="*/ 146495 w 638175"/>
                  <a:gd name="connsiteY198" fmla="*/ 142494 h 333375"/>
                  <a:gd name="connsiteX199" fmla="*/ 143923 w 638175"/>
                  <a:gd name="connsiteY199" fmla="*/ 145828 h 333375"/>
                  <a:gd name="connsiteX200" fmla="*/ 142208 w 638175"/>
                  <a:gd name="connsiteY200" fmla="*/ 147542 h 333375"/>
                  <a:gd name="connsiteX201" fmla="*/ 140494 w 638175"/>
                  <a:gd name="connsiteY201" fmla="*/ 149257 h 333375"/>
                  <a:gd name="connsiteX202" fmla="*/ 138874 w 638175"/>
                  <a:gd name="connsiteY202" fmla="*/ 149257 h 333375"/>
                  <a:gd name="connsiteX203" fmla="*/ 137160 w 638175"/>
                  <a:gd name="connsiteY203" fmla="*/ 149257 h 333375"/>
                  <a:gd name="connsiteX204" fmla="*/ 135446 w 638175"/>
                  <a:gd name="connsiteY204" fmla="*/ 149257 h 333375"/>
                  <a:gd name="connsiteX205" fmla="*/ 134588 w 638175"/>
                  <a:gd name="connsiteY205" fmla="*/ 149257 h 333375"/>
                  <a:gd name="connsiteX206" fmla="*/ 134588 w 638175"/>
                  <a:gd name="connsiteY206" fmla="*/ 147542 h 333375"/>
                  <a:gd name="connsiteX207" fmla="*/ 134588 w 638175"/>
                  <a:gd name="connsiteY207" fmla="*/ 147542 h 333375"/>
                  <a:gd name="connsiteX208" fmla="*/ 132874 w 638175"/>
                  <a:gd name="connsiteY208" fmla="*/ 147542 h 333375"/>
                  <a:gd name="connsiteX209" fmla="*/ 126016 w 638175"/>
                  <a:gd name="connsiteY209" fmla="*/ 152686 h 333375"/>
                  <a:gd name="connsiteX210" fmla="*/ 122682 w 638175"/>
                  <a:gd name="connsiteY210" fmla="*/ 155162 h 333375"/>
                  <a:gd name="connsiteX211" fmla="*/ 120110 w 638175"/>
                  <a:gd name="connsiteY211" fmla="*/ 158591 h 333375"/>
                  <a:gd name="connsiteX212" fmla="*/ 118396 w 638175"/>
                  <a:gd name="connsiteY212" fmla="*/ 162782 h 333375"/>
                  <a:gd name="connsiteX213" fmla="*/ 118396 w 638175"/>
                  <a:gd name="connsiteY213" fmla="*/ 164497 h 333375"/>
                  <a:gd name="connsiteX214" fmla="*/ 120110 w 638175"/>
                  <a:gd name="connsiteY214" fmla="*/ 165354 h 333375"/>
                  <a:gd name="connsiteX215" fmla="*/ 124396 w 638175"/>
                  <a:gd name="connsiteY215" fmla="*/ 165354 h 333375"/>
                  <a:gd name="connsiteX216" fmla="*/ 125254 w 638175"/>
                  <a:gd name="connsiteY216" fmla="*/ 167069 h 333375"/>
                  <a:gd name="connsiteX217" fmla="*/ 125254 w 638175"/>
                  <a:gd name="connsiteY217" fmla="*/ 168783 h 333375"/>
                  <a:gd name="connsiteX218" fmla="*/ 124396 w 638175"/>
                  <a:gd name="connsiteY218" fmla="*/ 172117 h 333375"/>
                  <a:gd name="connsiteX219" fmla="*/ 124396 w 638175"/>
                  <a:gd name="connsiteY219" fmla="*/ 172117 h 333375"/>
                  <a:gd name="connsiteX220" fmla="*/ 124396 w 638175"/>
                  <a:gd name="connsiteY220" fmla="*/ 172117 h 333375"/>
                  <a:gd name="connsiteX221" fmla="*/ 124396 w 638175"/>
                  <a:gd name="connsiteY221" fmla="*/ 172117 h 333375"/>
                  <a:gd name="connsiteX222" fmla="*/ 124396 w 638175"/>
                  <a:gd name="connsiteY222" fmla="*/ 175546 h 333375"/>
                  <a:gd name="connsiteX223" fmla="*/ 120968 w 638175"/>
                  <a:gd name="connsiteY223" fmla="*/ 178975 h 333375"/>
                  <a:gd name="connsiteX224" fmla="*/ 117538 w 638175"/>
                  <a:gd name="connsiteY224" fmla="*/ 182309 h 333375"/>
                  <a:gd name="connsiteX225" fmla="*/ 114110 w 638175"/>
                  <a:gd name="connsiteY225" fmla="*/ 183166 h 333375"/>
                  <a:gd name="connsiteX226" fmla="*/ 111538 w 638175"/>
                  <a:gd name="connsiteY226" fmla="*/ 184023 h 333375"/>
                  <a:gd name="connsiteX227" fmla="*/ 109919 w 638175"/>
                  <a:gd name="connsiteY227" fmla="*/ 184880 h 333375"/>
                  <a:gd name="connsiteX228" fmla="*/ 107347 w 638175"/>
                  <a:gd name="connsiteY228" fmla="*/ 188309 h 333375"/>
                  <a:gd name="connsiteX229" fmla="*/ 105632 w 638175"/>
                  <a:gd name="connsiteY229" fmla="*/ 189167 h 333375"/>
                  <a:gd name="connsiteX230" fmla="*/ 100489 w 638175"/>
                  <a:gd name="connsiteY230" fmla="*/ 190786 h 333375"/>
                  <a:gd name="connsiteX231" fmla="*/ 96203 w 638175"/>
                  <a:gd name="connsiteY231" fmla="*/ 193358 h 333375"/>
                  <a:gd name="connsiteX232" fmla="*/ 95440 w 638175"/>
                  <a:gd name="connsiteY232" fmla="*/ 194215 h 333375"/>
                  <a:gd name="connsiteX233" fmla="*/ 93726 w 638175"/>
                  <a:gd name="connsiteY233" fmla="*/ 193358 h 333375"/>
                  <a:gd name="connsiteX234" fmla="*/ 92869 w 638175"/>
                  <a:gd name="connsiteY234" fmla="*/ 189929 h 333375"/>
                  <a:gd name="connsiteX235" fmla="*/ 91154 w 638175"/>
                  <a:gd name="connsiteY235" fmla="*/ 189929 h 333375"/>
                  <a:gd name="connsiteX236" fmla="*/ 89440 w 638175"/>
                  <a:gd name="connsiteY236" fmla="*/ 191643 h 333375"/>
                  <a:gd name="connsiteX237" fmla="*/ 89440 w 638175"/>
                  <a:gd name="connsiteY237" fmla="*/ 194215 h 333375"/>
                  <a:gd name="connsiteX238" fmla="*/ 88582 w 638175"/>
                  <a:gd name="connsiteY238" fmla="*/ 195929 h 333375"/>
                  <a:gd name="connsiteX239" fmla="*/ 86868 w 638175"/>
                  <a:gd name="connsiteY239" fmla="*/ 195929 h 333375"/>
                  <a:gd name="connsiteX240" fmla="*/ 85154 w 638175"/>
                  <a:gd name="connsiteY240" fmla="*/ 194215 h 333375"/>
                  <a:gd name="connsiteX241" fmla="*/ 85154 w 638175"/>
                  <a:gd name="connsiteY241" fmla="*/ 192500 h 333375"/>
                  <a:gd name="connsiteX242" fmla="*/ 84296 w 638175"/>
                  <a:gd name="connsiteY242" fmla="*/ 192500 h 333375"/>
                  <a:gd name="connsiteX243" fmla="*/ 82582 w 638175"/>
                  <a:gd name="connsiteY243" fmla="*/ 195929 h 333375"/>
                  <a:gd name="connsiteX244" fmla="*/ 81724 w 638175"/>
                  <a:gd name="connsiteY244" fmla="*/ 198501 h 333375"/>
                  <a:gd name="connsiteX245" fmla="*/ 79248 w 638175"/>
                  <a:gd name="connsiteY245" fmla="*/ 197644 h 333375"/>
                  <a:gd name="connsiteX246" fmla="*/ 78391 w 638175"/>
                  <a:gd name="connsiteY246" fmla="*/ 195072 h 333375"/>
                  <a:gd name="connsiteX247" fmla="*/ 76676 w 638175"/>
                  <a:gd name="connsiteY247" fmla="*/ 190786 h 333375"/>
                  <a:gd name="connsiteX248" fmla="*/ 74962 w 638175"/>
                  <a:gd name="connsiteY248" fmla="*/ 189167 h 333375"/>
                  <a:gd name="connsiteX249" fmla="*/ 74104 w 638175"/>
                  <a:gd name="connsiteY249" fmla="*/ 188309 h 333375"/>
                  <a:gd name="connsiteX250" fmla="*/ 73247 w 638175"/>
                  <a:gd name="connsiteY250" fmla="*/ 190786 h 333375"/>
                  <a:gd name="connsiteX251" fmla="*/ 73247 w 638175"/>
                  <a:gd name="connsiteY251" fmla="*/ 191643 h 333375"/>
                  <a:gd name="connsiteX252" fmla="*/ 73247 w 638175"/>
                  <a:gd name="connsiteY252" fmla="*/ 192500 h 333375"/>
                  <a:gd name="connsiteX253" fmla="*/ 74104 w 638175"/>
                  <a:gd name="connsiteY253" fmla="*/ 194215 h 333375"/>
                  <a:gd name="connsiteX254" fmla="*/ 73247 w 638175"/>
                  <a:gd name="connsiteY254" fmla="*/ 195072 h 333375"/>
                  <a:gd name="connsiteX255" fmla="*/ 72390 w 638175"/>
                  <a:gd name="connsiteY255" fmla="*/ 195929 h 333375"/>
                  <a:gd name="connsiteX256" fmla="*/ 70675 w 638175"/>
                  <a:gd name="connsiteY256" fmla="*/ 195929 h 333375"/>
                  <a:gd name="connsiteX257" fmla="*/ 61341 w 638175"/>
                  <a:gd name="connsiteY257" fmla="*/ 195072 h 333375"/>
                  <a:gd name="connsiteX258" fmla="*/ 59627 w 638175"/>
                  <a:gd name="connsiteY258" fmla="*/ 195072 h 333375"/>
                  <a:gd name="connsiteX259" fmla="*/ 55340 w 638175"/>
                  <a:gd name="connsiteY259" fmla="*/ 197644 h 333375"/>
                  <a:gd name="connsiteX260" fmla="*/ 49435 w 638175"/>
                  <a:gd name="connsiteY260" fmla="*/ 203549 h 333375"/>
                  <a:gd name="connsiteX261" fmla="*/ 45148 w 638175"/>
                  <a:gd name="connsiteY261" fmla="*/ 206121 h 333375"/>
                  <a:gd name="connsiteX262" fmla="*/ 42577 w 638175"/>
                  <a:gd name="connsiteY262" fmla="*/ 206121 h 333375"/>
                  <a:gd name="connsiteX263" fmla="*/ 37433 w 638175"/>
                  <a:gd name="connsiteY263" fmla="*/ 205264 h 333375"/>
                  <a:gd name="connsiteX264" fmla="*/ 32385 w 638175"/>
                  <a:gd name="connsiteY264" fmla="*/ 205264 h 333375"/>
                  <a:gd name="connsiteX265" fmla="*/ 30671 w 638175"/>
                  <a:gd name="connsiteY265" fmla="*/ 204406 h 333375"/>
                  <a:gd name="connsiteX266" fmla="*/ 27241 w 638175"/>
                  <a:gd name="connsiteY266" fmla="*/ 202692 h 333375"/>
                  <a:gd name="connsiteX267" fmla="*/ 22098 w 638175"/>
                  <a:gd name="connsiteY267" fmla="*/ 200977 h 333375"/>
                  <a:gd name="connsiteX268" fmla="*/ 6763 w 638175"/>
                  <a:gd name="connsiteY268" fmla="*/ 201835 h 333375"/>
                  <a:gd name="connsiteX269" fmla="*/ 6001 w 638175"/>
                  <a:gd name="connsiteY269" fmla="*/ 206978 h 333375"/>
                  <a:gd name="connsiteX270" fmla="*/ 857 w 638175"/>
                  <a:gd name="connsiteY270" fmla="*/ 214598 h 333375"/>
                  <a:gd name="connsiteX271" fmla="*/ 0 w 638175"/>
                  <a:gd name="connsiteY271" fmla="*/ 218789 h 333375"/>
                  <a:gd name="connsiteX272" fmla="*/ 2572 w 638175"/>
                  <a:gd name="connsiteY272" fmla="*/ 228124 h 333375"/>
                  <a:gd name="connsiteX273" fmla="*/ 3429 w 638175"/>
                  <a:gd name="connsiteY273" fmla="*/ 229838 h 333375"/>
                  <a:gd name="connsiteX274" fmla="*/ 6763 w 638175"/>
                  <a:gd name="connsiteY274" fmla="*/ 232410 h 333375"/>
                  <a:gd name="connsiteX275" fmla="*/ 7620 w 638175"/>
                  <a:gd name="connsiteY275" fmla="*/ 234125 h 333375"/>
                  <a:gd name="connsiteX276" fmla="*/ 9335 w 638175"/>
                  <a:gd name="connsiteY276" fmla="*/ 236601 h 333375"/>
                  <a:gd name="connsiteX277" fmla="*/ 11906 w 638175"/>
                  <a:gd name="connsiteY277" fmla="*/ 237458 h 333375"/>
                  <a:gd name="connsiteX278" fmla="*/ 14478 w 638175"/>
                  <a:gd name="connsiteY278" fmla="*/ 237458 h 333375"/>
                  <a:gd name="connsiteX279" fmla="*/ 17050 w 638175"/>
                  <a:gd name="connsiteY279" fmla="*/ 239173 h 333375"/>
                  <a:gd name="connsiteX280" fmla="*/ 17050 w 638175"/>
                  <a:gd name="connsiteY280" fmla="*/ 239173 h 333375"/>
                  <a:gd name="connsiteX281" fmla="*/ 19621 w 638175"/>
                  <a:gd name="connsiteY281" fmla="*/ 241745 h 333375"/>
                  <a:gd name="connsiteX282" fmla="*/ 19621 w 638175"/>
                  <a:gd name="connsiteY282" fmla="*/ 243364 h 333375"/>
                  <a:gd name="connsiteX283" fmla="*/ 19621 w 638175"/>
                  <a:gd name="connsiteY283" fmla="*/ 244221 h 333375"/>
                  <a:gd name="connsiteX284" fmla="*/ 22955 w 638175"/>
                  <a:gd name="connsiteY284" fmla="*/ 244221 h 333375"/>
                  <a:gd name="connsiteX285" fmla="*/ 31528 w 638175"/>
                  <a:gd name="connsiteY285" fmla="*/ 240887 h 333375"/>
                  <a:gd name="connsiteX286" fmla="*/ 34957 w 638175"/>
                  <a:gd name="connsiteY286" fmla="*/ 240887 h 333375"/>
                  <a:gd name="connsiteX287" fmla="*/ 39148 w 638175"/>
                  <a:gd name="connsiteY287" fmla="*/ 240887 h 333375"/>
                  <a:gd name="connsiteX288" fmla="*/ 40005 w 638175"/>
                  <a:gd name="connsiteY288" fmla="*/ 240030 h 333375"/>
                  <a:gd name="connsiteX289" fmla="*/ 43434 w 638175"/>
                  <a:gd name="connsiteY289" fmla="*/ 237458 h 333375"/>
                  <a:gd name="connsiteX290" fmla="*/ 45148 w 638175"/>
                  <a:gd name="connsiteY290" fmla="*/ 237458 h 333375"/>
                  <a:gd name="connsiteX291" fmla="*/ 46863 w 638175"/>
                  <a:gd name="connsiteY291" fmla="*/ 240030 h 333375"/>
                  <a:gd name="connsiteX292" fmla="*/ 57055 w 638175"/>
                  <a:gd name="connsiteY292" fmla="*/ 257842 h 333375"/>
                  <a:gd name="connsiteX293" fmla="*/ 57055 w 638175"/>
                  <a:gd name="connsiteY293" fmla="*/ 259556 h 333375"/>
                  <a:gd name="connsiteX294" fmla="*/ 57055 w 638175"/>
                  <a:gd name="connsiteY294" fmla="*/ 262033 h 333375"/>
                  <a:gd name="connsiteX295" fmla="*/ 53626 w 638175"/>
                  <a:gd name="connsiteY295" fmla="*/ 264605 h 333375"/>
                  <a:gd name="connsiteX296" fmla="*/ 51911 w 638175"/>
                  <a:gd name="connsiteY296" fmla="*/ 266319 h 333375"/>
                  <a:gd name="connsiteX297" fmla="*/ 51149 w 638175"/>
                  <a:gd name="connsiteY297" fmla="*/ 268034 h 333375"/>
                  <a:gd name="connsiteX298" fmla="*/ 51149 w 638175"/>
                  <a:gd name="connsiteY298" fmla="*/ 269748 h 333375"/>
                  <a:gd name="connsiteX299" fmla="*/ 51149 w 638175"/>
                  <a:gd name="connsiteY299" fmla="*/ 271367 h 333375"/>
                  <a:gd name="connsiteX300" fmla="*/ 50292 w 638175"/>
                  <a:gd name="connsiteY300" fmla="*/ 272225 h 333375"/>
                  <a:gd name="connsiteX301" fmla="*/ 48578 w 638175"/>
                  <a:gd name="connsiteY301" fmla="*/ 273082 h 333375"/>
                  <a:gd name="connsiteX302" fmla="*/ 48578 w 638175"/>
                  <a:gd name="connsiteY302" fmla="*/ 273939 h 333375"/>
                  <a:gd name="connsiteX303" fmla="*/ 47720 w 638175"/>
                  <a:gd name="connsiteY303" fmla="*/ 273939 h 333375"/>
                  <a:gd name="connsiteX304" fmla="*/ 46863 w 638175"/>
                  <a:gd name="connsiteY304" fmla="*/ 276511 h 333375"/>
                  <a:gd name="connsiteX305" fmla="*/ 46863 w 638175"/>
                  <a:gd name="connsiteY305" fmla="*/ 278225 h 333375"/>
                  <a:gd name="connsiteX306" fmla="*/ 46006 w 638175"/>
                  <a:gd name="connsiteY306" fmla="*/ 280702 h 333375"/>
                  <a:gd name="connsiteX307" fmla="*/ 46006 w 638175"/>
                  <a:gd name="connsiteY307" fmla="*/ 283274 h 333375"/>
                  <a:gd name="connsiteX308" fmla="*/ 47720 w 638175"/>
                  <a:gd name="connsiteY308" fmla="*/ 286703 h 333375"/>
                  <a:gd name="connsiteX309" fmla="*/ 52769 w 638175"/>
                  <a:gd name="connsiteY309" fmla="*/ 292608 h 333375"/>
                  <a:gd name="connsiteX310" fmla="*/ 55340 w 638175"/>
                  <a:gd name="connsiteY310" fmla="*/ 296037 h 333375"/>
                  <a:gd name="connsiteX311" fmla="*/ 55340 w 638175"/>
                  <a:gd name="connsiteY311" fmla="*/ 296037 h 333375"/>
                  <a:gd name="connsiteX312" fmla="*/ 57055 w 638175"/>
                  <a:gd name="connsiteY312" fmla="*/ 303657 h 333375"/>
                  <a:gd name="connsiteX313" fmla="*/ 56197 w 638175"/>
                  <a:gd name="connsiteY313" fmla="*/ 305371 h 333375"/>
                  <a:gd name="connsiteX314" fmla="*/ 60484 w 638175"/>
                  <a:gd name="connsiteY314" fmla="*/ 305371 h 333375"/>
                  <a:gd name="connsiteX315" fmla="*/ 70675 w 638175"/>
                  <a:gd name="connsiteY315" fmla="*/ 306991 h 333375"/>
                  <a:gd name="connsiteX316" fmla="*/ 75819 w 638175"/>
                  <a:gd name="connsiteY316" fmla="*/ 305371 h 333375"/>
                  <a:gd name="connsiteX317" fmla="*/ 78391 w 638175"/>
                  <a:gd name="connsiteY317" fmla="*/ 304514 h 333375"/>
                  <a:gd name="connsiteX318" fmla="*/ 82582 w 638175"/>
                  <a:gd name="connsiteY318" fmla="*/ 303657 h 333375"/>
                  <a:gd name="connsiteX319" fmla="*/ 84296 w 638175"/>
                  <a:gd name="connsiteY319" fmla="*/ 303657 h 333375"/>
                  <a:gd name="connsiteX320" fmla="*/ 87725 w 638175"/>
                  <a:gd name="connsiteY320" fmla="*/ 301942 h 333375"/>
                  <a:gd name="connsiteX321" fmla="*/ 100489 w 638175"/>
                  <a:gd name="connsiteY321" fmla="*/ 298513 h 333375"/>
                  <a:gd name="connsiteX322" fmla="*/ 108204 w 638175"/>
                  <a:gd name="connsiteY322" fmla="*/ 296037 h 333375"/>
                  <a:gd name="connsiteX323" fmla="*/ 114967 w 638175"/>
                  <a:gd name="connsiteY323" fmla="*/ 294322 h 333375"/>
                  <a:gd name="connsiteX324" fmla="*/ 116681 w 638175"/>
                  <a:gd name="connsiteY324" fmla="*/ 293465 h 333375"/>
                  <a:gd name="connsiteX325" fmla="*/ 118396 w 638175"/>
                  <a:gd name="connsiteY325" fmla="*/ 292608 h 333375"/>
                  <a:gd name="connsiteX326" fmla="*/ 120110 w 638175"/>
                  <a:gd name="connsiteY326" fmla="*/ 290036 h 333375"/>
                  <a:gd name="connsiteX327" fmla="*/ 122682 w 638175"/>
                  <a:gd name="connsiteY327" fmla="*/ 288322 h 333375"/>
                  <a:gd name="connsiteX328" fmla="*/ 125254 w 638175"/>
                  <a:gd name="connsiteY328" fmla="*/ 287560 h 333375"/>
                  <a:gd name="connsiteX329" fmla="*/ 129445 w 638175"/>
                  <a:gd name="connsiteY329" fmla="*/ 287560 h 333375"/>
                  <a:gd name="connsiteX330" fmla="*/ 138017 w 638175"/>
                  <a:gd name="connsiteY330" fmla="*/ 289179 h 333375"/>
                  <a:gd name="connsiteX331" fmla="*/ 148209 w 638175"/>
                  <a:gd name="connsiteY331" fmla="*/ 293465 h 333375"/>
                  <a:gd name="connsiteX332" fmla="*/ 151638 w 638175"/>
                  <a:gd name="connsiteY332" fmla="*/ 296037 h 333375"/>
                  <a:gd name="connsiteX333" fmla="*/ 151638 w 638175"/>
                  <a:gd name="connsiteY333" fmla="*/ 296037 h 333375"/>
                  <a:gd name="connsiteX334" fmla="*/ 151638 w 638175"/>
                  <a:gd name="connsiteY334" fmla="*/ 296037 h 333375"/>
                  <a:gd name="connsiteX335" fmla="*/ 151638 w 638175"/>
                  <a:gd name="connsiteY335" fmla="*/ 297656 h 333375"/>
                  <a:gd name="connsiteX336" fmla="*/ 152495 w 638175"/>
                  <a:gd name="connsiteY336" fmla="*/ 298513 h 333375"/>
                  <a:gd name="connsiteX337" fmla="*/ 155067 w 638175"/>
                  <a:gd name="connsiteY337" fmla="*/ 300228 h 333375"/>
                  <a:gd name="connsiteX338" fmla="*/ 157544 w 638175"/>
                  <a:gd name="connsiteY338" fmla="*/ 301085 h 333375"/>
                  <a:gd name="connsiteX339" fmla="*/ 160972 w 638175"/>
                  <a:gd name="connsiteY339" fmla="*/ 301085 h 333375"/>
                  <a:gd name="connsiteX340" fmla="*/ 200120 w 638175"/>
                  <a:gd name="connsiteY340" fmla="*/ 296894 h 333375"/>
                  <a:gd name="connsiteX341" fmla="*/ 203549 w 638175"/>
                  <a:gd name="connsiteY341" fmla="*/ 297656 h 333375"/>
                  <a:gd name="connsiteX342" fmla="*/ 205264 w 638175"/>
                  <a:gd name="connsiteY342" fmla="*/ 298513 h 333375"/>
                  <a:gd name="connsiteX343" fmla="*/ 206121 w 638175"/>
                  <a:gd name="connsiteY343" fmla="*/ 299371 h 333375"/>
                  <a:gd name="connsiteX344" fmla="*/ 209550 w 638175"/>
                  <a:gd name="connsiteY344" fmla="*/ 301942 h 333375"/>
                  <a:gd name="connsiteX345" fmla="*/ 212122 w 638175"/>
                  <a:gd name="connsiteY345" fmla="*/ 301942 h 333375"/>
                  <a:gd name="connsiteX346" fmla="*/ 217170 w 638175"/>
                  <a:gd name="connsiteY346" fmla="*/ 299371 h 333375"/>
                  <a:gd name="connsiteX347" fmla="*/ 218885 w 638175"/>
                  <a:gd name="connsiteY347" fmla="*/ 299371 h 333375"/>
                  <a:gd name="connsiteX348" fmla="*/ 225743 w 638175"/>
                  <a:gd name="connsiteY348" fmla="*/ 298513 h 333375"/>
                  <a:gd name="connsiteX349" fmla="*/ 229171 w 638175"/>
                  <a:gd name="connsiteY349" fmla="*/ 297656 h 333375"/>
                  <a:gd name="connsiteX350" fmla="*/ 235934 w 638175"/>
                  <a:gd name="connsiteY350" fmla="*/ 295180 h 333375"/>
                  <a:gd name="connsiteX351" fmla="*/ 238506 w 638175"/>
                  <a:gd name="connsiteY351" fmla="*/ 293465 h 333375"/>
                  <a:gd name="connsiteX352" fmla="*/ 240221 w 638175"/>
                  <a:gd name="connsiteY352" fmla="*/ 291751 h 333375"/>
                  <a:gd name="connsiteX353" fmla="*/ 242792 w 638175"/>
                  <a:gd name="connsiteY353" fmla="*/ 288322 h 333375"/>
                  <a:gd name="connsiteX354" fmla="*/ 244507 w 638175"/>
                  <a:gd name="connsiteY354" fmla="*/ 287560 h 333375"/>
                  <a:gd name="connsiteX355" fmla="*/ 246983 w 638175"/>
                  <a:gd name="connsiteY355" fmla="*/ 285845 h 333375"/>
                  <a:gd name="connsiteX356" fmla="*/ 250412 w 638175"/>
                  <a:gd name="connsiteY356" fmla="*/ 284131 h 333375"/>
                  <a:gd name="connsiteX357" fmla="*/ 251270 w 638175"/>
                  <a:gd name="connsiteY357" fmla="*/ 282416 h 333375"/>
                  <a:gd name="connsiteX358" fmla="*/ 251270 w 638175"/>
                  <a:gd name="connsiteY358" fmla="*/ 281559 h 333375"/>
                  <a:gd name="connsiteX359" fmla="*/ 250412 w 638175"/>
                  <a:gd name="connsiteY359" fmla="*/ 278225 h 333375"/>
                  <a:gd name="connsiteX360" fmla="*/ 250412 w 638175"/>
                  <a:gd name="connsiteY360" fmla="*/ 274796 h 333375"/>
                  <a:gd name="connsiteX361" fmla="*/ 251270 w 638175"/>
                  <a:gd name="connsiteY361" fmla="*/ 273082 h 333375"/>
                  <a:gd name="connsiteX362" fmla="*/ 252127 w 638175"/>
                  <a:gd name="connsiteY362" fmla="*/ 271367 h 333375"/>
                  <a:gd name="connsiteX363" fmla="*/ 252127 w 638175"/>
                  <a:gd name="connsiteY363" fmla="*/ 271367 h 333375"/>
                  <a:gd name="connsiteX364" fmla="*/ 264890 w 638175"/>
                  <a:gd name="connsiteY364" fmla="*/ 257842 h 333375"/>
                  <a:gd name="connsiteX365" fmla="*/ 267462 w 638175"/>
                  <a:gd name="connsiteY365" fmla="*/ 255270 h 333375"/>
                  <a:gd name="connsiteX366" fmla="*/ 269177 w 638175"/>
                  <a:gd name="connsiteY366" fmla="*/ 254413 h 333375"/>
                  <a:gd name="connsiteX367" fmla="*/ 272605 w 638175"/>
                  <a:gd name="connsiteY367" fmla="*/ 251079 h 333375"/>
                  <a:gd name="connsiteX368" fmla="*/ 276796 w 638175"/>
                  <a:gd name="connsiteY368" fmla="*/ 247650 h 333375"/>
                  <a:gd name="connsiteX369" fmla="*/ 281940 w 638175"/>
                  <a:gd name="connsiteY369" fmla="*/ 243364 h 333375"/>
                  <a:gd name="connsiteX370" fmla="*/ 296418 w 638175"/>
                  <a:gd name="connsiteY370" fmla="*/ 230696 h 333375"/>
                  <a:gd name="connsiteX371" fmla="*/ 297275 w 638175"/>
                  <a:gd name="connsiteY371" fmla="*/ 229838 h 333375"/>
                  <a:gd name="connsiteX372" fmla="*/ 298132 w 638175"/>
                  <a:gd name="connsiteY372" fmla="*/ 228124 h 333375"/>
                  <a:gd name="connsiteX373" fmla="*/ 298132 w 638175"/>
                  <a:gd name="connsiteY373" fmla="*/ 227267 h 333375"/>
                  <a:gd name="connsiteX374" fmla="*/ 297275 w 638175"/>
                  <a:gd name="connsiteY374" fmla="*/ 225552 h 333375"/>
                  <a:gd name="connsiteX375" fmla="*/ 296418 w 638175"/>
                  <a:gd name="connsiteY375" fmla="*/ 224790 h 333375"/>
                  <a:gd name="connsiteX376" fmla="*/ 294704 w 638175"/>
                  <a:gd name="connsiteY376" fmla="*/ 223933 h 333375"/>
                  <a:gd name="connsiteX377" fmla="*/ 293846 w 638175"/>
                  <a:gd name="connsiteY377" fmla="*/ 222218 h 333375"/>
                  <a:gd name="connsiteX378" fmla="*/ 292989 w 638175"/>
                  <a:gd name="connsiteY378" fmla="*/ 219646 h 333375"/>
                  <a:gd name="connsiteX379" fmla="*/ 293846 w 638175"/>
                  <a:gd name="connsiteY379" fmla="*/ 217932 h 333375"/>
                  <a:gd name="connsiteX380" fmla="*/ 296418 w 638175"/>
                  <a:gd name="connsiteY380" fmla="*/ 215455 h 333375"/>
                  <a:gd name="connsiteX381" fmla="*/ 297275 w 638175"/>
                  <a:gd name="connsiteY381" fmla="*/ 215455 h 333375"/>
                  <a:gd name="connsiteX382" fmla="*/ 298132 w 638175"/>
                  <a:gd name="connsiteY382" fmla="*/ 215455 h 333375"/>
                  <a:gd name="connsiteX383" fmla="*/ 298990 w 638175"/>
                  <a:gd name="connsiteY383" fmla="*/ 216313 h 333375"/>
                  <a:gd name="connsiteX384" fmla="*/ 299847 w 638175"/>
                  <a:gd name="connsiteY384" fmla="*/ 217075 h 333375"/>
                  <a:gd name="connsiteX385" fmla="*/ 300704 w 638175"/>
                  <a:gd name="connsiteY385" fmla="*/ 218789 h 333375"/>
                  <a:gd name="connsiteX386" fmla="*/ 301562 w 638175"/>
                  <a:gd name="connsiteY386" fmla="*/ 219646 h 333375"/>
                  <a:gd name="connsiteX387" fmla="*/ 304133 w 638175"/>
                  <a:gd name="connsiteY387" fmla="*/ 220504 h 333375"/>
                  <a:gd name="connsiteX388" fmla="*/ 305753 w 638175"/>
                  <a:gd name="connsiteY388" fmla="*/ 220504 h 333375"/>
                  <a:gd name="connsiteX389" fmla="*/ 309181 w 638175"/>
                  <a:gd name="connsiteY389" fmla="*/ 222218 h 333375"/>
                  <a:gd name="connsiteX390" fmla="*/ 319373 w 638175"/>
                  <a:gd name="connsiteY390" fmla="*/ 219646 h 333375"/>
                  <a:gd name="connsiteX391" fmla="*/ 321945 w 638175"/>
                  <a:gd name="connsiteY391" fmla="*/ 222218 h 333375"/>
                  <a:gd name="connsiteX392" fmla="*/ 325374 w 638175"/>
                  <a:gd name="connsiteY392" fmla="*/ 220504 h 333375"/>
                  <a:gd name="connsiteX393" fmla="*/ 327088 w 638175"/>
                  <a:gd name="connsiteY393" fmla="*/ 220504 h 333375"/>
                  <a:gd name="connsiteX394" fmla="*/ 327946 w 638175"/>
                  <a:gd name="connsiteY394" fmla="*/ 221361 h 333375"/>
                  <a:gd name="connsiteX395" fmla="*/ 331375 w 638175"/>
                  <a:gd name="connsiteY395" fmla="*/ 219646 h 333375"/>
                  <a:gd name="connsiteX396" fmla="*/ 332232 w 638175"/>
                  <a:gd name="connsiteY396" fmla="*/ 218789 h 333375"/>
                  <a:gd name="connsiteX397" fmla="*/ 337280 w 638175"/>
                  <a:gd name="connsiteY397" fmla="*/ 215455 h 333375"/>
                  <a:gd name="connsiteX398" fmla="*/ 343281 w 638175"/>
                  <a:gd name="connsiteY398" fmla="*/ 212884 h 333375"/>
                  <a:gd name="connsiteX399" fmla="*/ 350044 w 638175"/>
                  <a:gd name="connsiteY399" fmla="*/ 210312 h 333375"/>
                  <a:gd name="connsiteX400" fmla="*/ 356902 w 638175"/>
                  <a:gd name="connsiteY400" fmla="*/ 208598 h 333375"/>
                  <a:gd name="connsiteX401" fmla="*/ 358616 w 638175"/>
                  <a:gd name="connsiteY401" fmla="*/ 208598 h 333375"/>
                  <a:gd name="connsiteX402" fmla="*/ 361188 w 638175"/>
                  <a:gd name="connsiteY402" fmla="*/ 206978 h 333375"/>
                  <a:gd name="connsiteX403" fmla="*/ 368808 w 638175"/>
                  <a:gd name="connsiteY403" fmla="*/ 203549 h 333375"/>
                  <a:gd name="connsiteX404" fmla="*/ 374809 w 638175"/>
                  <a:gd name="connsiteY404" fmla="*/ 200120 h 333375"/>
                  <a:gd name="connsiteX405" fmla="*/ 408051 w 638175"/>
                  <a:gd name="connsiteY405" fmla="*/ 188309 h 333375"/>
                  <a:gd name="connsiteX406" fmla="*/ 413099 w 638175"/>
                  <a:gd name="connsiteY406" fmla="*/ 184880 h 333375"/>
                  <a:gd name="connsiteX407" fmla="*/ 414814 w 638175"/>
                  <a:gd name="connsiteY407" fmla="*/ 184880 h 333375"/>
                  <a:gd name="connsiteX408" fmla="*/ 415671 w 638175"/>
                  <a:gd name="connsiteY408" fmla="*/ 184880 h 333375"/>
                  <a:gd name="connsiteX409" fmla="*/ 418243 w 638175"/>
                  <a:gd name="connsiteY409" fmla="*/ 186595 h 333375"/>
                  <a:gd name="connsiteX410" fmla="*/ 419957 w 638175"/>
                  <a:gd name="connsiteY410" fmla="*/ 187452 h 333375"/>
                  <a:gd name="connsiteX411" fmla="*/ 421672 w 638175"/>
                  <a:gd name="connsiteY411" fmla="*/ 187452 h 333375"/>
                  <a:gd name="connsiteX412" fmla="*/ 423291 w 638175"/>
                  <a:gd name="connsiteY412" fmla="*/ 188309 h 333375"/>
                  <a:gd name="connsiteX413" fmla="*/ 425863 w 638175"/>
                  <a:gd name="connsiteY413" fmla="*/ 188309 h 333375"/>
                  <a:gd name="connsiteX414" fmla="*/ 435293 w 638175"/>
                  <a:gd name="connsiteY414" fmla="*/ 185738 h 333375"/>
                  <a:gd name="connsiteX415" fmla="*/ 441198 w 638175"/>
                  <a:gd name="connsiteY415" fmla="*/ 184023 h 333375"/>
                  <a:gd name="connsiteX416" fmla="*/ 443770 w 638175"/>
                  <a:gd name="connsiteY416" fmla="*/ 182309 h 333375"/>
                  <a:gd name="connsiteX417" fmla="*/ 445484 w 638175"/>
                  <a:gd name="connsiteY417" fmla="*/ 180594 h 333375"/>
                  <a:gd name="connsiteX418" fmla="*/ 454819 w 638175"/>
                  <a:gd name="connsiteY418" fmla="*/ 174688 h 333375"/>
                  <a:gd name="connsiteX419" fmla="*/ 459962 w 638175"/>
                  <a:gd name="connsiteY419" fmla="*/ 172974 h 333375"/>
                  <a:gd name="connsiteX420" fmla="*/ 487204 w 638175"/>
                  <a:gd name="connsiteY420" fmla="*/ 172974 h 333375"/>
                  <a:gd name="connsiteX421" fmla="*/ 488918 w 638175"/>
                  <a:gd name="connsiteY421" fmla="*/ 172974 h 333375"/>
                  <a:gd name="connsiteX422" fmla="*/ 488061 w 638175"/>
                  <a:gd name="connsiteY422" fmla="*/ 173831 h 333375"/>
                  <a:gd name="connsiteX423" fmla="*/ 488061 w 638175"/>
                  <a:gd name="connsiteY423" fmla="*/ 175546 h 333375"/>
                  <a:gd name="connsiteX424" fmla="*/ 486346 w 638175"/>
                  <a:gd name="connsiteY424" fmla="*/ 178117 h 333375"/>
                  <a:gd name="connsiteX425" fmla="*/ 484632 w 638175"/>
                  <a:gd name="connsiteY425" fmla="*/ 181451 h 333375"/>
                  <a:gd name="connsiteX426" fmla="*/ 480441 w 638175"/>
                  <a:gd name="connsiteY426" fmla="*/ 188309 h 333375"/>
                  <a:gd name="connsiteX427" fmla="*/ 471011 w 638175"/>
                  <a:gd name="connsiteY427" fmla="*/ 200120 h 333375"/>
                  <a:gd name="connsiteX428" fmla="*/ 467678 w 638175"/>
                  <a:gd name="connsiteY428" fmla="*/ 203549 h 333375"/>
                  <a:gd name="connsiteX429" fmla="*/ 466820 w 638175"/>
                  <a:gd name="connsiteY429" fmla="*/ 206978 h 333375"/>
                  <a:gd name="connsiteX430" fmla="*/ 467678 w 638175"/>
                  <a:gd name="connsiteY430" fmla="*/ 208598 h 333375"/>
                  <a:gd name="connsiteX431" fmla="*/ 467678 w 638175"/>
                  <a:gd name="connsiteY431" fmla="*/ 209455 h 333375"/>
                  <a:gd name="connsiteX432" fmla="*/ 468439 w 638175"/>
                  <a:gd name="connsiteY432" fmla="*/ 217075 h 333375"/>
                  <a:gd name="connsiteX433" fmla="*/ 469297 w 638175"/>
                  <a:gd name="connsiteY433" fmla="*/ 217932 h 333375"/>
                  <a:gd name="connsiteX434" fmla="*/ 469297 w 638175"/>
                  <a:gd name="connsiteY434" fmla="*/ 218789 h 333375"/>
                  <a:gd name="connsiteX435" fmla="*/ 471011 w 638175"/>
                  <a:gd name="connsiteY435" fmla="*/ 219646 h 333375"/>
                  <a:gd name="connsiteX436" fmla="*/ 471869 w 638175"/>
                  <a:gd name="connsiteY436" fmla="*/ 220504 h 333375"/>
                  <a:gd name="connsiteX437" fmla="*/ 472726 w 638175"/>
                  <a:gd name="connsiteY437" fmla="*/ 220504 h 333375"/>
                  <a:gd name="connsiteX438" fmla="*/ 473583 w 638175"/>
                  <a:gd name="connsiteY438" fmla="*/ 222218 h 333375"/>
                  <a:gd name="connsiteX439" fmla="*/ 474440 w 638175"/>
                  <a:gd name="connsiteY439" fmla="*/ 223075 h 333375"/>
                  <a:gd name="connsiteX440" fmla="*/ 477012 w 638175"/>
                  <a:gd name="connsiteY440" fmla="*/ 223933 h 333375"/>
                  <a:gd name="connsiteX441" fmla="*/ 477869 w 638175"/>
                  <a:gd name="connsiteY441" fmla="*/ 225552 h 333375"/>
                  <a:gd name="connsiteX442" fmla="*/ 478727 w 638175"/>
                  <a:gd name="connsiteY442" fmla="*/ 227267 h 333375"/>
                  <a:gd name="connsiteX443" fmla="*/ 479584 w 638175"/>
                  <a:gd name="connsiteY443" fmla="*/ 232410 h 333375"/>
                  <a:gd name="connsiteX444" fmla="*/ 479584 w 638175"/>
                  <a:gd name="connsiteY444" fmla="*/ 234125 h 333375"/>
                  <a:gd name="connsiteX445" fmla="*/ 477869 w 638175"/>
                  <a:gd name="connsiteY445" fmla="*/ 238316 h 333375"/>
                  <a:gd name="connsiteX446" fmla="*/ 477869 w 638175"/>
                  <a:gd name="connsiteY446" fmla="*/ 239173 h 333375"/>
                  <a:gd name="connsiteX447" fmla="*/ 478727 w 638175"/>
                  <a:gd name="connsiteY447" fmla="*/ 240030 h 333375"/>
                  <a:gd name="connsiteX448" fmla="*/ 478727 w 638175"/>
                  <a:gd name="connsiteY448" fmla="*/ 240030 h 333375"/>
                  <a:gd name="connsiteX449" fmla="*/ 479584 w 638175"/>
                  <a:gd name="connsiteY449" fmla="*/ 241745 h 333375"/>
                  <a:gd name="connsiteX450" fmla="*/ 479584 w 638175"/>
                  <a:gd name="connsiteY450" fmla="*/ 242602 h 333375"/>
                  <a:gd name="connsiteX451" fmla="*/ 478727 w 638175"/>
                  <a:gd name="connsiteY451" fmla="*/ 245078 h 333375"/>
                  <a:gd name="connsiteX452" fmla="*/ 478727 w 638175"/>
                  <a:gd name="connsiteY452" fmla="*/ 245936 h 333375"/>
                  <a:gd name="connsiteX453" fmla="*/ 479584 w 638175"/>
                  <a:gd name="connsiteY453" fmla="*/ 245936 h 333375"/>
                  <a:gd name="connsiteX454" fmla="*/ 480441 w 638175"/>
                  <a:gd name="connsiteY454" fmla="*/ 245936 h 333375"/>
                  <a:gd name="connsiteX455" fmla="*/ 483775 w 638175"/>
                  <a:gd name="connsiteY455" fmla="*/ 240887 h 333375"/>
                  <a:gd name="connsiteX456" fmla="*/ 484632 w 638175"/>
                  <a:gd name="connsiteY456" fmla="*/ 240887 h 333375"/>
                  <a:gd name="connsiteX457" fmla="*/ 484632 w 638175"/>
                  <a:gd name="connsiteY457" fmla="*/ 240887 h 333375"/>
                  <a:gd name="connsiteX458" fmla="*/ 485489 w 638175"/>
                  <a:gd name="connsiteY458" fmla="*/ 240030 h 333375"/>
                  <a:gd name="connsiteX459" fmla="*/ 486346 w 638175"/>
                  <a:gd name="connsiteY459" fmla="*/ 240030 h 333375"/>
                  <a:gd name="connsiteX460" fmla="*/ 487204 w 638175"/>
                  <a:gd name="connsiteY460" fmla="*/ 240030 h 333375"/>
                  <a:gd name="connsiteX461" fmla="*/ 488061 w 638175"/>
                  <a:gd name="connsiteY461" fmla="*/ 240030 h 333375"/>
                  <a:gd name="connsiteX462" fmla="*/ 488918 w 638175"/>
                  <a:gd name="connsiteY462" fmla="*/ 240030 h 333375"/>
                  <a:gd name="connsiteX463" fmla="*/ 489775 w 638175"/>
                  <a:gd name="connsiteY463" fmla="*/ 240887 h 333375"/>
                  <a:gd name="connsiteX464" fmla="*/ 492347 w 638175"/>
                  <a:gd name="connsiteY464" fmla="*/ 243364 h 333375"/>
                  <a:gd name="connsiteX465" fmla="*/ 492347 w 638175"/>
                  <a:gd name="connsiteY465" fmla="*/ 244221 h 333375"/>
                  <a:gd name="connsiteX466" fmla="*/ 493205 w 638175"/>
                  <a:gd name="connsiteY466" fmla="*/ 245936 h 333375"/>
                  <a:gd name="connsiteX467" fmla="*/ 493205 w 638175"/>
                  <a:gd name="connsiteY467" fmla="*/ 249364 h 333375"/>
                  <a:gd name="connsiteX468" fmla="*/ 492347 w 638175"/>
                  <a:gd name="connsiteY468" fmla="*/ 250222 h 333375"/>
                  <a:gd name="connsiteX469" fmla="*/ 492347 w 638175"/>
                  <a:gd name="connsiteY469" fmla="*/ 250222 h 333375"/>
                  <a:gd name="connsiteX470" fmla="*/ 492347 w 638175"/>
                  <a:gd name="connsiteY470" fmla="*/ 251079 h 333375"/>
                  <a:gd name="connsiteX471" fmla="*/ 491490 w 638175"/>
                  <a:gd name="connsiteY471" fmla="*/ 251079 h 333375"/>
                  <a:gd name="connsiteX472" fmla="*/ 489775 w 638175"/>
                  <a:gd name="connsiteY472" fmla="*/ 252698 h 333375"/>
                  <a:gd name="connsiteX473" fmla="*/ 488918 w 638175"/>
                  <a:gd name="connsiteY473" fmla="*/ 252698 h 333375"/>
                  <a:gd name="connsiteX474" fmla="*/ 488061 w 638175"/>
                  <a:gd name="connsiteY474" fmla="*/ 253555 h 333375"/>
                  <a:gd name="connsiteX475" fmla="*/ 488061 w 638175"/>
                  <a:gd name="connsiteY475" fmla="*/ 254413 h 333375"/>
                  <a:gd name="connsiteX476" fmla="*/ 487204 w 638175"/>
                  <a:gd name="connsiteY476" fmla="*/ 255270 h 333375"/>
                  <a:gd name="connsiteX477" fmla="*/ 487204 w 638175"/>
                  <a:gd name="connsiteY477" fmla="*/ 256127 h 333375"/>
                  <a:gd name="connsiteX478" fmla="*/ 487204 w 638175"/>
                  <a:gd name="connsiteY478" fmla="*/ 256984 h 333375"/>
                  <a:gd name="connsiteX479" fmla="*/ 486346 w 638175"/>
                  <a:gd name="connsiteY479" fmla="*/ 256984 h 333375"/>
                  <a:gd name="connsiteX480" fmla="*/ 486346 w 638175"/>
                  <a:gd name="connsiteY480" fmla="*/ 256984 h 333375"/>
                  <a:gd name="connsiteX481" fmla="*/ 483775 w 638175"/>
                  <a:gd name="connsiteY481" fmla="*/ 257842 h 333375"/>
                  <a:gd name="connsiteX482" fmla="*/ 483775 w 638175"/>
                  <a:gd name="connsiteY482" fmla="*/ 257842 h 333375"/>
                  <a:gd name="connsiteX483" fmla="*/ 482918 w 638175"/>
                  <a:gd name="connsiteY483" fmla="*/ 258699 h 333375"/>
                  <a:gd name="connsiteX484" fmla="*/ 482155 w 638175"/>
                  <a:gd name="connsiteY484" fmla="*/ 260413 h 333375"/>
                  <a:gd name="connsiteX485" fmla="*/ 482155 w 638175"/>
                  <a:gd name="connsiteY485" fmla="*/ 260413 h 333375"/>
                  <a:gd name="connsiteX486" fmla="*/ 481298 w 638175"/>
                  <a:gd name="connsiteY486" fmla="*/ 261271 h 333375"/>
                  <a:gd name="connsiteX487" fmla="*/ 481298 w 638175"/>
                  <a:gd name="connsiteY487" fmla="*/ 261271 h 333375"/>
                  <a:gd name="connsiteX488" fmla="*/ 477869 w 638175"/>
                  <a:gd name="connsiteY488" fmla="*/ 260413 h 333375"/>
                  <a:gd name="connsiteX489" fmla="*/ 477012 w 638175"/>
                  <a:gd name="connsiteY489" fmla="*/ 260413 h 333375"/>
                  <a:gd name="connsiteX490" fmla="*/ 476155 w 638175"/>
                  <a:gd name="connsiteY490" fmla="*/ 260413 h 333375"/>
                  <a:gd name="connsiteX491" fmla="*/ 475297 w 638175"/>
                  <a:gd name="connsiteY491" fmla="*/ 260413 h 333375"/>
                  <a:gd name="connsiteX492" fmla="*/ 474440 w 638175"/>
                  <a:gd name="connsiteY492" fmla="*/ 260413 h 333375"/>
                  <a:gd name="connsiteX493" fmla="*/ 471011 w 638175"/>
                  <a:gd name="connsiteY493" fmla="*/ 260413 h 333375"/>
                  <a:gd name="connsiteX494" fmla="*/ 469297 w 638175"/>
                  <a:gd name="connsiteY494" fmla="*/ 260413 h 333375"/>
                  <a:gd name="connsiteX495" fmla="*/ 452342 w 638175"/>
                  <a:gd name="connsiteY495" fmla="*/ 267176 h 333375"/>
                  <a:gd name="connsiteX496" fmla="*/ 449771 w 638175"/>
                  <a:gd name="connsiteY496" fmla="*/ 267176 h 333375"/>
                  <a:gd name="connsiteX497" fmla="*/ 447199 w 638175"/>
                  <a:gd name="connsiteY497" fmla="*/ 265462 h 333375"/>
                  <a:gd name="connsiteX498" fmla="*/ 444627 w 638175"/>
                  <a:gd name="connsiteY498" fmla="*/ 262890 h 333375"/>
                  <a:gd name="connsiteX499" fmla="*/ 442913 w 638175"/>
                  <a:gd name="connsiteY499" fmla="*/ 262033 h 333375"/>
                  <a:gd name="connsiteX500" fmla="*/ 441198 w 638175"/>
                  <a:gd name="connsiteY500" fmla="*/ 262033 h 333375"/>
                  <a:gd name="connsiteX501" fmla="*/ 440341 w 638175"/>
                  <a:gd name="connsiteY501" fmla="*/ 262033 h 333375"/>
                  <a:gd name="connsiteX502" fmla="*/ 437007 w 638175"/>
                  <a:gd name="connsiteY502" fmla="*/ 262890 h 333375"/>
                  <a:gd name="connsiteX503" fmla="*/ 436150 w 638175"/>
                  <a:gd name="connsiteY503" fmla="*/ 263747 h 333375"/>
                  <a:gd name="connsiteX504" fmla="*/ 435293 w 638175"/>
                  <a:gd name="connsiteY504" fmla="*/ 264605 h 333375"/>
                  <a:gd name="connsiteX505" fmla="*/ 434435 w 638175"/>
                  <a:gd name="connsiteY505" fmla="*/ 266319 h 333375"/>
                  <a:gd name="connsiteX506" fmla="*/ 434435 w 638175"/>
                  <a:gd name="connsiteY506" fmla="*/ 267176 h 333375"/>
                  <a:gd name="connsiteX507" fmla="*/ 433578 w 638175"/>
                  <a:gd name="connsiteY507" fmla="*/ 269748 h 333375"/>
                  <a:gd name="connsiteX508" fmla="*/ 433578 w 638175"/>
                  <a:gd name="connsiteY508" fmla="*/ 271367 h 333375"/>
                  <a:gd name="connsiteX509" fmla="*/ 431863 w 638175"/>
                  <a:gd name="connsiteY509" fmla="*/ 273939 h 333375"/>
                  <a:gd name="connsiteX510" fmla="*/ 430149 w 638175"/>
                  <a:gd name="connsiteY510" fmla="*/ 275654 h 333375"/>
                  <a:gd name="connsiteX511" fmla="*/ 427577 w 638175"/>
                  <a:gd name="connsiteY511" fmla="*/ 278225 h 333375"/>
                  <a:gd name="connsiteX512" fmla="*/ 425863 w 638175"/>
                  <a:gd name="connsiteY512" fmla="*/ 279083 h 333375"/>
                  <a:gd name="connsiteX513" fmla="*/ 423291 w 638175"/>
                  <a:gd name="connsiteY513" fmla="*/ 279845 h 333375"/>
                  <a:gd name="connsiteX514" fmla="*/ 421672 w 638175"/>
                  <a:gd name="connsiteY514" fmla="*/ 280702 h 333375"/>
                  <a:gd name="connsiteX515" fmla="*/ 419957 w 638175"/>
                  <a:gd name="connsiteY515" fmla="*/ 281559 h 333375"/>
                  <a:gd name="connsiteX516" fmla="*/ 414814 w 638175"/>
                  <a:gd name="connsiteY516" fmla="*/ 285845 h 333375"/>
                  <a:gd name="connsiteX517" fmla="*/ 409670 w 638175"/>
                  <a:gd name="connsiteY517" fmla="*/ 289179 h 333375"/>
                  <a:gd name="connsiteX518" fmla="*/ 408813 w 638175"/>
                  <a:gd name="connsiteY518" fmla="*/ 290036 h 333375"/>
                  <a:gd name="connsiteX519" fmla="*/ 407194 w 638175"/>
                  <a:gd name="connsiteY519" fmla="*/ 290036 h 333375"/>
                  <a:gd name="connsiteX520" fmla="*/ 404622 w 638175"/>
                  <a:gd name="connsiteY520" fmla="*/ 290036 h 333375"/>
                  <a:gd name="connsiteX521" fmla="*/ 402907 w 638175"/>
                  <a:gd name="connsiteY521" fmla="*/ 290036 h 333375"/>
                  <a:gd name="connsiteX522" fmla="*/ 402050 w 638175"/>
                  <a:gd name="connsiteY522" fmla="*/ 290036 h 333375"/>
                  <a:gd name="connsiteX523" fmla="*/ 401193 w 638175"/>
                  <a:gd name="connsiteY523" fmla="*/ 290036 h 333375"/>
                  <a:gd name="connsiteX524" fmla="*/ 400336 w 638175"/>
                  <a:gd name="connsiteY524" fmla="*/ 291751 h 333375"/>
                  <a:gd name="connsiteX525" fmla="*/ 400336 w 638175"/>
                  <a:gd name="connsiteY525" fmla="*/ 295180 h 333375"/>
                  <a:gd name="connsiteX526" fmla="*/ 402050 w 638175"/>
                  <a:gd name="connsiteY526" fmla="*/ 296037 h 333375"/>
                  <a:gd name="connsiteX527" fmla="*/ 402907 w 638175"/>
                  <a:gd name="connsiteY527" fmla="*/ 296894 h 333375"/>
                  <a:gd name="connsiteX528" fmla="*/ 403765 w 638175"/>
                  <a:gd name="connsiteY528" fmla="*/ 296894 h 333375"/>
                  <a:gd name="connsiteX529" fmla="*/ 405479 w 638175"/>
                  <a:gd name="connsiteY529" fmla="*/ 298513 h 333375"/>
                  <a:gd name="connsiteX530" fmla="*/ 406337 w 638175"/>
                  <a:gd name="connsiteY530" fmla="*/ 300228 h 333375"/>
                  <a:gd name="connsiteX531" fmla="*/ 406337 w 638175"/>
                  <a:gd name="connsiteY531" fmla="*/ 301942 h 333375"/>
                  <a:gd name="connsiteX532" fmla="*/ 406337 w 638175"/>
                  <a:gd name="connsiteY532" fmla="*/ 306991 h 333375"/>
                  <a:gd name="connsiteX533" fmla="*/ 406337 w 638175"/>
                  <a:gd name="connsiteY533" fmla="*/ 308705 h 333375"/>
                  <a:gd name="connsiteX534" fmla="*/ 405479 w 638175"/>
                  <a:gd name="connsiteY534" fmla="*/ 309563 h 333375"/>
                  <a:gd name="connsiteX535" fmla="*/ 404622 w 638175"/>
                  <a:gd name="connsiteY535" fmla="*/ 310420 h 333375"/>
                  <a:gd name="connsiteX536" fmla="*/ 404622 w 638175"/>
                  <a:gd name="connsiteY536" fmla="*/ 311277 h 333375"/>
                  <a:gd name="connsiteX537" fmla="*/ 403765 w 638175"/>
                  <a:gd name="connsiteY537" fmla="*/ 311277 h 333375"/>
                  <a:gd name="connsiteX538" fmla="*/ 402907 w 638175"/>
                  <a:gd name="connsiteY538" fmla="*/ 312134 h 333375"/>
                  <a:gd name="connsiteX539" fmla="*/ 402907 w 638175"/>
                  <a:gd name="connsiteY539" fmla="*/ 312992 h 333375"/>
                  <a:gd name="connsiteX540" fmla="*/ 402907 w 638175"/>
                  <a:gd name="connsiteY540" fmla="*/ 315468 h 333375"/>
                  <a:gd name="connsiteX541" fmla="*/ 402907 w 638175"/>
                  <a:gd name="connsiteY541" fmla="*/ 316325 h 333375"/>
                  <a:gd name="connsiteX542" fmla="*/ 403765 w 638175"/>
                  <a:gd name="connsiteY542" fmla="*/ 318040 h 333375"/>
                  <a:gd name="connsiteX543" fmla="*/ 405479 w 638175"/>
                  <a:gd name="connsiteY543" fmla="*/ 319754 h 333375"/>
                  <a:gd name="connsiteX544" fmla="*/ 406337 w 638175"/>
                  <a:gd name="connsiteY544" fmla="*/ 320612 h 333375"/>
                  <a:gd name="connsiteX545" fmla="*/ 406337 w 638175"/>
                  <a:gd name="connsiteY545" fmla="*/ 321469 h 333375"/>
                  <a:gd name="connsiteX546" fmla="*/ 405479 w 638175"/>
                  <a:gd name="connsiteY546" fmla="*/ 325660 h 333375"/>
                  <a:gd name="connsiteX547" fmla="*/ 405479 w 638175"/>
                  <a:gd name="connsiteY547" fmla="*/ 327374 h 333375"/>
                  <a:gd name="connsiteX548" fmla="*/ 405479 w 638175"/>
                  <a:gd name="connsiteY548" fmla="*/ 329089 h 333375"/>
                  <a:gd name="connsiteX549" fmla="*/ 405479 w 638175"/>
                  <a:gd name="connsiteY549" fmla="*/ 329946 h 333375"/>
                  <a:gd name="connsiteX550" fmla="*/ 408051 w 638175"/>
                  <a:gd name="connsiteY550" fmla="*/ 334994 h 333375"/>
                  <a:gd name="connsiteX551" fmla="*/ 408051 w 638175"/>
                  <a:gd name="connsiteY551" fmla="*/ 339280 h 333375"/>
                  <a:gd name="connsiteX552" fmla="*/ 408051 w 638175"/>
                  <a:gd name="connsiteY552" fmla="*/ 339280 h 333375"/>
                  <a:gd name="connsiteX553" fmla="*/ 409670 w 638175"/>
                  <a:gd name="connsiteY553" fmla="*/ 339280 h 333375"/>
                  <a:gd name="connsiteX554" fmla="*/ 411385 w 638175"/>
                  <a:gd name="connsiteY554" fmla="*/ 338423 h 333375"/>
                  <a:gd name="connsiteX555" fmla="*/ 415671 w 638175"/>
                  <a:gd name="connsiteY555" fmla="*/ 336709 h 333375"/>
                  <a:gd name="connsiteX556" fmla="*/ 424148 w 638175"/>
                  <a:gd name="connsiteY556" fmla="*/ 334137 h 333375"/>
                  <a:gd name="connsiteX557" fmla="*/ 425863 w 638175"/>
                  <a:gd name="connsiteY557" fmla="*/ 332518 h 333375"/>
                  <a:gd name="connsiteX558" fmla="*/ 429292 w 638175"/>
                  <a:gd name="connsiteY558" fmla="*/ 328232 h 333375"/>
                  <a:gd name="connsiteX559" fmla="*/ 431863 w 638175"/>
                  <a:gd name="connsiteY559" fmla="*/ 323183 h 333375"/>
                  <a:gd name="connsiteX560" fmla="*/ 435293 w 638175"/>
                  <a:gd name="connsiteY560" fmla="*/ 318897 h 333375"/>
                  <a:gd name="connsiteX561" fmla="*/ 439483 w 638175"/>
                  <a:gd name="connsiteY561" fmla="*/ 318040 h 333375"/>
                  <a:gd name="connsiteX562" fmla="*/ 442055 w 638175"/>
                  <a:gd name="connsiteY562" fmla="*/ 318040 h 333375"/>
                  <a:gd name="connsiteX563" fmla="*/ 444627 w 638175"/>
                  <a:gd name="connsiteY563" fmla="*/ 318897 h 333375"/>
                  <a:gd name="connsiteX564" fmla="*/ 446341 w 638175"/>
                  <a:gd name="connsiteY564" fmla="*/ 317183 h 333375"/>
                  <a:gd name="connsiteX565" fmla="*/ 447199 w 638175"/>
                  <a:gd name="connsiteY565" fmla="*/ 314706 h 333375"/>
                  <a:gd name="connsiteX566" fmla="*/ 448913 w 638175"/>
                  <a:gd name="connsiteY566" fmla="*/ 312134 h 333375"/>
                  <a:gd name="connsiteX567" fmla="*/ 449771 w 638175"/>
                  <a:gd name="connsiteY567" fmla="*/ 310420 h 333375"/>
                  <a:gd name="connsiteX568" fmla="*/ 451485 w 638175"/>
                  <a:gd name="connsiteY568" fmla="*/ 309563 h 333375"/>
                  <a:gd name="connsiteX569" fmla="*/ 456533 w 638175"/>
                  <a:gd name="connsiteY569" fmla="*/ 309563 h 333375"/>
                  <a:gd name="connsiteX570" fmla="*/ 458248 w 638175"/>
                  <a:gd name="connsiteY570" fmla="*/ 308705 h 333375"/>
                  <a:gd name="connsiteX571" fmla="*/ 459105 w 638175"/>
                  <a:gd name="connsiteY571" fmla="*/ 306991 h 333375"/>
                  <a:gd name="connsiteX572" fmla="*/ 462534 w 638175"/>
                  <a:gd name="connsiteY572" fmla="*/ 301942 h 333375"/>
                  <a:gd name="connsiteX573" fmla="*/ 466820 w 638175"/>
                  <a:gd name="connsiteY573" fmla="*/ 296037 h 333375"/>
                  <a:gd name="connsiteX574" fmla="*/ 470154 w 638175"/>
                  <a:gd name="connsiteY574" fmla="*/ 295180 h 333375"/>
                  <a:gd name="connsiteX575" fmla="*/ 476155 w 638175"/>
                  <a:gd name="connsiteY575" fmla="*/ 294322 h 333375"/>
                  <a:gd name="connsiteX576" fmla="*/ 479584 w 638175"/>
                  <a:gd name="connsiteY576" fmla="*/ 292608 h 333375"/>
                  <a:gd name="connsiteX577" fmla="*/ 482155 w 638175"/>
                  <a:gd name="connsiteY577" fmla="*/ 289179 h 333375"/>
                  <a:gd name="connsiteX578" fmla="*/ 484632 w 638175"/>
                  <a:gd name="connsiteY578" fmla="*/ 285845 h 333375"/>
                  <a:gd name="connsiteX579" fmla="*/ 488918 w 638175"/>
                  <a:gd name="connsiteY579" fmla="*/ 278225 h 333375"/>
                  <a:gd name="connsiteX580" fmla="*/ 493205 w 638175"/>
                  <a:gd name="connsiteY580" fmla="*/ 272225 h 333375"/>
                  <a:gd name="connsiteX581" fmla="*/ 499967 w 638175"/>
                  <a:gd name="connsiteY581" fmla="*/ 267176 h 333375"/>
                  <a:gd name="connsiteX582" fmla="*/ 507682 w 638175"/>
                  <a:gd name="connsiteY582" fmla="*/ 263747 h 333375"/>
                  <a:gd name="connsiteX583" fmla="*/ 536638 w 638175"/>
                  <a:gd name="connsiteY583" fmla="*/ 258699 h 333375"/>
                  <a:gd name="connsiteX584" fmla="*/ 544258 w 638175"/>
                  <a:gd name="connsiteY584" fmla="*/ 259556 h 333375"/>
                  <a:gd name="connsiteX585" fmla="*/ 545973 w 638175"/>
                  <a:gd name="connsiteY585" fmla="*/ 259556 h 333375"/>
                  <a:gd name="connsiteX586" fmla="*/ 548545 w 638175"/>
                  <a:gd name="connsiteY586" fmla="*/ 259556 h 333375"/>
                  <a:gd name="connsiteX587" fmla="*/ 550259 w 638175"/>
                  <a:gd name="connsiteY587" fmla="*/ 258699 h 333375"/>
                  <a:gd name="connsiteX588" fmla="*/ 552831 w 638175"/>
                  <a:gd name="connsiteY588" fmla="*/ 257842 h 333375"/>
                  <a:gd name="connsiteX589" fmla="*/ 554546 w 638175"/>
                  <a:gd name="connsiteY589" fmla="*/ 255270 h 333375"/>
                  <a:gd name="connsiteX590" fmla="*/ 555403 w 638175"/>
                  <a:gd name="connsiteY590" fmla="*/ 252698 h 333375"/>
                  <a:gd name="connsiteX591" fmla="*/ 557022 w 638175"/>
                  <a:gd name="connsiteY591" fmla="*/ 251936 h 333375"/>
                  <a:gd name="connsiteX592" fmla="*/ 559594 w 638175"/>
                  <a:gd name="connsiteY592" fmla="*/ 252698 h 333375"/>
                  <a:gd name="connsiteX593" fmla="*/ 560451 w 638175"/>
                  <a:gd name="connsiteY593" fmla="*/ 253555 h 333375"/>
                  <a:gd name="connsiteX594" fmla="*/ 561308 w 638175"/>
                  <a:gd name="connsiteY594" fmla="*/ 253555 h 333375"/>
                  <a:gd name="connsiteX595" fmla="*/ 562165 w 638175"/>
                  <a:gd name="connsiteY595" fmla="*/ 254413 h 333375"/>
                  <a:gd name="connsiteX596" fmla="*/ 563880 w 638175"/>
                  <a:gd name="connsiteY596" fmla="*/ 254413 h 333375"/>
                  <a:gd name="connsiteX597" fmla="*/ 564737 w 638175"/>
                  <a:gd name="connsiteY597" fmla="*/ 253555 h 333375"/>
                  <a:gd name="connsiteX598" fmla="*/ 566452 w 638175"/>
                  <a:gd name="connsiteY598" fmla="*/ 251936 h 333375"/>
                  <a:gd name="connsiteX599" fmla="*/ 568166 w 638175"/>
                  <a:gd name="connsiteY599" fmla="*/ 251079 h 333375"/>
                  <a:gd name="connsiteX600" fmla="*/ 569881 w 638175"/>
                  <a:gd name="connsiteY600" fmla="*/ 251079 h 333375"/>
                  <a:gd name="connsiteX601" fmla="*/ 571595 w 638175"/>
                  <a:gd name="connsiteY601" fmla="*/ 251936 h 333375"/>
                  <a:gd name="connsiteX602" fmla="*/ 575786 w 638175"/>
                  <a:gd name="connsiteY602" fmla="*/ 253555 h 333375"/>
                  <a:gd name="connsiteX603" fmla="*/ 577501 w 638175"/>
                  <a:gd name="connsiteY603" fmla="*/ 255270 h 333375"/>
                  <a:gd name="connsiteX604" fmla="*/ 579215 w 638175"/>
                  <a:gd name="connsiteY604" fmla="*/ 256127 h 333375"/>
                  <a:gd name="connsiteX605" fmla="*/ 581787 w 638175"/>
                  <a:gd name="connsiteY605" fmla="*/ 260413 h 333375"/>
                  <a:gd name="connsiteX606" fmla="*/ 582644 w 638175"/>
                  <a:gd name="connsiteY606" fmla="*/ 262033 h 333375"/>
                  <a:gd name="connsiteX607" fmla="*/ 586073 w 638175"/>
                  <a:gd name="connsiteY607" fmla="*/ 265462 h 333375"/>
                  <a:gd name="connsiteX608" fmla="*/ 586835 w 638175"/>
                  <a:gd name="connsiteY608" fmla="*/ 266319 h 333375"/>
                  <a:gd name="connsiteX609" fmla="*/ 586073 w 638175"/>
                  <a:gd name="connsiteY609" fmla="*/ 268891 h 333375"/>
                  <a:gd name="connsiteX610" fmla="*/ 585216 w 638175"/>
                  <a:gd name="connsiteY610" fmla="*/ 270510 h 333375"/>
                  <a:gd name="connsiteX611" fmla="*/ 585216 w 638175"/>
                  <a:gd name="connsiteY611" fmla="*/ 272225 h 333375"/>
                  <a:gd name="connsiteX612" fmla="*/ 587693 w 638175"/>
                  <a:gd name="connsiteY612" fmla="*/ 274796 h 333375"/>
                  <a:gd name="connsiteX613" fmla="*/ 603028 w 638175"/>
                  <a:gd name="connsiteY613" fmla="*/ 281559 h 333375"/>
                  <a:gd name="connsiteX614" fmla="*/ 603885 w 638175"/>
                  <a:gd name="connsiteY614" fmla="*/ 282416 h 333375"/>
                  <a:gd name="connsiteX615" fmla="*/ 604742 w 638175"/>
                  <a:gd name="connsiteY615" fmla="*/ 283274 h 333375"/>
                  <a:gd name="connsiteX616" fmla="*/ 605599 w 638175"/>
                  <a:gd name="connsiteY616" fmla="*/ 284131 h 333375"/>
                  <a:gd name="connsiteX617" fmla="*/ 606457 w 638175"/>
                  <a:gd name="connsiteY617" fmla="*/ 284988 h 333375"/>
                  <a:gd name="connsiteX618" fmla="*/ 608171 w 638175"/>
                  <a:gd name="connsiteY618" fmla="*/ 284988 h 333375"/>
                  <a:gd name="connsiteX619" fmla="*/ 609029 w 638175"/>
                  <a:gd name="connsiteY619" fmla="*/ 284131 h 333375"/>
                  <a:gd name="connsiteX620" fmla="*/ 609886 w 638175"/>
                  <a:gd name="connsiteY620" fmla="*/ 284131 h 333375"/>
                  <a:gd name="connsiteX621" fmla="*/ 610743 w 638175"/>
                  <a:gd name="connsiteY621" fmla="*/ 284131 h 333375"/>
                  <a:gd name="connsiteX622" fmla="*/ 612457 w 638175"/>
                  <a:gd name="connsiteY622" fmla="*/ 284131 h 333375"/>
                  <a:gd name="connsiteX623" fmla="*/ 613315 w 638175"/>
                  <a:gd name="connsiteY623" fmla="*/ 284988 h 333375"/>
                  <a:gd name="connsiteX624" fmla="*/ 614172 w 638175"/>
                  <a:gd name="connsiteY624" fmla="*/ 285845 h 333375"/>
                  <a:gd name="connsiteX625" fmla="*/ 615887 w 638175"/>
                  <a:gd name="connsiteY625" fmla="*/ 284988 h 333375"/>
                  <a:gd name="connsiteX626" fmla="*/ 615887 w 638175"/>
                  <a:gd name="connsiteY626" fmla="*/ 284131 h 333375"/>
                  <a:gd name="connsiteX627" fmla="*/ 617506 w 638175"/>
                  <a:gd name="connsiteY627" fmla="*/ 280702 h 333375"/>
                  <a:gd name="connsiteX628" fmla="*/ 617506 w 638175"/>
                  <a:gd name="connsiteY628" fmla="*/ 279845 h 333375"/>
                  <a:gd name="connsiteX629" fmla="*/ 616648 w 638175"/>
                  <a:gd name="connsiteY629" fmla="*/ 279083 h 333375"/>
                  <a:gd name="connsiteX630" fmla="*/ 615887 w 638175"/>
                  <a:gd name="connsiteY630" fmla="*/ 278225 h 333375"/>
                  <a:gd name="connsiteX631" fmla="*/ 615029 w 638175"/>
                  <a:gd name="connsiteY631" fmla="*/ 277368 h 333375"/>
                  <a:gd name="connsiteX632" fmla="*/ 614172 w 638175"/>
                  <a:gd name="connsiteY632" fmla="*/ 276511 h 333375"/>
                  <a:gd name="connsiteX633" fmla="*/ 614172 w 638175"/>
                  <a:gd name="connsiteY633" fmla="*/ 275654 h 333375"/>
                  <a:gd name="connsiteX634" fmla="*/ 614172 w 638175"/>
                  <a:gd name="connsiteY634" fmla="*/ 273082 h 333375"/>
                  <a:gd name="connsiteX635" fmla="*/ 613315 w 638175"/>
                  <a:gd name="connsiteY635" fmla="*/ 272225 h 333375"/>
                  <a:gd name="connsiteX636" fmla="*/ 609886 w 638175"/>
                  <a:gd name="connsiteY636" fmla="*/ 268891 h 333375"/>
                  <a:gd name="connsiteX637" fmla="*/ 591979 w 638175"/>
                  <a:gd name="connsiteY637" fmla="*/ 245078 h 333375"/>
                  <a:gd name="connsiteX638" fmla="*/ 589407 w 638175"/>
                  <a:gd name="connsiteY638" fmla="*/ 240887 h 333375"/>
                  <a:gd name="connsiteX639" fmla="*/ 588550 w 638175"/>
                  <a:gd name="connsiteY639" fmla="*/ 238316 h 333375"/>
                  <a:gd name="connsiteX640" fmla="*/ 590264 w 638175"/>
                  <a:gd name="connsiteY640" fmla="*/ 234887 h 333375"/>
                  <a:gd name="connsiteX641" fmla="*/ 590264 w 638175"/>
                  <a:gd name="connsiteY641" fmla="*/ 233267 h 333375"/>
                  <a:gd name="connsiteX642" fmla="*/ 589407 w 638175"/>
                  <a:gd name="connsiteY642" fmla="*/ 231553 h 333375"/>
                  <a:gd name="connsiteX643" fmla="*/ 589407 w 638175"/>
                  <a:gd name="connsiteY643" fmla="*/ 229838 h 333375"/>
                  <a:gd name="connsiteX644" fmla="*/ 589407 w 638175"/>
                  <a:gd name="connsiteY644" fmla="*/ 228124 h 333375"/>
                  <a:gd name="connsiteX645" fmla="*/ 588550 w 638175"/>
                  <a:gd name="connsiteY645" fmla="*/ 227267 h 333375"/>
                  <a:gd name="connsiteX646" fmla="*/ 587693 w 638175"/>
                  <a:gd name="connsiteY646" fmla="*/ 225552 h 333375"/>
                  <a:gd name="connsiteX647" fmla="*/ 586835 w 638175"/>
                  <a:gd name="connsiteY647" fmla="*/ 223933 h 333375"/>
                  <a:gd name="connsiteX648" fmla="*/ 586835 w 638175"/>
                  <a:gd name="connsiteY648" fmla="*/ 221361 h 333375"/>
                  <a:gd name="connsiteX649" fmla="*/ 587693 w 638175"/>
                  <a:gd name="connsiteY649" fmla="*/ 218789 h 333375"/>
                  <a:gd name="connsiteX650" fmla="*/ 589407 w 638175"/>
                  <a:gd name="connsiteY650" fmla="*/ 217075 h 333375"/>
                  <a:gd name="connsiteX651" fmla="*/ 591122 w 638175"/>
                  <a:gd name="connsiteY651" fmla="*/ 215455 h 333375"/>
                  <a:gd name="connsiteX652" fmla="*/ 596265 w 638175"/>
                  <a:gd name="connsiteY652" fmla="*/ 212027 h 333375"/>
                  <a:gd name="connsiteX653" fmla="*/ 597980 w 638175"/>
                  <a:gd name="connsiteY653" fmla="*/ 210312 h 333375"/>
                  <a:gd name="connsiteX654" fmla="*/ 601408 w 638175"/>
                  <a:gd name="connsiteY654" fmla="*/ 206121 h 333375"/>
                  <a:gd name="connsiteX655" fmla="*/ 603028 w 638175"/>
                  <a:gd name="connsiteY655" fmla="*/ 204406 h 333375"/>
                  <a:gd name="connsiteX656" fmla="*/ 606457 w 638175"/>
                  <a:gd name="connsiteY656" fmla="*/ 203549 h 333375"/>
                  <a:gd name="connsiteX657" fmla="*/ 608171 w 638175"/>
                  <a:gd name="connsiteY657" fmla="*/ 203549 h 333375"/>
                  <a:gd name="connsiteX658" fmla="*/ 609029 w 638175"/>
                  <a:gd name="connsiteY658" fmla="*/ 203549 h 333375"/>
                  <a:gd name="connsiteX659" fmla="*/ 609029 w 638175"/>
                  <a:gd name="connsiteY659" fmla="*/ 202692 h 333375"/>
                  <a:gd name="connsiteX660" fmla="*/ 609029 w 638175"/>
                  <a:gd name="connsiteY660" fmla="*/ 200977 h 333375"/>
                  <a:gd name="connsiteX661" fmla="*/ 609886 w 638175"/>
                  <a:gd name="connsiteY661" fmla="*/ 200120 h 333375"/>
                  <a:gd name="connsiteX662" fmla="*/ 610743 w 638175"/>
                  <a:gd name="connsiteY662" fmla="*/ 199263 h 333375"/>
                  <a:gd name="connsiteX663" fmla="*/ 612457 w 638175"/>
                  <a:gd name="connsiteY663" fmla="*/ 198501 h 333375"/>
                  <a:gd name="connsiteX664" fmla="*/ 613315 w 638175"/>
                  <a:gd name="connsiteY664" fmla="*/ 197644 h 333375"/>
                  <a:gd name="connsiteX665" fmla="*/ 614172 w 638175"/>
                  <a:gd name="connsiteY665" fmla="*/ 195929 h 333375"/>
                  <a:gd name="connsiteX666" fmla="*/ 615029 w 638175"/>
                  <a:gd name="connsiteY666" fmla="*/ 195072 h 333375"/>
                  <a:gd name="connsiteX667" fmla="*/ 616648 w 638175"/>
                  <a:gd name="connsiteY667" fmla="*/ 195072 h 333375"/>
                  <a:gd name="connsiteX668" fmla="*/ 617506 w 638175"/>
                  <a:gd name="connsiteY668" fmla="*/ 194215 h 333375"/>
                  <a:gd name="connsiteX669" fmla="*/ 622649 w 638175"/>
                  <a:gd name="connsiteY669" fmla="*/ 189167 h 333375"/>
                  <a:gd name="connsiteX670" fmla="*/ 624364 w 638175"/>
                  <a:gd name="connsiteY670" fmla="*/ 187452 h 333375"/>
                  <a:gd name="connsiteX671" fmla="*/ 626078 w 638175"/>
                  <a:gd name="connsiteY671" fmla="*/ 185738 h 333375"/>
                  <a:gd name="connsiteX672" fmla="*/ 626936 w 638175"/>
                  <a:gd name="connsiteY672" fmla="*/ 184023 h 333375"/>
                  <a:gd name="connsiteX673" fmla="*/ 629507 w 638175"/>
                  <a:gd name="connsiteY673" fmla="*/ 183166 h 333375"/>
                  <a:gd name="connsiteX674" fmla="*/ 631222 w 638175"/>
                  <a:gd name="connsiteY674" fmla="*/ 182309 h 333375"/>
                  <a:gd name="connsiteX675" fmla="*/ 632841 w 638175"/>
                  <a:gd name="connsiteY675" fmla="*/ 183166 h 333375"/>
                  <a:gd name="connsiteX676" fmla="*/ 634555 w 638175"/>
                  <a:gd name="connsiteY676" fmla="*/ 184023 h 333375"/>
                  <a:gd name="connsiteX677" fmla="*/ 634555 w 638175"/>
                  <a:gd name="connsiteY677" fmla="*/ 186595 h 333375"/>
                  <a:gd name="connsiteX678" fmla="*/ 635413 w 638175"/>
                  <a:gd name="connsiteY678" fmla="*/ 187452 h 333375"/>
                  <a:gd name="connsiteX679" fmla="*/ 637127 w 638175"/>
                  <a:gd name="connsiteY679" fmla="*/ 186595 h 333375"/>
                  <a:gd name="connsiteX680" fmla="*/ 639699 w 638175"/>
                  <a:gd name="connsiteY680" fmla="*/ 184880 h 333375"/>
                  <a:gd name="connsiteX681" fmla="*/ 639699 w 638175"/>
                  <a:gd name="connsiteY681" fmla="*/ 184023 h 333375"/>
                  <a:gd name="connsiteX682" fmla="*/ 639699 w 638175"/>
                  <a:gd name="connsiteY682" fmla="*/ 182309 h 333375"/>
                  <a:gd name="connsiteX683" fmla="*/ 639699 w 638175"/>
                  <a:gd name="connsiteY683" fmla="*/ 179832 h 333375"/>
                  <a:gd name="connsiteX684" fmla="*/ 640556 w 638175"/>
                  <a:gd name="connsiteY684" fmla="*/ 178117 h 333375"/>
                  <a:gd name="connsiteX685" fmla="*/ 642271 w 638175"/>
                  <a:gd name="connsiteY685" fmla="*/ 173831 h 333375"/>
                  <a:gd name="connsiteX686" fmla="*/ 643128 w 638175"/>
                  <a:gd name="connsiteY686" fmla="*/ 172117 h 333375"/>
                  <a:gd name="connsiteX687" fmla="*/ 642271 w 638175"/>
                  <a:gd name="connsiteY687" fmla="*/ 168783 h 333375"/>
                  <a:gd name="connsiteX688" fmla="*/ 642271 w 638175"/>
                  <a:gd name="connsiteY688" fmla="*/ 168783 h 333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</a:cxnLst>
                <a:rect l="l" t="t" r="r" b="b"/>
                <a:pathLst>
                  <a:path w="638175" h="333375">
                    <a:moveTo>
                      <a:pt x="642271" y="168783"/>
                    </a:moveTo>
                    <a:lnTo>
                      <a:pt x="636270" y="162782"/>
                    </a:lnTo>
                    <a:lnTo>
                      <a:pt x="635413" y="160306"/>
                    </a:lnTo>
                    <a:lnTo>
                      <a:pt x="635413" y="155162"/>
                    </a:lnTo>
                    <a:lnTo>
                      <a:pt x="638842" y="148400"/>
                    </a:lnTo>
                    <a:lnTo>
                      <a:pt x="638842" y="144209"/>
                    </a:lnTo>
                    <a:lnTo>
                      <a:pt x="634555" y="142494"/>
                    </a:lnTo>
                    <a:lnTo>
                      <a:pt x="627793" y="137350"/>
                    </a:lnTo>
                    <a:lnTo>
                      <a:pt x="626936" y="136493"/>
                    </a:lnTo>
                    <a:lnTo>
                      <a:pt x="626078" y="133160"/>
                    </a:lnTo>
                    <a:lnTo>
                      <a:pt x="625221" y="133160"/>
                    </a:lnTo>
                    <a:lnTo>
                      <a:pt x="624364" y="133160"/>
                    </a:lnTo>
                    <a:lnTo>
                      <a:pt x="622649" y="132302"/>
                    </a:lnTo>
                    <a:lnTo>
                      <a:pt x="615887" y="126397"/>
                    </a:lnTo>
                    <a:lnTo>
                      <a:pt x="611600" y="124682"/>
                    </a:lnTo>
                    <a:lnTo>
                      <a:pt x="606457" y="127159"/>
                    </a:lnTo>
                    <a:lnTo>
                      <a:pt x="602171" y="129731"/>
                    </a:lnTo>
                    <a:lnTo>
                      <a:pt x="598837" y="130588"/>
                    </a:lnTo>
                    <a:lnTo>
                      <a:pt x="595408" y="129731"/>
                    </a:lnTo>
                    <a:lnTo>
                      <a:pt x="591122" y="127159"/>
                    </a:lnTo>
                    <a:lnTo>
                      <a:pt x="589407" y="118681"/>
                    </a:lnTo>
                    <a:lnTo>
                      <a:pt x="585216" y="111919"/>
                    </a:lnTo>
                    <a:lnTo>
                      <a:pt x="576644" y="106871"/>
                    </a:lnTo>
                    <a:lnTo>
                      <a:pt x="569023" y="98393"/>
                    </a:lnTo>
                    <a:lnTo>
                      <a:pt x="559594" y="95821"/>
                    </a:lnTo>
                    <a:lnTo>
                      <a:pt x="553688" y="98393"/>
                    </a:lnTo>
                    <a:lnTo>
                      <a:pt x="550259" y="105156"/>
                    </a:lnTo>
                    <a:lnTo>
                      <a:pt x="548545" y="111062"/>
                    </a:lnTo>
                    <a:lnTo>
                      <a:pt x="548545" y="118681"/>
                    </a:lnTo>
                    <a:lnTo>
                      <a:pt x="546830" y="119539"/>
                    </a:lnTo>
                    <a:lnTo>
                      <a:pt x="542544" y="111062"/>
                    </a:lnTo>
                    <a:lnTo>
                      <a:pt x="539210" y="106871"/>
                    </a:lnTo>
                    <a:lnTo>
                      <a:pt x="543401" y="100870"/>
                    </a:lnTo>
                    <a:lnTo>
                      <a:pt x="540068" y="95821"/>
                    </a:lnTo>
                    <a:lnTo>
                      <a:pt x="547688" y="90678"/>
                    </a:lnTo>
                    <a:lnTo>
                      <a:pt x="557879" y="83058"/>
                    </a:lnTo>
                    <a:lnTo>
                      <a:pt x="557022" y="77152"/>
                    </a:lnTo>
                    <a:lnTo>
                      <a:pt x="555403" y="70390"/>
                    </a:lnTo>
                    <a:lnTo>
                      <a:pt x="549402" y="63627"/>
                    </a:lnTo>
                    <a:lnTo>
                      <a:pt x="548545" y="61055"/>
                    </a:lnTo>
                    <a:lnTo>
                      <a:pt x="546830" y="55054"/>
                    </a:lnTo>
                    <a:lnTo>
                      <a:pt x="545973" y="53435"/>
                    </a:lnTo>
                    <a:lnTo>
                      <a:pt x="544258" y="50863"/>
                    </a:lnTo>
                    <a:lnTo>
                      <a:pt x="542544" y="50863"/>
                    </a:lnTo>
                    <a:lnTo>
                      <a:pt x="541782" y="50006"/>
                    </a:lnTo>
                    <a:lnTo>
                      <a:pt x="541782" y="49149"/>
                    </a:lnTo>
                    <a:lnTo>
                      <a:pt x="542544" y="47435"/>
                    </a:lnTo>
                    <a:lnTo>
                      <a:pt x="532352" y="42386"/>
                    </a:lnTo>
                    <a:lnTo>
                      <a:pt x="530638" y="33909"/>
                    </a:lnTo>
                    <a:lnTo>
                      <a:pt x="523018" y="36481"/>
                    </a:lnTo>
                    <a:lnTo>
                      <a:pt x="513588" y="43244"/>
                    </a:lnTo>
                    <a:lnTo>
                      <a:pt x="511112" y="33052"/>
                    </a:lnTo>
                    <a:lnTo>
                      <a:pt x="511969" y="31337"/>
                    </a:lnTo>
                    <a:lnTo>
                      <a:pt x="512731" y="29623"/>
                    </a:lnTo>
                    <a:lnTo>
                      <a:pt x="515303" y="27908"/>
                    </a:lnTo>
                    <a:lnTo>
                      <a:pt x="526447" y="24575"/>
                    </a:lnTo>
                    <a:lnTo>
                      <a:pt x="528066" y="23717"/>
                    </a:lnTo>
                    <a:lnTo>
                      <a:pt x="529780" y="20288"/>
                    </a:lnTo>
                    <a:lnTo>
                      <a:pt x="532352" y="16097"/>
                    </a:lnTo>
                    <a:lnTo>
                      <a:pt x="532352" y="14383"/>
                    </a:lnTo>
                    <a:lnTo>
                      <a:pt x="530638" y="11811"/>
                    </a:lnTo>
                    <a:lnTo>
                      <a:pt x="528923" y="10954"/>
                    </a:lnTo>
                    <a:lnTo>
                      <a:pt x="527304" y="11811"/>
                    </a:lnTo>
                    <a:lnTo>
                      <a:pt x="525589" y="13525"/>
                    </a:lnTo>
                    <a:lnTo>
                      <a:pt x="521303" y="16097"/>
                    </a:lnTo>
                    <a:lnTo>
                      <a:pt x="517874" y="16097"/>
                    </a:lnTo>
                    <a:lnTo>
                      <a:pt x="514445" y="14383"/>
                    </a:lnTo>
                    <a:lnTo>
                      <a:pt x="511112" y="10096"/>
                    </a:lnTo>
                    <a:lnTo>
                      <a:pt x="510254" y="8477"/>
                    </a:lnTo>
                    <a:lnTo>
                      <a:pt x="508540" y="1619"/>
                    </a:lnTo>
                    <a:lnTo>
                      <a:pt x="507682" y="0"/>
                    </a:lnTo>
                    <a:lnTo>
                      <a:pt x="499967" y="0"/>
                    </a:lnTo>
                    <a:lnTo>
                      <a:pt x="493205" y="857"/>
                    </a:lnTo>
                    <a:lnTo>
                      <a:pt x="486346" y="1619"/>
                    </a:lnTo>
                    <a:lnTo>
                      <a:pt x="476155" y="5906"/>
                    </a:lnTo>
                    <a:lnTo>
                      <a:pt x="468439" y="2477"/>
                    </a:lnTo>
                    <a:lnTo>
                      <a:pt x="466820" y="3334"/>
                    </a:lnTo>
                    <a:lnTo>
                      <a:pt x="463391" y="3334"/>
                    </a:lnTo>
                    <a:lnTo>
                      <a:pt x="463391" y="11811"/>
                    </a:lnTo>
                    <a:lnTo>
                      <a:pt x="459962" y="19431"/>
                    </a:lnTo>
                    <a:lnTo>
                      <a:pt x="452342" y="17812"/>
                    </a:lnTo>
                    <a:lnTo>
                      <a:pt x="446341" y="15240"/>
                    </a:lnTo>
                    <a:lnTo>
                      <a:pt x="445484" y="15240"/>
                    </a:lnTo>
                    <a:lnTo>
                      <a:pt x="443770" y="15240"/>
                    </a:lnTo>
                    <a:lnTo>
                      <a:pt x="442913" y="16097"/>
                    </a:lnTo>
                    <a:lnTo>
                      <a:pt x="442055" y="16954"/>
                    </a:lnTo>
                    <a:lnTo>
                      <a:pt x="442055" y="17812"/>
                    </a:lnTo>
                    <a:lnTo>
                      <a:pt x="442055" y="18669"/>
                    </a:lnTo>
                    <a:lnTo>
                      <a:pt x="442055" y="19431"/>
                    </a:lnTo>
                    <a:lnTo>
                      <a:pt x="437864" y="20288"/>
                    </a:lnTo>
                    <a:lnTo>
                      <a:pt x="437007" y="22003"/>
                    </a:lnTo>
                    <a:lnTo>
                      <a:pt x="438626" y="26289"/>
                    </a:lnTo>
                    <a:lnTo>
                      <a:pt x="438626" y="29623"/>
                    </a:lnTo>
                    <a:lnTo>
                      <a:pt x="437007" y="29623"/>
                    </a:lnTo>
                    <a:lnTo>
                      <a:pt x="433578" y="29623"/>
                    </a:lnTo>
                    <a:lnTo>
                      <a:pt x="432721" y="31337"/>
                    </a:lnTo>
                    <a:lnTo>
                      <a:pt x="430149" y="27908"/>
                    </a:lnTo>
                    <a:lnTo>
                      <a:pt x="430149" y="22860"/>
                    </a:lnTo>
                    <a:lnTo>
                      <a:pt x="427577" y="24575"/>
                    </a:lnTo>
                    <a:lnTo>
                      <a:pt x="425863" y="30480"/>
                    </a:lnTo>
                    <a:lnTo>
                      <a:pt x="421672" y="28765"/>
                    </a:lnTo>
                    <a:lnTo>
                      <a:pt x="414814" y="29623"/>
                    </a:lnTo>
                    <a:lnTo>
                      <a:pt x="411385" y="32194"/>
                    </a:lnTo>
                    <a:lnTo>
                      <a:pt x="412242" y="39815"/>
                    </a:lnTo>
                    <a:lnTo>
                      <a:pt x="405479" y="38957"/>
                    </a:lnTo>
                    <a:lnTo>
                      <a:pt x="404622" y="38100"/>
                    </a:lnTo>
                    <a:lnTo>
                      <a:pt x="404622" y="37243"/>
                    </a:lnTo>
                    <a:lnTo>
                      <a:pt x="404622" y="36481"/>
                    </a:lnTo>
                    <a:lnTo>
                      <a:pt x="403765" y="35623"/>
                    </a:lnTo>
                    <a:lnTo>
                      <a:pt x="402907" y="34766"/>
                    </a:lnTo>
                    <a:lnTo>
                      <a:pt x="402050" y="34766"/>
                    </a:lnTo>
                    <a:lnTo>
                      <a:pt x="393478" y="33052"/>
                    </a:lnTo>
                    <a:lnTo>
                      <a:pt x="391858" y="32194"/>
                    </a:lnTo>
                    <a:lnTo>
                      <a:pt x="385858" y="28765"/>
                    </a:lnTo>
                    <a:lnTo>
                      <a:pt x="379000" y="27146"/>
                    </a:lnTo>
                    <a:lnTo>
                      <a:pt x="377380" y="26289"/>
                    </a:lnTo>
                    <a:lnTo>
                      <a:pt x="375666" y="25432"/>
                    </a:lnTo>
                    <a:lnTo>
                      <a:pt x="376523" y="27908"/>
                    </a:lnTo>
                    <a:lnTo>
                      <a:pt x="379000" y="29623"/>
                    </a:lnTo>
                    <a:lnTo>
                      <a:pt x="379000" y="31337"/>
                    </a:lnTo>
                    <a:lnTo>
                      <a:pt x="376523" y="30480"/>
                    </a:lnTo>
                    <a:lnTo>
                      <a:pt x="368808" y="26289"/>
                    </a:lnTo>
                    <a:lnTo>
                      <a:pt x="364522" y="25432"/>
                    </a:lnTo>
                    <a:lnTo>
                      <a:pt x="360331" y="25432"/>
                    </a:lnTo>
                    <a:lnTo>
                      <a:pt x="358616" y="25432"/>
                    </a:lnTo>
                    <a:lnTo>
                      <a:pt x="356045" y="25432"/>
                    </a:lnTo>
                    <a:lnTo>
                      <a:pt x="354330" y="24575"/>
                    </a:lnTo>
                    <a:lnTo>
                      <a:pt x="354330" y="19431"/>
                    </a:lnTo>
                    <a:lnTo>
                      <a:pt x="353473" y="17812"/>
                    </a:lnTo>
                    <a:lnTo>
                      <a:pt x="347567" y="10954"/>
                    </a:lnTo>
                    <a:lnTo>
                      <a:pt x="344138" y="7620"/>
                    </a:lnTo>
                    <a:lnTo>
                      <a:pt x="339852" y="6763"/>
                    </a:lnTo>
                    <a:lnTo>
                      <a:pt x="336423" y="6763"/>
                    </a:lnTo>
                    <a:lnTo>
                      <a:pt x="333851" y="8477"/>
                    </a:lnTo>
                    <a:lnTo>
                      <a:pt x="327946" y="17812"/>
                    </a:lnTo>
                    <a:lnTo>
                      <a:pt x="327088" y="18669"/>
                    </a:lnTo>
                    <a:lnTo>
                      <a:pt x="324517" y="19431"/>
                    </a:lnTo>
                    <a:lnTo>
                      <a:pt x="321945" y="20288"/>
                    </a:lnTo>
                    <a:lnTo>
                      <a:pt x="316897" y="20288"/>
                    </a:lnTo>
                    <a:lnTo>
                      <a:pt x="313468" y="20288"/>
                    </a:lnTo>
                    <a:lnTo>
                      <a:pt x="310896" y="22003"/>
                    </a:lnTo>
                    <a:lnTo>
                      <a:pt x="310039" y="22860"/>
                    </a:lnTo>
                    <a:lnTo>
                      <a:pt x="308324" y="26289"/>
                    </a:lnTo>
                    <a:lnTo>
                      <a:pt x="306610" y="27908"/>
                    </a:lnTo>
                    <a:lnTo>
                      <a:pt x="305753" y="27908"/>
                    </a:lnTo>
                    <a:lnTo>
                      <a:pt x="301562" y="27908"/>
                    </a:lnTo>
                    <a:lnTo>
                      <a:pt x="299847" y="33909"/>
                    </a:lnTo>
                    <a:lnTo>
                      <a:pt x="304133" y="38957"/>
                    </a:lnTo>
                    <a:lnTo>
                      <a:pt x="308324" y="43244"/>
                    </a:lnTo>
                    <a:lnTo>
                      <a:pt x="301562" y="49149"/>
                    </a:lnTo>
                    <a:lnTo>
                      <a:pt x="297275" y="55054"/>
                    </a:lnTo>
                    <a:lnTo>
                      <a:pt x="288798" y="55054"/>
                    </a:lnTo>
                    <a:lnTo>
                      <a:pt x="284512" y="59341"/>
                    </a:lnTo>
                    <a:lnTo>
                      <a:pt x="278511" y="61055"/>
                    </a:lnTo>
                    <a:lnTo>
                      <a:pt x="272605" y="63627"/>
                    </a:lnTo>
                    <a:lnTo>
                      <a:pt x="270891" y="65246"/>
                    </a:lnTo>
                    <a:lnTo>
                      <a:pt x="269177" y="66104"/>
                    </a:lnTo>
                    <a:lnTo>
                      <a:pt x="266605" y="66961"/>
                    </a:lnTo>
                    <a:lnTo>
                      <a:pt x="264890" y="66961"/>
                    </a:lnTo>
                    <a:lnTo>
                      <a:pt x="262319" y="66961"/>
                    </a:lnTo>
                    <a:lnTo>
                      <a:pt x="260604" y="67818"/>
                    </a:lnTo>
                    <a:lnTo>
                      <a:pt x="258985" y="68675"/>
                    </a:lnTo>
                    <a:lnTo>
                      <a:pt x="258985" y="69533"/>
                    </a:lnTo>
                    <a:lnTo>
                      <a:pt x="259747" y="70390"/>
                    </a:lnTo>
                    <a:lnTo>
                      <a:pt x="259747" y="71247"/>
                    </a:lnTo>
                    <a:lnTo>
                      <a:pt x="259747" y="72104"/>
                    </a:lnTo>
                    <a:lnTo>
                      <a:pt x="258128" y="72104"/>
                    </a:lnTo>
                    <a:lnTo>
                      <a:pt x="257270" y="72104"/>
                    </a:lnTo>
                    <a:lnTo>
                      <a:pt x="256413" y="72866"/>
                    </a:lnTo>
                    <a:lnTo>
                      <a:pt x="255556" y="73723"/>
                    </a:lnTo>
                    <a:lnTo>
                      <a:pt x="254698" y="74581"/>
                    </a:lnTo>
                    <a:lnTo>
                      <a:pt x="247840" y="77152"/>
                    </a:lnTo>
                    <a:lnTo>
                      <a:pt x="246126" y="78010"/>
                    </a:lnTo>
                    <a:lnTo>
                      <a:pt x="238506" y="84773"/>
                    </a:lnTo>
                    <a:lnTo>
                      <a:pt x="236791" y="85630"/>
                    </a:lnTo>
                    <a:lnTo>
                      <a:pt x="235077" y="84773"/>
                    </a:lnTo>
                    <a:lnTo>
                      <a:pt x="233363" y="83915"/>
                    </a:lnTo>
                    <a:lnTo>
                      <a:pt x="231648" y="84773"/>
                    </a:lnTo>
                    <a:lnTo>
                      <a:pt x="229933" y="86487"/>
                    </a:lnTo>
                    <a:lnTo>
                      <a:pt x="228314" y="87344"/>
                    </a:lnTo>
                    <a:lnTo>
                      <a:pt x="225743" y="87344"/>
                    </a:lnTo>
                    <a:lnTo>
                      <a:pt x="219742" y="86487"/>
                    </a:lnTo>
                    <a:lnTo>
                      <a:pt x="207836" y="87344"/>
                    </a:lnTo>
                    <a:lnTo>
                      <a:pt x="198501" y="94107"/>
                    </a:lnTo>
                    <a:lnTo>
                      <a:pt x="194215" y="96679"/>
                    </a:lnTo>
                    <a:lnTo>
                      <a:pt x="188214" y="101727"/>
                    </a:lnTo>
                    <a:lnTo>
                      <a:pt x="183166" y="104299"/>
                    </a:lnTo>
                    <a:lnTo>
                      <a:pt x="179737" y="106871"/>
                    </a:lnTo>
                    <a:lnTo>
                      <a:pt x="176308" y="110204"/>
                    </a:lnTo>
                    <a:lnTo>
                      <a:pt x="175450" y="114490"/>
                    </a:lnTo>
                    <a:lnTo>
                      <a:pt x="173736" y="118681"/>
                    </a:lnTo>
                    <a:lnTo>
                      <a:pt x="171164" y="122968"/>
                    </a:lnTo>
                    <a:lnTo>
                      <a:pt x="168688" y="126397"/>
                    </a:lnTo>
                    <a:lnTo>
                      <a:pt x="158401" y="133160"/>
                    </a:lnTo>
                    <a:lnTo>
                      <a:pt x="155829" y="136493"/>
                    </a:lnTo>
                    <a:lnTo>
                      <a:pt x="154210" y="138208"/>
                    </a:lnTo>
                    <a:lnTo>
                      <a:pt x="149923" y="139065"/>
                    </a:lnTo>
                    <a:lnTo>
                      <a:pt x="148209" y="140779"/>
                    </a:lnTo>
                    <a:lnTo>
                      <a:pt x="146495" y="142494"/>
                    </a:lnTo>
                    <a:lnTo>
                      <a:pt x="143923" y="145828"/>
                    </a:lnTo>
                    <a:lnTo>
                      <a:pt x="142208" y="147542"/>
                    </a:lnTo>
                    <a:lnTo>
                      <a:pt x="140494" y="149257"/>
                    </a:lnTo>
                    <a:lnTo>
                      <a:pt x="138874" y="149257"/>
                    </a:lnTo>
                    <a:lnTo>
                      <a:pt x="137160" y="149257"/>
                    </a:lnTo>
                    <a:lnTo>
                      <a:pt x="135446" y="149257"/>
                    </a:lnTo>
                    <a:lnTo>
                      <a:pt x="134588" y="149257"/>
                    </a:lnTo>
                    <a:lnTo>
                      <a:pt x="134588" y="147542"/>
                    </a:lnTo>
                    <a:lnTo>
                      <a:pt x="134588" y="147542"/>
                    </a:lnTo>
                    <a:lnTo>
                      <a:pt x="132874" y="147542"/>
                    </a:lnTo>
                    <a:lnTo>
                      <a:pt x="126016" y="152686"/>
                    </a:lnTo>
                    <a:lnTo>
                      <a:pt x="122682" y="155162"/>
                    </a:lnTo>
                    <a:lnTo>
                      <a:pt x="120110" y="158591"/>
                    </a:lnTo>
                    <a:lnTo>
                      <a:pt x="118396" y="162782"/>
                    </a:lnTo>
                    <a:lnTo>
                      <a:pt x="118396" y="164497"/>
                    </a:lnTo>
                    <a:lnTo>
                      <a:pt x="120110" y="165354"/>
                    </a:lnTo>
                    <a:lnTo>
                      <a:pt x="124396" y="165354"/>
                    </a:lnTo>
                    <a:lnTo>
                      <a:pt x="125254" y="167069"/>
                    </a:lnTo>
                    <a:lnTo>
                      <a:pt x="125254" y="168783"/>
                    </a:lnTo>
                    <a:lnTo>
                      <a:pt x="124396" y="172117"/>
                    </a:lnTo>
                    <a:lnTo>
                      <a:pt x="124396" y="172117"/>
                    </a:lnTo>
                    <a:lnTo>
                      <a:pt x="124396" y="172117"/>
                    </a:lnTo>
                    <a:lnTo>
                      <a:pt x="124396" y="172117"/>
                    </a:lnTo>
                    <a:lnTo>
                      <a:pt x="124396" y="175546"/>
                    </a:lnTo>
                    <a:lnTo>
                      <a:pt x="120968" y="178975"/>
                    </a:lnTo>
                    <a:lnTo>
                      <a:pt x="117538" y="182309"/>
                    </a:lnTo>
                    <a:lnTo>
                      <a:pt x="114110" y="183166"/>
                    </a:lnTo>
                    <a:lnTo>
                      <a:pt x="111538" y="184023"/>
                    </a:lnTo>
                    <a:lnTo>
                      <a:pt x="109919" y="184880"/>
                    </a:lnTo>
                    <a:lnTo>
                      <a:pt x="107347" y="188309"/>
                    </a:lnTo>
                    <a:lnTo>
                      <a:pt x="105632" y="189167"/>
                    </a:lnTo>
                    <a:lnTo>
                      <a:pt x="100489" y="190786"/>
                    </a:lnTo>
                    <a:lnTo>
                      <a:pt x="96203" y="193358"/>
                    </a:lnTo>
                    <a:lnTo>
                      <a:pt x="95440" y="194215"/>
                    </a:lnTo>
                    <a:lnTo>
                      <a:pt x="93726" y="193358"/>
                    </a:lnTo>
                    <a:lnTo>
                      <a:pt x="92869" y="189929"/>
                    </a:lnTo>
                    <a:lnTo>
                      <a:pt x="91154" y="189929"/>
                    </a:lnTo>
                    <a:lnTo>
                      <a:pt x="89440" y="191643"/>
                    </a:lnTo>
                    <a:lnTo>
                      <a:pt x="89440" y="194215"/>
                    </a:lnTo>
                    <a:lnTo>
                      <a:pt x="88582" y="195929"/>
                    </a:lnTo>
                    <a:lnTo>
                      <a:pt x="86868" y="195929"/>
                    </a:lnTo>
                    <a:lnTo>
                      <a:pt x="85154" y="194215"/>
                    </a:lnTo>
                    <a:lnTo>
                      <a:pt x="85154" y="192500"/>
                    </a:lnTo>
                    <a:lnTo>
                      <a:pt x="84296" y="192500"/>
                    </a:lnTo>
                    <a:lnTo>
                      <a:pt x="82582" y="195929"/>
                    </a:lnTo>
                    <a:lnTo>
                      <a:pt x="81724" y="198501"/>
                    </a:lnTo>
                    <a:lnTo>
                      <a:pt x="79248" y="197644"/>
                    </a:lnTo>
                    <a:lnTo>
                      <a:pt x="78391" y="195072"/>
                    </a:lnTo>
                    <a:lnTo>
                      <a:pt x="76676" y="190786"/>
                    </a:lnTo>
                    <a:lnTo>
                      <a:pt x="74962" y="189167"/>
                    </a:lnTo>
                    <a:lnTo>
                      <a:pt x="74104" y="188309"/>
                    </a:lnTo>
                    <a:lnTo>
                      <a:pt x="73247" y="190786"/>
                    </a:lnTo>
                    <a:lnTo>
                      <a:pt x="73247" y="191643"/>
                    </a:lnTo>
                    <a:lnTo>
                      <a:pt x="73247" y="192500"/>
                    </a:lnTo>
                    <a:lnTo>
                      <a:pt x="74104" y="194215"/>
                    </a:lnTo>
                    <a:lnTo>
                      <a:pt x="73247" y="195072"/>
                    </a:lnTo>
                    <a:lnTo>
                      <a:pt x="72390" y="195929"/>
                    </a:lnTo>
                    <a:lnTo>
                      <a:pt x="70675" y="195929"/>
                    </a:lnTo>
                    <a:lnTo>
                      <a:pt x="61341" y="195072"/>
                    </a:lnTo>
                    <a:lnTo>
                      <a:pt x="59627" y="195072"/>
                    </a:lnTo>
                    <a:lnTo>
                      <a:pt x="55340" y="197644"/>
                    </a:lnTo>
                    <a:lnTo>
                      <a:pt x="49435" y="203549"/>
                    </a:lnTo>
                    <a:lnTo>
                      <a:pt x="45148" y="206121"/>
                    </a:lnTo>
                    <a:lnTo>
                      <a:pt x="42577" y="206121"/>
                    </a:lnTo>
                    <a:lnTo>
                      <a:pt x="37433" y="205264"/>
                    </a:lnTo>
                    <a:lnTo>
                      <a:pt x="32385" y="205264"/>
                    </a:lnTo>
                    <a:lnTo>
                      <a:pt x="30671" y="204406"/>
                    </a:lnTo>
                    <a:lnTo>
                      <a:pt x="27241" y="202692"/>
                    </a:lnTo>
                    <a:lnTo>
                      <a:pt x="22098" y="200977"/>
                    </a:lnTo>
                    <a:lnTo>
                      <a:pt x="6763" y="201835"/>
                    </a:lnTo>
                    <a:lnTo>
                      <a:pt x="6001" y="206978"/>
                    </a:lnTo>
                    <a:lnTo>
                      <a:pt x="857" y="214598"/>
                    </a:lnTo>
                    <a:lnTo>
                      <a:pt x="0" y="218789"/>
                    </a:lnTo>
                    <a:lnTo>
                      <a:pt x="2572" y="228124"/>
                    </a:lnTo>
                    <a:lnTo>
                      <a:pt x="3429" y="229838"/>
                    </a:lnTo>
                    <a:lnTo>
                      <a:pt x="6763" y="232410"/>
                    </a:lnTo>
                    <a:lnTo>
                      <a:pt x="7620" y="234125"/>
                    </a:lnTo>
                    <a:lnTo>
                      <a:pt x="9335" y="236601"/>
                    </a:lnTo>
                    <a:lnTo>
                      <a:pt x="11906" y="237458"/>
                    </a:lnTo>
                    <a:lnTo>
                      <a:pt x="14478" y="237458"/>
                    </a:lnTo>
                    <a:lnTo>
                      <a:pt x="17050" y="239173"/>
                    </a:lnTo>
                    <a:lnTo>
                      <a:pt x="17050" y="239173"/>
                    </a:lnTo>
                    <a:lnTo>
                      <a:pt x="19621" y="241745"/>
                    </a:lnTo>
                    <a:lnTo>
                      <a:pt x="19621" y="243364"/>
                    </a:lnTo>
                    <a:lnTo>
                      <a:pt x="19621" y="244221"/>
                    </a:lnTo>
                    <a:lnTo>
                      <a:pt x="22955" y="244221"/>
                    </a:lnTo>
                    <a:lnTo>
                      <a:pt x="31528" y="240887"/>
                    </a:lnTo>
                    <a:lnTo>
                      <a:pt x="34957" y="240887"/>
                    </a:lnTo>
                    <a:lnTo>
                      <a:pt x="39148" y="240887"/>
                    </a:lnTo>
                    <a:lnTo>
                      <a:pt x="40005" y="240030"/>
                    </a:lnTo>
                    <a:lnTo>
                      <a:pt x="43434" y="237458"/>
                    </a:lnTo>
                    <a:lnTo>
                      <a:pt x="45148" y="237458"/>
                    </a:lnTo>
                    <a:lnTo>
                      <a:pt x="46863" y="240030"/>
                    </a:lnTo>
                    <a:lnTo>
                      <a:pt x="57055" y="257842"/>
                    </a:lnTo>
                    <a:lnTo>
                      <a:pt x="57055" y="259556"/>
                    </a:lnTo>
                    <a:lnTo>
                      <a:pt x="57055" y="262033"/>
                    </a:lnTo>
                    <a:lnTo>
                      <a:pt x="53626" y="264605"/>
                    </a:lnTo>
                    <a:lnTo>
                      <a:pt x="51911" y="266319"/>
                    </a:lnTo>
                    <a:lnTo>
                      <a:pt x="51149" y="268034"/>
                    </a:lnTo>
                    <a:lnTo>
                      <a:pt x="51149" y="269748"/>
                    </a:lnTo>
                    <a:lnTo>
                      <a:pt x="51149" y="271367"/>
                    </a:lnTo>
                    <a:lnTo>
                      <a:pt x="50292" y="272225"/>
                    </a:lnTo>
                    <a:lnTo>
                      <a:pt x="48578" y="273082"/>
                    </a:lnTo>
                    <a:lnTo>
                      <a:pt x="48578" y="273939"/>
                    </a:lnTo>
                    <a:lnTo>
                      <a:pt x="47720" y="273939"/>
                    </a:lnTo>
                    <a:lnTo>
                      <a:pt x="46863" y="276511"/>
                    </a:lnTo>
                    <a:lnTo>
                      <a:pt x="46863" y="278225"/>
                    </a:lnTo>
                    <a:lnTo>
                      <a:pt x="46006" y="280702"/>
                    </a:lnTo>
                    <a:lnTo>
                      <a:pt x="46006" y="283274"/>
                    </a:lnTo>
                    <a:lnTo>
                      <a:pt x="47720" y="286703"/>
                    </a:lnTo>
                    <a:lnTo>
                      <a:pt x="52769" y="292608"/>
                    </a:lnTo>
                    <a:lnTo>
                      <a:pt x="55340" y="296037"/>
                    </a:lnTo>
                    <a:lnTo>
                      <a:pt x="55340" y="296037"/>
                    </a:lnTo>
                    <a:lnTo>
                      <a:pt x="57055" y="303657"/>
                    </a:lnTo>
                    <a:lnTo>
                      <a:pt x="56197" y="305371"/>
                    </a:lnTo>
                    <a:lnTo>
                      <a:pt x="60484" y="305371"/>
                    </a:lnTo>
                    <a:lnTo>
                      <a:pt x="70675" y="306991"/>
                    </a:lnTo>
                    <a:lnTo>
                      <a:pt x="75819" y="305371"/>
                    </a:lnTo>
                    <a:lnTo>
                      <a:pt x="78391" y="304514"/>
                    </a:lnTo>
                    <a:lnTo>
                      <a:pt x="82582" y="303657"/>
                    </a:lnTo>
                    <a:lnTo>
                      <a:pt x="84296" y="303657"/>
                    </a:lnTo>
                    <a:lnTo>
                      <a:pt x="87725" y="301942"/>
                    </a:lnTo>
                    <a:lnTo>
                      <a:pt x="100489" y="298513"/>
                    </a:lnTo>
                    <a:lnTo>
                      <a:pt x="108204" y="296037"/>
                    </a:lnTo>
                    <a:lnTo>
                      <a:pt x="114967" y="294322"/>
                    </a:lnTo>
                    <a:lnTo>
                      <a:pt x="116681" y="293465"/>
                    </a:lnTo>
                    <a:lnTo>
                      <a:pt x="118396" y="292608"/>
                    </a:lnTo>
                    <a:lnTo>
                      <a:pt x="120110" y="290036"/>
                    </a:lnTo>
                    <a:lnTo>
                      <a:pt x="122682" y="288322"/>
                    </a:lnTo>
                    <a:lnTo>
                      <a:pt x="125254" y="287560"/>
                    </a:lnTo>
                    <a:lnTo>
                      <a:pt x="129445" y="287560"/>
                    </a:lnTo>
                    <a:lnTo>
                      <a:pt x="138017" y="289179"/>
                    </a:lnTo>
                    <a:lnTo>
                      <a:pt x="148209" y="293465"/>
                    </a:lnTo>
                    <a:lnTo>
                      <a:pt x="151638" y="296037"/>
                    </a:lnTo>
                    <a:lnTo>
                      <a:pt x="151638" y="296037"/>
                    </a:lnTo>
                    <a:lnTo>
                      <a:pt x="151638" y="296037"/>
                    </a:lnTo>
                    <a:lnTo>
                      <a:pt x="151638" y="297656"/>
                    </a:lnTo>
                    <a:lnTo>
                      <a:pt x="152495" y="298513"/>
                    </a:lnTo>
                    <a:lnTo>
                      <a:pt x="155067" y="300228"/>
                    </a:lnTo>
                    <a:lnTo>
                      <a:pt x="157544" y="301085"/>
                    </a:lnTo>
                    <a:lnTo>
                      <a:pt x="160972" y="301085"/>
                    </a:lnTo>
                    <a:lnTo>
                      <a:pt x="200120" y="296894"/>
                    </a:lnTo>
                    <a:lnTo>
                      <a:pt x="203549" y="297656"/>
                    </a:lnTo>
                    <a:lnTo>
                      <a:pt x="205264" y="298513"/>
                    </a:lnTo>
                    <a:lnTo>
                      <a:pt x="206121" y="299371"/>
                    </a:lnTo>
                    <a:lnTo>
                      <a:pt x="209550" y="301942"/>
                    </a:lnTo>
                    <a:lnTo>
                      <a:pt x="212122" y="301942"/>
                    </a:lnTo>
                    <a:lnTo>
                      <a:pt x="217170" y="299371"/>
                    </a:lnTo>
                    <a:lnTo>
                      <a:pt x="218885" y="299371"/>
                    </a:lnTo>
                    <a:lnTo>
                      <a:pt x="225743" y="298513"/>
                    </a:lnTo>
                    <a:lnTo>
                      <a:pt x="229171" y="297656"/>
                    </a:lnTo>
                    <a:lnTo>
                      <a:pt x="235934" y="295180"/>
                    </a:lnTo>
                    <a:lnTo>
                      <a:pt x="238506" y="293465"/>
                    </a:lnTo>
                    <a:lnTo>
                      <a:pt x="240221" y="291751"/>
                    </a:lnTo>
                    <a:lnTo>
                      <a:pt x="242792" y="288322"/>
                    </a:lnTo>
                    <a:lnTo>
                      <a:pt x="244507" y="287560"/>
                    </a:lnTo>
                    <a:lnTo>
                      <a:pt x="246983" y="285845"/>
                    </a:lnTo>
                    <a:lnTo>
                      <a:pt x="250412" y="284131"/>
                    </a:lnTo>
                    <a:lnTo>
                      <a:pt x="251270" y="282416"/>
                    </a:lnTo>
                    <a:lnTo>
                      <a:pt x="251270" y="281559"/>
                    </a:lnTo>
                    <a:lnTo>
                      <a:pt x="250412" y="278225"/>
                    </a:lnTo>
                    <a:lnTo>
                      <a:pt x="250412" y="274796"/>
                    </a:lnTo>
                    <a:lnTo>
                      <a:pt x="251270" y="273082"/>
                    </a:lnTo>
                    <a:lnTo>
                      <a:pt x="252127" y="271367"/>
                    </a:lnTo>
                    <a:lnTo>
                      <a:pt x="252127" y="271367"/>
                    </a:lnTo>
                    <a:lnTo>
                      <a:pt x="264890" y="257842"/>
                    </a:lnTo>
                    <a:lnTo>
                      <a:pt x="267462" y="255270"/>
                    </a:lnTo>
                    <a:lnTo>
                      <a:pt x="269177" y="254413"/>
                    </a:lnTo>
                    <a:lnTo>
                      <a:pt x="272605" y="251079"/>
                    </a:lnTo>
                    <a:lnTo>
                      <a:pt x="276796" y="247650"/>
                    </a:lnTo>
                    <a:lnTo>
                      <a:pt x="281940" y="243364"/>
                    </a:lnTo>
                    <a:lnTo>
                      <a:pt x="296418" y="230696"/>
                    </a:lnTo>
                    <a:lnTo>
                      <a:pt x="297275" y="229838"/>
                    </a:lnTo>
                    <a:lnTo>
                      <a:pt x="298132" y="228124"/>
                    </a:lnTo>
                    <a:lnTo>
                      <a:pt x="298132" y="227267"/>
                    </a:lnTo>
                    <a:lnTo>
                      <a:pt x="297275" y="225552"/>
                    </a:lnTo>
                    <a:lnTo>
                      <a:pt x="296418" y="224790"/>
                    </a:lnTo>
                    <a:lnTo>
                      <a:pt x="294704" y="223933"/>
                    </a:lnTo>
                    <a:lnTo>
                      <a:pt x="293846" y="222218"/>
                    </a:lnTo>
                    <a:lnTo>
                      <a:pt x="292989" y="219646"/>
                    </a:lnTo>
                    <a:lnTo>
                      <a:pt x="293846" y="217932"/>
                    </a:lnTo>
                    <a:lnTo>
                      <a:pt x="296418" y="215455"/>
                    </a:lnTo>
                    <a:lnTo>
                      <a:pt x="297275" y="215455"/>
                    </a:lnTo>
                    <a:lnTo>
                      <a:pt x="298132" y="215455"/>
                    </a:lnTo>
                    <a:lnTo>
                      <a:pt x="298990" y="216313"/>
                    </a:lnTo>
                    <a:lnTo>
                      <a:pt x="299847" y="217075"/>
                    </a:lnTo>
                    <a:lnTo>
                      <a:pt x="300704" y="218789"/>
                    </a:lnTo>
                    <a:lnTo>
                      <a:pt x="301562" y="219646"/>
                    </a:lnTo>
                    <a:lnTo>
                      <a:pt x="304133" y="220504"/>
                    </a:lnTo>
                    <a:lnTo>
                      <a:pt x="305753" y="220504"/>
                    </a:lnTo>
                    <a:lnTo>
                      <a:pt x="309181" y="222218"/>
                    </a:lnTo>
                    <a:lnTo>
                      <a:pt x="319373" y="219646"/>
                    </a:lnTo>
                    <a:lnTo>
                      <a:pt x="321945" y="222218"/>
                    </a:lnTo>
                    <a:lnTo>
                      <a:pt x="325374" y="220504"/>
                    </a:lnTo>
                    <a:lnTo>
                      <a:pt x="327088" y="220504"/>
                    </a:lnTo>
                    <a:lnTo>
                      <a:pt x="327946" y="221361"/>
                    </a:lnTo>
                    <a:lnTo>
                      <a:pt x="331375" y="219646"/>
                    </a:lnTo>
                    <a:lnTo>
                      <a:pt x="332232" y="218789"/>
                    </a:lnTo>
                    <a:lnTo>
                      <a:pt x="337280" y="215455"/>
                    </a:lnTo>
                    <a:lnTo>
                      <a:pt x="343281" y="212884"/>
                    </a:lnTo>
                    <a:lnTo>
                      <a:pt x="350044" y="210312"/>
                    </a:lnTo>
                    <a:lnTo>
                      <a:pt x="356902" y="208598"/>
                    </a:lnTo>
                    <a:lnTo>
                      <a:pt x="358616" y="208598"/>
                    </a:lnTo>
                    <a:lnTo>
                      <a:pt x="361188" y="206978"/>
                    </a:lnTo>
                    <a:lnTo>
                      <a:pt x="368808" y="203549"/>
                    </a:lnTo>
                    <a:lnTo>
                      <a:pt x="374809" y="200120"/>
                    </a:lnTo>
                    <a:lnTo>
                      <a:pt x="408051" y="188309"/>
                    </a:lnTo>
                    <a:lnTo>
                      <a:pt x="413099" y="184880"/>
                    </a:lnTo>
                    <a:lnTo>
                      <a:pt x="414814" y="184880"/>
                    </a:lnTo>
                    <a:lnTo>
                      <a:pt x="415671" y="184880"/>
                    </a:lnTo>
                    <a:lnTo>
                      <a:pt x="418243" y="186595"/>
                    </a:lnTo>
                    <a:lnTo>
                      <a:pt x="419957" y="187452"/>
                    </a:lnTo>
                    <a:lnTo>
                      <a:pt x="421672" y="187452"/>
                    </a:lnTo>
                    <a:lnTo>
                      <a:pt x="423291" y="188309"/>
                    </a:lnTo>
                    <a:lnTo>
                      <a:pt x="425863" y="188309"/>
                    </a:lnTo>
                    <a:lnTo>
                      <a:pt x="435293" y="185738"/>
                    </a:lnTo>
                    <a:lnTo>
                      <a:pt x="441198" y="184023"/>
                    </a:lnTo>
                    <a:lnTo>
                      <a:pt x="443770" y="182309"/>
                    </a:lnTo>
                    <a:lnTo>
                      <a:pt x="445484" y="180594"/>
                    </a:lnTo>
                    <a:lnTo>
                      <a:pt x="454819" y="174688"/>
                    </a:lnTo>
                    <a:lnTo>
                      <a:pt x="459962" y="172974"/>
                    </a:lnTo>
                    <a:lnTo>
                      <a:pt x="487204" y="172974"/>
                    </a:lnTo>
                    <a:lnTo>
                      <a:pt x="488918" y="172974"/>
                    </a:lnTo>
                    <a:lnTo>
                      <a:pt x="488061" y="173831"/>
                    </a:lnTo>
                    <a:lnTo>
                      <a:pt x="488061" y="175546"/>
                    </a:lnTo>
                    <a:lnTo>
                      <a:pt x="486346" y="178117"/>
                    </a:lnTo>
                    <a:lnTo>
                      <a:pt x="484632" y="181451"/>
                    </a:lnTo>
                    <a:lnTo>
                      <a:pt x="480441" y="188309"/>
                    </a:lnTo>
                    <a:lnTo>
                      <a:pt x="471011" y="200120"/>
                    </a:lnTo>
                    <a:lnTo>
                      <a:pt x="467678" y="203549"/>
                    </a:lnTo>
                    <a:lnTo>
                      <a:pt x="466820" y="206978"/>
                    </a:lnTo>
                    <a:lnTo>
                      <a:pt x="467678" y="208598"/>
                    </a:lnTo>
                    <a:lnTo>
                      <a:pt x="467678" y="209455"/>
                    </a:lnTo>
                    <a:lnTo>
                      <a:pt x="468439" y="217075"/>
                    </a:lnTo>
                    <a:lnTo>
                      <a:pt x="469297" y="217932"/>
                    </a:lnTo>
                    <a:lnTo>
                      <a:pt x="469297" y="218789"/>
                    </a:lnTo>
                    <a:lnTo>
                      <a:pt x="471011" y="219646"/>
                    </a:lnTo>
                    <a:lnTo>
                      <a:pt x="471869" y="220504"/>
                    </a:lnTo>
                    <a:lnTo>
                      <a:pt x="472726" y="220504"/>
                    </a:lnTo>
                    <a:lnTo>
                      <a:pt x="473583" y="222218"/>
                    </a:lnTo>
                    <a:lnTo>
                      <a:pt x="474440" y="223075"/>
                    </a:lnTo>
                    <a:lnTo>
                      <a:pt x="477012" y="223933"/>
                    </a:lnTo>
                    <a:lnTo>
                      <a:pt x="477869" y="225552"/>
                    </a:lnTo>
                    <a:lnTo>
                      <a:pt x="478727" y="227267"/>
                    </a:lnTo>
                    <a:lnTo>
                      <a:pt x="479584" y="232410"/>
                    </a:lnTo>
                    <a:lnTo>
                      <a:pt x="479584" y="234125"/>
                    </a:lnTo>
                    <a:lnTo>
                      <a:pt x="477869" y="238316"/>
                    </a:lnTo>
                    <a:lnTo>
                      <a:pt x="477869" y="239173"/>
                    </a:lnTo>
                    <a:lnTo>
                      <a:pt x="478727" y="240030"/>
                    </a:lnTo>
                    <a:lnTo>
                      <a:pt x="478727" y="240030"/>
                    </a:lnTo>
                    <a:lnTo>
                      <a:pt x="479584" y="241745"/>
                    </a:lnTo>
                    <a:lnTo>
                      <a:pt x="479584" y="242602"/>
                    </a:lnTo>
                    <a:lnTo>
                      <a:pt x="478727" y="245078"/>
                    </a:lnTo>
                    <a:lnTo>
                      <a:pt x="478727" y="245936"/>
                    </a:lnTo>
                    <a:lnTo>
                      <a:pt x="479584" y="245936"/>
                    </a:lnTo>
                    <a:lnTo>
                      <a:pt x="480441" y="245936"/>
                    </a:lnTo>
                    <a:lnTo>
                      <a:pt x="483775" y="240887"/>
                    </a:lnTo>
                    <a:lnTo>
                      <a:pt x="484632" y="240887"/>
                    </a:lnTo>
                    <a:lnTo>
                      <a:pt x="484632" y="240887"/>
                    </a:lnTo>
                    <a:lnTo>
                      <a:pt x="485489" y="240030"/>
                    </a:lnTo>
                    <a:lnTo>
                      <a:pt x="486346" y="240030"/>
                    </a:lnTo>
                    <a:lnTo>
                      <a:pt x="487204" y="240030"/>
                    </a:lnTo>
                    <a:lnTo>
                      <a:pt x="488061" y="240030"/>
                    </a:lnTo>
                    <a:lnTo>
                      <a:pt x="488918" y="240030"/>
                    </a:lnTo>
                    <a:lnTo>
                      <a:pt x="489775" y="240887"/>
                    </a:lnTo>
                    <a:lnTo>
                      <a:pt x="492347" y="243364"/>
                    </a:lnTo>
                    <a:lnTo>
                      <a:pt x="492347" y="244221"/>
                    </a:lnTo>
                    <a:lnTo>
                      <a:pt x="493205" y="245936"/>
                    </a:lnTo>
                    <a:lnTo>
                      <a:pt x="493205" y="249364"/>
                    </a:lnTo>
                    <a:lnTo>
                      <a:pt x="492347" y="250222"/>
                    </a:lnTo>
                    <a:lnTo>
                      <a:pt x="492347" y="250222"/>
                    </a:lnTo>
                    <a:lnTo>
                      <a:pt x="492347" y="251079"/>
                    </a:lnTo>
                    <a:lnTo>
                      <a:pt x="491490" y="251079"/>
                    </a:lnTo>
                    <a:lnTo>
                      <a:pt x="489775" y="252698"/>
                    </a:lnTo>
                    <a:lnTo>
                      <a:pt x="488918" y="252698"/>
                    </a:lnTo>
                    <a:lnTo>
                      <a:pt x="488061" y="253555"/>
                    </a:lnTo>
                    <a:lnTo>
                      <a:pt x="488061" y="254413"/>
                    </a:lnTo>
                    <a:lnTo>
                      <a:pt x="487204" y="255270"/>
                    </a:lnTo>
                    <a:lnTo>
                      <a:pt x="487204" y="256127"/>
                    </a:lnTo>
                    <a:lnTo>
                      <a:pt x="487204" y="256984"/>
                    </a:lnTo>
                    <a:lnTo>
                      <a:pt x="486346" y="256984"/>
                    </a:lnTo>
                    <a:lnTo>
                      <a:pt x="486346" y="256984"/>
                    </a:lnTo>
                    <a:lnTo>
                      <a:pt x="483775" y="257842"/>
                    </a:lnTo>
                    <a:lnTo>
                      <a:pt x="483775" y="257842"/>
                    </a:lnTo>
                    <a:lnTo>
                      <a:pt x="482918" y="258699"/>
                    </a:lnTo>
                    <a:lnTo>
                      <a:pt x="482155" y="260413"/>
                    </a:lnTo>
                    <a:lnTo>
                      <a:pt x="482155" y="260413"/>
                    </a:lnTo>
                    <a:lnTo>
                      <a:pt x="481298" y="261271"/>
                    </a:lnTo>
                    <a:lnTo>
                      <a:pt x="481298" y="261271"/>
                    </a:lnTo>
                    <a:lnTo>
                      <a:pt x="477869" y="260413"/>
                    </a:lnTo>
                    <a:lnTo>
                      <a:pt x="477012" y="260413"/>
                    </a:lnTo>
                    <a:lnTo>
                      <a:pt x="476155" y="260413"/>
                    </a:lnTo>
                    <a:lnTo>
                      <a:pt x="475297" y="260413"/>
                    </a:lnTo>
                    <a:lnTo>
                      <a:pt x="474440" y="260413"/>
                    </a:lnTo>
                    <a:lnTo>
                      <a:pt x="471011" y="260413"/>
                    </a:lnTo>
                    <a:lnTo>
                      <a:pt x="469297" y="260413"/>
                    </a:lnTo>
                    <a:lnTo>
                      <a:pt x="452342" y="267176"/>
                    </a:lnTo>
                    <a:lnTo>
                      <a:pt x="449771" y="267176"/>
                    </a:lnTo>
                    <a:lnTo>
                      <a:pt x="447199" y="265462"/>
                    </a:lnTo>
                    <a:lnTo>
                      <a:pt x="444627" y="262890"/>
                    </a:lnTo>
                    <a:lnTo>
                      <a:pt x="442913" y="262033"/>
                    </a:lnTo>
                    <a:lnTo>
                      <a:pt x="441198" y="262033"/>
                    </a:lnTo>
                    <a:lnTo>
                      <a:pt x="440341" y="262033"/>
                    </a:lnTo>
                    <a:lnTo>
                      <a:pt x="437007" y="262890"/>
                    </a:lnTo>
                    <a:lnTo>
                      <a:pt x="436150" y="263747"/>
                    </a:lnTo>
                    <a:lnTo>
                      <a:pt x="435293" y="264605"/>
                    </a:lnTo>
                    <a:lnTo>
                      <a:pt x="434435" y="266319"/>
                    </a:lnTo>
                    <a:lnTo>
                      <a:pt x="434435" y="267176"/>
                    </a:lnTo>
                    <a:lnTo>
                      <a:pt x="433578" y="269748"/>
                    </a:lnTo>
                    <a:lnTo>
                      <a:pt x="433578" y="271367"/>
                    </a:lnTo>
                    <a:lnTo>
                      <a:pt x="431863" y="273939"/>
                    </a:lnTo>
                    <a:lnTo>
                      <a:pt x="430149" y="275654"/>
                    </a:lnTo>
                    <a:lnTo>
                      <a:pt x="427577" y="278225"/>
                    </a:lnTo>
                    <a:lnTo>
                      <a:pt x="425863" y="279083"/>
                    </a:lnTo>
                    <a:lnTo>
                      <a:pt x="423291" y="279845"/>
                    </a:lnTo>
                    <a:lnTo>
                      <a:pt x="421672" y="280702"/>
                    </a:lnTo>
                    <a:lnTo>
                      <a:pt x="419957" y="281559"/>
                    </a:lnTo>
                    <a:lnTo>
                      <a:pt x="414814" y="285845"/>
                    </a:lnTo>
                    <a:lnTo>
                      <a:pt x="409670" y="289179"/>
                    </a:lnTo>
                    <a:lnTo>
                      <a:pt x="408813" y="290036"/>
                    </a:lnTo>
                    <a:lnTo>
                      <a:pt x="407194" y="290036"/>
                    </a:lnTo>
                    <a:lnTo>
                      <a:pt x="404622" y="290036"/>
                    </a:lnTo>
                    <a:lnTo>
                      <a:pt x="402907" y="290036"/>
                    </a:lnTo>
                    <a:lnTo>
                      <a:pt x="402050" y="290036"/>
                    </a:lnTo>
                    <a:lnTo>
                      <a:pt x="401193" y="290036"/>
                    </a:lnTo>
                    <a:lnTo>
                      <a:pt x="400336" y="291751"/>
                    </a:lnTo>
                    <a:lnTo>
                      <a:pt x="400336" y="295180"/>
                    </a:lnTo>
                    <a:lnTo>
                      <a:pt x="402050" y="296037"/>
                    </a:lnTo>
                    <a:lnTo>
                      <a:pt x="402907" y="296894"/>
                    </a:lnTo>
                    <a:lnTo>
                      <a:pt x="403765" y="296894"/>
                    </a:lnTo>
                    <a:lnTo>
                      <a:pt x="405479" y="298513"/>
                    </a:lnTo>
                    <a:lnTo>
                      <a:pt x="406337" y="300228"/>
                    </a:lnTo>
                    <a:lnTo>
                      <a:pt x="406337" y="301942"/>
                    </a:lnTo>
                    <a:lnTo>
                      <a:pt x="406337" y="306991"/>
                    </a:lnTo>
                    <a:lnTo>
                      <a:pt x="406337" y="308705"/>
                    </a:lnTo>
                    <a:lnTo>
                      <a:pt x="405479" y="309563"/>
                    </a:lnTo>
                    <a:lnTo>
                      <a:pt x="404622" y="310420"/>
                    </a:lnTo>
                    <a:lnTo>
                      <a:pt x="404622" y="311277"/>
                    </a:lnTo>
                    <a:lnTo>
                      <a:pt x="403765" y="311277"/>
                    </a:lnTo>
                    <a:lnTo>
                      <a:pt x="402907" y="312134"/>
                    </a:lnTo>
                    <a:lnTo>
                      <a:pt x="402907" y="312992"/>
                    </a:lnTo>
                    <a:lnTo>
                      <a:pt x="402907" y="315468"/>
                    </a:lnTo>
                    <a:lnTo>
                      <a:pt x="402907" y="316325"/>
                    </a:lnTo>
                    <a:lnTo>
                      <a:pt x="403765" y="318040"/>
                    </a:lnTo>
                    <a:lnTo>
                      <a:pt x="405479" y="319754"/>
                    </a:lnTo>
                    <a:lnTo>
                      <a:pt x="406337" y="320612"/>
                    </a:lnTo>
                    <a:lnTo>
                      <a:pt x="406337" y="321469"/>
                    </a:lnTo>
                    <a:lnTo>
                      <a:pt x="405479" y="325660"/>
                    </a:lnTo>
                    <a:lnTo>
                      <a:pt x="405479" y="327374"/>
                    </a:lnTo>
                    <a:lnTo>
                      <a:pt x="405479" y="329089"/>
                    </a:lnTo>
                    <a:lnTo>
                      <a:pt x="405479" y="329946"/>
                    </a:lnTo>
                    <a:lnTo>
                      <a:pt x="408051" y="334994"/>
                    </a:lnTo>
                    <a:lnTo>
                      <a:pt x="408051" y="339280"/>
                    </a:lnTo>
                    <a:lnTo>
                      <a:pt x="408051" y="339280"/>
                    </a:lnTo>
                    <a:lnTo>
                      <a:pt x="409670" y="339280"/>
                    </a:lnTo>
                    <a:lnTo>
                      <a:pt x="411385" y="338423"/>
                    </a:lnTo>
                    <a:lnTo>
                      <a:pt x="415671" y="336709"/>
                    </a:lnTo>
                    <a:lnTo>
                      <a:pt x="424148" y="334137"/>
                    </a:lnTo>
                    <a:lnTo>
                      <a:pt x="425863" y="332518"/>
                    </a:lnTo>
                    <a:lnTo>
                      <a:pt x="429292" y="328232"/>
                    </a:lnTo>
                    <a:lnTo>
                      <a:pt x="431863" y="323183"/>
                    </a:lnTo>
                    <a:lnTo>
                      <a:pt x="435293" y="318897"/>
                    </a:lnTo>
                    <a:lnTo>
                      <a:pt x="439483" y="318040"/>
                    </a:lnTo>
                    <a:lnTo>
                      <a:pt x="442055" y="318040"/>
                    </a:lnTo>
                    <a:lnTo>
                      <a:pt x="444627" y="318897"/>
                    </a:lnTo>
                    <a:lnTo>
                      <a:pt x="446341" y="317183"/>
                    </a:lnTo>
                    <a:lnTo>
                      <a:pt x="447199" y="314706"/>
                    </a:lnTo>
                    <a:lnTo>
                      <a:pt x="448913" y="312134"/>
                    </a:lnTo>
                    <a:lnTo>
                      <a:pt x="449771" y="310420"/>
                    </a:lnTo>
                    <a:lnTo>
                      <a:pt x="451485" y="309563"/>
                    </a:lnTo>
                    <a:lnTo>
                      <a:pt x="456533" y="309563"/>
                    </a:lnTo>
                    <a:lnTo>
                      <a:pt x="458248" y="308705"/>
                    </a:lnTo>
                    <a:lnTo>
                      <a:pt x="459105" y="306991"/>
                    </a:lnTo>
                    <a:lnTo>
                      <a:pt x="462534" y="301942"/>
                    </a:lnTo>
                    <a:lnTo>
                      <a:pt x="466820" y="296037"/>
                    </a:lnTo>
                    <a:lnTo>
                      <a:pt x="470154" y="295180"/>
                    </a:lnTo>
                    <a:lnTo>
                      <a:pt x="476155" y="294322"/>
                    </a:lnTo>
                    <a:lnTo>
                      <a:pt x="479584" y="292608"/>
                    </a:lnTo>
                    <a:lnTo>
                      <a:pt x="482155" y="289179"/>
                    </a:lnTo>
                    <a:lnTo>
                      <a:pt x="484632" y="285845"/>
                    </a:lnTo>
                    <a:lnTo>
                      <a:pt x="488918" y="278225"/>
                    </a:lnTo>
                    <a:lnTo>
                      <a:pt x="493205" y="272225"/>
                    </a:lnTo>
                    <a:lnTo>
                      <a:pt x="499967" y="267176"/>
                    </a:lnTo>
                    <a:lnTo>
                      <a:pt x="507682" y="263747"/>
                    </a:lnTo>
                    <a:lnTo>
                      <a:pt x="536638" y="258699"/>
                    </a:lnTo>
                    <a:lnTo>
                      <a:pt x="544258" y="259556"/>
                    </a:lnTo>
                    <a:lnTo>
                      <a:pt x="545973" y="259556"/>
                    </a:lnTo>
                    <a:lnTo>
                      <a:pt x="548545" y="259556"/>
                    </a:lnTo>
                    <a:lnTo>
                      <a:pt x="550259" y="258699"/>
                    </a:lnTo>
                    <a:lnTo>
                      <a:pt x="552831" y="257842"/>
                    </a:lnTo>
                    <a:lnTo>
                      <a:pt x="554546" y="255270"/>
                    </a:lnTo>
                    <a:lnTo>
                      <a:pt x="555403" y="252698"/>
                    </a:lnTo>
                    <a:lnTo>
                      <a:pt x="557022" y="251936"/>
                    </a:lnTo>
                    <a:lnTo>
                      <a:pt x="559594" y="252698"/>
                    </a:lnTo>
                    <a:lnTo>
                      <a:pt x="560451" y="253555"/>
                    </a:lnTo>
                    <a:lnTo>
                      <a:pt x="561308" y="253555"/>
                    </a:lnTo>
                    <a:lnTo>
                      <a:pt x="562165" y="254413"/>
                    </a:lnTo>
                    <a:lnTo>
                      <a:pt x="563880" y="254413"/>
                    </a:lnTo>
                    <a:lnTo>
                      <a:pt x="564737" y="253555"/>
                    </a:lnTo>
                    <a:lnTo>
                      <a:pt x="566452" y="251936"/>
                    </a:lnTo>
                    <a:lnTo>
                      <a:pt x="568166" y="251079"/>
                    </a:lnTo>
                    <a:lnTo>
                      <a:pt x="569881" y="251079"/>
                    </a:lnTo>
                    <a:lnTo>
                      <a:pt x="571595" y="251936"/>
                    </a:lnTo>
                    <a:lnTo>
                      <a:pt x="575786" y="253555"/>
                    </a:lnTo>
                    <a:lnTo>
                      <a:pt x="577501" y="255270"/>
                    </a:lnTo>
                    <a:lnTo>
                      <a:pt x="579215" y="256127"/>
                    </a:lnTo>
                    <a:lnTo>
                      <a:pt x="581787" y="260413"/>
                    </a:lnTo>
                    <a:lnTo>
                      <a:pt x="582644" y="262033"/>
                    </a:lnTo>
                    <a:lnTo>
                      <a:pt x="586073" y="265462"/>
                    </a:lnTo>
                    <a:lnTo>
                      <a:pt x="586835" y="266319"/>
                    </a:lnTo>
                    <a:lnTo>
                      <a:pt x="586073" y="268891"/>
                    </a:lnTo>
                    <a:lnTo>
                      <a:pt x="585216" y="270510"/>
                    </a:lnTo>
                    <a:lnTo>
                      <a:pt x="585216" y="272225"/>
                    </a:lnTo>
                    <a:lnTo>
                      <a:pt x="587693" y="274796"/>
                    </a:lnTo>
                    <a:lnTo>
                      <a:pt x="603028" y="281559"/>
                    </a:lnTo>
                    <a:lnTo>
                      <a:pt x="603885" y="282416"/>
                    </a:lnTo>
                    <a:lnTo>
                      <a:pt x="604742" y="283274"/>
                    </a:lnTo>
                    <a:lnTo>
                      <a:pt x="605599" y="284131"/>
                    </a:lnTo>
                    <a:lnTo>
                      <a:pt x="606457" y="284988"/>
                    </a:lnTo>
                    <a:lnTo>
                      <a:pt x="608171" y="284988"/>
                    </a:lnTo>
                    <a:lnTo>
                      <a:pt x="609029" y="284131"/>
                    </a:lnTo>
                    <a:lnTo>
                      <a:pt x="609886" y="284131"/>
                    </a:lnTo>
                    <a:lnTo>
                      <a:pt x="610743" y="284131"/>
                    </a:lnTo>
                    <a:lnTo>
                      <a:pt x="612457" y="284131"/>
                    </a:lnTo>
                    <a:lnTo>
                      <a:pt x="613315" y="284988"/>
                    </a:lnTo>
                    <a:lnTo>
                      <a:pt x="614172" y="285845"/>
                    </a:lnTo>
                    <a:lnTo>
                      <a:pt x="615887" y="284988"/>
                    </a:lnTo>
                    <a:lnTo>
                      <a:pt x="615887" y="284131"/>
                    </a:lnTo>
                    <a:lnTo>
                      <a:pt x="617506" y="280702"/>
                    </a:lnTo>
                    <a:lnTo>
                      <a:pt x="617506" y="279845"/>
                    </a:lnTo>
                    <a:lnTo>
                      <a:pt x="616648" y="279083"/>
                    </a:lnTo>
                    <a:lnTo>
                      <a:pt x="615887" y="278225"/>
                    </a:lnTo>
                    <a:lnTo>
                      <a:pt x="615029" y="277368"/>
                    </a:lnTo>
                    <a:lnTo>
                      <a:pt x="614172" y="276511"/>
                    </a:lnTo>
                    <a:lnTo>
                      <a:pt x="614172" y="275654"/>
                    </a:lnTo>
                    <a:lnTo>
                      <a:pt x="614172" y="273082"/>
                    </a:lnTo>
                    <a:lnTo>
                      <a:pt x="613315" y="272225"/>
                    </a:lnTo>
                    <a:lnTo>
                      <a:pt x="609886" y="268891"/>
                    </a:lnTo>
                    <a:lnTo>
                      <a:pt x="591979" y="245078"/>
                    </a:lnTo>
                    <a:lnTo>
                      <a:pt x="589407" y="240887"/>
                    </a:lnTo>
                    <a:lnTo>
                      <a:pt x="588550" y="238316"/>
                    </a:lnTo>
                    <a:lnTo>
                      <a:pt x="590264" y="234887"/>
                    </a:lnTo>
                    <a:lnTo>
                      <a:pt x="590264" y="233267"/>
                    </a:lnTo>
                    <a:lnTo>
                      <a:pt x="589407" y="231553"/>
                    </a:lnTo>
                    <a:lnTo>
                      <a:pt x="589407" y="229838"/>
                    </a:lnTo>
                    <a:lnTo>
                      <a:pt x="589407" y="228124"/>
                    </a:lnTo>
                    <a:lnTo>
                      <a:pt x="588550" y="227267"/>
                    </a:lnTo>
                    <a:lnTo>
                      <a:pt x="587693" y="225552"/>
                    </a:lnTo>
                    <a:lnTo>
                      <a:pt x="586835" y="223933"/>
                    </a:lnTo>
                    <a:lnTo>
                      <a:pt x="586835" y="221361"/>
                    </a:lnTo>
                    <a:lnTo>
                      <a:pt x="587693" y="218789"/>
                    </a:lnTo>
                    <a:lnTo>
                      <a:pt x="589407" y="217075"/>
                    </a:lnTo>
                    <a:lnTo>
                      <a:pt x="591122" y="215455"/>
                    </a:lnTo>
                    <a:lnTo>
                      <a:pt x="596265" y="212027"/>
                    </a:lnTo>
                    <a:lnTo>
                      <a:pt x="597980" y="210312"/>
                    </a:lnTo>
                    <a:lnTo>
                      <a:pt x="601408" y="206121"/>
                    </a:lnTo>
                    <a:lnTo>
                      <a:pt x="603028" y="204406"/>
                    </a:lnTo>
                    <a:lnTo>
                      <a:pt x="606457" y="203549"/>
                    </a:lnTo>
                    <a:lnTo>
                      <a:pt x="608171" y="203549"/>
                    </a:lnTo>
                    <a:lnTo>
                      <a:pt x="609029" y="203549"/>
                    </a:lnTo>
                    <a:lnTo>
                      <a:pt x="609029" y="202692"/>
                    </a:lnTo>
                    <a:lnTo>
                      <a:pt x="609029" y="200977"/>
                    </a:lnTo>
                    <a:lnTo>
                      <a:pt x="609886" y="200120"/>
                    </a:lnTo>
                    <a:lnTo>
                      <a:pt x="610743" y="199263"/>
                    </a:lnTo>
                    <a:lnTo>
                      <a:pt x="612457" y="198501"/>
                    </a:lnTo>
                    <a:lnTo>
                      <a:pt x="613315" y="197644"/>
                    </a:lnTo>
                    <a:lnTo>
                      <a:pt x="614172" y="195929"/>
                    </a:lnTo>
                    <a:lnTo>
                      <a:pt x="615029" y="195072"/>
                    </a:lnTo>
                    <a:lnTo>
                      <a:pt x="616648" y="195072"/>
                    </a:lnTo>
                    <a:lnTo>
                      <a:pt x="617506" y="194215"/>
                    </a:lnTo>
                    <a:lnTo>
                      <a:pt x="622649" y="189167"/>
                    </a:lnTo>
                    <a:lnTo>
                      <a:pt x="624364" y="187452"/>
                    </a:lnTo>
                    <a:lnTo>
                      <a:pt x="626078" y="185738"/>
                    </a:lnTo>
                    <a:lnTo>
                      <a:pt x="626936" y="184023"/>
                    </a:lnTo>
                    <a:lnTo>
                      <a:pt x="629507" y="183166"/>
                    </a:lnTo>
                    <a:lnTo>
                      <a:pt x="631222" y="182309"/>
                    </a:lnTo>
                    <a:lnTo>
                      <a:pt x="632841" y="183166"/>
                    </a:lnTo>
                    <a:lnTo>
                      <a:pt x="634555" y="184023"/>
                    </a:lnTo>
                    <a:lnTo>
                      <a:pt x="634555" y="186595"/>
                    </a:lnTo>
                    <a:lnTo>
                      <a:pt x="635413" y="187452"/>
                    </a:lnTo>
                    <a:lnTo>
                      <a:pt x="637127" y="186595"/>
                    </a:lnTo>
                    <a:lnTo>
                      <a:pt x="639699" y="184880"/>
                    </a:lnTo>
                    <a:lnTo>
                      <a:pt x="639699" y="184023"/>
                    </a:lnTo>
                    <a:lnTo>
                      <a:pt x="639699" y="182309"/>
                    </a:lnTo>
                    <a:lnTo>
                      <a:pt x="639699" y="179832"/>
                    </a:lnTo>
                    <a:lnTo>
                      <a:pt x="640556" y="178117"/>
                    </a:lnTo>
                    <a:lnTo>
                      <a:pt x="642271" y="173831"/>
                    </a:lnTo>
                    <a:lnTo>
                      <a:pt x="643128" y="172117"/>
                    </a:lnTo>
                    <a:lnTo>
                      <a:pt x="642271" y="168783"/>
                    </a:lnTo>
                    <a:lnTo>
                      <a:pt x="642271" y="168783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53" name="Freeform: Shape 157">
                <a:extLst>
                  <a:ext uri="{FF2B5EF4-FFF2-40B4-BE49-F238E27FC236}">
                    <a16:creationId xmlns:a16="http://schemas.microsoft.com/office/drawing/2014/main" id="{2BAA7034-8543-42ED-89EC-310D96FBE0B9}"/>
                  </a:ext>
                </a:extLst>
              </p:cNvPr>
              <p:cNvSpPr/>
              <p:nvPr/>
            </p:nvSpPr>
            <p:spPr>
              <a:xfrm>
                <a:off x="5425630" y="3840385"/>
                <a:ext cx="895350" cy="742950"/>
              </a:xfrm>
              <a:custGeom>
                <a:avLst/>
                <a:gdLst>
                  <a:gd name="connsiteX0" fmla="*/ 893921 w 895350"/>
                  <a:gd name="connsiteY0" fmla="*/ 6858 h 742950"/>
                  <a:gd name="connsiteX1" fmla="*/ 893064 w 895350"/>
                  <a:gd name="connsiteY1" fmla="*/ 6858 h 742950"/>
                  <a:gd name="connsiteX2" fmla="*/ 892207 w 895350"/>
                  <a:gd name="connsiteY2" fmla="*/ 6858 h 742950"/>
                  <a:gd name="connsiteX3" fmla="*/ 891349 w 895350"/>
                  <a:gd name="connsiteY3" fmla="*/ 6858 h 742950"/>
                  <a:gd name="connsiteX4" fmla="*/ 889635 w 895350"/>
                  <a:gd name="connsiteY4" fmla="*/ 10287 h 742950"/>
                  <a:gd name="connsiteX5" fmla="*/ 888778 w 895350"/>
                  <a:gd name="connsiteY5" fmla="*/ 8572 h 742950"/>
                  <a:gd name="connsiteX6" fmla="*/ 887920 w 895350"/>
                  <a:gd name="connsiteY6" fmla="*/ 7715 h 742950"/>
                  <a:gd name="connsiteX7" fmla="*/ 887063 w 895350"/>
                  <a:gd name="connsiteY7" fmla="*/ 6858 h 742950"/>
                  <a:gd name="connsiteX8" fmla="*/ 887920 w 895350"/>
                  <a:gd name="connsiteY8" fmla="*/ 5143 h 742950"/>
                  <a:gd name="connsiteX9" fmla="*/ 888778 w 895350"/>
                  <a:gd name="connsiteY9" fmla="*/ 3429 h 742950"/>
                  <a:gd name="connsiteX10" fmla="*/ 888778 w 895350"/>
                  <a:gd name="connsiteY10" fmla="*/ 2572 h 742950"/>
                  <a:gd name="connsiteX11" fmla="*/ 889635 w 895350"/>
                  <a:gd name="connsiteY11" fmla="*/ 1714 h 742950"/>
                  <a:gd name="connsiteX12" fmla="*/ 890492 w 895350"/>
                  <a:gd name="connsiteY12" fmla="*/ 2572 h 742950"/>
                  <a:gd name="connsiteX13" fmla="*/ 892207 w 895350"/>
                  <a:gd name="connsiteY13" fmla="*/ 4286 h 742950"/>
                  <a:gd name="connsiteX14" fmla="*/ 893921 w 895350"/>
                  <a:gd name="connsiteY14" fmla="*/ 5143 h 742950"/>
                  <a:gd name="connsiteX15" fmla="*/ 893921 w 895350"/>
                  <a:gd name="connsiteY15" fmla="*/ 5143 h 742950"/>
                  <a:gd name="connsiteX16" fmla="*/ 893921 w 895350"/>
                  <a:gd name="connsiteY16" fmla="*/ 5143 h 742950"/>
                  <a:gd name="connsiteX17" fmla="*/ 893064 w 895350"/>
                  <a:gd name="connsiteY17" fmla="*/ 2572 h 742950"/>
                  <a:gd name="connsiteX18" fmla="*/ 893064 w 895350"/>
                  <a:gd name="connsiteY18" fmla="*/ 1714 h 742950"/>
                  <a:gd name="connsiteX19" fmla="*/ 892207 w 895350"/>
                  <a:gd name="connsiteY19" fmla="*/ 0 h 742950"/>
                  <a:gd name="connsiteX20" fmla="*/ 891349 w 895350"/>
                  <a:gd name="connsiteY20" fmla="*/ 0 h 742950"/>
                  <a:gd name="connsiteX21" fmla="*/ 889635 w 895350"/>
                  <a:gd name="connsiteY21" fmla="*/ 0 h 742950"/>
                  <a:gd name="connsiteX22" fmla="*/ 886206 w 895350"/>
                  <a:gd name="connsiteY22" fmla="*/ 0 h 742950"/>
                  <a:gd name="connsiteX23" fmla="*/ 884491 w 895350"/>
                  <a:gd name="connsiteY23" fmla="*/ 0 h 742950"/>
                  <a:gd name="connsiteX24" fmla="*/ 883634 w 895350"/>
                  <a:gd name="connsiteY24" fmla="*/ 0 h 742950"/>
                  <a:gd name="connsiteX25" fmla="*/ 882777 w 895350"/>
                  <a:gd name="connsiteY25" fmla="*/ 857 h 742950"/>
                  <a:gd name="connsiteX26" fmla="*/ 883634 w 895350"/>
                  <a:gd name="connsiteY26" fmla="*/ 1714 h 742950"/>
                  <a:gd name="connsiteX27" fmla="*/ 883634 w 895350"/>
                  <a:gd name="connsiteY27" fmla="*/ 2572 h 742950"/>
                  <a:gd name="connsiteX28" fmla="*/ 883634 w 895350"/>
                  <a:gd name="connsiteY28" fmla="*/ 2572 h 742950"/>
                  <a:gd name="connsiteX29" fmla="*/ 883634 w 895350"/>
                  <a:gd name="connsiteY29" fmla="*/ 4286 h 742950"/>
                  <a:gd name="connsiteX30" fmla="*/ 883634 w 895350"/>
                  <a:gd name="connsiteY30" fmla="*/ 5143 h 742950"/>
                  <a:gd name="connsiteX31" fmla="*/ 882777 w 895350"/>
                  <a:gd name="connsiteY31" fmla="*/ 6858 h 742950"/>
                  <a:gd name="connsiteX32" fmla="*/ 881920 w 895350"/>
                  <a:gd name="connsiteY32" fmla="*/ 7715 h 742950"/>
                  <a:gd name="connsiteX33" fmla="*/ 881062 w 895350"/>
                  <a:gd name="connsiteY33" fmla="*/ 7715 h 742950"/>
                  <a:gd name="connsiteX34" fmla="*/ 880205 w 895350"/>
                  <a:gd name="connsiteY34" fmla="*/ 7715 h 742950"/>
                  <a:gd name="connsiteX35" fmla="*/ 880205 w 895350"/>
                  <a:gd name="connsiteY35" fmla="*/ 6858 h 742950"/>
                  <a:gd name="connsiteX36" fmla="*/ 878491 w 895350"/>
                  <a:gd name="connsiteY36" fmla="*/ 6858 h 742950"/>
                  <a:gd name="connsiteX37" fmla="*/ 870014 w 895350"/>
                  <a:gd name="connsiteY37" fmla="*/ 11144 h 742950"/>
                  <a:gd name="connsiteX38" fmla="*/ 869156 w 895350"/>
                  <a:gd name="connsiteY38" fmla="*/ 12001 h 742950"/>
                  <a:gd name="connsiteX39" fmla="*/ 865727 w 895350"/>
                  <a:gd name="connsiteY39" fmla="*/ 14573 h 742950"/>
                  <a:gd name="connsiteX40" fmla="*/ 864013 w 895350"/>
                  <a:gd name="connsiteY40" fmla="*/ 15430 h 742950"/>
                  <a:gd name="connsiteX41" fmla="*/ 863156 w 895350"/>
                  <a:gd name="connsiteY41" fmla="*/ 15430 h 742950"/>
                  <a:gd name="connsiteX42" fmla="*/ 861441 w 895350"/>
                  <a:gd name="connsiteY42" fmla="*/ 14573 h 742950"/>
                  <a:gd name="connsiteX43" fmla="*/ 860584 w 895350"/>
                  <a:gd name="connsiteY43" fmla="*/ 14573 h 742950"/>
                  <a:gd name="connsiteX44" fmla="*/ 859727 w 895350"/>
                  <a:gd name="connsiteY44" fmla="*/ 15430 h 742950"/>
                  <a:gd name="connsiteX45" fmla="*/ 858869 w 895350"/>
                  <a:gd name="connsiteY45" fmla="*/ 15430 h 742950"/>
                  <a:gd name="connsiteX46" fmla="*/ 859727 w 895350"/>
                  <a:gd name="connsiteY46" fmla="*/ 16288 h 742950"/>
                  <a:gd name="connsiteX47" fmla="*/ 859727 w 895350"/>
                  <a:gd name="connsiteY47" fmla="*/ 18002 h 742950"/>
                  <a:gd name="connsiteX48" fmla="*/ 859727 w 895350"/>
                  <a:gd name="connsiteY48" fmla="*/ 18859 h 742950"/>
                  <a:gd name="connsiteX49" fmla="*/ 859727 w 895350"/>
                  <a:gd name="connsiteY49" fmla="*/ 18859 h 742950"/>
                  <a:gd name="connsiteX50" fmla="*/ 858869 w 895350"/>
                  <a:gd name="connsiteY50" fmla="*/ 20574 h 742950"/>
                  <a:gd name="connsiteX51" fmla="*/ 858869 w 895350"/>
                  <a:gd name="connsiteY51" fmla="*/ 21431 h 742950"/>
                  <a:gd name="connsiteX52" fmla="*/ 858869 w 895350"/>
                  <a:gd name="connsiteY52" fmla="*/ 21431 h 742950"/>
                  <a:gd name="connsiteX53" fmla="*/ 858869 w 895350"/>
                  <a:gd name="connsiteY53" fmla="*/ 22288 h 742950"/>
                  <a:gd name="connsiteX54" fmla="*/ 858869 w 895350"/>
                  <a:gd name="connsiteY54" fmla="*/ 23146 h 742950"/>
                  <a:gd name="connsiteX55" fmla="*/ 859727 w 895350"/>
                  <a:gd name="connsiteY55" fmla="*/ 23146 h 742950"/>
                  <a:gd name="connsiteX56" fmla="*/ 858869 w 895350"/>
                  <a:gd name="connsiteY56" fmla="*/ 24003 h 742950"/>
                  <a:gd name="connsiteX57" fmla="*/ 858869 w 895350"/>
                  <a:gd name="connsiteY57" fmla="*/ 24860 h 742950"/>
                  <a:gd name="connsiteX58" fmla="*/ 854583 w 895350"/>
                  <a:gd name="connsiteY58" fmla="*/ 29908 h 742950"/>
                  <a:gd name="connsiteX59" fmla="*/ 853726 w 895350"/>
                  <a:gd name="connsiteY59" fmla="*/ 29908 h 742950"/>
                  <a:gd name="connsiteX60" fmla="*/ 852869 w 895350"/>
                  <a:gd name="connsiteY60" fmla="*/ 29908 h 742950"/>
                  <a:gd name="connsiteX61" fmla="*/ 851154 w 895350"/>
                  <a:gd name="connsiteY61" fmla="*/ 29908 h 742950"/>
                  <a:gd name="connsiteX62" fmla="*/ 851154 w 895350"/>
                  <a:gd name="connsiteY62" fmla="*/ 29908 h 742950"/>
                  <a:gd name="connsiteX63" fmla="*/ 850297 w 895350"/>
                  <a:gd name="connsiteY63" fmla="*/ 30766 h 742950"/>
                  <a:gd name="connsiteX64" fmla="*/ 849440 w 895350"/>
                  <a:gd name="connsiteY64" fmla="*/ 34195 h 742950"/>
                  <a:gd name="connsiteX65" fmla="*/ 848582 w 895350"/>
                  <a:gd name="connsiteY65" fmla="*/ 35909 h 742950"/>
                  <a:gd name="connsiteX66" fmla="*/ 846011 w 895350"/>
                  <a:gd name="connsiteY66" fmla="*/ 38481 h 742950"/>
                  <a:gd name="connsiteX67" fmla="*/ 844296 w 895350"/>
                  <a:gd name="connsiteY67" fmla="*/ 40196 h 742950"/>
                  <a:gd name="connsiteX68" fmla="*/ 842582 w 895350"/>
                  <a:gd name="connsiteY68" fmla="*/ 41053 h 742950"/>
                  <a:gd name="connsiteX69" fmla="*/ 835819 w 895350"/>
                  <a:gd name="connsiteY69" fmla="*/ 41910 h 742950"/>
                  <a:gd name="connsiteX70" fmla="*/ 827341 w 895350"/>
                  <a:gd name="connsiteY70" fmla="*/ 43625 h 742950"/>
                  <a:gd name="connsiteX71" fmla="*/ 825627 w 895350"/>
                  <a:gd name="connsiteY71" fmla="*/ 43625 h 742950"/>
                  <a:gd name="connsiteX72" fmla="*/ 824770 w 895350"/>
                  <a:gd name="connsiteY72" fmla="*/ 43625 h 742950"/>
                  <a:gd name="connsiteX73" fmla="*/ 823055 w 895350"/>
                  <a:gd name="connsiteY73" fmla="*/ 42767 h 742950"/>
                  <a:gd name="connsiteX74" fmla="*/ 821341 w 895350"/>
                  <a:gd name="connsiteY74" fmla="*/ 41910 h 742950"/>
                  <a:gd name="connsiteX75" fmla="*/ 818769 w 895350"/>
                  <a:gd name="connsiteY75" fmla="*/ 41910 h 742950"/>
                  <a:gd name="connsiteX76" fmla="*/ 817912 w 895350"/>
                  <a:gd name="connsiteY76" fmla="*/ 41053 h 742950"/>
                  <a:gd name="connsiteX77" fmla="*/ 817054 w 895350"/>
                  <a:gd name="connsiteY77" fmla="*/ 40196 h 742950"/>
                  <a:gd name="connsiteX78" fmla="*/ 815340 w 895350"/>
                  <a:gd name="connsiteY78" fmla="*/ 40196 h 742950"/>
                  <a:gd name="connsiteX79" fmla="*/ 813625 w 895350"/>
                  <a:gd name="connsiteY79" fmla="*/ 40196 h 742950"/>
                  <a:gd name="connsiteX80" fmla="*/ 806863 w 895350"/>
                  <a:gd name="connsiteY80" fmla="*/ 41053 h 742950"/>
                  <a:gd name="connsiteX81" fmla="*/ 801815 w 895350"/>
                  <a:gd name="connsiteY81" fmla="*/ 41053 h 742950"/>
                  <a:gd name="connsiteX82" fmla="*/ 796766 w 895350"/>
                  <a:gd name="connsiteY82" fmla="*/ 41910 h 742950"/>
                  <a:gd name="connsiteX83" fmla="*/ 795909 w 895350"/>
                  <a:gd name="connsiteY83" fmla="*/ 41053 h 742950"/>
                  <a:gd name="connsiteX84" fmla="*/ 795052 w 895350"/>
                  <a:gd name="connsiteY84" fmla="*/ 40196 h 742950"/>
                  <a:gd name="connsiteX85" fmla="*/ 795052 w 895350"/>
                  <a:gd name="connsiteY85" fmla="*/ 40196 h 742950"/>
                  <a:gd name="connsiteX86" fmla="*/ 794195 w 895350"/>
                  <a:gd name="connsiteY86" fmla="*/ 40196 h 742950"/>
                  <a:gd name="connsiteX87" fmla="*/ 794195 w 895350"/>
                  <a:gd name="connsiteY87" fmla="*/ 39338 h 742950"/>
                  <a:gd name="connsiteX88" fmla="*/ 793337 w 895350"/>
                  <a:gd name="connsiteY88" fmla="*/ 37624 h 742950"/>
                  <a:gd name="connsiteX89" fmla="*/ 792480 w 895350"/>
                  <a:gd name="connsiteY89" fmla="*/ 36767 h 742950"/>
                  <a:gd name="connsiteX90" fmla="*/ 791623 w 895350"/>
                  <a:gd name="connsiteY90" fmla="*/ 35909 h 742950"/>
                  <a:gd name="connsiteX91" fmla="*/ 791623 w 895350"/>
                  <a:gd name="connsiteY91" fmla="*/ 35909 h 742950"/>
                  <a:gd name="connsiteX92" fmla="*/ 791623 w 895350"/>
                  <a:gd name="connsiteY92" fmla="*/ 35052 h 742950"/>
                  <a:gd name="connsiteX93" fmla="*/ 790765 w 895350"/>
                  <a:gd name="connsiteY93" fmla="*/ 33338 h 742950"/>
                  <a:gd name="connsiteX94" fmla="*/ 789908 w 895350"/>
                  <a:gd name="connsiteY94" fmla="*/ 29908 h 742950"/>
                  <a:gd name="connsiteX95" fmla="*/ 788194 w 895350"/>
                  <a:gd name="connsiteY95" fmla="*/ 29051 h 742950"/>
                  <a:gd name="connsiteX96" fmla="*/ 788194 w 895350"/>
                  <a:gd name="connsiteY96" fmla="*/ 28194 h 742950"/>
                  <a:gd name="connsiteX97" fmla="*/ 787336 w 895350"/>
                  <a:gd name="connsiteY97" fmla="*/ 23146 h 742950"/>
                  <a:gd name="connsiteX98" fmla="*/ 785622 w 895350"/>
                  <a:gd name="connsiteY98" fmla="*/ 18859 h 742950"/>
                  <a:gd name="connsiteX99" fmla="*/ 783050 w 895350"/>
                  <a:gd name="connsiteY99" fmla="*/ 18002 h 742950"/>
                  <a:gd name="connsiteX100" fmla="*/ 782193 w 895350"/>
                  <a:gd name="connsiteY100" fmla="*/ 18002 h 742950"/>
                  <a:gd name="connsiteX101" fmla="*/ 781336 w 895350"/>
                  <a:gd name="connsiteY101" fmla="*/ 18002 h 742950"/>
                  <a:gd name="connsiteX102" fmla="*/ 780478 w 895350"/>
                  <a:gd name="connsiteY102" fmla="*/ 18002 h 742950"/>
                  <a:gd name="connsiteX103" fmla="*/ 779621 w 895350"/>
                  <a:gd name="connsiteY103" fmla="*/ 18859 h 742950"/>
                  <a:gd name="connsiteX104" fmla="*/ 779621 w 895350"/>
                  <a:gd name="connsiteY104" fmla="*/ 18859 h 742950"/>
                  <a:gd name="connsiteX105" fmla="*/ 779621 w 895350"/>
                  <a:gd name="connsiteY105" fmla="*/ 19717 h 742950"/>
                  <a:gd name="connsiteX106" fmla="*/ 778764 w 895350"/>
                  <a:gd name="connsiteY106" fmla="*/ 19717 h 742950"/>
                  <a:gd name="connsiteX107" fmla="*/ 778764 w 895350"/>
                  <a:gd name="connsiteY107" fmla="*/ 20574 h 742950"/>
                  <a:gd name="connsiteX108" fmla="*/ 779621 w 895350"/>
                  <a:gd name="connsiteY108" fmla="*/ 22288 h 742950"/>
                  <a:gd name="connsiteX109" fmla="*/ 779621 w 895350"/>
                  <a:gd name="connsiteY109" fmla="*/ 23146 h 742950"/>
                  <a:gd name="connsiteX110" fmla="*/ 779621 w 895350"/>
                  <a:gd name="connsiteY110" fmla="*/ 24003 h 742950"/>
                  <a:gd name="connsiteX111" fmla="*/ 779621 w 895350"/>
                  <a:gd name="connsiteY111" fmla="*/ 24860 h 742950"/>
                  <a:gd name="connsiteX112" fmla="*/ 779621 w 895350"/>
                  <a:gd name="connsiteY112" fmla="*/ 26575 h 742950"/>
                  <a:gd name="connsiteX113" fmla="*/ 778764 w 895350"/>
                  <a:gd name="connsiteY113" fmla="*/ 27432 h 742950"/>
                  <a:gd name="connsiteX114" fmla="*/ 777907 w 895350"/>
                  <a:gd name="connsiteY114" fmla="*/ 27432 h 742950"/>
                  <a:gd name="connsiteX115" fmla="*/ 777907 w 895350"/>
                  <a:gd name="connsiteY115" fmla="*/ 26575 h 742950"/>
                  <a:gd name="connsiteX116" fmla="*/ 777049 w 895350"/>
                  <a:gd name="connsiteY116" fmla="*/ 24860 h 742950"/>
                  <a:gd name="connsiteX117" fmla="*/ 774478 w 895350"/>
                  <a:gd name="connsiteY117" fmla="*/ 18955 h 742950"/>
                  <a:gd name="connsiteX118" fmla="*/ 774478 w 895350"/>
                  <a:gd name="connsiteY118" fmla="*/ 17240 h 742950"/>
                  <a:gd name="connsiteX119" fmla="*/ 772763 w 895350"/>
                  <a:gd name="connsiteY119" fmla="*/ 14668 h 742950"/>
                  <a:gd name="connsiteX120" fmla="*/ 767715 w 895350"/>
                  <a:gd name="connsiteY120" fmla="*/ 9620 h 742950"/>
                  <a:gd name="connsiteX121" fmla="*/ 766858 w 895350"/>
                  <a:gd name="connsiteY121" fmla="*/ 8763 h 742950"/>
                  <a:gd name="connsiteX122" fmla="*/ 766000 w 895350"/>
                  <a:gd name="connsiteY122" fmla="*/ 5334 h 742950"/>
                  <a:gd name="connsiteX123" fmla="*/ 764286 w 895350"/>
                  <a:gd name="connsiteY123" fmla="*/ 3620 h 742950"/>
                  <a:gd name="connsiteX124" fmla="*/ 763429 w 895350"/>
                  <a:gd name="connsiteY124" fmla="*/ 3620 h 742950"/>
                  <a:gd name="connsiteX125" fmla="*/ 762571 w 895350"/>
                  <a:gd name="connsiteY125" fmla="*/ 3620 h 742950"/>
                  <a:gd name="connsiteX126" fmla="*/ 761714 w 895350"/>
                  <a:gd name="connsiteY126" fmla="*/ 5334 h 742950"/>
                  <a:gd name="connsiteX127" fmla="*/ 761714 w 895350"/>
                  <a:gd name="connsiteY127" fmla="*/ 6191 h 742950"/>
                  <a:gd name="connsiteX128" fmla="*/ 761714 w 895350"/>
                  <a:gd name="connsiteY128" fmla="*/ 7715 h 742950"/>
                  <a:gd name="connsiteX129" fmla="*/ 760857 w 895350"/>
                  <a:gd name="connsiteY129" fmla="*/ 9430 h 742950"/>
                  <a:gd name="connsiteX130" fmla="*/ 760000 w 895350"/>
                  <a:gd name="connsiteY130" fmla="*/ 10287 h 742950"/>
                  <a:gd name="connsiteX131" fmla="*/ 757428 w 895350"/>
                  <a:gd name="connsiteY131" fmla="*/ 11144 h 742950"/>
                  <a:gd name="connsiteX132" fmla="*/ 756571 w 895350"/>
                  <a:gd name="connsiteY132" fmla="*/ 12001 h 742950"/>
                  <a:gd name="connsiteX133" fmla="*/ 756571 w 895350"/>
                  <a:gd name="connsiteY133" fmla="*/ 12859 h 742950"/>
                  <a:gd name="connsiteX134" fmla="*/ 755714 w 895350"/>
                  <a:gd name="connsiteY134" fmla="*/ 15430 h 742950"/>
                  <a:gd name="connsiteX135" fmla="*/ 754856 w 895350"/>
                  <a:gd name="connsiteY135" fmla="*/ 17145 h 742950"/>
                  <a:gd name="connsiteX136" fmla="*/ 753999 w 895350"/>
                  <a:gd name="connsiteY136" fmla="*/ 17145 h 742950"/>
                  <a:gd name="connsiteX137" fmla="*/ 753142 w 895350"/>
                  <a:gd name="connsiteY137" fmla="*/ 18002 h 742950"/>
                  <a:gd name="connsiteX138" fmla="*/ 752285 w 895350"/>
                  <a:gd name="connsiteY138" fmla="*/ 18002 h 742950"/>
                  <a:gd name="connsiteX139" fmla="*/ 751427 w 895350"/>
                  <a:gd name="connsiteY139" fmla="*/ 17145 h 742950"/>
                  <a:gd name="connsiteX140" fmla="*/ 751427 w 895350"/>
                  <a:gd name="connsiteY140" fmla="*/ 13716 h 742950"/>
                  <a:gd name="connsiteX141" fmla="*/ 750570 w 895350"/>
                  <a:gd name="connsiteY141" fmla="*/ 12859 h 742950"/>
                  <a:gd name="connsiteX142" fmla="*/ 749713 w 895350"/>
                  <a:gd name="connsiteY142" fmla="*/ 11144 h 742950"/>
                  <a:gd name="connsiteX143" fmla="*/ 748856 w 895350"/>
                  <a:gd name="connsiteY143" fmla="*/ 10287 h 742950"/>
                  <a:gd name="connsiteX144" fmla="*/ 747998 w 895350"/>
                  <a:gd name="connsiteY144" fmla="*/ 10287 h 742950"/>
                  <a:gd name="connsiteX145" fmla="*/ 747141 w 895350"/>
                  <a:gd name="connsiteY145" fmla="*/ 10287 h 742950"/>
                  <a:gd name="connsiteX146" fmla="*/ 747141 w 895350"/>
                  <a:gd name="connsiteY146" fmla="*/ 11144 h 742950"/>
                  <a:gd name="connsiteX147" fmla="*/ 747998 w 895350"/>
                  <a:gd name="connsiteY147" fmla="*/ 15430 h 742950"/>
                  <a:gd name="connsiteX148" fmla="*/ 747998 w 895350"/>
                  <a:gd name="connsiteY148" fmla="*/ 16288 h 742950"/>
                  <a:gd name="connsiteX149" fmla="*/ 747998 w 895350"/>
                  <a:gd name="connsiteY149" fmla="*/ 17145 h 742950"/>
                  <a:gd name="connsiteX150" fmla="*/ 746284 w 895350"/>
                  <a:gd name="connsiteY150" fmla="*/ 18002 h 742950"/>
                  <a:gd name="connsiteX151" fmla="*/ 746284 w 895350"/>
                  <a:gd name="connsiteY151" fmla="*/ 18859 h 742950"/>
                  <a:gd name="connsiteX152" fmla="*/ 746284 w 895350"/>
                  <a:gd name="connsiteY152" fmla="*/ 18859 h 742950"/>
                  <a:gd name="connsiteX153" fmla="*/ 746284 w 895350"/>
                  <a:gd name="connsiteY153" fmla="*/ 18859 h 742950"/>
                  <a:gd name="connsiteX154" fmla="*/ 746284 w 895350"/>
                  <a:gd name="connsiteY154" fmla="*/ 19717 h 742950"/>
                  <a:gd name="connsiteX155" fmla="*/ 747141 w 895350"/>
                  <a:gd name="connsiteY155" fmla="*/ 20574 h 742950"/>
                  <a:gd name="connsiteX156" fmla="*/ 747141 w 895350"/>
                  <a:gd name="connsiteY156" fmla="*/ 21431 h 742950"/>
                  <a:gd name="connsiteX157" fmla="*/ 746284 w 895350"/>
                  <a:gd name="connsiteY157" fmla="*/ 22288 h 742950"/>
                  <a:gd name="connsiteX158" fmla="*/ 744569 w 895350"/>
                  <a:gd name="connsiteY158" fmla="*/ 23146 h 742950"/>
                  <a:gd name="connsiteX159" fmla="*/ 743712 w 895350"/>
                  <a:gd name="connsiteY159" fmla="*/ 23146 h 742950"/>
                  <a:gd name="connsiteX160" fmla="*/ 741140 w 895350"/>
                  <a:gd name="connsiteY160" fmla="*/ 21431 h 742950"/>
                  <a:gd name="connsiteX161" fmla="*/ 739426 w 895350"/>
                  <a:gd name="connsiteY161" fmla="*/ 20574 h 742950"/>
                  <a:gd name="connsiteX162" fmla="*/ 736854 w 895350"/>
                  <a:gd name="connsiteY162" fmla="*/ 19717 h 742950"/>
                  <a:gd name="connsiteX163" fmla="*/ 735997 w 895350"/>
                  <a:gd name="connsiteY163" fmla="*/ 18859 h 742950"/>
                  <a:gd name="connsiteX164" fmla="*/ 735140 w 895350"/>
                  <a:gd name="connsiteY164" fmla="*/ 18859 h 742950"/>
                  <a:gd name="connsiteX165" fmla="*/ 734282 w 895350"/>
                  <a:gd name="connsiteY165" fmla="*/ 18002 h 742950"/>
                  <a:gd name="connsiteX166" fmla="*/ 733425 w 895350"/>
                  <a:gd name="connsiteY166" fmla="*/ 18002 h 742950"/>
                  <a:gd name="connsiteX167" fmla="*/ 731711 w 895350"/>
                  <a:gd name="connsiteY167" fmla="*/ 18859 h 742950"/>
                  <a:gd name="connsiteX168" fmla="*/ 730853 w 895350"/>
                  <a:gd name="connsiteY168" fmla="*/ 18859 h 742950"/>
                  <a:gd name="connsiteX169" fmla="*/ 729139 w 895350"/>
                  <a:gd name="connsiteY169" fmla="*/ 19717 h 742950"/>
                  <a:gd name="connsiteX170" fmla="*/ 729139 w 895350"/>
                  <a:gd name="connsiteY170" fmla="*/ 20574 h 742950"/>
                  <a:gd name="connsiteX171" fmla="*/ 729139 w 895350"/>
                  <a:gd name="connsiteY171" fmla="*/ 21431 h 742950"/>
                  <a:gd name="connsiteX172" fmla="*/ 729996 w 895350"/>
                  <a:gd name="connsiteY172" fmla="*/ 22288 h 742950"/>
                  <a:gd name="connsiteX173" fmla="*/ 730853 w 895350"/>
                  <a:gd name="connsiteY173" fmla="*/ 22288 h 742950"/>
                  <a:gd name="connsiteX174" fmla="*/ 730853 w 895350"/>
                  <a:gd name="connsiteY174" fmla="*/ 23146 h 742950"/>
                  <a:gd name="connsiteX175" fmla="*/ 731711 w 895350"/>
                  <a:gd name="connsiteY175" fmla="*/ 24003 h 742950"/>
                  <a:gd name="connsiteX176" fmla="*/ 732568 w 895350"/>
                  <a:gd name="connsiteY176" fmla="*/ 26575 h 742950"/>
                  <a:gd name="connsiteX177" fmla="*/ 732568 w 895350"/>
                  <a:gd name="connsiteY177" fmla="*/ 27432 h 742950"/>
                  <a:gd name="connsiteX178" fmla="*/ 735140 w 895350"/>
                  <a:gd name="connsiteY178" fmla="*/ 30004 h 742950"/>
                  <a:gd name="connsiteX179" fmla="*/ 735140 w 895350"/>
                  <a:gd name="connsiteY179" fmla="*/ 30004 h 742950"/>
                  <a:gd name="connsiteX180" fmla="*/ 735997 w 895350"/>
                  <a:gd name="connsiteY180" fmla="*/ 30861 h 742950"/>
                  <a:gd name="connsiteX181" fmla="*/ 735997 w 895350"/>
                  <a:gd name="connsiteY181" fmla="*/ 30861 h 742950"/>
                  <a:gd name="connsiteX182" fmla="*/ 736854 w 895350"/>
                  <a:gd name="connsiteY182" fmla="*/ 30861 h 742950"/>
                  <a:gd name="connsiteX183" fmla="*/ 737711 w 895350"/>
                  <a:gd name="connsiteY183" fmla="*/ 30861 h 742950"/>
                  <a:gd name="connsiteX184" fmla="*/ 737711 w 895350"/>
                  <a:gd name="connsiteY184" fmla="*/ 30861 h 742950"/>
                  <a:gd name="connsiteX185" fmla="*/ 738569 w 895350"/>
                  <a:gd name="connsiteY185" fmla="*/ 32575 h 742950"/>
                  <a:gd name="connsiteX186" fmla="*/ 738569 w 895350"/>
                  <a:gd name="connsiteY186" fmla="*/ 32575 h 742950"/>
                  <a:gd name="connsiteX187" fmla="*/ 738569 w 895350"/>
                  <a:gd name="connsiteY187" fmla="*/ 33433 h 742950"/>
                  <a:gd name="connsiteX188" fmla="*/ 739426 w 895350"/>
                  <a:gd name="connsiteY188" fmla="*/ 33433 h 742950"/>
                  <a:gd name="connsiteX189" fmla="*/ 740283 w 895350"/>
                  <a:gd name="connsiteY189" fmla="*/ 34290 h 742950"/>
                  <a:gd name="connsiteX190" fmla="*/ 740283 w 895350"/>
                  <a:gd name="connsiteY190" fmla="*/ 35147 h 742950"/>
                  <a:gd name="connsiteX191" fmla="*/ 739426 w 895350"/>
                  <a:gd name="connsiteY191" fmla="*/ 36004 h 742950"/>
                  <a:gd name="connsiteX192" fmla="*/ 738569 w 895350"/>
                  <a:gd name="connsiteY192" fmla="*/ 36862 h 742950"/>
                  <a:gd name="connsiteX193" fmla="*/ 736854 w 895350"/>
                  <a:gd name="connsiteY193" fmla="*/ 37719 h 742950"/>
                  <a:gd name="connsiteX194" fmla="*/ 734282 w 895350"/>
                  <a:gd name="connsiteY194" fmla="*/ 38576 h 742950"/>
                  <a:gd name="connsiteX195" fmla="*/ 732568 w 895350"/>
                  <a:gd name="connsiteY195" fmla="*/ 39433 h 742950"/>
                  <a:gd name="connsiteX196" fmla="*/ 729139 w 895350"/>
                  <a:gd name="connsiteY196" fmla="*/ 42005 h 742950"/>
                  <a:gd name="connsiteX197" fmla="*/ 726567 w 895350"/>
                  <a:gd name="connsiteY197" fmla="*/ 44577 h 742950"/>
                  <a:gd name="connsiteX198" fmla="*/ 724853 w 895350"/>
                  <a:gd name="connsiteY198" fmla="*/ 46292 h 742950"/>
                  <a:gd name="connsiteX199" fmla="*/ 718090 w 895350"/>
                  <a:gd name="connsiteY199" fmla="*/ 48863 h 742950"/>
                  <a:gd name="connsiteX200" fmla="*/ 717232 w 895350"/>
                  <a:gd name="connsiteY200" fmla="*/ 48863 h 742950"/>
                  <a:gd name="connsiteX201" fmla="*/ 716375 w 895350"/>
                  <a:gd name="connsiteY201" fmla="*/ 48006 h 742950"/>
                  <a:gd name="connsiteX202" fmla="*/ 715518 w 895350"/>
                  <a:gd name="connsiteY202" fmla="*/ 47149 h 742950"/>
                  <a:gd name="connsiteX203" fmla="*/ 713803 w 895350"/>
                  <a:gd name="connsiteY203" fmla="*/ 46292 h 742950"/>
                  <a:gd name="connsiteX204" fmla="*/ 712946 w 895350"/>
                  <a:gd name="connsiteY204" fmla="*/ 46292 h 742950"/>
                  <a:gd name="connsiteX205" fmla="*/ 711232 w 895350"/>
                  <a:gd name="connsiteY205" fmla="*/ 46292 h 742950"/>
                  <a:gd name="connsiteX206" fmla="*/ 710374 w 895350"/>
                  <a:gd name="connsiteY206" fmla="*/ 47149 h 742950"/>
                  <a:gd name="connsiteX207" fmla="*/ 707803 w 895350"/>
                  <a:gd name="connsiteY207" fmla="*/ 48863 h 742950"/>
                  <a:gd name="connsiteX208" fmla="*/ 706945 w 895350"/>
                  <a:gd name="connsiteY208" fmla="*/ 50578 h 742950"/>
                  <a:gd name="connsiteX209" fmla="*/ 704374 w 895350"/>
                  <a:gd name="connsiteY209" fmla="*/ 54864 h 742950"/>
                  <a:gd name="connsiteX210" fmla="*/ 703516 w 895350"/>
                  <a:gd name="connsiteY210" fmla="*/ 56579 h 742950"/>
                  <a:gd name="connsiteX211" fmla="*/ 701802 w 895350"/>
                  <a:gd name="connsiteY211" fmla="*/ 58293 h 742950"/>
                  <a:gd name="connsiteX212" fmla="*/ 699230 w 895350"/>
                  <a:gd name="connsiteY212" fmla="*/ 60865 h 742950"/>
                  <a:gd name="connsiteX213" fmla="*/ 699230 w 895350"/>
                  <a:gd name="connsiteY213" fmla="*/ 61722 h 742950"/>
                  <a:gd name="connsiteX214" fmla="*/ 698373 w 895350"/>
                  <a:gd name="connsiteY214" fmla="*/ 62579 h 742950"/>
                  <a:gd name="connsiteX215" fmla="*/ 699230 w 895350"/>
                  <a:gd name="connsiteY215" fmla="*/ 63437 h 742950"/>
                  <a:gd name="connsiteX216" fmla="*/ 698373 w 895350"/>
                  <a:gd name="connsiteY216" fmla="*/ 64294 h 742950"/>
                  <a:gd name="connsiteX217" fmla="*/ 698373 w 895350"/>
                  <a:gd name="connsiteY217" fmla="*/ 65151 h 742950"/>
                  <a:gd name="connsiteX218" fmla="*/ 698373 w 895350"/>
                  <a:gd name="connsiteY218" fmla="*/ 66008 h 742950"/>
                  <a:gd name="connsiteX219" fmla="*/ 698373 w 895350"/>
                  <a:gd name="connsiteY219" fmla="*/ 66866 h 742950"/>
                  <a:gd name="connsiteX220" fmla="*/ 700087 w 895350"/>
                  <a:gd name="connsiteY220" fmla="*/ 69437 h 742950"/>
                  <a:gd name="connsiteX221" fmla="*/ 700945 w 895350"/>
                  <a:gd name="connsiteY221" fmla="*/ 72009 h 742950"/>
                  <a:gd name="connsiteX222" fmla="*/ 701802 w 895350"/>
                  <a:gd name="connsiteY222" fmla="*/ 72009 h 742950"/>
                  <a:gd name="connsiteX223" fmla="*/ 701802 w 895350"/>
                  <a:gd name="connsiteY223" fmla="*/ 72866 h 742950"/>
                  <a:gd name="connsiteX224" fmla="*/ 704374 w 895350"/>
                  <a:gd name="connsiteY224" fmla="*/ 72009 h 742950"/>
                  <a:gd name="connsiteX225" fmla="*/ 704374 w 895350"/>
                  <a:gd name="connsiteY225" fmla="*/ 72009 h 742950"/>
                  <a:gd name="connsiteX226" fmla="*/ 705231 w 895350"/>
                  <a:gd name="connsiteY226" fmla="*/ 72866 h 742950"/>
                  <a:gd name="connsiteX227" fmla="*/ 705231 w 895350"/>
                  <a:gd name="connsiteY227" fmla="*/ 72866 h 742950"/>
                  <a:gd name="connsiteX228" fmla="*/ 705231 w 895350"/>
                  <a:gd name="connsiteY228" fmla="*/ 74581 h 742950"/>
                  <a:gd name="connsiteX229" fmla="*/ 700183 w 895350"/>
                  <a:gd name="connsiteY229" fmla="*/ 81343 h 742950"/>
                  <a:gd name="connsiteX230" fmla="*/ 699325 w 895350"/>
                  <a:gd name="connsiteY230" fmla="*/ 82201 h 742950"/>
                  <a:gd name="connsiteX231" fmla="*/ 699325 w 895350"/>
                  <a:gd name="connsiteY231" fmla="*/ 83058 h 742950"/>
                  <a:gd name="connsiteX232" fmla="*/ 700183 w 895350"/>
                  <a:gd name="connsiteY232" fmla="*/ 83915 h 742950"/>
                  <a:gd name="connsiteX233" fmla="*/ 700183 w 895350"/>
                  <a:gd name="connsiteY233" fmla="*/ 84772 h 742950"/>
                  <a:gd name="connsiteX234" fmla="*/ 701040 w 895350"/>
                  <a:gd name="connsiteY234" fmla="*/ 85630 h 742950"/>
                  <a:gd name="connsiteX235" fmla="*/ 701040 w 895350"/>
                  <a:gd name="connsiteY235" fmla="*/ 87344 h 742950"/>
                  <a:gd name="connsiteX236" fmla="*/ 700183 w 895350"/>
                  <a:gd name="connsiteY236" fmla="*/ 89916 h 742950"/>
                  <a:gd name="connsiteX237" fmla="*/ 699325 w 895350"/>
                  <a:gd name="connsiteY237" fmla="*/ 90773 h 742950"/>
                  <a:gd name="connsiteX238" fmla="*/ 698468 w 895350"/>
                  <a:gd name="connsiteY238" fmla="*/ 91630 h 742950"/>
                  <a:gd name="connsiteX239" fmla="*/ 696754 w 895350"/>
                  <a:gd name="connsiteY239" fmla="*/ 91630 h 742950"/>
                  <a:gd name="connsiteX240" fmla="*/ 695896 w 895350"/>
                  <a:gd name="connsiteY240" fmla="*/ 91630 h 742950"/>
                  <a:gd name="connsiteX241" fmla="*/ 695039 w 895350"/>
                  <a:gd name="connsiteY241" fmla="*/ 91630 h 742950"/>
                  <a:gd name="connsiteX242" fmla="*/ 690753 w 895350"/>
                  <a:gd name="connsiteY242" fmla="*/ 94202 h 742950"/>
                  <a:gd name="connsiteX243" fmla="*/ 689896 w 895350"/>
                  <a:gd name="connsiteY243" fmla="*/ 94202 h 742950"/>
                  <a:gd name="connsiteX244" fmla="*/ 685610 w 895350"/>
                  <a:gd name="connsiteY244" fmla="*/ 94202 h 742950"/>
                  <a:gd name="connsiteX245" fmla="*/ 684752 w 895350"/>
                  <a:gd name="connsiteY245" fmla="*/ 94202 h 742950"/>
                  <a:gd name="connsiteX246" fmla="*/ 683895 w 895350"/>
                  <a:gd name="connsiteY246" fmla="*/ 93345 h 742950"/>
                  <a:gd name="connsiteX247" fmla="*/ 683038 w 895350"/>
                  <a:gd name="connsiteY247" fmla="*/ 92488 h 742950"/>
                  <a:gd name="connsiteX248" fmla="*/ 683038 w 895350"/>
                  <a:gd name="connsiteY248" fmla="*/ 91630 h 742950"/>
                  <a:gd name="connsiteX249" fmla="*/ 683895 w 895350"/>
                  <a:gd name="connsiteY249" fmla="*/ 89059 h 742950"/>
                  <a:gd name="connsiteX250" fmla="*/ 683038 w 895350"/>
                  <a:gd name="connsiteY250" fmla="*/ 88201 h 742950"/>
                  <a:gd name="connsiteX251" fmla="*/ 682181 w 895350"/>
                  <a:gd name="connsiteY251" fmla="*/ 88201 h 742950"/>
                  <a:gd name="connsiteX252" fmla="*/ 680466 w 895350"/>
                  <a:gd name="connsiteY252" fmla="*/ 88201 h 742950"/>
                  <a:gd name="connsiteX253" fmla="*/ 679609 w 895350"/>
                  <a:gd name="connsiteY253" fmla="*/ 87344 h 742950"/>
                  <a:gd name="connsiteX254" fmla="*/ 677894 w 895350"/>
                  <a:gd name="connsiteY254" fmla="*/ 86487 h 742950"/>
                  <a:gd name="connsiteX255" fmla="*/ 677037 w 895350"/>
                  <a:gd name="connsiteY255" fmla="*/ 85630 h 742950"/>
                  <a:gd name="connsiteX256" fmla="*/ 675323 w 895350"/>
                  <a:gd name="connsiteY256" fmla="*/ 85630 h 742950"/>
                  <a:gd name="connsiteX257" fmla="*/ 673608 w 895350"/>
                  <a:gd name="connsiteY257" fmla="*/ 85630 h 742950"/>
                  <a:gd name="connsiteX258" fmla="*/ 671894 w 895350"/>
                  <a:gd name="connsiteY258" fmla="*/ 86487 h 742950"/>
                  <a:gd name="connsiteX259" fmla="*/ 671894 w 895350"/>
                  <a:gd name="connsiteY259" fmla="*/ 87344 h 742950"/>
                  <a:gd name="connsiteX260" fmla="*/ 671894 w 895350"/>
                  <a:gd name="connsiteY260" fmla="*/ 88201 h 742950"/>
                  <a:gd name="connsiteX261" fmla="*/ 672751 w 895350"/>
                  <a:gd name="connsiteY261" fmla="*/ 90773 h 742950"/>
                  <a:gd name="connsiteX262" fmla="*/ 671894 w 895350"/>
                  <a:gd name="connsiteY262" fmla="*/ 92488 h 742950"/>
                  <a:gd name="connsiteX263" fmla="*/ 671894 w 895350"/>
                  <a:gd name="connsiteY263" fmla="*/ 93440 h 742950"/>
                  <a:gd name="connsiteX264" fmla="*/ 671036 w 895350"/>
                  <a:gd name="connsiteY264" fmla="*/ 95155 h 742950"/>
                  <a:gd name="connsiteX265" fmla="*/ 669322 w 895350"/>
                  <a:gd name="connsiteY265" fmla="*/ 96012 h 742950"/>
                  <a:gd name="connsiteX266" fmla="*/ 665893 w 895350"/>
                  <a:gd name="connsiteY266" fmla="*/ 96869 h 742950"/>
                  <a:gd name="connsiteX267" fmla="*/ 662464 w 895350"/>
                  <a:gd name="connsiteY267" fmla="*/ 99441 h 742950"/>
                  <a:gd name="connsiteX268" fmla="*/ 660749 w 895350"/>
                  <a:gd name="connsiteY268" fmla="*/ 100298 h 742950"/>
                  <a:gd name="connsiteX269" fmla="*/ 659035 w 895350"/>
                  <a:gd name="connsiteY269" fmla="*/ 101155 h 742950"/>
                  <a:gd name="connsiteX270" fmla="*/ 658178 w 895350"/>
                  <a:gd name="connsiteY270" fmla="*/ 102013 h 742950"/>
                  <a:gd name="connsiteX271" fmla="*/ 658178 w 895350"/>
                  <a:gd name="connsiteY271" fmla="*/ 102870 h 742950"/>
                  <a:gd name="connsiteX272" fmla="*/ 657320 w 895350"/>
                  <a:gd name="connsiteY272" fmla="*/ 106299 h 742950"/>
                  <a:gd name="connsiteX273" fmla="*/ 657320 w 895350"/>
                  <a:gd name="connsiteY273" fmla="*/ 107156 h 742950"/>
                  <a:gd name="connsiteX274" fmla="*/ 656463 w 895350"/>
                  <a:gd name="connsiteY274" fmla="*/ 108013 h 742950"/>
                  <a:gd name="connsiteX275" fmla="*/ 655606 w 895350"/>
                  <a:gd name="connsiteY275" fmla="*/ 108013 h 742950"/>
                  <a:gd name="connsiteX276" fmla="*/ 653891 w 895350"/>
                  <a:gd name="connsiteY276" fmla="*/ 107156 h 742950"/>
                  <a:gd name="connsiteX277" fmla="*/ 653034 w 895350"/>
                  <a:gd name="connsiteY277" fmla="*/ 107156 h 742950"/>
                  <a:gd name="connsiteX278" fmla="*/ 651320 w 895350"/>
                  <a:gd name="connsiteY278" fmla="*/ 107156 h 742950"/>
                  <a:gd name="connsiteX279" fmla="*/ 650462 w 895350"/>
                  <a:gd name="connsiteY279" fmla="*/ 107156 h 742950"/>
                  <a:gd name="connsiteX280" fmla="*/ 650462 w 895350"/>
                  <a:gd name="connsiteY280" fmla="*/ 106299 h 742950"/>
                  <a:gd name="connsiteX281" fmla="*/ 649605 w 895350"/>
                  <a:gd name="connsiteY281" fmla="*/ 105442 h 742950"/>
                  <a:gd name="connsiteX282" fmla="*/ 649605 w 895350"/>
                  <a:gd name="connsiteY282" fmla="*/ 104584 h 742950"/>
                  <a:gd name="connsiteX283" fmla="*/ 649605 w 895350"/>
                  <a:gd name="connsiteY283" fmla="*/ 103727 h 742950"/>
                  <a:gd name="connsiteX284" fmla="*/ 649605 w 895350"/>
                  <a:gd name="connsiteY284" fmla="*/ 102013 h 742950"/>
                  <a:gd name="connsiteX285" fmla="*/ 651320 w 895350"/>
                  <a:gd name="connsiteY285" fmla="*/ 98584 h 742950"/>
                  <a:gd name="connsiteX286" fmla="*/ 651320 w 895350"/>
                  <a:gd name="connsiteY286" fmla="*/ 97726 h 742950"/>
                  <a:gd name="connsiteX287" fmla="*/ 651320 w 895350"/>
                  <a:gd name="connsiteY287" fmla="*/ 96869 h 742950"/>
                  <a:gd name="connsiteX288" fmla="*/ 651320 w 895350"/>
                  <a:gd name="connsiteY288" fmla="*/ 96012 h 742950"/>
                  <a:gd name="connsiteX289" fmla="*/ 650462 w 895350"/>
                  <a:gd name="connsiteY289" fmla="*/ 95155 h 742950"/>
                  <a:gd name="connsiteX290" fmla="*/ 649605 w 895350"/>
                  <a:gd name="connsiteY290" fmla="*/ 94297 h 742950"/>
                  <a:gd name="connsiteX291" fmla="*/ 648748 w 895350"/>
                  <a:gd name="connsiteY291" fmla="*/ 93440 h 742950"/>
                  <a:gd name="connsiteX292" fmla="*/ 643699 w 895350"/>
                  <a:gd name="connsiteY292" fmla="*/ 88392 h 742950"/>
                  <a:gd name="connsiteX293" fmla="*/ 641985 w 895350"/>
                  <a:gd name="connsiteY293" fmla="*/ 86677 h 742950"/>
                  <a:gd name="connsiteX294" fmla="*/ 641985 w 895350"/>
                  <a:gd name="connsiteY294" fmla="*/ 85820 h 742950"/>
                  <a:gd name="connsiteX295" fmla="*/ 641985 w 895350"/>
                  <a:gd name="connsiteY295" fmla="*/ 84106 h 742950"/>
                  <a:gd name="connsiteX296" fmla="*/ 641985 w 895350"/>
                  <a:gd name="connsiteY296" fmla="*/ 82391 h 742950"/>
                  <a:gd name="connsiteX297" fmla="*/ 641985 w 895350"/>
                  <a:gd name="connsiteY297" fmla="*/ 81534 h 742950"/>
                  <a:gd name="connsiteX298" fmla="*/ 641985 w 895350"/>
                  <a:gd name="connsiteY298" fmla="*/ 80677 h 742950"/>
                  <a:gd name="connsiteX299" fmla="*/ 641128 w 895350"/>
                  <a:gd name="connsiteY299" fmla="*/ 79820 h 742950"/>
                  <a:gd name="connsiteX300" fmla="*/ 641128 w 895350"/>
                  <a:gd name="connsiteY300" fmla="*/ 78962 h 742950"/>
                  <a:gd name="connsiteX301" fmla="*/ 641128 w 895350"/>
                  <a:gd name="connsiteY301" fmla="*/ 78105 h 742950"/>
                  <a:gd name="connsiteX302" fmla="*/ 641128 w 895350"/>
                  <a:gd name="connsiteY302" fmla="*/ 77248 h 742950"/>
                  <a:gd name="connsiteX303" fmla="*/ 641128 w 895350"/>
                  <a:gd name="connsiteY303" fmla="*/ 76391 h 742950"/>
                  <a:gd name="connsiteX304" fmla="*/ 641128 w 895350"/>
                  <a:gd name="connsiteY304" fmla="*/ 75533 h 742950"/>
                  <a:gd name="connsiteX305" fmla="*/ 640270 w 895350"/>
                  <a:gd name="connsiteY305" fmla="*/ 75533 h 742950"/>
                  <a:gd name="connsiteX306" fmla="*/ 639413 w 895350"/>
                  <a:gd name="connsiteY306" fmla="*/ 75533 h 742950"/>
                  <a:gd name="connsiteX307" fmla="*/ 637699 w 895350"/>
                  <a:gd name="connsiteY307" fmla="*/ 75533 h 742950"/>
                  <a:gd name="connsiteX308" fmla="*/ 636841 w 895350"/>
                  <a:gd name="connsiteY308" fmla="*/ 74676 h 742950"/>
                  <a:gd name="connsiteX309" fmla="*/ 634270 w 895350"/>
                  <a:gd name="connsiteY309" fmla="*/ 73819 h 742950"/>
                  <a:gd name="connsiteX310" fmla="*/ 633412 w 895350"/>
                  <a:gd name="connsiteY310" fmla="*/ 74676 h 742950"/>
                  <a:gd name="connsiteX311" fmla="*/ 632555 w 895350"/>
                  <a:gd name="connsiteY311" fmla="*/ 75533 h 742950"/>
                  <a:gd name="connsiteX312" fmla="*/ 630841 w 895350"/>
                  <a:gd name="connsiteY312" fmla="*/ 78962 h 742950"/>
                  <a:gd name="connsiteX313" fmla="*/ 629983 w 895350"/>
                  <a:gd name="connsiteY313" fmla="*/ 80677 h 742950"/>
                  <a:gd name="connsiteX314" fmla="*/ 626554 w 895350"/>
                  <a:gd name="connsiteY314" fmla="*/ 84963 h 742950"/>
                  <a:gd name="connsiteX315" fmla="*/ 625697 w 895350"/>
                  <a:gd name="connsiteY315" fmla="*/ 85820 h 742950"/>
                  <a:gd name="connsiteX316" fmla="*/ 625697 w 895350"/>
                  <a:gd name="connsiteY316" fmla="*/ 86677 h 742950"/>
                  <a:gd name="connsiteX317" fmla="*/ 625697 w 895350"/>
                  <a:gd name="connsiteY317" fmla="*/ 88392 h 742950"/>
                  <a:gd name="connsiteX318" fmla="*/ 625697 w 895350"/>
                  <a:gd name="connsiteY318" fmla="*/ 90106 h 742950"/>
                  <a:gd name="connsiteX319" fmla="*/ 625697 w 895350"/>
                  <a:gd name="connsiteY319" fmla="*/ 91821 h 742950"/>
                  <a:gd name="connsiteX320" fmla="*/ 623983 w 895350"/>
                  <a:gd name="connsiteY320" fmla="*/ 96869 h 742950"/>
                  <a:gd name="connsiteX321" fmla="*/ 623983 w 895350"/>
                  <a:gd name="connsiteY321" fmla="*/ 97726 h 742950"/>
                  <a:gd name="connsiteX322" fmla="*/ 623983 w 895350"/>
                  <a:gd name="connsiteY322" fmla="*/ 97726 h 742950"/>
                  <a:gd name="connsiteX323" fmla="*/ 624840 w 895350"/>
                  <a:gd name="connsiteY323" fmla="*/ 99441 h 742950"/>
                  <a:gd name="connsiteX324" fmla="*/ 624840 w 895350"/>
                  <a:gd name="connsiteY324" fmla="*/ 101155 h 742950"/>
                  <a:gd name="connsiteX325" fmla="*/ 623983 w 895350"/>
                  <a:gd name="connsiteY325" fmla="*/ 102870 h 742950"/>
                  <a:gd name="connsiteX326" fmla="*/ 623983 w 895350"/>
                  <a:gd name="connsiteY326" fmla="*/ 103727 h 742950"/>
                  <a:gd name="connsiteX327" fmla="*/ 619696 w 895350"/>
                  <a:gd name="connsiteY327" fmla="*/ 109633 h 742950"/>
                  <a:gd name="connsiteX328" fmla="*/ 619696 w 895350"/>
                  <a:gd name="connsiteY328" fmla="*/ 111347 h 742950"/>
                  <a:gd name="connsiteX329" fmla="*/ 618839 w 895350"/>
                  <a:gd name="connsiteY329" fmla="*/ 112204 h 742950"/>
                  <a:gd name="connsiteX330" fmla="*/ 619696 w 895350"/>
                  <a:gd name="connsiteY330" fmla="*/ 113062 h 742950"/>
                  <a:gd name="connsiteX331" fmla="*/ 620554 w 895350"/>
                  <a:gd name="connsiteY331" fmla="*/ 113919 h 742950"/>
                  <a:gd name="connsiteX332" fmla="*/ 623983 w 895350"/>
                  <a:gd name="connsiteY332" fmla="*/ 116491 h 742950"/>
                  <a:gd name="connsiteX333" fmla="*/ 624840 w 895350"/>
                  <a:gd name="connsiteY333" fmla="*/ 117348 h 742950"/>
                  <a:gd name="connsiteX334" fmla="*/ 624840 w 895350"/>
                  <a:gd name="connsiteY334" fmla="*/ 118205 h 742950"/>
                  <a:gd name="connsiteX335" fmla="*/ 623983 w 895350"/>
                  <a:gd name="connsiteY335" fmla="*/ 119920 h 742950"/>
                  <a:gd name="connsiteX336" fmla="*/ 623125 w 895350"/>
                  <a:gd name="connsiteY336" fmla="*/ 120777 h 742950"/>
                  <a:gd name="connsiteX337" fmla="*/ 622268 w 895350"/>
                  <a:gd name="connsiteY337" fmla="*/ 120777 h 742950"/>
                  <a:gd name="connsiteX338" fmla="*/ 621411 w 895350"/>
                  <a:gd name="connsiteY338" fmla="*/ 121634 h 742950"/>
                  <a:gd name="connsiteX339" fmla="*/ 621411 w 895350"/>
                  <a:gd name="connsiteY339" fmla="*/ 123349 h 742950"/>
                  <a:gd name="connsiteX340" fmla="*/ 622268 w 895350"/>
                  <a:gd name="connsiteY340" fmla="*/ 125063 h 742950"/>
                  <a:gd name="connsiteX341" fmla="*/ 622268 w 895350"/>
                  <a:gd name="connsiteY341" fmla="*/ 126778 h 742950"/>
                  <a:gd name="connsiteX342" fmla="*/ 622268 w 895350"/>
                  <a:gd name="connsiteY342" fmla="*/ 128492 h 742950"/>
                  <a:gd name="connsiteX343" fmla="*/ 621411 w 895350"/>
                  <a:gd name="connsiteY343" fmla="*/ 129350 h 742950"/>
                  <a:gd name="connsiteX344" fmla="*/ 620554 w 895350"/>
                  <a:gd name="connsiteY344" fmla="*/ 130207 h 742950"/>
                  <a:gd name="connsiteX345" fmla="*/ 617125 w 895350"/>
                  <a:gd name="connsiteY345" fmla="*/ 130207 h 742950"/>
                  <a:gd name="connsiteX346" fmla="*/ 615410 w 895350"/>
                  <a:gd name="connsiteY346" fmla="*/ 130207 h 742950"/>
                  <a:gd name="connsiteX347" fmla="*/ 614553 w 895350"/>
                  <a:gd name="connsiteY347" fmla="*/ 131064 h 742950"/>
                  <a:gd name="connsiteX348" fmla="*/ 613696 w 895350"/>
                  <a:gd name="connsiteY348" fmla="*/ 132779 h 742950"/>
                  <a:gd name="connsiteX349" fmla="*/ 613696 w 895350"/>
                  <a:gd name="connsiteY349" fmla="*/ 134493 h 742950"/>
                  <a:gd name="connsiteX350" fmla="*/ 612839 w 895350"/>
                  <a:gd name="connsiteY350" fmla="*/ 135350 h 742950"/>
                  <a:gd name="connsiteX351" fmla="*/ 611124 w 895350"/>
                  <a:gd name="connsiteY351" fmla="*/ 136208 h 742950"/>
                  <a:gd name="connsiteX352" fmla="*/ 610267 w 895350"/>
                  <a:gd name="connsiteY352" fmla="*/ 135350 h 742950"/>
                  <a:gd name="connsiteX353" fmla="*/ 609410 w 895350"/>
                  <a:gd name="connsiteY353" fmla="*/ 135350 h 742950"/>
                  <a:gd name="connsiteX354" fmla="*/ 608552 w 895350"/>
                  <a:gd name="connsiteY354" fmla="*/ 135350 h 742950"/>
                  <a:gd name="connsiteX355" fmla="*/ 607695 w 895350"/>
                  <a:gd name="connsiteY355" fmla="*/ 135350 h 742950"/>
                  <a:gd name="connsiteX356" fmla="*/ 605981 w 895350"/>
                  <a:gd name="connsiteY356" fmla="*/ 135350 h 742950"/>
                  <a:gd name="connsiteX357" fmla="*/ 605123 w 895350"/>
                  <a:gd name="connsiteY357" fmla="*/ 135350 h 742950"/>
                  <a:gd name="connsiteX358" fmla="*/ 604266 w 895350"/>
                  <a:gd name="connsiteY358" fmla="*/ 135350 h 742950"/>
                  <a:gd name="connsiteX359" fmla="*/ 602552 w 895350"/>
                  <a:gd name="connsiteY359" fmla="*/ 132779 h 742950"/>
                  <a:gd name="connsiteX360" fmla="*/ 600837 w 895350"/>
                  <a:gd name="connsiteY360" fmla="*/ 131921 h 742950"/>
                  <a:gd name="connsiteX361" fmla="*/ 599123 w 895350"/>
                  <a:gd name="connsiteY361" fmla="*/ 130207 h 742950"/>
                  <a:gd name="connsiteX362" fmla="*/ 594836 w 895350"/>
                  <a:gd name="connsiteY362" fmla="*/ 129350 h 742950"/>
                  <a:gd name="connsiteX363" fmla="*/ 589788 w 895350"/>
                  <a:gd name="connsiteY363" fmla="*/ 130207 h 742950"/>
                  <a:gd name="connsiteX364" fmla="*/ 583882 w 895350"/>
                  <a:gd name="connsiteY364" fmla="*/ 133636 h 742950"/>
                  <a:gd name="connsiteX365" fmla="*/ 580453 w 895350"/>
                  <a:gd name="connsiteY365" fmla="*/ 134493 h 742950"/>
                  <a:gd name="connsiteX366" fmla="*/ 576167 w 895350"/>
                  <a:gd name="connsiteY366" fmla="*/ 135350 h 742950"/>
                  <a:gd name="connsiteX367" fmla="*/ 565118 w 895350"/>
                  <a:gd name="connsiteY367" fmla="*/ 142113 h 742950"/>
                  <a:gd name="connsiteX368" fmla="*/ 558356 w 895350"/>
                  <a:gd name="connsiteY368" fmla="*/ 145542 h 742950"/>
                  <a:gd name="connsiteX369" fmla="*/ 558356 w 895350"/>
                  <a:gd name="connsiteY369" fmla="*/ 145542 h 742950"/>
                  <a:gd name="connsiteX370" fmla="*/ 558356 w 895350"/>
                  <a:gd name="connsiteY370" fmla="*/ 148114 h 742950"/>
                  <a:gd name="connsiteX371" fmla="*/ 559213 w 895350"/>
                  <a:gd name="connsiteY371" fmla="*/ 148971 h 742950"/>
                  <a:gd name="connsiteX372" fmla="*/ 560927 w 895350"/>
                  <a:gd name="connsiteY372" fmla="*/ 149828 h 742950"/>
                  <a:gd name="connsiteX373" fmla="*/ 560927 w 895350"/>
                  <a:gd name="connsiteY373" fmla="*/ 150685 h 742950"/>
                  <a:gd name="connsiteX374" fmla="*/ 561785 w 895350"/>
                  <a:gd name="connsiteY374" fmla="*/ 152400 h 742950"/>
                  <a:gd name="connsiteX375" fmla="*/ 561785 w 895350"/>
                  <a:gd name="connsiteY375" fmla="*/ 153257 h 742950"/>
                  <a:gd name="connsiteX376" fmla="*/ 560927 w 895350"/>
                  <a:gd name="connsiteY376" fmla="*/ 153257 h 742950"/>
                  <a:gd name="connsiteX377" fmla="*/ 560927 w 895350"/>
                  <a:gd name="connsiteY377" fmla="*/ 154114 h 742950"/>
                  <a:gd name="connsiteX378" fmla="*/ 558356 w 895350"/>
                  <a:gd name="connsiteY378" fmla="*/ 154972 h 742950"/>
                  <a:gd name="connsiteX379" fmla="*/ 557498 w 895350"/>
                  <a:gd name="connsiteY379" fmla="*/ 155829 h 742950"/>
                  <a:gd name="connsiteX380" fmla="*/ 555784 w 895350"/>
                  <a:gd name="connsiteY380" fmla="*/ 155829 h 742950"/>
                  <a:gd name="connsiteX381" fmla="*/ 554927 w 895350"/>
                  <a:gd name="connsiteY381" fmla="*/ 155829 h 742950"/>
                  <a:gd name="connsiteX382" fmla="*/ 554069 w 895350"/>
                  <a:gd name="connsiteY382" fmla="*/ 156686 h 742950"/>
                  <a:gd name="connsiteX383" fmla="*/ 552355 w 895350"/>
                  <a:gd name="connsiteY383" fmla="*/ 157543 h 742950"/>
                  <a:gd name="connsiteX384" fmla="*/ 551498 w 895350"/>
                  <a:gd name="connsiteY384" fmla="*/ 158401 h 742950"/>
                  <a:gd name="connsiteX385" fmla="*/ 551498 w 895350"/>
                  <a:gd name="connsiteY385" fmla="*/ 160115 h 742950"/>
                  <a:gd name="connsiteX386" fmla="*/ 550640 w 895350"/>
                  <a:gd name="connsiteY386" fmla="*/ 160972 h 742950"/>
                  <a:gd name="connsiteX387" fmla="*/ 549783 w 895350"/>
                  <a:gd name="connsiteY387" fmla="*/ 161830 h 742950"/>
                  <a:gd name="connsiteX388" fmla="*/ 548926 w 895350"/>
                  <a:gd name="connsiteY388" fmla="*/ 161830 h 742950"/>
                  <a:gd name="connsiteX389" fmla="*/ 546354 w 895350"/>
                  <a:gd name="connsiteY389" fmla="*/ 162687 h 742950"/>
                  <a:gd name="connsiteX390" fmla="*/ 544640 w 895350"/>
                  <a:gd name="connsiteY390" fmla="*/ 162687 h 742950"/>
                  <a:gd name="connsiteX391" fmla="*/ 542925 w 895350"/>
                  <a:gd name="connsiteY391" fmla="*/ 162687 h 742950"/>
                  <a:gd name="connsiteX392" fmla="*/ 542068 w 895350"/>
                  <a:gd name="connsiteY392" fmla="*/ 162687 h 742950"/>
                  <a:gd name="connsiteX393" fmla="*/ 542068 w 895350"/>
                  <a:gd name="connsiteY393" fmla="*/ 164401 h 742950"/>
                  <a:gd name="connsiteX394" fmla="*/ 541211 w 895350"/>
                  <a:gd name="connsiteY394" fmla="*/ 165259 h 742950"/>
                  <a:gd name="connsiteX395" fmla="*/ 538639 w 895350"/>
                  <a:gd name="connsiteY395" fmla="*/ 166116 h 742950"/>
                  <a:gd name="connsiteX396" fmla="*/ 537782 w 895350"/>
                  <a:gd name="connsiteY396" fmla="*/ 166973 h 742950"/>
                  <a:gd name="connsiteX397" fmla="*/ 536924 w 895350"/>
                  <a:gd name="connsiteY397" fmla="*/ 167830 h 742950"/>
                  <a:gd name="connsiteX398" fmla="*/ 536924 w 895350"/>
                  <a:gd name="connsiteY398" fmla="*/ 168688 h 742950"/>
                  <a:gd name="connsiteX399" fmla="*/ 536924 w 895350"/>
                  <a:gd name="connsiteY399" fmla="*/ 169545 h 742950"/>
                  <a:gd name="connsiteX400" fmla="*/ 536924 w 895350"/>
                  <a:gd name="connsiteY400" fmla="*/ 171259 h 742950"/>
                  <a:gd name="connsiteX401" fmla="*/ 536924 w 895350"/>
                  <a:gd name="connsiteY401" fmla="*/ 172117 h 742950"/>
                  <a:gd name="connsiteX402" fmla="*/ 536067 w 895350"/>
                  <a:gd name="connsiteY402" fmla="*/ 172117 h 742950"/>
                  <a:gd name="connsiteX403" fmla="*/ 535210 w 895350"/>
                  <a:gd name="connsiteY403" fmla="*/ 173831 h 742950"/>
                  <a:gd name="connsiteX404" fmla="*/ 534353 w 895350"/>
                  <a:gd name="connsiteY404" fmla="*/ 175546 h 742950"/>
                  <a:gd name="connsiteX405" fmla="*/ 534353 w 895350"/>
                  <a:gd name="connsiteY405" fmla="*/ 176403 h 742950"/>
                  <a:gd name="connsiteX406" fmla="*/ 532638 w 895350"/>
                  <a:gd name="connsiteY406" fmla="*/ 178117 h 742950"/>
                  <a:gd name="connsiteX407" fmla="*/ 530924 w 895350"/>
                  <a:gd name="connsiteY407" fmla="*/ 178975 h 742950"/>
                  <a:gd name="connsiteX408" fmla="*/ 530066 w 895350"/>
                  <a:gd name="connsiteY408" fmla="*/ 180689 h 742950"/>
                  <a:gd name="connsiteX409" fmla="*/ 530066 w 895350"/>
                  <a:gd name="connsiteY409" fmla="*/ 181546 h 742950"/>
                  <a:gd name="connsiteX410" fmla="*/ 530066 w 895350"/>
                  <a:gd name="connsiteY410" fmla="*/ 181546 h 742950"/>
                  <a:gd name="connsiteX411" fmla="*/ 530066 w 895350"/>
                  <a:gd name="connsiteY411" fmla="*/ 182404 h 742950"/>
                  <a:gd name="connsiteX412" fmla="*/ 529209 w 895350"/>
                  <a:gd name="connsiteY412" fmla="*/ 182404 h 742950"/>
                  <a:gd name="connsiteX413" fmla="*/ 530066 w 895350"/>
                  <a:gd name="connsiteY413" fmla="*/ 183261 h 742950"/>
                  <a:gd name="connsiteX414" fmla="*/ 531781 w 895350"/>
                  <a:gd name="connsiteY414" fmla="*/ 184118 h 742950"/>
                  <a:gd name="connsiteX415" fmla="*/ 531781 w 895350"/>
                  <a:gd name="connsiteY415" fmla="*/ 184975 h 742950"/>
                  <a:gd name="connsiteX416" fmla="*/ 531781 w 895350"/>
                  <a:gd name="connsiteY416" fmla="*/ 184975 h 742950"/>
                  <a:gd name="connsiteX417" fmla="*/ 530924 w 895350"/>
                  <a:gd name="connsiteY417" fmla="*/ 185833 h 742950"/>
                  <a:gd name="connsiteX418" fmla="*/ 530924 w 895350"/>
                  <a:gd name="connsiteY418" fmla="*/ 186690 h 742950"/>
                  <a:gd name="connsiteX419" fmla="*/ 530066 w 895350"/>
                  <a:gd name="connsiteY419" fmla="*/ 187547 h 742950"/>
                  <a:gd name="connsiteX420" fmla="*/ 529209 w 895350"/>
                  <a:gd name="connsiteY420" fmla="*/ 188404 h 742950"/>
                  <a:gd name="connsiteX421" fmla="*/ 529209 w 895350"/>
                  <a:gd name="connsiteY421" fmla="*/ 189262 h 742950"/>
                  <a:gd name="connsiteX422" fmla="*/ 529209 w 895350"/>
                  <a:gd name="connsiteY422" fmla="*/ 191834 h 742950"/>
                  <a:gd name="connsiteX423" fmla="*/ 529209 w 895350"/>
                  <a:gd name="connsiteY423" fmla="*/ 192691 h 742950"/>
                  <a:gd name="connsiteX424" fmla="*/ 529209 w 895350"/>
                  <a:gd name="connsiteY424" fmla="*/ 194405 h 742950"/>
                  <a:gd name="connsiteX425" fmla="*/ 528352 w 895350"/>
                  <a:gd name="connsiteY425" fmla="*/ 196120 h 742950"/>
                  <a:gd name="connsiteX426" fmla="*/ 528352 w 895350"/>
                  <a:gd name="connsiteY426" fmla="*/ 196977 h 742950"/>
                  <a:gd name="connsiteX427" fmla="*/ 528352 w 895350"/>
                  <a:gd name="connsiteY427" fmla="*/ 197834 h 742950"/>
                  <a:gd name="connsiteX428" fmla="*/ 528352 w 895350"/>
                  <a:gd name="connsiteY428" fmla="*/ 198691 h 742950"/>
                  <a:gd name="connsiteX429" fmla="*/ 528352 w 895350"/>
                  <a:gd name="connsiteY429" fmla="*/ 198691 h 742950"/>
                  <a:gd name="connsiteX430" fmla="*/ 527495 w 895350"/>
                  <a:gd name="connsiteY430" fmla="*/ 201263 h 742950"/>
                  <a:gd name="connsiteX431" fmla="*/ 525780 w 895350"/>
                  <a:gd name="connsiteY431" fmla="*/ 202978 h 742950"/>
                  <a:gd name="connsiteX432" fmla="*/ 524065 w 895350"/>
                  <a:gd name="connsiteY432" fmla="*/ 204692 h 742950"/>
                  <a:gd name="connsiteX433" fmla="*/ 523208 w 895350"/>
                  <a:gd name="connsiteY433" fmla="*/ 204692 h 742950"/>
                  <a:gd name="connsiteX434" fmla="*/ 523208 w 895350"/>
                  <a:gd name="connsiteY434" fmla="*/ 205549 h 742950"/>
                  <a:gd name="connsiteX435" fmla="*/ 522351 w 895350"/>
                  <a:gd name="connsiteY435" fmla="*/ 207264 h 742950"/>
                  <a:gd name="connsiteX436" fmla="*/ 521494 w 895350"/>
                  <a:gd name="connsiteY436" fmla="*/ 208121 h 742950"/>
                  <a:gd name="connsiteX437" fmla="*/ 519779 w 895350"/>
                  <a:gd name="connsiteY437" fmla="*/ 208121 h 742950"/>
                  <a:gd name="connsiteX438" fmla="*/ 519779 w 895350"/>
                  <a:gd name="connsiteY438" fmla="*/ 208979 h 742950"/>
                  <a:gd name="connsiteX439" fmla="*/ 519779 w 895350"/>
                  <a:gd name="connsiteY439" fmla="*/ 208979 h 742950"/>
                  <a:gd name="connsiteX440" fmla="*/ 518922 w 895350"/>
                  <a:gd name="connsiteY440" fmla="*/ 208979 h 742950"/>
                  <a:gd name="connsiteX441" fmla="*/ 516350 w 895350"/>
                  <a:gd name="connsiteY441" fmla="*/ 209836 h 742950"/>
                  <a:gd name="connsiteX442" fmla="*/ 515493 w 895350"/>
                  <a:gd name="connsiteY442" fmla="*/ 209836 h 742950"/>
                  <a:gd name="connsiteX443" fmla="*/ 514636 w 895350"/>
                  <a:gd name="connsiteY443" fmla="*/ 209836 h 742950"/>
                  <a:gd name="connsiteX444" fmla="*/ 513778 w 895350"/>
                  <a:gd name="connsiteY444" fmla="*/ 209836 h 742950"/>
                  <a:gd name="connsiteX445" fmla="*/ 512064 w 895350"/>
                  <a:gd name="connsiteY445" fmla="*/ 208121 h 742950"/>
                  <a:gd name="connsiteX446" fmla="*/ 511207 w 895350"/>
                  <a:gd name="connsiteY446" fmla="*/ 207264 h 742950"/>
                  <a:gd name="connsiteX447" fmla="*/ 511207 w 895350"/>
                  <a:gd name="connsiteY447" fmla="*/ 206407 h 742950"/>
                  <a:gd name="connsiteX448" fmla="*/ 511207 w 895350"/>
                  <a:gd name="connsiteY448" fmla="*/ 206407 h 742950"/>
                  <a:gd name="connsiteX449" fmla="*/ 510349 w 895350"/>
                  <a:gd name="connsiteY449" fmla="*/ 205549 h 742950"/>
                  <a:gd name="connsiteX450" fmla="*/ 509492 w 895350"/>
                  <a:gd name="connsiteY450" fmla="*/ 205549 h 742950"/>
                  <a:gd name="connsiteX451" fmla="*/ 509492 w 895350"/>
                  <a:gd name="connsiteY451" fmla="*/ 206407 h 742950"/>
                  <a:gd name="connsiteX452" fmla="*/ 507778 w 895350"/>
                  <a:gd name="connsiteY452" fmla="*/ 208121 h 742950"/>
                  <a:gd name="connsiteX453" fmla="*/ 506920 w 895350"/>
                  <a:gd name="connsiteY453" fmla="*/ 209836 h 742950"/>
                  <a:gd name="connsiteX454" fmla="*/ 506920 w 895350"/>
                  <a:gd name="connsiteY454" fmla="*/ 210693 h 742950"/>
                  <a:gd name="connsiteX455" fmla="*/ 505206 w 895350"/>
                  <a:gd name="connsiteY455" fmla="*/ 212407 h 742950"/>
                  <a:gd name="connsiteX456" fmla="*/ 504349 w 895350"/>
                  <a:gd name="connsiteY456" fmla="*/ 213265 h 742950"/>
                  <a:gd name="connsiteX457" fmla="*/ 502634 w 895350"/>
                  <a:gd name="connsiteY457" fmla="*/ 214122 h 742950"/>
                  <a:gd name="connsiteX458" fmla="*/ 502634 w 895350"/>
                  <a:gd name="connsiteY458" fmla="*/ 214122 h 742950"/>
                  <a:gd name="connsiteX459" fmla="*/ 501777 w 895350"/>
                  <a:gd name="connsiteY459" fmla="*/ 214122 h 742950"/>
                  <a:gd name="connsiteX460" fmla="*/ 499205 w 895350"/>
                  <a:gd name="connsiteY460" fmla="*/ 214122 h 742950"/>
                  <a:gd name="connsiteX461" fmla="*/ 497491 w 895350"/>
                  <a:gd name="connsiteY461" fmla="*/ 214122 h 742950"/>
                  <a:gd name="connsiteX462" fmla="*/ 494062 w 895350"/>
                  <a:gd name="connsiteY462" fmla="*/ 213265 h 742950"/>
                  <a:gd name="connsiteX463" fmla="*/ 493204 w 895350"/>
                  <a:gd name="connsiteY463" fmla="*/ 214122 h 742950"/>
                  <a:gd name="connsiteX464" fmla="*/ 493204 w 895350"/>
                  <a:gd name="connsiteY464" fmla="*/ 214979 h 742950"/>
                  <a:gd name="connsiteX465" fmla="*/ 492347 w 895350"/>
                  <a:gd name="connsiteY465" fmla="*/ 215837 h 742950"/>
                  <a:gd name="connsiteX466" fmla="*/ 492347 w 895350"/>
                  <a:gd name="connsiteY466" fmla="*/ 216694 h 742950"/>
                  <a:gd name="connsiteX467" fmla="*/ 492347 w 895350"/>
                  <a:gd name="connsiteY467" fmla="*/ 220123 h 742950"/>
                  <a:gd name="connsiteX468" fmla="*/ 492347 w 895350"/>
                  <a:gd name="connsiteY468" fmla="*/ 220980 h 742950"/>
                  <a:gd name="connsiteX469" fmla="*/ 493204 w 895350"/>
                  <a:gd name="connsiteY469" fmla="*/ 221837 h 742950"/>
                  <a:gd name="connsiteX470" fmla="*/ 492347 w 895350"/>
                  <a:gd name="connsiteY470" fmla="*/ 223552 h 742950"/>
                  <a:gd name="connsiteX471" fmla="*/ 491490 w 895350"/>
                  <a:gd name="connsiteY471" fmla="*/ 224409 h 742950"/>
                  <a:gd name="connsiteX472" fmla="*/ 489775 w 895350"/>
                  <a:gd name="connsiteY472" fmla="*/ 224409 h 742950"/>
                  <a:gd name="connsiteX473" fmla="*/ 486346 w 895350"/>
                  <a:gd name="connsiteY473" fmla="*/ 225266 h 742950"/>
                  <a:gd name="connsiteX474" fmla="*/ 482918 w 895350"/>
                  <a:gd name="connsiteY474" fmla="*/ 226981 h 742950"/>
                  <a:gd name="connsiteX475" fmla="*/ 480346 w 895350"/>
                  <a:gd name="connsiteY475" fmla="*/ 227838 h 742950"/>
                  <a:gd name="connsiteX476" fmla="*/ 479489 w 895350"/>
                  <a:gd name="connsiteY476" fmla="*/ 226981 h 742950"/>
                  <a:gd name="connsiteX477" fmla="*/ 478631 w 895350"/>
                  <a:gd name="connsiteY477" fmla="*/ 226981 h 742950"/>
                  <a:gd name="connsiteX478" fmla="*/ 480822 w 895350"/>
                  <a:gd name="connsiteY478" fmla="*/ 226790 h 742950"/>
                  <a:gd name="connsiteX479" fmla="*/ 480822 w 895350"/>
                  <a:gd name="connsiteY479" fmla="*/ 226790 h 742950"/>
                  <a:gd name="connsiteX480" fmla="*/ 479965 w 895350"/>
                  <a:gd name="connsiteY480" fmla="*/ 227647 h 742950"/>
                  <a:gd name="connsiteX481" fmla="*/ 479965 w 895350"/>
                  <a:gd name="connsiteY481" fmla="*/ 227647 h 742950"/>
                  <a:gd name="connsiteX482" fmla="*/ 479107 w 895350"/>
                  <a:gd name="connsiteY482" fmla="*/ 228505 h 742950"/>
                  <a:gd name="connsiteX483" fmla="*/ 477393 w 895350"/>
                  <a:gd name="connsiteY483" fmla="*/ 229362 h 742950"/>
                  <a:gd name="connsiteX484" fmla="*/ 475678 w 895350"/>
                  <a:gd name="connsiteY484" fmla="*/ 229362 h 742950"/>
                  <a:gd name="connsiteX485" fmla="*/ 474821 w 895350"/>
                  <a:gd name="connsiteY485" fmla="*/ 229362 h 742950"/>
                  <a:gd name="connsiteX486" fmla="*/ 474821 w 895350"/>
                  <a:gd name="connsiteY486" fmla="*/ 229362 h 742950"/>
                  <a:gd name="connsiteX487" fmla="*/ 472249 w 895350"/>
                  <a:gd name="connsiteY487" fmla="*/ 229362 h 742950"/>
                  <a:gd name="connsiteX488" fmla="*/ 471392 w 895350"/>
                  <a:gd name="connsiteY488" fmla="*/ 228505 h 742950"/>
                  <a:gd name="connsiteX489" fmla="*/ 470535 w 895350"/>
                  <a:gd name="connsiteY489" fmla="*/ 227647 h 742950"/>
                  <a:gd name="connsiteX490" fmla="*/ 469678 w 895350"/>
                  <a:gd name="connsiteY490" fmla="*/ 226790 h 742950"/>
                  <a:gd name="connsiteX491" fmla="*/ 468820 w 895350"/>
                  <a:gd name="connsiteY491" fmla="*/ 226790 h 742950"/>
                  <a:gd name="connsiteX492" fmla="*/ 467106 w 895350"/>
                  <a:gd name="connsiteY492" fmla="*/ 226790 h 742950"/>
                  <a:gd name="connsiteX493" fmla="*/ 467106 w 895350"/>
                  <a:gd name="connsiteY493" fmla="*/ 226790 h 742950"/>
                  <a:gd name="connsiteX494" fmla="*/ 465391 w 895350"/>
                  <a:gd name="connsiteY494" fmla="*/ 226790 h 742950"/>
                  <a:gd name="connsiteX495" fmla="*/ 466249 w 895350"/>
                  <a:gd name="connsiteY495" fmla="*/ 227647 h 742950"/>
                  <a:gd name="connsiteX496" fmla="*/ 465391 w 895350"/>
                  <a:gd name="connsiteY496" fmla="*/ 229362 h 742950"/>
                  <a:gd name="connsiteX497" fmla="*/ 466249 w 895350"/>
                  <a:gd name="connsiteY497" fmla="*/ 229362 h 742950"/>
                  <a:gd name="connsiteX498" fmla="*/ 466249 w 895350"/>
                  <a:gd name="connsiteY498" fmla="*/ 230219 h 742950"/>
                  <a:gd name="connsiteX499" fmla="*/ 467106 w 895350"/>
                  <a:gd name="connsiteY499" fmla="*/ 230219 h 742950"/>
                  <a:gd name="connsiteX500" fmla="*/ 467106 w 895350"/>
                  <a:gd name="connsiteY500" fmla="*/ 231934 h 742950"/>
                  <a:gd name="connsiteX501" fmla="*/ 466249 w 895350"/>
                  <a:gd name="connsiteY501" fmla="*/ 232791 h 742950"/>
                  <a:gd name="connsiteX502" fmla="*/ 467106 w 895350"/>
                  <a:gd name="connsiteY502" fmla="*/ 233648 h 742950"/>
                  <a:gd name="connsiteX503" fmla="*/ 466249 w 895350"/>
                  <a:gd name="connsiteY503" fmla="*/ 233648 h 742950"/>
                  <a:gd name="connsiteX504" fmla="*/ 465391 w 895350"/>
                  <a:gd name="connsiteY504" fmla="*/ 233648 h 742950"/>
                  <a:gd name="connsiteX505" fmla="*/ 464534 w 895350"/>
                  <a:gd name="connsiteY505" fmla="*/ 233648 h 742950"/>
                  <a:gd name="connsiteX506" fmla="*/ 463677 w 895350"/>
                  <a:gd name="connsiteY506" fmla="*/ 233648 h 742950"/>
                  <a:gd name="connsiteX507" fmla="*/ 462820 w 895350"/>
                  <a:gd name="connsiteY507" fmla="*/ 233648 h 742950"/>
                  <a:gd name="connsiteX508" fmla="*/ 461962 w 895350"/>
                  <a:gd name="connsiteY508" fmla="*/ 233648 h 742950"/>
                  <a:gd name="connsiteX509" fmla="*/ 461105 w 895350"/>
                  <a:gd name="connsiteY509" fmla="*/ 236220 h 742950"/>
                  <a:gd name="connsiteX510" fmla="*/ 461105 w 895350"/>
                  <a:gd name="connsiteY510" fmla="*/ 236220 h 742950"/>
                  <a:gd name="connsiteX511" fmla="*/ 460248 w 895350"/>
                  <a:gd name="connsiteY511" fmla="*/ 237077 h 742950"/>
                  <a:gd name="connsiteX512" fmla="*/ 461105 w 895350"/>
                  <a:gd name="connsiteY512" fmla="*/ 239649 h 742950"/>
                  <a:gd name="connsiteX513" fmla="*/ 461105 w 895350"/>
                  <a:gd name="connsiteY513" fmla="*/ 240506 h 742950"/>
                  <a:gd name="connsiteX514" fmla="*/ 461105 w 895350"/>
                  <a:gd name="connsiteY514" fmla="*/ 241363 h 742950"/>
                  <a:gd name="connsiteX515" fmla="*/ 460248 w 895350"/>
                  <a:gd name="connsiteY515" fmla="*/ 242221 h 742950"/>
                  <a:gd name="connsiteX516" fmla="*/ 460248 w 895350"/>
                  <a:gd name="connsiteY516" fmla="*/ 244793 h 742950"/>
                  <a:gd name="connsiteX517" fmla="*/ 460248 w 895350"/>
                  <a:gd name="connsiteY517" fmla="*/ 245650 h 742950"/>
                  <a:gd name="connsiteX518" fmla="*/ 459391 w 895350"/>
                  <a:gd name="connsiteY518" fmla="*/ 245650 h 742950"/>
                  <a:gd name="connsiteX519" fmla="*/ 459391 w 895350"/>
                  <a:gd name="connsiteY519" fmla="*/ 246507 h 742950"/>
                  <a:gd name="connsiteX520" fmla="*/ 457676 w 895350"/>
                  <a:gd name="connsiteY520" fmla="*/ 247364 h 742950"/>
                  <a:gd name="connsiteX521" fmla="*/ 457676 w 895350"/>
                  <a:gd name="connsiteY521" fmla="*/ 246507 h 742950"/>
                  <a:gd name="connsiteX522" fmla="*/ 456819 w 895350"/>
                  <a:gd name="connsiteY522" fmla="*/ 245650 h 742950"/>
                  <a:gd name="connsiteX523" fmla="*/ 454247 w 895350"/>
                  <a:gd name="connsiteY523" fmla="*/ 245650 h 742950"/>
                  <a:gd name="connsiteX524" fmla="*/ 453390 w 895350"/>
                  <a:gd name="connsiteY524" fmla="*/ 245650 h 742950"/>
                  <a:gd name="connsiteX525" fmla="*/ 452533 w 895350"/>
                  <a:gd name="connsiteY525" fmla="*/ 244793 h 742950"/>
                  <a:gd name="connsiteX526" fmla="*/ 451675 w 895350"/>
                  <a:gd name="connsiteY526" fmla="*/ 244793 h 742950"/>
                  <a:gd name="connsiteX527" fmla="*/ 449961 w 895350"/>
                  <a:gd name="connsiteY527" fmla="*/ 244793 h 742950"/>
                  <a:gd name="connsiteX528" fmla="*/ 448246 w 895350"/>
                  <a:gd name="connsiteY528" fmla="*/ 243935 h 742950"/>
                  <a:gd name="connsiteX529" fmla="*/ 445675 w 895350"/>
                  <a:gd name="connsiteY529" fmla="*/ 243078 h 742950"/>
                  <a:gd name="connsiteX530" fmla="*/ 443960 w 895350"/>
                  <a:gd name="connsiteY530" fmla="*/ 243078 h 742950"/>
                  <a:gd name="connsiteX531" fmla="*/ 442246 w 895350"/>
                  <a:gd name="connsiteY531" fmla="*/ 242221 h 742950"/>
                  <a:gd name="connsiteX532" fmla="*/ 441389 w 895350"/>
                  <a:gd name="connsiteY532" fmla="*/ 242221 h 742950"/>
                  <a:gd name="connsiteX533" fmla="*/ 440531 w 895350"/>
                  <a:gd name="connsiteY533" fmla="*/ 243078 h 742950"/>
                  <a:gd name="connsiteX534" fmla="*/ 439674 w 895350"/>
                  <a:gd name="connsiteY534" fmla="*/ 243078 h 742950"/>
                  <a:gd name="connsiteX535" fmla="*/ 438817 w 895350"/>
                  <a:gd name="connsiteY535" fmla="*/ 243078 h 742950"/>
                  <a:gd name="connsiteX536" fmla="*/ 438817 w 895350"/>
                  <a:gd name="connsiteY536" fmla="*/ 243935 h 742950"/>
                  <a:gd name="connsiteX537" fmla="*/ 437102 w 895350"/>
                  <a:gd name="connsiteY537" fmla="*/ 243935 h 742950"/>
                  <a:gd name="connsiteX538" fmla="*/ 436245 w 895350"/>
                  <a:gd name="connsiteY538" fmla="*/ 243935 h 742950"/>
                  <a:gd name="connsiteX539" fmla="*/ 435388 w 895350"/>
                  <a:gd name="connsiteY539" fmla="*/ 243935 h 742950"/>
                  <a:gd name="connsiteX540" fmla="*/ 436245 w 895350"/>
                  <a:gd name="connsiteY540" fmla="*/ 243078 h 742950"/>
                  <a:gd name="connsiteX541" fmla="*/ 436245 w 895350"/>
                  <a:gd name="connsiteY541" fmla="*/ 242221 h 742950"/>
                  <a:gd name="connsiteX542" fmla="*/ 436245 w 895350"/>
                  <a:gd name="connsiteY542" fmla="*/ 241363 h 742950"/>
                  <a:gd name="connsiteX543" fmla="*/ 437960 w 895350"/>
                  <a:gd name="connsiteY543" fmla="*/ 240506 h 742950"/>
                  <a:gd name="connsiteX544" fmla="*/ 437960 w 895350"/>
                  <a:gd name="connsiteY544" fmla="*/ 240506 h 742950"/>
                  <a:gd name="connsiteX545" fmla="*/ 437102 w 895350"/>
                  <a:gd name="connsiteY545" fmla="*/ 239649 h 742950"/>
                  <a:gd name="connsiteX546" fmla="*/ 435388 w 895350"/>
                  <a:gd name="connsiteY546" fmla="*/ 238792 h 742950"/>
                  <a:gd name="connsiteX547" fmla="*/ 434531 w 895350"/>
                  <a:gd name="connsiteY547" fmla="*/ 238792 h 742950"/>
                  <a:gd name="connsiteX548" fmla="*/ 434531 w 895350"/>
                  <a:gd name="connsiteY548" fmla="*/ 237077 h 742950"/>
                  <a:gd name="connsiteX549" fmla="*/ 434531 w 895350"/>
                  <a:gd name="connsiteY549" fmla="*/ 237077 h 742950"/>
                  <a:gd name="connsiteX550" fmla="*/ 433673 w 895350"/>
                  <a:gd name="connsiteY550" fmla="*/ 237077 h 742950"/>
                  <a:gd name="connsiteX551" fmla="*/ 432816 w 895350"/>
                  <a:gd name="connsiteY551" fmla="*/ 237077 h 742950"/>
                  <a:gd name="connsiteX552" fmla="*/ 431959 w 895350"/>
                  <a:gd name="connsiteY552" fmla="*/ 237077 h 742950"/>
                  <a:gd name="connsiteX553" fmla="*/ 431102 w 895350"/>
                  <a:gd name="connsiteY553" fmla="*/ 236220 h 742950"/>
                  <a:gd name="connsiteX554" fmla="*/ 429387 w 895350"/>
                  <a:gd name="connsiteY554" fmla="*/ 235363 h 742950"/>
                  <a:gd name="connsiteX555" fmla="*/ 428530 w 895350"/>
                  <a:gd name="connsiteY555" fmla="*/ 234505 h 742950"/>
                  <a:gd name="connsiteX556" fmla="*/ 426815 w 895350"/>
                  <a:gd name="connsiteY556" fmla="*/ 234505 h 742950"/>
                  <a:gd name="connsiteX557" fmla="*/ 425958 w 895350"/>
                  <a:gd name="connsiteY557" fmla="*/ 236220 h 742950"/>
                  <a:gd name="connsiteX558" fmla="*/ 425101 w 895350"/>
                  <a:gd name="connsiteY558" fmla="*/ 236220 h 742950"/>
                  <a:gd name="connsiteX559" fmla="*/ 424244 w 895350"/>
                  <a:gd name="connsiteY559" fmla="*/ 236220 h 742950"/>
                  <a:gd name="connsiteX560" fmla="*/ 423386 w 895350"/>
                  <a:gd name="connsiteY560" fmla="*/ 237077 h 742950"/>
                  <a:gd name="connsiteX561" fmla="*/ 422529 w 895350"/>
                  <a:gd name="connsiteY561" fmla="*/ 237935 h 742950"/>
                  <a:gd name="connsiteX562" fmla="*/ 421672 w 895350"/>
                  <a:gd name="connsiteY562" fmla="*/ 237935 h 742950"/>
                  <a:gd name="connsiteX563" fmla="*/ 419957 w 895350"/>
                  <a:gd name="connsiteY563" fmla="*/ 237935 h 742950"/>
                  <a:gd name="connsiteX564" fmla="*/ 419957 w 895350"/>
                  <a:gd name="connsiteY564" fmla="*/ 238792 h 742950"/>
                  <a:gd name="connsiteX565" fmla="*/ 419957 w 895350"/>
                  <a:gd name="connsiteY565" fmla="*/ 239649 h 742950"/>
                  <a:gd name="connsiteX566" fmla="*/ 419100 w 895350"/>
                  <a:gd name="connsiteY566" fmla="*/ 240506 h 742950"/>
                  <a:gd name="connsiteX567" fmla="*/ 419100 w 895350"/>
                  <a:gd name="connsiteY567" fmla="*/ 240506 h 742950"/>
                  <a:gd name="connsiteX568" fmla="*/ 419100 w 895350"/>
                  <a:gd name="connsiteY568" fmla="*/ 242221 h 742950"/>
                  <a:gd name="connsiteX569" fmla="*/ 419100 w 895350"/>
                  <a:gd name="connsiteY569" fmla="*/ 243935 h 742950"/>
                  <a:gd name="connsiteX570" fmla="*/ 418243 w 895350"/>
                  <a:gd name="connsiteY570" fmla="*/ 244793 h 742950"/>
                  <a:gd name="connsiteX571" fmla="*/ 417386 w 895350"/>
                  <a:gd name="connsiteY571" fmla="*/ 245650 h 742950"/>
                  <a:gd name="connsiteX572" fmla="*/ 417386 w 895350"/>
                  <a:gd name="connsiteY572" fmla="*/ 245650 h 742950"/>
                  <a:gd name="connsiteX573" fmla="*/ 416528 w 895350"/>
                  <a:gd name="connsiteY573" fmla="*/ 245650 h 742950"/>
                  <a:gd name="connsiteX574" fmla="*/ 415671 w 895350"/>
                  <a:gd name="connsiteY574" fmla="*/ 245650 h 742950"/>
                  <a:gd name="connsiteX575" fmla="*/ 413957 w 895350"/>
                  <a:gd name="connsiteY575" fmla="*/ 248221 h 742950"/>
                  <a:gd name="connsiteX576" fmla="*/ 413099 w 895350"/>
                  <a:gd name="connsiteY576" fmla="*/ 248221 h 742950"/>
                  <a:gd name="connsiteX577" fmla="*/ 411385 w 895350"/>
                  <a:gd name="connsiteY577" fmla="*/ 247364 h 742950"/>
                  <a:gd name="connsiteX578" fmla="*/ 411385 w 895350"/>
                  <a:gd name="connsiteY578" fmla="*/ 247364 h 742950"/>
                  <a:gd name="connsiteX579" fmla="*/ 410528 w 895350"/>
                  <a:gd name="connsiteY579" fmla="*/ 245650 h 742950"/>
                  <a:gd name="connsiteX580" fmla="*/ 409670 w 895350"/>
                  <a:gd name="connsiteY580" fmla="*/ 243935 h 742950"/>
                  <a:gd name="connsiteX581" fmla="*/ 408813 w 895350"/>
                  <a:gd name="connsiteY581" fmla="*/ 243078 h 742950"/>
                  <a:gd name="connsiteX582" fmla="*/ 408813 w 895350"/>
                  <a:gd name="connsiteY582" fmla="*/ 243078 h 742950"/>
                  <a:gd name="connsiteX583" fmla="*/ 408813 w 895350"/>
                  <a:gd name="connsiteY583" fmla="*/ 242221 h 742950"/>
                  <a:gd name="connsiteX584" fmla="*/ 408813 w 895350"/>
                  <a:gd name="connsiteY584" fmla="*/ 241363 h 742950"/>
                  <a:gd name="connsiteX585" fmla="*/ 408813 w 895350"/>
                  <a:gd name="connsiteY585" fmla="*/ 241363 h 742950"/>
                  <a:gd name="connsiteX586" fmla="*/ 407956 w 895350"/>
                  <a:gd name="connsiteY586" fmla="*/ 241363 h 742950"/>
                  <a:gd name="connsiteX587" fmla="*/ 407098 w 895350"/>
                  <a:gd name="connsiteY587" fmla="*/ 243078 h 742950"/>
                  <a:gd name="connsiteX588" fmla="*/ 406241 w 895350"/>
                  <a:gd name="connsiteY588" fmla="*/ 243078 h 742950"/>
                  <a:gd name="connsiteX589" fmla="*/ 405384 w 895350"/>
                  <a:gd name="connsiteY589" fmla="*/ 243935 h 742950"/>
                  <a:gd name="connsiteX590" fmla="*/ 405384 w 895350"/>
                  <a:gd name="connsiteY590" fmla="*/ 243935 h 742950"/>
                  <a:gd name="connsiteX591" fmla="*/ 406241 w 895350"/>
                  <a:gd name="connsiteY591" fmla="*/ 244793 h 742950"/>
                  <a:gd name="connsiteX592" fmla="*/ 407098 w 895350"/>
                  <a:gd name="connsiteY592" fmla="*/ 246507 h 742950"/>
                  <a:gd name="connsiteX593" fmla="*/ 407098 w 895350"/>
                  <a:gd name="connsiteY593" fmla="*/ 247364 h 742950"/>
                  <a:gd name="connsiteX594" fmla="*/ 407098 w 895350"/>
                  <a:gd name="connsiteY594" fmla="*/ 247364 h 742950"/>
                  <a:gd name="connsiteX595" fmla="*/ 407098 w 895350"/>
                  <a:gd name="connsiteY595" fmla="*/ 248221 h 742950"/>
                  <a:gd name="connsiteX596" fmla="*/ 407956 w 895350"/>
                  <a:gd name="connsiteY596" fmla="*/ 249079 h 742950"/>
                  <a:gd name="connsiteX597" fmla="*/ 407956 w 895350"/>
                  <a:gd name="connsiteY597" fmla="*/ 249079 h 742950"/>
                  <a:gd name="connsiteX598" fmla="*/ 407956 w 895350"/>
                  <a:gd name="connsiteY598" fmla="*/ 249936 h 742950"/>
                  <a:gd name="connsiteX599" fmla="*/ 407098 w 895350"/>
                  <a:gd name="connsiteY599" fmla="*/ 249936 h 742950"/>
                  <a:gd name="connsiteX600" fmla="*/ 406241 w 895350"/>
                  <a:gd name="connsiteY600" fmla="*/ 250793 h 742950"/>
                  <a:gd name="connsiteX601" fmla="*/ 406241 w 895350"/>
                  <a:gd name="connsiteY601" fmla="*/ 250793 h 742950"/>
                  <a:gd name="connsiteX602" fmla="*/ 406241 w 895350"/>
                  <a:gd name="connsiteY602" fmla="*/ 251650 h 742950"/>
                  <a:gd name="connsiteX603" fmla="*/ 406241 w 895350"/>
                  <a:gd name="connsiteY603" fmla="*/ 252508 h 742950"/>
                  <a:gd name="connsiteX604" fmla="*/ 405384 w 895350"/>
                  <a:gd name="connsiteY604" fmla="*/ 253365 h 742950"/>
                  <a:gd name="connsiteX605" fmla="*/ 404527 w 895350"/>
                  <a:gd name="connsiteY605" fmla="*/ 254222 h 742950"/>
                  <a:gd name="connsiteX606" fmla="*/ 404527 w 895350"/>
                  <a:gd name="connsiteY606" fmla="*/ 254222 h 742950"/>
                  <a:gd name="connsiteX607" fmla="*/ 407098 w 895350"/>
                  <a:gd name="connsiteY607" fmla="*/ 255079 h 742950"/>
                  <a:gd name="connsiteX608" fmla="*/ 408813 w 895350"/>
                  <a:gd name="connsiteY608" fmla="*/ 255079 h 742950"/>
                  <a:gd name="connsiteX609" fmla="*/ 410528 w 895350"/>
                  <a:gd name="connsiteY609" fmla="*/ 255937 h 742950"/>
                  <a:gd name="connsiteX610" fmla="*/ 413957 w 895350"/>
                  <a:gd name="connsiteY610" fmla="*/ 256794 h 742950"/>
                  <a:gd name="connsiteX611" fmla="*/ 415671 w 895350"/>
                  <a:gd name="connsiteY611" fmla="*/ 257651 h 742950"/>
                  <a:gd name="connsiteX612" fmla="*/ 416528 w 895350"/>
                  <a:gd name="connsiteY612" fmla="*/ 258508 h 742950"/>
                  <a:gd name="connsiteX613" fmla="*/ 417386 w 895350"/>
                  <a:gd name="connsiteY613" fmla="*/ 258508 h 742950"/>
                  <a:gd name="connsiteX614" fmla="*/ 418243 w 895350"/>
                  <a:gd name="connsiteY614" fmla="*/ 259366 h 742950"/>
                  <a:gd name="connsiteX615" fmla="*/ 419100 w 895350"/>
                  <a:gd name="connsiteY615" fmla="*/ 260223 h 742950"/>
                  <a:gd name="connsiteX616" fmla="*/ 419100 w 895350"/>
                  <a:gd name="connsiteY616" fmla="*/ 258508 h 742950"/>
                  <a:gd name="connsiteX617" fmla="*/ 419100 w 895350"/>
                  <a:gd name="connsiteY617" fmla="*/ 257651 h 742950"/>
                  <a:gd name="connsiteX618" fmla="*/ 419100 w 895350"/>
                  <a:gd name="connsiteY618" fmla="*/ 256794 h 742950"/>
                  <a:gd name="connsiteX619" fmla="*/ 421672 w 895350"/>
                  <a:gd name="connsiteY619" fmla="*/ 256794 h 742950"/>
                  <a:gd name="connsiteX620" fmla="*/ 422529 w 895350"/>
                  <a:gd name="connsiteY620" fmla="*/ 257651 h 742950"/>
                  <a:gd name="connsiteX621" fmla="*/ 424244 w 895350"/>
                  <a:gd name="connsiteY621" fmla="*/ 255937 h 742950"/>
                  <a:gd name="connsiteX622" fmla="*/ 428530 w 895350"/>
                  <a:gd name="connsiteY622" fmla="*/ 258508 h 742950"/>
                  <a:gd name="connsiteX623" fmla="*/ 430244 w 895350"/>
                  <a:gd name="connsiteY623" fmla="*/ 258508 h 742950"/>
                  <a:gd name="connsiteX624" fmla="*/ 430244 w 895350"/>
                  <a:gd name="connsiteY624" fmla="*/ 260223 h 742950"/>
                  <a:gd name="connsiteX625" fmla="*/ 430244 w 895350"/>
                  <a:gd name="connsiteY625" fmla="*/ 260223 h 742950"/>
                  <a:gd name="connsiteX626" fmla="*/ 430244 w 895350"/>
                  <a:gd name="connsiteY626" fmla="*/ 261080 h 742950"/>
                  <a:gd name="connsiteX627" fmla="*/ 430244 w 895350"/>
                  <a:gd name="connsiteY627" fmla="*/ 261080 h 742950"/>
                  <a:gd name="connsiteX628" fmla="*/ 429387 w 895350"/>
                  <a:gd name="connsiteY628" fmla="*/ 261938 h 742950"/>
                  <a:gd name="connsiteX629" fmla="*/ 429387 w 895350"/>
                  <a:gd name="connsiteY629" fmla="*/ 261938 h 742950"/>
                  <a:gd name="connsiteX630" fmla="*/ 429387 w 895350"/>
                  <a:gd name="connsiteY630" fmla="*/ 262795 h 742950"/>
                  <a:gd name="connsiteX631" fmla="*/ 430244 w 895350"/>
                  <a:gd name="connsiteY631" fmla="*/ 263652 h 742950"/>
                  <a:gd name="connsiteX632" fmla="*/ 430244 w 895350"/>
                  <a:gd name="connsiteY632" fmla="*/ 264509 h 742950"/>
                  <a:gd name="connsiteX633" fmla="*/ 429387 w 895350"/>
                  <a:gd name="connsiteY633" fmla="*/ 265366 h 742950"/>
                  <a:gd name="connsiteX634" fmla="*/ 427673 w 895350"/>
                  <a:gd name="connsiteY634" fmla="*/ 265366 h 742950"/>
                  <a:gd name="connsiteX635" fmla="*/ 427673 w 895350"/>
                  <a:gd name="connsiteY635" fmla="*/ 267938 h 742950"/>
                  <a:gd name="connsiteX636" fmla="*/ 427673 w 895350"/>
                  <a:gd name="connsiteY636" fmla="*/ 268796 h 742950"/>
                  <a:gd name="connsiteX637" fmla="*/ 427673 w 895350"/>
                  <a:gd name="connsiteY637" fmla="*/ 269653 h 742950"/>
                  <a:gd name="connsiteX638" fmla="*/ 426815 w 895350"/>
                  <a:gd name="connsiteY638" fmla="*/ 270510 h 742950"/>
                  <a:gd name="connsiteX639" fmla="*/ 426815 w 895350"/>
                  <a:gd name="connsiteY639" fmla="*/ 271367 h 742950"/>
                  <a:gd name="connsiteX640" fmla="*/ 427673 w 895350"/>
                  <a:gd name="connsiteY640" fmla="*/ 271367 h 742950"/>
                  <a:gd name="connsiteX641" fmla="*/ 427673 w 895350"/>
                  <a:gd name="connsiteY641" fmla="*/ 271367 h 742950"/>
                  <a:gd name="connsiteX642" fmla="*/ 428530 w 895350"/>
                  <a:gd name="connsiteY642" fmla="*/ 272224 h 742950"/>
                  <a:gd name="connsiteX643" fmla="*/ 430244 w 895350"/>
                  <a:gd name="connsiteY643" fmla="*/ 273082 h 742950"/>
                  <a:gd name="connsiteX644" fmla="*/ 431102 w 895350"/>
                  <a:gd name="connsiteY644" fmla="*/ 273939 h 742950"/>
                  <a:gd name="connsiteX645" fmla="*/ 431102 w 895350"/>
                  <a:gd name="connsiteY645" fmla="*/ 274415 h 742950"/>
                  <a:gd name="connsiteX646" fmla="*/ 431959 w 895350"/>
                  <a:gd name="connsiteY646" fmla="*/ 274415 h 742950"/>
                  <a:gd name="connsiteX647" fmla="*/ 431102 w 895350"/>
                  <a:gd name="connsiteY647" fmla="*/ 275272 h 742950"/>
                  <a:gd name="connsiteX648" fmla="*/ 428530 w 895350"/>
                  <a:gd name="connsiteY648" fmla="*/ 276130 h 742950"/>
                  <a:gd name="connsiteX649" fmla="*/ 427673 w 895350"/>
                  <a:gd name="connsiteY649" fmla="*/ 277844 h 742950"/>
                  <a:gd name="connsiteX650" fmla="*/ 425958 w 895350"/>
                  <a:gd name="connsiteY650" fmla="*/ 276987 h 742950"/>
                  <a:gd name="connsiteX651" fmla="*/ 423386 w 895350"/>
                  <a:gd name="connsiteY651" fmla="*/ 276987 h 742950"/>
                  <a:gd name="connsiteX652" fmla="*/ 422529 w 895350"/>
                  <a:gd name="connsiteY652" fmla="*/ 276987 h 742950"/>
                  <a:gd name="connsiteX653" fmla="*/ 421672 w 895350"/>
                  <a:gd name="connsiteY653" fmla="*/ 276987 h 742950"/>
                  <a:gd name="connsiteX654" fmla="*/ 419100 w 895350"/>
                  <a:gd name="connsiteY654" fmla="*/ 276130 h 742950"/>
                  <a:gd name="connsiteX655" fmla="*/ 419100 w 895350"/>
                  <a:gd name="connsiteY655" fmla="*/ 275272 h 742950"/>
                  <a:gd name="connsiteX656" fmla="*/ 418243 w 895350"/>
                  <a:gd name="connsiteY656" fmla="*/ 275272 h 742950"/>
                  <a:gd name="connsiteX657" fmla="*/ 417386 w 895350"/>
                  <a:gd name="connsiteY657" fmla="*/ 274415 h 742950"/>
                  <a:gd name="connsiteX658" fmla="*/ 415671 w 895350"/>
                  <a:gd name="connsiteY658" fmla="*/ 274415 h 742950"/>
                  <a:gd name="connsiteX659" fmla="*/ 415671 w 895350"/>
                  <a:gd name="connsiteY659" fmla="*/ 272701 h 742950"/>
                  <a:gd name="connsiteX660" fmla="*/ 414814 w 895350"/>
                  <a:gd name="connsiteY660" fmla="*/ 271844 h 742950"/>
                  <a:gd name="connsiteX661" fmla="*/ 413957 w 895350"/>
                  <a:gd name="connsiteY661" fmla="*/ 270986 h 742950"/>
                  <a:gd name="connsiteX662" fmla="*/ 413099 w 895350"/>
                  <a:gd name="connsiteY662" fmla="*/ 270129 h 742950"/>
                  <a:gd name="connsiteX663" fmla="*/ 413099 w 895350"/>
                  <a:gd name="connsiteY663" fmla="*/ 270129 h 742950"/>
                  <a:gd name="connsiteX664" fmla="*/ 411385 w 895350"/>
                  <a:gd name="connsiteY664" fmla="*/ 270129 h 742950"/>
                  <a:gd name="connsiteX665" fmla="*/ 411385 w 895350"/>
                  <a:gd name="connsiteY665" fmla="*/ 269272 h 742950"/>
                  <a:gd name="connsiteX666" fmla="*/ 411385 w 895350"/>
                  <a:gd name="connsiteY666" fmla="*/ 268414 h 742950"/>
                  <a:gd name="connsiteX667" fmla="*/ 408813 w 895350"/>
                  <a:gd name="connsiteY667" fmla="*/ 267557 h 742950"/>
                  <a:gd name="connsiteX668" fmla="*/ 409670 w 895350"/>
                  <a:gd name="connsiteY668" fmla="*/ 269272 h 742950"/>
                  <a:gd name="connsiteX669" fmla="*/ 408813 w 895350"/>
                  <a:gd name="connsiteY669" fmla="*/ 269272 h 742950"/>
                  <a:gd name="connsiteX670" fmla="*/ 408813 w 895350"/>
                  <a:gd name="connsiteY670" fmla="*/ 270129 h 742950"/>
                  <a:gd name="connsiteX671" fmla="*/ 407098 w 895350"/>
                  <a:gd name="connsiteY671" fmla="*/ 270986 h 742950"/>
                  <a:gd name="connsiteX672" fmla="*/ 407098 w 895350"/>
                  <a:gd name="connsiteY672" fmla="*/ 271844 h 742950"/>
                  <a:gd name="connsiteX673" fmla="*/ 406241 w 895350"/>
                  <a:gd name="connsiteY673" fmla="*/ 271844 h 742950"/>
                  <a:gd name="connsiteX674" fmla="*/ 406241 w 895350"/>
                  <a:gd name="connsiteY674" fmla="*/ 271844 h 742950"/>
                  <a:gd name="connsiteX675" fmla="*/ 405384 w 895350"/>
                  <a:gd name="connsiteY675" fmla="*/ 270129 h 742950"/>
                  <a:gd name="connsiteX676" fmla="*/ 405384 w 895350"/>
                  <a:gd name="connsiteY676" fmla="*/ 268414 h 742950"/>
                  <a:gd name="connsiteX677" fmla="*/ 405384 w 895350"/>
                  <a:gd name="connsiteY677" fmla="*/ 267557 h 742950"/>
                  <a:gd name="connsiteX678" fmla="*/ 404527 w 895350"/>
                  <a:gd name="connsiteY678" fmla="*/ 266700 h 742950"/>
                  <a:gd name="connsiteX679" fmla="*/ 403669 w 895350"/>
                  <a:gd name="connsiteY679" fmla="*/ 266700 h 742950"/>
                  <a:gd name="connsiteX680" fmla="*/ 401955 w 895350"/>
                  <a:gd name="connsiteY680" fmla="*/ 266700 h 742950"/>
                  <a:gd name="connsiteX681" fmla="*/ 401955 w 895350"/>
                  <a:gd name="connsiteY681" fmla="*/ 265843 h 742950"/>
                  <a:gd name="connsiteX682" fmla="*/ 401098 w 895350"/>
                  <a:gd name="connsiteY682" fmla="*/ 264986 h 742950"/>
                  <a:gd name="connsiteX683" fmla="*/ 400240 w 895350"/>
                  <a:gd name="connsiteY683" fmla="*/ 264986 h 742950"/>
                  <a:gd name="connsiteX684" fmla="*/ 400240 w 895350"/>
                  <a:gd name="connsiteY684" fmla="*/ 264128 h 742950"/>
                  <a:gd name="connsiteX685" fmla="*/ 400240 w 895350"/>
                  <a:gd name="connsiteY685" fmla="*/ 263271 h 742950"/>
                  <a:gd name="connsiteX686" fmla="*/ 400240 w 895350"/>
                  <a:gd name="connsiteY686" fmla="*/ 262414 h 742950"/>
                  <a:gd name="connsiteX687" fmla="*/ 399383 w 895350"/>
                  <a:gd name="connsiteY687" fmla="*/ 259842 h 742950"/>
                  <a:gd name="connsiteX688" fmla="*/ 399383 w 895350"/>
                  <a:gd name="connsiteY688" fmla="*/ 259842 h 742950"/>
                  <a:gd name="connsiteX689" fmla="*/ 399383 w 895350"/>
                  <a:gd name="connsiteY689" fmla="*/ 258985 h 742950"/>
                  <a:gd name="connsiteX690" fmla="*/ 398526 w 895350"/>
                  <a:gd name="connsiteY690" fmla="*/ 257270 h 742950"/>
                  <a:gd name="connsiteX691" fmla="*/ 398526 w 895350"/>
                  <a:gd name="connsiteY691" fmla="*/ 255556 h 742950"/>
                  <a:gd name="connsiteX692" fmla="*/ 396811 w 895350"/>
                  <a:gd name="connsiteY692" fmla="*/ 252984 h 742950"/>
                  <a:gd name="connsiteX693" fmla="*/ 395097 w 895350"/>
                  <a:gd name="connsiteY693" fmla="*/ 250412 h 742950"/>
                  <a:gd name="connsiteX694" fmla="*/ 393382 w 895350"/>
                  <a:gd name="connsiteY694" fmla="*/ 248698 h 742950"/>
                  <a:gd name="connsiteX695" fmla="*/ 392525 w 895350"/>
                  <a:gd name="connsiteY695" fmla="*/ 248698 h 742950"/>
                  <a:gd name="connsiteX696" fmla="*/ 391668 w 895350"/>
                  <a:gd name="connsiteY696" fmla="*/ 249555 h 742950"/>
                  <a:gd name="connsiteX697" fmla="*/ 390811 w 895350"/>
                  <a:gd name="connsiteY697" fmla="*/ 249555 h 742950"/>
                  <a:gd name="connsiteX698" fmla="*/ 390811 w 895350"/>
                  <a:gd name="connsiteY698" fmla="*/ 249555 h 742950"/>
                  <a:gd name="connsiteX699" fmla="*/ 389096 w 895350"/>
                  <a:gd name="connsiteY699" fmla="*/ 247840 h 742950"/>
                  <a:gd name="connsiteX700" fmla="*/ 388239 w 895350"/>
                  <a:gd name="connsiteY700" fmla="*/ 247840 h 742950"/>
                  <a:gd name="connsiteX701" fmla="*/ 387382 w 895350"/>
                  <a:gd name="connsiteY701" fmla="*/ 248698 h 742950"/>
                  <a:gd name="connsiteX702" fmla="*/ 386524 w 895350"/>
                  <a:gd name="connsiteY702" fmla="*/ 247840 h 742950"/>
                  <a:gd name="connsiteX703" fmla="*/ 386524 w 895350"/>
                  <a:gd name="connsiteY703" fmla="*/ 246983 h 742950"/>
                  <a:gd name="connsiteX704" fmla="*/ 386524 w 895350"/>
                  <a:gd name="connsiteY704" fmla="*/ 245269 h 742950"/>
                  <a:gd name="connsiteX705" fmla="*/ 384810 w 895350"/>
                  <a:gd name="connsiteY705" fmla="*/ 244412 h 742950"/>
                  <a:gd name="connsiteX706" fmla="*/ 383095 w 895350"/>
                  <a:gd name="connsiteY706" fmla="*/ 246126 h 742950"/>
                  <a:gd name="connsiteX707" fmla="*/ 383095 w 895350"/>
                  <a:gd name="connsiteY707" fmla="*/ 246983 h 742950"/>
                  <a:gd name="connsiteX708" fmla="*/ 381381 w 895350"/>
                  <a:gd name="connsiteY708" fmla="*/ 248698 h 742950"/>
                  <a:gd name="connsiteX709" fmla="*/ 380524 w 895350"/>
                  <a:gd name="connsiteY709" fmla="*/ 249555 h 742950"/>
                  <a:gd name="connsiteX710" fmla="*/ 380524 w 895350"/>
                  <a:gd name="connsiteY710" fmla="*/ 250412 h 742950"/>
                  <a:gd name="connsiteX711" fmla="*/ 379666 w 895350"/>
                  <a:gd name="connsiteY711" fmla="*/ 252127 h 742950"/>
                  <a:gd name="connsiteX712" fmla="*/ 379857 w 895350"/>
                  <a:gd name="connsiteY712" fmla="*/ 252127 h 742950"/>
                  <a:gd name="connsiteX713" fmla="*/ 379000 w 895350"/>
                  <a:gd name="connsiteY713" fmla="*/ 251270 h 742950"/>
                  <a:gd name="connsiteX714" fmla="*/ 378143 w 895350"/>
                  <a:gd name="connsiteY714" fmla="*/ 252127 h 742950"/>
                  <a:gd name="connsiteX715" fmla="*/ 378143 w 895350"/>
                  <a:gd name="connsiteY715" fmla="*/ 252127 h 742950"/>
                  <a:gd name="connsiteX716" fmla="*/ 377285 w 895350"/>
                  <a:gd name="connsiteY716" fmla="*/ 252127 h 742950"/>
                  <a:gd name="connsiteX717" fmla="*/ 376428 w 895350"/>
                  <a:gd name="connsiteY717" fmla="*/ 252127 h 742950"/>
                  <a:gd name="connsiteX718" fmla="*/ 375571 w 895350"/>
                  <a:gd name="connsiteY718" fmla="*/ 251270 h 742950"/>
                  <a:gd name="connsiteX719" fmla="*/ 374714 w 895350"/>
                  <a:gd name="connsiteY719" fmla="*/ 252984 h 742950"/>
                  <a:gd name="connsiteX720" fmla="*/ 374714 w 895350"/>
                  <a:gd name="connsiteY720" fmla="*/ 254698 h 742950"/>
                  <a:gd name="connsiteX721" fmla="*/ 370427 w 895350"/>
                  <a:gd name="connsiteY721" fmla="*/ 253841 h 742950"/>
                  <a:gd name="connsiteX722" fmla="*/ 369570 w 895350"/>
                  <a:gd name="connsiteY722" fmla="*/ 257270 h 742950"/>
                  <a:gd name="connsiteX723" fmla="*/ 368713 w 895350"/>
                  <a:gd name="connsiteY723" fmla="*/ 258128 h 742950"/>
                  <a:gd name="connsiteX724" fmla="*/ 367856 w 895350"/>
                  <a:gd name="connsiteY724" fmla="*/ 258985 h 742950"/>
                  <a:gd name="connsiteX725" fmla="*/ 366998 w 895350"/>
                  <a:gd name="connsiteY725" fmla="*/ 260699 h 742950"/>
                  <a:gd name="connsiteX726" fmla="*/ 366141 w 895350"/>
                  <a:gd name="connsiteY726" fmla="*/ 262414 h 742950"/>
                  <a:gd name="connsiteX727" fmla="*/ 365284 w 895350"/>
                  <a:gd name="connsiteY727" fmla="*/ 264128 h 742950"/>
                  <a:gd name="connsiteX728" fmla="*/ 364427 w 895350"/>
                  <a:gd name="connsiteY728" fmla="*/ 265843 h 742950"/>
                  <a:gd name="connsiteX729" fmla="*/ 365284 w 895350"/>
                  <a:gd name="connsiteY729" fmla="*/ 265843 h 742950"/>
                  <a:gd name="connsiteX730" fmla="*/ 366998 w 895350"/>
                  <a:gd name="connsiteY730" fmla="*/ 267557 h 742950"/>
                  <a:gd name="connsiteX731" fmla="*/ 369570 w 895350"/>
                  <a:gd name="connsiteY731" fmla="*/ 267557 h 742950"/>
                  <a:gd name="connsiteX732" fmla="*/ 369570 w 895350"/>
                  <a:gd name="connsiteY732" fmla="*/ 267557 h 742950"/>
                  <a:gd name="connsiteX733" fmla="*/ 369570 w 895350"/>
                  <a:gd name="connsiteY733" fmla="*/ 268414 h 742950"/>
                  <a:gd name="connsiteX734" fmla="*/ 369570 w 895350"/>
                  <a:gd name="connsiteY734" fmla="*/ 269272 h 742950"/>
                  <a:gd name="connsiteX735" fmla="*/ 370427 w 895350"/>
                  <a:gd name="connsiteY735" fmla="*/ 270129 h 742950"/>
                  <a:gd name="connsiteX736" fmla="*/ 372999 w 895350"/>
                  <a:gd name="connsiteY736" fmla="*/ 271844 h 742950"/>
                  <a:gd name="connsiteX737" fmla="*/ 372999 w 895350"/>
                  <a:gd name="connsiteY737" fmla="*/ 272701 h 742950"/>
                  <a:gd name="connsiteX738" fmla="*/ 372142 w 895350"/>
                  <a:gd name="connsiteY738" fmla="*/ 275272 h 742950"/>
                  <a:gd name="connsiteX739" fmla="*/ 371285 w 895350"/>
                  <a:gd name="connsiteY739" fmla="*/ 276130 h 742950"/>
                  <a:gd name="connsiteX740" fmla="*/ 371285 w 895350"/>
                  <a:gd name="connsiteY740" fmla="*/ 279559 h 742950"/>
                  <a:gd name="connsiteX741" fmla="*/ 370427 w 895350"/>
                  <a:gd name="connsiteY741" fmla="*/ 280416 h 742950"/>
                  <a:gd name="connsiteX742" fmla="*/ 369570 w 895350"/>
                  <a:gd name="connsiteY742" fmla="*/ 281273 h 742950"/>
                  <a:gd name="connsiteX743" fmla="*/ 367856 w 895350"/>
                  <a:gd name="connsiteY743" fmla="*/ 282988 h 742950"/>
                  <a:gd name="connsiteX744" fmla="*/ 367856 w 895350"/>
                  <a:gd name="connsiteY744" fmla="*/ 283845 h 742950"/>
                  <a:gd name="connsiteX745" fmla="*/ 366141 w 895350"/>
                  <a:gd name="connsiteY745" fmla="*/ 284702 h 742950"/>
                  <a:gd name="connsiteX746" fmla="*/ 365284 w 895350"/>
                  <a:gd name="connsiteY746" fmla="*/ 285560 h 742950"/>
                  <a:gd name="connsiteX747" fmla="*/ 364427 w 895350"/>
                  <a:gd name="connsiteY747" fmla="*/ 285560 h 742950"/>
                  <a:gd name="connsiteX748" fmla="*/ 362712 w 895350"/>
                  <a:gd name="connsiteY748" fmla="*/ 289846 h 742950"/>
                  <a:gd name="connsiteX749" fmla="*/ 360998 w 895350"/>
                  <a:gd name="connsiteY749" fmla="*/ 291560 h 742950"/>
                  <a:gd name="connsiteX750" fmla="*/ 359283 w 895350"/>
                  <a:gd name="connsiteY750" fmla="*/ 292418 h 742950"/>
                  <a:gd name="connsiteX751" fmla="*/ 356711 w 895350"/>
                  <a:gd name="connsiteY751" fmla="*/ 293275 h 742950"/>
                  <a:gd name="connsiteX752" fmla="*/ 355854 w 895350"/>
                  <a:gd name="connsiteY752" fmla="*/ 292418 h 742950"/>
                  <a:gd name="connsiteX753" fmla="*/ 354997 w 895350"/>
                  <a:gd name="connsiteY753" fmla="*/ 292418 h 742950"/>
                  <a:gd name="connsiteX754" fmla="*/ 353282 w 895350"/>
                  <a:gd name="connsiteY754" fmla="*/ 290703 h 742950"/>
                  <a:gd name="connsiteX755" fmla="*/ 352425 w 895350"/>
                  <a:gd name="connsiteY755" fmla="*/ 287274 h 742950"/>
                  <a:gd name="connsiteX756" fmla="*/ 351568 w 895350"/>
                  <a:gd name="connsiteY756" fmla="*/ 286417 h 742950"/>
                  <a:gd name="connsiteX757" fmla="*/ 349853 w 895350"/>
                  <a:gd name="connsiteY757" fmla="*/ 284702 h 742950"/>
                  <a:gd name="connsiteX758" fmla="*/ 348139 w 895350"/>
                  <a:gd name="connsiteY758" fmla="*/ 285560 h 742950"/>
                  <a:gd name="connsiteX759" fmla="*/ 346424 w 895350"/>
                  <a:gd name="connsiteY759" fmla="*/ 285560 h 742950"/>
                  <a:gd name="connsiteX760" fmla="*/ 344710 w 895350"/>
                  <a:gd name="connsiteY760" fmla="*/ 285560 h 742950"/>
                  <a:gd name="connsiteX761" fmla="*/ 341281 w 895350"/>
                  <a:gd name="connsiteY761" fmla="*/ 282130 h 742950"/>
                  <a:gd name="connsiteX762" fmla="*/ 340423 w 895350"/>
                  <a:gd name="connsiteY762" fmla="*/ 281273 h 742950"/>
                  <a:gd name="connsiteX763" fmla="*/ 339566 w 895350"/>
                  <a:gd name="connsiteY763" fmla="*/ 282130 h 742950"/>
                  <a:gd name="connsiteX764" fmla="*/ 337852 w 895350"/>
                  <a:gd name="connsiteY764" fmla="*/ 282130 h 742950"/>
                  <a:gd name="connsiteX765" fmla="*/ 336137 w 895350"/>
                  <a:gd name="connsiteY765" fmla="*/ 284702 h 742950"/>
                  <a:gd name="connsiteX766" fmla="*/ 334423 w 895350"/>
                  <a:gd name="connsiteY766" fmla="*/ 285560 h 742950"/>
                  <a:gd name="connsiteX767" fmla="*/ 330136 w 895350"/>
                  <a:gd name="connsiteY767" fmla="*/ 285560 h 742950"/>
                  <a:gd name="connsiteX768" fmla="*/ 328422 w 895350"/>
                  <a:gd name="connsiteY768" fmla="*/ 286417 h 742950"/>
                  <a:gd name="connsiteX769" fmla="*/ 327565 w 895350"/>
                  <a:gd name="connsiteY769" fmla="*/ 288131 h 742950"/>
                  <a:gd name="connsiteX770" fmla="*/ 326707 w 895350"/>
                  <a:gd name="connsiteY770" fmla="*/ 288988 h 742950"/>
                  <a:gd name="connsiteX771" fmla="*/ 324993 w 895350"/>
                  <a:gd name="connsiteY771" fmla="*/ 288988 h 742950"/>
                  <a:gd name="connsiteX772" fmla="*/ 322421 w 895350"/>
                  <a:gd name="connsiteY772" fmla="*/ 288988 h 742950"/>
                  <a:gd name="connsiteX773" fmla="*/ 320707 w 895350"/>
                  <a:gd name="connsiteY773" fmla="*/ 288988 h 742950"/>
                  <a:gd name="connsiteX774" fmla="*/ 318992 w 895350"/>
                  <a:gd name="connsiteY774" fmla="*/ 290703 h 742950"/>
                  <a:gd name="connsiteX775" fmla="*/ 318135 w 895350"/>
                  <a:gd name="connsiteY775" fmla="*/ 291560 h 742950"/>
                  <a:gd name="connsiteX776" fmla="*/ 317278 w 895350"/>
                  <a:gd name="connsiteY776" fmla="*/ 292418 h 742950"/>
                  <a:gd name="connsiteX777" fmla="*/ 315563 w 895350"/>
                  <a:gd name="connsiteY777" fmla="*/ 292418 h 742950"/>
                  <a:gd name="connsiteX778" fmla="*/ 313849 w 895350"/>
                  <a:gd name="connsiteY778" fmla="*/ 293275 h 742950"/>
                  <a:gd name="connsiteX779" fmla="*/ 311277 w 895350"/>
                  <a:gd name="connsiteY779" fmla="*/ 292418 h 742950"/>
                  <a:gd name="connsiteX780" fmla="*/ 309562 w 895350"/>
                  <a:gd name="connsiteY780" fmla="*/ 293275 h 742950"/>
                  <a:gd name="connsiteX781" fmla="*/ 306133 w 895350"/>
                  <a:gd name="connsiteY781" fmla="*/ 294132 h 742950"/>
                  <a:gd name="connsiteX782" fmla="*/ 304419 w 895350"/>
                  <a:gd name="connsiteY782" fmla="*/ 295846 h 742950"/>
                  <a:gd name="connsiteX783" fmla="*/ 303562 w 895350"/>
                  <a:gd name="connsiteY783" fmla="*/ 297561 h 742950"/>
                  <a:gd name="connsiteX784" fmla="*/ 302704 w 895350"/>
                  <a:gd name="connsiteY784" fmla="*/ 298418 h 742950"/>
                  <a:gd name="connsiteX785" fmla="*/ 301847 w 895350"/>
                  <a:gd name="connsiteY785" fmla="*/ 298418 h 742950"/>
                  <a:gd name="connsiteX786" fmla="*/ 299275 w 895350"/>
                  <a:gd name="connsiteY786" fmla="*/ 298418 h 742950"/>
                  <a:gd name="connsiteX787" fmla="*/ 292513 w 895350"/>
                  <a:gd name="connsiteY787" fmla="*/ 298418 h 742950"/>
                  <a:gd name="connsiteX788" fmla="*/ 290798 w 895350"/>
                  <a:gd name="connsiteY788" fmla="*/ 299275 h 742950"/>
                  <a:gd name="connsiteX789" fmla="*/ 289941 w 895350"/>
                  <a:gd name="connsiteY789" fmla="*/ 299275 h 742950"/>
                  <a:gd name="connsiteX790" fmla="*/ 287369 w 895350"/>
                  <a:gd name="connsiteY790" fmla="*/ 300133 h 742950"/>
                  <a:gd name="connsiteX791" fmla="*/ 285655 w 895350"/>
                  <a:gd name="connsiteY791" fmla="*/ 300133 h 742950"/>
                  <a:gd name="connsiteX792" fmla="*/ 283940 w 895350"/>
                  <a:gd name="connsiteY792" fmla="*/ 300990 h 742950"/>
                  <a:gd name="connsiteX793" fmla="*/ 283083 w 895350"/>
                  <a:gd name="connsiteY793" fmla="*/ 302705 h 742950"/>
                  <a:gd name="connsiteX794" fmla="*/ 279654 w 895350"/>
                  <a:gd name="connsiteY794" fmla="*/ 306133 h 742950"/>
                  <a:gd name="connsiteX795" fmla="*/ 278797 w 895350"/>
                  <a:gd name="connsiteY795" fmla="*/ 306991 h 742950"/>
                  <a:gd name="connsiteX796" fmla="*/ 278797 w 895350"/>
                  <a:gd name="connsiteY796" fmla="*/ 308705 h 742950"/>
                  <a:gd name="connsiteX797" fmla="*/ 279654 w 895350"/>
                  <a:gd name="connsiteY797" fmla="*/ 310420 h 742950"/>
                  <a:gd name="connsiteX798" fmla="*/ 280511 w 895350"/>
                  <a:gd name="connsiteY798" fmla="*/ 311277 h 742950"/>
                  <a:gd name="connsiteX799" fmla="*/ 280511 w 895350"/>
                  <a:gd name="connsiteY799" fmla="*/ 312991 h 742950"/>
                  <a:gd name="connsiteX800" fmla="*/ 279654 w 895350"/>
                  <a:gd name="connsiteY800" fmla="*/ 313849 h 742950"/>
                  <a:gd name="connsiteX801" fmla="*/ 278797 w 895350"/>
                  <a:gd name="connsiteY801" fmla="*/ 315563 h 742950"/>
                  <a:gd name="connsiteX802" fmla="*/ 277940 w 895350"/>
                  <a:gd name="connsiteY802" fmla="*/ 317278 h 742950"/>
                  <a:gd name="connsiteX803" fmla="*/ 277940 w 895350"/>
                  <a:gd name="connsiteY803" fmla="*/ 320707 h 742950"/>
                  <a:gd name="connsiteX804" fmla="*/ 277940 w 895350"/>
                  <a:gd name="connsiteY804" fmla="*/ 322421 h 742950"/>
                  <a:gd name="connsiteX805" fmla="*/ 277940 w 895350"/>
                  <a:gd name="connsiteY805" fmla="*/ 324136 h 742950"/>
                  <a:gd name="connsiteX806" fmla="*/ 278797 w 895350"/>
                  <a:gd name="connsiteY806" fmla="*/ 324993 h 742950"/>
                  <a:gd name="connsiteX807" fmla="*/ 279654 w 895350"/>
                  <a:gd name="connsiteY807" fmla="*/ 326707 h 742950"/>
                  <a:gd name="connsiteX808" fmla="*/ 279654 w 895350"/>
                  <a:gd name="connsiteY808" fmla="*/ 330994 h 742950"/>
                  <a:gd name="connsiteX809" fmla="*/ 278797 w 895350"/>
                  <a:gd name="connsiteY809" fmla="*/ 336899 h 742950"/>
                  <a:gd name="connsiteX810" fmla="*/ 278797 w 895350"/>
                  <a:gd name="connsiteY810" fmla="*/ 337756 h 742950"/>
                  <a:gd name="connsiteX811" fmla="*/ 277082 w 895350"/>
                  <a:gd name="connsiteY811" fmla="*/ 339471 h 742950"/>
                  <a:gd name="connsiteX812" fmla="*/ 275368 w 895350"/>
                  <a:gd name="connsiteY812" fmla="*/ 340328 h 742950"/>
                  <a:gd name="connsiteX813" fmla="*/ 273653 w 895350"/>
                  <a:gd name="connsiteY813" fmla="*/ 340328 h 742950"/>
                  <a:gd name="connsiteX814" fmla="*/ 271939 w 895350"/>
                  <a:gd name="connsiteY814" fmla="*/ 340328 h 742950"/>
                  <a:gd name="connsiteX815" fmla="*/ 271082 w 895350"/>
                  <a:gd name="connsiteY815" fmla="*/ 339471 h 742950"/>
                  <a:gd name="connsiteX816" fmla="*/ 270224 w 895350"/>
                  <a:gd name="connsiteY816" fmla="*/ 339471 h 742950"/>
                  <a:gd name="connsiteX817" fmla="*/ 268510 w 895350"/>
                  <a:gd name="connsiteY817" fmla="*/ 338614 h 742950"/>
                  <a:gd name="connsiteX818" fmla="*/ 267653 w 895350"/>
                  <a:gd name="connsiteY818" fmla="*/ 338614 h 742950"/>
                  <a:gd name="connsiteX819" fmla="*/ 261747 w 895350"/>
                  <a:gd name="connsiteY819" fmla="*/ 338614 h 742950"/>
                  <a:gd name="connsiteX820" fmla="*/ 260032 w 895350"/>
                  <a:gd name="connsiteY820" fmla="*/ 337756 h 742950"/>
                  <a:gd name="connsiteX821" fmla="*/ 259175 w 895350"/>
                  <a:gd name="connsiteY821" fmla="*/ 337756 h 742950"/>
                  <a:gd name="connsiteX822" fmla="*/ 257461 w 895350"/>
                  <a:gd name="connsiteY822" fmla="*/ 337756 h 742950"/>
                  <a:gd name="connsiteX823" fmla="*/ 256603 w 895350"/>
                  <a:gd name="connsiteY823" fmla="*/ 337756 h 742950"/>
                  <a:gd name="connsiteX824" fmla="*/ 254889 w 895350"/>
                  <a:gd name="connsiteY824" fmla="*/ 337756 h 742950"/>
                  <a:gd name="connsiteX825" fmla="*/ 253174 w 895350"/>
                  <a:gd name="connsiteY825" fmla="*/ 339471 h 742950"/>
                  <a:gd name="connsiteX826" fmla="*/ 251460 w 895350"/>
                  <a:gd name="connsiteY826" fmla="*/ 340328 h 742950"/>
                  <a:gd name="connsiteX827" fmla="*/ 249745 w 895350"/>
                  <a:gd name="connsiteY827" fmla="*/ 340328 h 742950"/>
                  <a:gd name="connsiteX828" fmla="*/ 247174 w 895350"/>
                  <a:gd name="connsiteY828" fmla="*/ 341186 h 742950"/>
                  <a:gd name="connsiteX829" fmla="*/ 245459 w 895350"/>
                  <a:gd name="connsiteY829" fmla="*/ 342043 h 742950"/>
                  <a:gd name="connsiteX830" fmla="*/ 243745 w 895350"/>
                  <a:gd name="connsiteY830" fmla="*/ 343757 h 742950"/>
                  <a:gd name="connsiteX831" fmla="*/ 243745 w 895350"/>
                  <a:gd name="connsiteY831" fmla="*/ 344614 h 742950"/>
                  <a:gd name="connsiteX832" fmla="*/ 243745 w 895350"/>
                  <a:gd name="connsiteY832" fmla="*/ 347186 h 742950"/>
                  <a:gd name="connsiteX833" fmla="*/ 245459 w 895350"/>
                  <a:gd name="connsiteY833" fmla="*/ 350615 h 742950"/>
                  <a:gd name="connsiteX834" fmla="*/ 245459 w 895350"/>
                  <a:gd name="connsiteY834" fmla="*/ 351472 h 742950"/>
                  <a:gd name="connsiteX835" fmla="*/ 244602 w 895350"/>
                  <a:gd name="connsiteY835" fmla="*/ 352330 h 742950"/>
                  <a:gd name="connsiteX836" fmla="*/ 244602 w 895350"/>
                  <a:gd name="connsiteY836" fmla="*/ 353187 h 742950"/>
                  <a:gd name="connsiteX837" fmla="*/ 243745 w 895350"/>
                  <a:gd name="connsiteY837" fmla="*/ 354044 h 742950"/>
                  <a:gd name="connsiteX838" fmla="*/ 242888 w 895350"/>
                  <a:gd name="connsiteY838" fmla="*/ 354902 h 742950"/>
                  <a:gd name="connsiteX839" fmla="*/ 242030 w 895350"/>
                  <a:gd name="connsiteY839" fmla="*/ 354044 h 742950"/>
                  <a:gd name="connsiteX840" fmla="*/ 239459 w 895350"/>
                  <a:gd name="connsiteY840" fmla="*/ 353187 h 742950"/>
                  <a:gd name="connsiteX841" fmla="*/ 239459 w 895350"/>
                  <a:gd name="connsiteY841" fmla="*/ 351472 h 742950"/>
                  <a:gd name="connsiteX842" fmla="*/ 239459 w 895350"/>
                  <a:gd name="connsiteY842" fmla="*/ 350615 h 742950"/>
                  <a:gd name="connsiteX843" fmla="*/ 239459 w 895350"/>
                  <a:gd name="connsiteY843" fmla="*/ 348901 h 742950"/>
                  <a:gd name="connsiteX844" fmla="*/ 238601 w 895350"/>
                  <a:gd name="connsiteY844" fmla="*/ 348044 h 742950"/>
                  <a:gd name="connsiteX845" fmla="*/ 237744 w 895350"/>
                  <a:gd name="connsiteY845" fmla="*/ 347186 h 742950"/>
                  <a:gd name="connsiteX846" fmla="*/ 236887 w 895350"/>
                  <a:gd name="connsiteY846" fmla="*/ 347186 h 742950"/>
                  <a:gd name="connsiteX847" fmla="*/ 236029 w 895350"/>
                  <a:gd name="connsiteY847" fmla="*/ 348044 h 742950"/>
                  <a:gd name="connsiteX848" fmla="*/ 235172 w 895350"/>
                  <a:gd name="connsiteY848" fmla="*/ 348044 h 742950"/>
                  <a:gd name="connsiteX849" fmla="*/ 235172 w 895350"/>
                  <a:gd name="connsiteY849" fmla="*/ 349758 h 742950"/>
                  <a:gd name="connsiteX850" fmla="*/ 235172 w 895350"/>
                  <a:gd name="connsiteY850" fmla="*/ 350615 h 742950"/>
                  <a:gd name="connsiteX851" fmla="*/ 235172 w 895350"/>
                  <a:gd name="connsiteY851" fmla="*/ 352330 h 742950"/>
                  <a:gd name="connsiteX852" fmla="*/ 236029 w 895350"/>
                  <a:gd name="connsiteY852" fmla="*/ 353187 h 742950"/>
                  <a:gd name="connsiteX853" fmla="*/ 236029 w 895350"/>
                  <a:gd name="connsiteY853" fmla="*/ 354044 h 742950"/>
                  <a:gd name="connsiteX854" fmla="*/ 236029 w 895350"/>
                  <a:gd name="connsiteY854" fmla="*/ 354902 h 742950"/>
                  <a:gd name="connsiteX855" fmla="*/ 236029 w 895350"/>
                  <a:gd name="connsiteY855" fmla="*/ 355759 h 742950"/>
                  <a:gd name="connsiteX856" fmla="*/ 234315 w 895350"/>
                  <a:gd name="connsiteY856" fmla="*/ 358330 h 742950"/>
                  <a:gd name="connsiteX857" fmla="*/ 233458 w 895350"/>
                  <a:gd name="connsiteY857" fmla="*/ 360045 h 742950"/>
                  <a:gd name="connsiteX858" fmla="*/ 232600 w 895350"/>
                  <a:gd name="connsiteY858" fmla="*/ 360902 h 742950"/>
                  <a:gd name="connsiteX859" fmla="*/ 230886 w 895350"/>
                  <a:gd name="connsiteY859" fmla="*/ 361760 h 742950"/>
                  <a:gd name="connsiteX860" fmla="*/ 229171 w 895350"/>
                  <a:gd name="connsiteY860" fmla="*/ 363474 h 742950"/>
                  <a:gd name="connsiteX861" fmla="*/ 226600 w 895350"/>
                  <a:gd name="connsiteY861" fmla="*/ 363474 h 742950"/>
                  <a:gd name="connsiteX862" fmla="*/ 224885 w 895350"/>
                  <a:gd name="connsiteY862" fmla="*/ 363474 h 742950"/>
                  <a:gd name="connsiteX863" fmla="*/ 223171 w 895350"/>
                  <a:gd name="connsiteY863" fmla="*/ 363474 h 742950"/>
                  <a:gd name="connsiteX864" fmla="*/ 222313 w 895350"/>
                  <a:gd name="connsiteY864" fmla="*/ 362617 h 742950"/>
                  <a:gd name="connsiteX865" fmla="*/ 218884 w 895350"/>
                  <a:gd name="connsiteY865" fmla="*/ 360902 h 742950"/>
                  <a:gd name="connsiteX866" fmla="*/ 218027 w 895350"/>
                  <a:gd name="connsiteY866" fmla="*/ 360045 h 742950"/>
                  <a:gd name="connsiteX867" fmla="*/ 217170 w 895350"/>
                  <a:gd name="connsiteY867" fmla="*/ 359188 h 742950"/>
                  <a:gd name="connsiteX868" fmla="*/ 215455 w 895350"/>
                  <a:gd name="connsiteY868" fmla="*/ 357473 h 742950"/>
                  <a:gd name="connsiteX869" fmla="*/ 214598 w 895350"/>
                  <a:gd name="connsiteY869" fmla="*/ 356616 h 742950"/>
                  <a:gd name="connsiteX870" fmla="*/ 213741 w 895350"/>
                  <a:gd name="connsiteY870" fmla="*/ 354902 h 742950"/>
                  <a:gd name="connsiteX871" fmla="*/ 211169 w 895350"/>
                  <a:gd name="connsiteY871" fmla="*/ 354044 h 742950"/>
                  <a:gd name="connsiteX872" fmla="*/ 210312 w 895350"/>
                  <a:gd name="connsiteY872" fmla="*/ 354902 h 742950"/>
                  <a:gd name="connsiteX873" fmla="*/ 208597 w 895350"/>
                  <a:gd name="connsiteY873" fmla="*/ 355759 h 742950"/>
                  <a:gd name="connsiteX874" fmla="*/ 206883 w 895350"/>
                  <a:gd name="connsiteY874" fmla="*/ 357473 h 742950"/>
                  <a:gd name="connsiteX875" fmla="*/ 206026 w 895350"/>
                  <a:gd name="connsiteY875" fmla="*/ 358330 h 742950"/>
                  <a:gd name="connsiteX876" fmla="*/ 205169 w 895350"/>
                  <a:gd name="connsiteY876" fmla="*/ 359188 h 742950"/>
                  <a:gd name="connsiteX877" fmla="*/ 203454 w 895350"/>
                  <a:gd name="connsiteY877" fmla="*/ 359188 h 742950"/>
                  <a:gd name="connsiteX878" fmla="*/ 201740 w 895350"/>
                  <a:gd name="connsiteY878" fmla="*/ 358330 h 742950"/>
                  <a:gd name="connsiteX879" fmla="*/ 200882 w 895350"/>
                  <a:gd name="connsiteY879" fmla="*/ 358330 h 742950"/>
                  <a:gd name="connsiteX880" fmla="*/ 197453 w 895350"/>
                  <a:gd name="connsiteY880" fmla="*/ 357473 h 742950"/>
                  <a:gd name="connsiteX881" fmla="*/ 193167 w 895350"/>
                  <a:gd name="connsiteY881" fmla="*/ 356616 h 742950"/>
                  <a:gd name="connsiteX882" fmla="*/ 189738 w 895350"/>
                  <a:gd name="connsiteY882" fmla="*/ 355759 h 742950"/>
                  <a:gd name="connsiteX883" fmla="*/ 188023 w 895350"/>
                  <a:gd name="connsiteY883" fmla="*/ 356616 h 742950"/>
                  <a:gd name="connsiteX884" fmla="*/ 185452 w 895350"/>
                  <a:gd name="connsiteY884" fmla="*/ 357473 h 742950"/>
                  <a:gd name="connsiteX885" fmla="*/ 183737 w 895350"/>
                  <a:gd name="connsiteY885" fmla="*/ 359188 h 742950"/>
                  <a:gd name="connsiteX886" fmla="*/ 182023 w 895350"/>
                  <a:gd name="connsiteY886" fmla="*/ 360045 h 742950"/>
                  <a:gd name="connsiteX887" fmla="*/ 180308 w 895350"/>
                  <a:gd name="connsiteY887" fmla="*/ 360045 h 742950"/>
                  <a:gd name="connsiteX888" fmla="*/ 179451 w 895350"/>
                  <a:gd name="connsiteY888" fmla="*/ 360045 h 742950"/>
                  <a:gd name="connsiteX889" fmla="*/ 178594 w 895350"/>
                  <a:gd name="connsiteY889" fmla="*/ 361760 h 742950"/>
                  <a:gd name="connsiteX890" fmla="*/ 177736 w 895350"/>
                  <a:gd name="connsiteY890" fmla="*/ 362617 h 742950"/>
                  <a:gd name="connsiteX891" fmla="*/ 175165 w 895350"/>
                  <a:gd name="connsiteY891" fmla="*/ 362617 h 742950"/>
                  <a:gd name="connsiteX892" fmla="*/ 173450 w 895350"/>
                  <a:gd name="connsiteY892" fmla="*/ 361760 h 742950"/>
                  <a:gd name="connsiteX893" fmla="*/ 172593 w 895350"/>
                  <a:gd name="connsiteY893" fmla="*/ 361760 h 742950"/>
                  <a:gd name="connsiteX894" fmla="*/ 170878 w 895350"/>
                  <a:gd name="connsiteY894" fmla="*/ 362617 h 742950"/>
                  <a:gd name="connsiteX895" fmla="*/ 170878 w 895350"/>
                  <a:gd name="connsiteY895" fmla="*/ 362617 h 742950"/>
                  <a:gd name="connsiteX896" fmla="*/ 171736 w 895350"/>
                  <a:gd name="connsiteY896" fmla="*/ 365188 h 742950"/>
                  <a:gd name="connsiteX897" fmla="*/ 171736 w 895350"/>
                  <a:gd name="connsiteY897" fmla="*/ 366046 h 742950"/>
                  <a:gd name="connsiteX898" fmla="*/ 170878 w 895350"/>
                  <a:gd name="connsiteY898" fmla="*/ 368618 h 742950"/>
                  <a:gd name="connsiteX899" fmla="*/ 170878 w 895350"/>
                  <a:gd name="connsiteY899" fmla="*/ 369475 h 742950"/>
                  <a:gd name="connsiteX900" fmla="*/ 170021 w 895350"/>
                  <a:gd name="connsiteY900" fmla="*/ 369475 h 742950"/>
                  <a:gd name="connsiteX901" fmla="*/ 170021 w 895350"/>
                  <a:gd name="connsiteY901" fmla="*/ 370332 h 742950"/>
                  <a:gd name="connsiteX902" fmla="*/ 170021 w 895350"/>
                  <a:gd name="connsiteY902" fmla="*/ 372046 h 742950"/>
                  <a:gd name="connsiteX903" fmla="*/ 170021 w 895350"/>
                  <a:gd name="connsiteY903" fmla="*/ 372904 h 742950"/>
                  <a:gd name="connsiteX904" fmla="*/ 169164 w 895350"/>
                  <a:gd name="connsiteY904" fmla="*/ 373761 h 742950"/>
                  <a:gd name="connsiteX905" fmla="*/ 167449 w 895350"/>
                  <a:gd name="connsiteY905" fmla="*/ 374618 h 742950"/>
                  <a:gd name="connsiteX906" fmla="*/ 165735 w 895350"/>
                  <a:gd name="connsiteY906" fmla="*/ 375475 h 742950"/>
                  <a:gd name="connsiteX907" fmla="*/ 164020 w 895350"/>
                  <a:gd name="connsiteY907" fmla="*/ 376333 h 742950"/>
                  <a:gd name="connsiteX908" fmla="*/ 162306 w 895350"/>
                  <a:gd name="connsiteY908" fmla="*/ 377190 h 742950"/>
                  <a:gd name="connsiteX909" fmla="*/ 162306 w 895350"/>
                  <a:gd name="connsiteY909" fmla="*/ 378047 h 742950"/>
                  <a:gd name="connsiteX910" fmla="*/ 162306 w 895350"/>
                  <a:gd name="connsiteY910" fmla="*/ 378905 h 742950"/>
                  <a:gd name="connsiteX911" fmla="*/ 162306 w 895350"/>
                  <a:gd name="connsiteY911" fmla="*/ 379762 h 742950"/>
                  <a:gd name="connsiteX912" fmla="*/ 161449 w 895350"/>
                  <a:gd name="connsiteY912" fmla="*/ 380619 h 742950"/>
                  <a:gd name="connsiteX913" fmla="*/ 161449 w 895350"/>
                  <a:gd name="connsiteY913" fmla="*/ 381476 h 742950"/>
                  <a:gd name="connsiteX914" fmla="*/ 161449 w 895350"/>
                  <a:gd name="connsiteY914" fmla="*/ 382333 h 742950"/>
                  <a:gd name="connsiteX915" fmla="*/ 160592 w 895350"/>
                  <a:gd name="connsiteY915" fmla="*/ 383191 h 742950"/>
                  <a:gd name="connsiteX916" fmla="*/ 159734 w 895350"/>
                  <a:gd name="connsiteY916" fmla="*/ 383191 h 742950"/>
                  <a:gd name="connsiteX917" fmla="*/ 158877 w 895350"/>
                  <a:gd name="connsiteY917" fmla="*/ 383191 h 742950"/>
                  <a:gd name="connsiteX918" fmla="*/ 158020 w 895350"/>
                  <a:gd name="connsiteY918" fmla="*/ 383191 h 742950"/>
                  <a:gd name="connsiteX919" fmla="*/ 156305 w 895350"/>
                  <a:gd name="connsiteY919" fmla="*/ 383191 h 742950"/>
                  <a:gd name="connsiteX920" fmla="*/ 156305 w 895350"/>
                  <a:gd name="connsiteY920" fmla="*/ 384905 h 742950"/>
                  <a:gd name="connsiteX921" fmla="*/ 155448 w 895350"/>
                  <a:gd name="connsiteY921" fmla="*/ 385763 h 742950"/>
                  <a:gd name="connsiteX922" fmla="*/ 154591 w 895350"/>
                  <a:gd name="connsiteY922" fmla="*/ 385763 h 742950"/>
                  <a:gd name="connsiteX923" fmla="*/ 153734 w 895350"/>
                  <a:gd name="connsiteY923" fmla="*/ 385763 h 742950"/>
                  <a:gd name="connsiteX924" fmla="*/ 149447 w 895350"/>
                  <a:gd name="connsiteY924" fmla="*/ 384048 h 742950"/>
                  <a:gd name="connsiteX925" fmla="*/ 149447 w 895350"/>
                  <a:gd name="connsiteY925" fmla="*/ 383191 h 742950"/>
                  <a:gd name="connsiteX926" fmla="*/ 147733 w 895350"/>
                  <a:gd name="connsiteY926" fmla="*/ 380619 h 742950"/>
                  <a:gd name="connsiteX927" fmla="*/ 146875 w 895350"/>
                  <a:gd name="connsiteY927" fmla="*/ 380619 h 742950"/>
                  <a:gd name="connsiteX928" fmla="*/ 146875 w 895350"/>
                  <a:gd name="connsiteY928" fmla="*/ 378047 h 742950"/>
                  <a:gd name="connsiteX929" fmla="*/ 146018 w 895350"/>
                  <a:gd name="connsiteY929" fmla="*/ 377190 h 742950"/>
                  <a:gd name="connsiteX930" fmla="*/ 145161 w 895350"/>
                  <a:gd name="connsiteY930" fmla="*/ 377190 h 742950"/>
                  <a:gd name="connsiteX931" fmla="*/ 145161 w 895350"/>
                  <a:gd name="connsiteY931" fmla="*/ 377190 h 742950"/>
                  <a:gd name="connsiteX932" fmla="*/ 144304 w 895350"/>
                  <a:gd name="connsiteY932" fmla="*/ 378047 h 742950"/>
                  <a:gd name="connsiteX933" fmla="*/ 144304 w 895350"/>
                  <a:gd name="connsiteY933" fmla="*/ 378905 h 742950"/>
                  <a:gd name="connsiteX934" fmla="*/ 143446 w 895350"/>
                  <a:gd name="connsiteY934" fmla="*/ 380619 h 742950"/>
                  <a:gd name="connsiteX935" fmla="*/ 142589 w 895350"/>
                  <a:gd name="connsiteY935" fmla="*/ 382333 h 742950"/>
                  <a:gd name="connsiteX936" fmla="*/ 141732 w 895350"/>
                  <a:gd name="connsiteY936" fmla="*/ 381476 h 742950"/>
                  <a:gd name="connsiteX937" fmla="*/ 139160 w 895350"/>
                  <a:gd name="connsiteY937" fmla="*/ 380619 h 742950"/>
                  <a:gd name="connsiteX938" fmla="*/ 138303 w 895350"/>
                  <a:gd name="connsiteY938" fmla="*/ 379762 h 742950"/>
                  <a:gd name="connsiteX939" fmla="*/ 135731 w 895350"/>
                  <a:gd name="connsiteY939" fmla="*/ 380619 h 742950"/>
                  <a:gd name="connsiteX940" fmla="*/ 134017 w 895350"/>
                  <a:gd name="connsiteY940" fmla="*/ 379762 h 742950"/>
                  <a:gd name="connsiteX941" fmla="*/ 132302 w 895350"/>
                  <a:gd name="connsiteY941" fmla="*/ 378905 h 742950"/>
                  <a:gd name="connsiteX942" fmla="*/ 129730 w 895350"/>
                  <a:gd name="connsiteY942" fmla="*/ 378047 h 742950"/>
                  <a:gd name="connsiteX943" fmla="*/ 128873 w 895350"/>
                  <a:gd name="connsiteY943" fmla="*/ 378047 h 742950"/>
                  <a:gd name="connsiteX944" fmla="*/ 128016 w 895350"/>
                  <a:gd name="connsiteY944" fmla="*/ 378047 h 742950"/>
                  <a:gd name="connsiteX945" fmla="*/ 126301 w 895350"/>
                  <a:gd name="connsiteY945" fmla="*/ 379762 h 742950"/>
                  <a:gd name="connsiteX946" fmla="*/ 125444 w 895350"/>
                  <a:gd name="connsiteY946" fmla="*/ 380619 h 742950"/>
                  <a:gd name="connsiteX947" fmla="*/ 124587 w 895350"/>
                  <a:gd name="connsiteY947" fmla="*/ 380619 h 742950"/>
                  <a:gd name="connsiteX948" fmla="*/ 123730 w 895350"/>
                  <a:gd name="connsiteY948" fmla="*/ 380619 h 742950"/>
                  <a:gd name="connsiteX949" fmla="*/ 122872 w 895350"/>
                  <a:gd name="connsiteY949" fmla="*/ 380619 h 742950"/>
                  <a:gd name="connsiteX950" fmla="*/ 122015 w 895350"/>
                  <a:gd name="connsiteY950" fmla="*/ 380619 h 742950"/>
                  <a:gd name="connsiteX951" fmla="*/ 121158 w 895350"/>
                  <a:gd name="connsiteY951" fmla="*/ 381476 h 742950"/>
                  <a:gd name="connsiteX952" fmla="*/ 120301 w 895350"/>
                  <a:gd name="connsiteY952" fmla="*/ 381476 h 742950"/>
                  <a:gd name="connsiteX953" fmla="*/ 118586 w 895350"/>
                  <a:gd name="connsiteY953" fmla="*/ 381476 h 742950"/>
                  <a:gd name="connsiteX954" fmla="*/ 117729 w 895350"/>
                  <a:gd name="connsiteY954" fmla="*/ 380619 h 742950"/>
                  <a:gd name="connsiteX955" fmla="*/ 116872 w 895350"/>
                  <a:gd name="connsiteY955" fmla="*/ 380619 h 742950"/>
                  <a:gd name="connsiteX956" fmla="*/ 115157 w 895350"/>
                  <a:gd name="connsiteY956" fmla="*/ 379762 h 742950"/>
                  <a:gd name="connsiteX957" fmla="*/ 114300 w 895350"/>
                  <a:gd name="connsiteY957" fmla="*/ 379762 h 742950"/>
                  <a:gd name="connsiteX958" fmla="*/ 113443 w 895350"/>
                  <a:gd name="connsiteY958" fmla="*/ 379762 h 742950"/>
                  <a:gd name="connsiteX959" fmla="*/ 112586 w 895350"/>
                  <a:gd name="connsiteY959" fmla="*/ 379762 h 742950"/>
                  <a:gd name="connsiteX960" fmla="*/ 111728 w 895350"/>
                  <a:gd name="connsiteY960" fmla="*/ 378905 h 742950"/>
                  <a:gd name="connsiteX961" fmla="*/ 110871 w 895350"/>
                  <a:gd name="connsiteY961" fmla="*/ 378905 h 742950"/>
                  <a:gd name="connsiteX962" fmla="*/ 110014 w 895350"/>
                  <a:gd name="connsiteY962" fmla="*/ 378905 h 742950"/>
                  <a:gd name="connsiteX963" fmla="*/ 109156 w 895350"/>
                  <a:gd name="connsiteY963" fmla="*/ 379762 h 742950"/>
                  <a:gd name="connsiteX964" fmla="*/ 108299 w 895350"/>
                  <a:gd name="connsiteY964" fmla="*/ 380619 h 742950"/>
                  <a:gd name="connsiteX965" fmla="*/ 107442 w 895350"/>
                  <a:gd name="connsiteY965" fmla="*/ 380619 h 742950"/>
                  <a:gd name="connsiteX966" fmla="*/ 104013 w 895350"/>
                  <a:gd name="connsiteY966" fmla="*/ 379762 h 742950"/>
                  <a:gd name="connsiteX967" fmla="*/ 103156 w 895350"/>
                  <a:gd name="connsiteY967" fmla="*/ 379762 h 742950"/>
                  <a:gd name="connsiteX968" fmla="*/ 102298 w 895350"/>
                  <a:gd name="connsiteY968" fmla="*/ 378905 h 742950"/>
                  <a:gd name="connsiteX969" fmla="*/ 101441 w 895350"/>
                  <a:gd name="connsiteY969" fmla="*/ 378047 h 742950"/>
                  <a:gd name="connsiteX970" fmla="*/ 100584 w 895350"/>
                  <a:gd name="connsiteY970" fmla="*/ 377190 h 742950"/>
                  <a:gd name="connsiteX971" fmla="*/ 99727 w 895350"/>
                  <a:gd name="connsiteY971" fmla="*/ 377190 h 742950"/>
                  <a:gd name="connsiteX972" fmla="*/ 99727 w 895350"/>
                  <a:gd name="connsiteY972" fmla="*/ 376333 h 742950"/>
                  <a:gd name="connsiteX973" fmla="*/ 98869 w 895350"/>
                  <a:gd name="connsiteY973" fmla="*/ 376333 h 742950"/>
                  <a:gd name="connsiteX974" fmla="*/ 98012 w 895350"/>
                  <a:gd name="connsiteY974" fmla="*/ 376333 h 742950"/>
                  <a:gd name="connsiteX975" fmla="*/ 96298 w 895350"/>
                  <a:gd name="connsiteY975" fmla="*/ 376333 h 742950"/>
                  <a:gd name="connsiteX976" fmla="*/ 95440 w 895350"/>
                  <a:gd name="connsiteY976" fmla="*/ 376333 h 742950"/>
                  <a:gd name="connsiteX977" fmla="*/ 92869 w 895350"/>
                  <a:gd name="connsiteY977" fmla="*/ 376333 h 742950"/>
                  <a:gd name="connsiteX978" fmla="*/ 90297 w 895350"/>
                  <a:gd name="connsiteY978" fmla="*/ 375475 h 742950"/>
                  <a:gd name="connsiteX979" fmla="*/ 85249 w 895350"/>
                  <a:gd name="connsiteY979" fmla="*/ 373761 h 742950"/>
                  <a:gd name="connsiteX980" fmla="*/ 80963 w 895350"/>
                  <a:gd name="connsiteY980" fmla="*/ 371189 h 742950"/>
                  <a:gd name="connsiteX981" fmla="*/ 79248 w 895350"/>
                  <a:gd name="connsiteY981" fmla="*/ 371189 h 742950"/>
                  <a:gd name="connsiteX982" fmla="*/ 78391 w 895350"/>
                  <a:gd name="connsiteY982" fmla="*/ 371189 h 742950"/>
                  <a:gd name="connsiteX983" fmla="*/ 65627 w 895350"/>
                  <a:gd name="connsiteY983" fmla="*/ 370332 h 742950"/>
                  <a:gd name="connsiteX984" fmla="*/ 60579 w 895350"/>
                  <a:gd name="connsiteY984" fmla="*/ 370332 h 742950"/>
                  <a:gd name="connsiteX985" fmla="*/ 58865 w 895350"/>
                  <a:gd name="connsiteY985" fmla="*/ 369475 h 742950"/>
                  <a:gd name="connsiteX986" fmla="*/ 57150 w 895350"/>
                  <a:gd name="connsiteY986" fmla="*/ 368618 h 742950"/>
                  <a:gd name="connsiteX987" fmla="*/ 56293 w 895350"/>
                  <a:gd name="connsiteY987" fmla="*/ 368618 h 742950"/>
                  <a:gd name="connsiteX988" fmla="*/ 49530 w 895350"/>
                  <a:gd name="connsiteY988" fmla="*/ 369475 h 742950"/>
                  <a:gd name="connsiteX989" fmla="*/ 46958 w 895350"/>
                  <a:gd name="connsiteY989" fmla="*/ 370332 h 742950"/>
                  <a:gd name="connsiteX990" fmla="*/ 39338 w 895350"/>
                  <a:gd name="connsiteY990" fmla="*/ 374618 h 742950"/>
                  <a:gd name="connsiteX991" fmla="*/ 35052 w 895350"/>
                  <a:gd name="connsiteY991" fmla="*/ 380524 h 742950"/>
                  <a:gd name="connsiteX992" fmla="*/ 35052 w 895350"/>
                  <a:gd name="connsiteY992" fmla="*/ 382238 h 742950"/>
                  <a:gd name="connsiteX993" fmla="*/ 35052 w 895350"/>
                  <a:gd name="connsiteY993" fmla="*/ 383096 h 742950"/>
                  <a:gd name="connsiteX994" fmla="*/ 35052 w 895350"/>
                  <a:gd name="connsiteY994" fmla="*/ 385667 h 742950"/>
                  <a:gd name="connsiteX995" fmla="*/ 34195 w 895350"/>
                  <a:gd name="connsiteY995" fmla="*/ 390715 h 742950"/>
                  <a:gd name="connsiteX996" fmla="*/ 34195 w 895350"/>
                  <a:gd name="connsiteY996" fmla="*/ 393287 h 742950"/>
                  <a:gd name="connsiteX997" fmla="*/ 35052 w 895350"/>
                  <a:gd name="connsiteY997" fmla="*/ 395002 h 742950"/>
                  <a:gd name="connsiteX998" fmla="*/ 35052 w 895350"/>
                  <a:gd name="connsiteY998" fmla="*/ 395002 h 742950"/>
                  <a:gd name="connsiteX999" fmla="*/ 35909 w 895350"/>
                  <a:gd name="connsiteY999" fmla="*/ 395002 h 742950"/>
                  <a:gd name="connsiteX1000" fmla="*/ 36767 w 895350"/>
                  <a:gd name="connsiteY1000" fmla="*/ 395859 h 742950"/>
                  <a:gd name="connsiteX1001" fmla="*/ 36767 w 895350"/>
                  <a:gd name="connsiteY1001" fmla="*/ 395859 h 742950"/>
                  <a:gd name="connsiteX1002" fmla="*/ 38481 w 895350"/>
                  <a:gd name="connsiteY1002" fmla="*/ 398431 h 742950"/>
                  <a:gd name="connsiteX1003" fmla="*/ 40195 w 895350"/>
                  <a:gd name="connsiteY1003" fmla="*/ 401860 h 742950"/>
                  <a:gd name="connsiteX1004" fmla="*/ 41053 w 895350"/>
                  <a:gd name="connsiteY1004" fmla="*/ 404431 h 742950"/>
                  <a:gd name="connsiteX1005" fmla="*/ 40195 w 895350"/>
                  <a:gd name="connsiteY1005" fmla="*/ 405289 h 742950"/>
                  <a:gd name="connsiteX1006" fmla="*/ 40195 w 895350"/>
                  <a:gd name="connsiteY1006" fmla="*/ 405289 h 742950"/>
                  <a:gd name="connsiteX1007" fmla="*/ 38481 w 895350"/>
                  <a:gd name="connsiteY1007" fmla="*/ 405289 h 742950"/>
                  <a:gd name="connsiteX1008" fmla="*/ 37624 w 895350"/>
                  <a:gd name="connsiteY1008" fmla="*/ 405289 h 742950"/>
                  <a:gd name="connsiteX1009" fmla="*/ 36767 w 895350"/>
                  <a:gd name="connsiteY1009" fmla="*/ 404431 h 742950"/>
                  <a:gd name="connsiteX1010" fmla="*/ 35909 w 895350"/>
                  <a:gd name="connsiteY1010" fmla="*/ 404431 h 742950"/>
                  <a:gd name="connsiteX1011" fmla="*/ 34195 w 895350"/>
                  <a:gd name="connsiteY1011" fmla="*/ 405289 h 742950"/>
                  <a:gd name="connsiteX1012" fmla="*/ 33338 w 895350"/>
                  <a:gd name="connsiteY1012" fmla="*/ 405289 h 742950"/>
                  <a:gd name="connsiteX1013" fmla="*/ 32480 w 895350"/>
                  <a:gd name="connsiteY1013" fmla="*/ 407003 h 742950"/>
                  <a:gd name="connsiteX1014" fmla="*/ 31623 w 895350"/>
                  <a:gd name="connsiteY1014" fmla="*/ 407861 h 742950"/>
                  <a:gd name="connsiteX1015" fmla="*/ 31623 w 895350"/>
                  <a:gd name="connsiteY1015" fmla="*/ 408718 h 742950"/>
                  <a:gd name="connsiteX1016" fmla="*/ 30766 w 895350"/>
                  <a:gd name="connsiteY1016" fmla="*/ 409575 h 742950"/>
                  <a:gd name="connsiteX1017" fmla="*/ 30766 w 895350"/>
                  <a:gd name="connsiteY1017" fmla="*/ 410432 h 742950"/>
                  <a:gd name="connsiteX1018" fmla="*/ 32480 w 895350"/>
                  <a:gd name="connsiteY1018" fmla="*/ 415480 h 742950"/>
                  <a:gd name="connsiteX1019" fmla="*/ 32480 w 895350"/>
                  <a:gd name="connsiteY1019" fmla="*/ 420529 h 742950"/>
                  <a:gd name="connsiteX1020" fmla="*/ 31623 w 895350"/>
                  <a:gd name="connsiteY1020" fmla="*/ 421386 h 742950"/>
                  <a:gd name="connsiteX1021" fmla="*/ 31623 w 895350"/>
                  <a:gd name="connsiteY1021" fmla="*/ 422243 h 742950"/>
                  <a:gd name="connsiteX1022" fmla="*/ 31623 w 895350"/>
                  <a:gd name="connsiteY1022" fmla="*/ 423100 h 742950"/>
                  <a:gd name="connsiteX1023" fmla="*/ 30766 w 895350"/>
                  <a:gd name="connsiteY1023" fmla="*/ 422243 h 742950"/>
                  <a:gd name="connsiteX1024" fmla="*/ 29051 w 895350"/>
                  <a:gd name="connsiteY1024" fmla="*/ 420529 h 742950"/>
                  <a:gd name="connsiteX1025" fmla="*/ 28194 w 895350"/>
                  <a:gd name="connsiteY1025" fmla="*/ 420529 h 742950"/>
                  <a:gd name="connsiteX1026" fmla="*/ 27337 w 895350"/>
                  <a:gd name="connsiteY1026" fmla="*/ 421386 h 742950"/>
                  <a:gd name="connsiteX1027" fmla="*/ 27337 w 895350"/>
                  <a:gd name="connsiteY1027" fmla="*/ 422243 h 742950"/>
                  <a:gd name="connsiteX1028" fmla="*/ 27337 w 895350"/>
                  <a:gd name="connsiteY1028" fmla="*/ 423100 h 742950"/>
                  <a:gd name="connsiteX1029" fmla="*/ 28194 w 895350"/>
                  <a:gd name="connsiteY1029" fmla="*/ 423100 h 742950"/>
                  <a:gd name="connsiteX1030" fmla="*/ 29051 w 895350"/>
                  <a:gd name="connsiteY1030" fmla="*/ 425672 h 742950"/>
                  <a:gd name="connsiteX1031" fmla="*/ 29908 w 895350"/>
                  <a:gd name="connsiteY1031" fmla="*/ 427387 h 742950"/>
                  <a:gd name="connsiteX1032" fmla="*/ 29908 w 895350"/>
                  <a:gd name="connsiteY1032" fmla="*/ 428244 h 742950"/>
                  <a:gd name="connsiteX1033" fmla="*/ 30766 w 895350"/>
                  <a:gd name="connsiteY1033" fmla="*/ 429101 h 742950"/>
                  <a:gd name="connsiteX1034" fmla="*/ 31623 w 895350"/>
                  <a:gd name="connsiteY1034" fmla="*/ 429958 h 742950"/>
                  <a:gd name="connsiteX1035" fmla="*/ 31623 w 895350"/>
                  <a:gd name="connsiteY1035" fmla="*/ 430816 h 742950"/>
                  <a:gd name="connsiteX1036" fmla="*/ 32480 w 895350"/>
                  <a:gd name="connsiteY1036" fmla="*/ 432530 h 742950"/>
                  <a:gd name="connsiteX1037" fmla="*/ 33338 w 895350"/>
                  <a:gd name="connsiteY1037" fmla="*/ 438436 h 742950"/>
                  <a:gd name="connsiteX1038" fmla="*/ 34195 w 895350"/>
                  <a:gd name="connsiteY1038" fmla="*/ 440150 h 742950"/>
                  <a:gd name="connsiteX1039" fmla="*/ 35052 w 895350"/>
                  <a:gd name="connsiteY1039" fmla="*/ 441007 h 742950"/>
                  <a:gd name="connsiteX1040" fmla="*/ 35909 w 895350"/>
                  <a:gd name="connsiteY1040" fmla="*/ 441007 h 742950"/>
                  <a:gd name="connsiteX1041" fmla="*/ 39338 w 895350"/>
                  <a:gd name="connsiteY1041" fmla="*/ 442722 h 742950"/>
                  <a:gd name="connsiteX1042" fmla="*/ 41053 w 895350"/>
                  <a:gd name="connsiteY1042" fmla="*/ 442722 h 742950"/>
                  <a:gd name="connsiteX1043" fmla="*/ 41910 w 895350"/>
                  <a:gd name="connsiteY1043" fmla="*/ 443579 h 742950"/>
                  <a:gd name="connsiteX1044" fmla="*/ 42767 w 895350"/>
                  <a:gd name="connsiteY1044" fmla="*/ 445294 h 742950"/>
                  <a:gd name="connsiteX1045" fmla="*/ 43624 w 895350"/>
                  <a:gd name="connsiteY1045" fmla="*/ 452914 h 742950"/>
                  <a:gd name="connsiteX1046" fmla="*/ 45339 w 895350"/>
                  <a:gd name="connsiteY1046" fmla="*/ 457962 h 742950"/>
                  <a:gd name="connsiteX1047" fmla="*/ 46196 w 895350"/>
                  <a:gd name="connsiteY1047" fmla="*/ 460534 h 742950"/>
                  <a:gd name="connsiteX1048" fmla="*/ 46196 w 895350"/>
                  <a:gd name="connsiteY1048" fmla="*/ 463105 h 742950"/>
                  <a:gd name="connsiteX1049" fmla="*/ 46196 w 895350"/>
                  <a:gd name="connsiteY1049" fmla="*/ 463963 h 742950"/>
                  <a:gd name="connsiteX1050" fmla="*/ 45339 w 895350"/>
                  <a:gd name="connsiteY1050" fmla="*/ 464820 h 742950"/>
                  <a:gd name="connsiteX1051" fmla="*/ 45339 w 895350"/>
                  <a:gd name="connsiteY1051" fmla="*/ 466535 h 742950"/>
                  <a:gd name="connsiteX1052" fmla="*/ 44482 w 895350"/>
                  <a:gd name="connsiteY1052" fmla="*/ 467392 h 742950"/>
                  <a:gd name="connsiteX1053" fmla="*/ 43624 w 895350"/>
                  <a:gd name="connsiteY1053" fmla="*/ 468249 h 742950"/>
                  <a:gd name="connsiteX1054" fmla="*/ 42767 w 895350"/>
                  <a:gd name="connsiteY1054" fmla="*/ 469106 h 742950"/>
                  <a:gd name="connsiteX1055" fmla="*/ 42767 w 895350"/>
                  <a:gd name="connsiteY1055" fmla="*/ 470821 h 742950"/>
                  <a:gd name="connsiteX1056" fmla="*/ 41910 w 895350"/>
                  <a:gd name="connsiteY1056" fmla="*/ 473393 h 742950"/>
                  <a:gd name="connsiteX1057" fmla="*/ 41053 w 895350"/>
                  <a:gd name="connsiteY1057" fmla="*/ 475107 h 742950"/>
                  <a:gd name="connsiteX1058" fmla="*/ 40195 w 895350"/>
                  <a:gd name="connsiteY1058" fmla="*/ 475964 h 742950"/>
                  <a:gd name="connsiteX1059" fmla="*/ 37624 w 895350"/>
                  <a:gd name="connsiteY1059" fmla="*/ 478536 h 742950"/>
                  <a:gd name="connsiteX1060" fmla="*/ 36767 w 895350"/>
                  <a:gd name="connsiteY1060" fmla="*/ 479393 h 742950"/>
                  <a:gd name="connsiteX1061" fmla="*/ 35909 w 895350"/>
                  <a:gd name="connsiteY1061" fmla="*/ 480250 h 742950"/>
                  <a:gd name="connsiteX1062" fmla="*/ 35052 w 895350"/>
                  <a:gd name="connsiteY1062" fmla="*/ 480250 h 742950"/>
                  <a:gd name="connsiteX1063" fmla="*/ 34195 w 895350"/>
                  <a:gd name="connsiteY1063" fmla="*/ 479393 h 742950"/>
                  <a:gd name="connsiteX1064" fmla="*/ 33338 w 895350"/>
                  <a:gd name="connsiteY1064" fmla="*/ 479393 h 742950"/>
                  <a:gd name="connsiteX1065" fmla="*/ 33338 w 895350"/>
                  <a:gd name="connsiteY1065" fmla="*/ 478536 h 742950"/>
                  <a:gd name="connsiteX1066" fmla="*/ 32480 w 895350"/>
                  <a:gd name="connsiteY1066" fmla="*/ 477679 h 742950"/>
                  <a:gd name="connsiteX1067" fmla="*/ 31623 w 895350"/>
                  <a:gd name="connsiteY1067" fmla="*/ 476821 h 742950"/>
                  <a:gd name="connsiteX1068" fmla="*/ 30766 w 895350"/>
                  <a:gd name="connsiteY1068" fmla="*/ 476821 h 742950"/>
                  <a:gd name="connsiteX1069" fmla="*/ 30766 w 895350"/>
                  <a:gd name="connsiteY1069" fmla="*/ 476821 h 742950"/>
                  <a:gd name="connsiteX1070" fmla="*/ 29051 w 895350"/>
                  <a:gd name="connsiteY1070" fmla="*/ 476821 h 742950"/>
                  <a:gd name="connsiteX1071" fmla="*/ 28194 w 895350"/>
                  <a:gd name="connsiteY1071" fmla="*/ 476821 h 742950"/>
                  <a:gd name="connsiteX1072" fmla="*/ 26479 w 895350"/>
                  <a:gd name="connsiteY1072" fmla="*/ 477679 h 742950"/>
                  <a:gd name="connsiteX1073" fmla="*/ 25622 w 895350"/>
                  <a:gd name="connsiteY1073" fmla="*/ 477679 h 742950"/>
                  <a:gd name="connsiteX1074" fmla="*/ 23908 w 895350"/>
                  <a:gd name="connsiteY1074" fmla="*/ 477679 h 742950"/>
                  <a:gd name="connsiteX1075" fmla="*/ 22193 w 895350"/>
                  <a:gd name="connsiteY1075" fmla="*/ 476821 h 742950"/>
                  <a:gd name="connsiteX1076" fmla="*/ 20479 w 895350"/>
                  <a:gd name="connsiteY1076" fmla="*/ 475964 h 742950"/>
                  <a:gd name="connsiteX1077" fmla="*/ 17907 w 895350"/>
                  <a:gd name="connsiteY1077" fmla="*/ 475964 h 742950"/>
                  <a:gd name="connsiteX1078" fmla="*/ 16192 w 895350"/>
                  <a:gd name="connsiteY1078" fmla="*/ 475964 h 742950"/>
                  <a:gd name="connsiteX1079" fmla="*/ 6001 w 895350"/>
                  <a:gd name="connsiteY1079" fmla="*/ 470059 h 742950"/>
                  <a:gd name="connsiteX1080" fmla="*/ 5144 w 895350"/>
                  <a:gd name="connsiteY1080" fmla="*/ 470059 h 742950"/>
                  <a:gd name="connsiteX1081" fmla="*/ 2572 w 895350"/>
                  <a:gd name="connsiteY1081" fmla="*/ 473488 h 742950"/>
                  <a:gd name="connsiteX1082" fmla="*/ 2572 w 895350"/>
                  <a:gd name="connsiteY1082" fmla="*/ 476060 h 742950"/>
                  <a:gd name="connsiteX1083" fmla="*/ 2572 w 895350"/>
                  <a:gd name="connsiteY1083" fmla="*/ 477774 h 742950"/>
                  <a:gd name="connsiteX1084" fmla="*/ 2572 w 895350"/>
                  <a:gd name="connsiteY1084" fmla="*/ 478631 h 742950"/>
                  <a:gd name="connsiteX1085" fmla="*/ 2572 w 895350"/>
                  <a:gd name="connsiteY1085" fmla="*/ 478631 h 742950"/>
                  <a:gd name="connsiteX1086" fmla="*/ 1715 w 895350"/>
                  <a:gd name="connsiteY1086" fmla="*/ 479488 h 742950"/>
                  <a:gd name="connsiteX1087" fmla="*/ 857 w 895350"/>
                  <a:gd name="connsiteY1087" fmla="*/ 480346 h 742950"/>
                  <a:gd name="connsiteX1088" fmla="*/ 0 w 895350"/>
                  <a:gd name="connsiteY1088" fmla="*/ 482060 h 742950"/>
                  <a:gd name="connsiteX1089" fmla="*/ 0 w 895350"/>
                  <a:gd name="connsiteY1089" fmla="*/ 482060 h 742950"/>
                  <a:gd name="connsiteX1090" fmla="*/ 0 w 895350"/>
                  <a:gd name="connsiteY1090" fmla="*/ 482918 h 742950"/>
                  <a:gd name="connsiteX1091" fmla="*/ 857 w 895350"/>
                  <a:gd name="connsiteY1091" fmla="*/ 482918 h 742950"/>
                  <a:gd name="connsiteX1092" fmla="*/ 4286 w 895350"/>
                  <a:gd name="connsiteY1092" fmla="*/ 483775 h 742950"/>
                  <a:gd name="connsiteX1093" fmla="*/ 5144 w 895350"/>
                  <a:gd name="connsiteY1093" fmla="*/ 483775 h 742950"/>
                  <a:gd name="connsiteX1094" fmla="*/ 6858 w 895350"/>
                  <a:gd name="connsiteY1094" fmla="*/ 485489 h 742950"/>
                  <a:gd name="connsiteX1095" fmla="*/ 7715 w 895350"/>
                  <a:gd name="connsiteY1095" fmla="*/ 485489 h 742950"/>
                  <a:gd name="connsiteX1096" fmla="*/ 8572 w 895350"/>
                  <a:gd name="connsiteY1096" fmla="*/ 485489 h 742950"/>
                  <a:gd name="connsiteX1097" fmla="*/ 9430 w 895350"/>
                  <a:gd name="connsiteY1097" fmla="*/ 486346 h 742950"/>
                  <a:gd name="connsiteX1098" fmla="*/ 10287 w 895350"/>
                  <a:gd name="connsiteY1098" fmla="*/ 486346 h 742950"/>
                  <a:gd name="connsiteX1099" fmla="*/ 11144 w 895350"/>
                  <a:gd name="connsiteY1099" fmla="*/ 488061 h 742950"/>
                  <a:gd name="connsiteX1100" fmla="*/ 11144 w 895350"/>
                  <a:gd name="connsiteY1100" fmla="*/ 488918 h 742950"/>
                  <a:gd name="connsiteX1101" fmla="*/ 11144 w 895350"/>
                  <a:gd name="connsiteY1101" fmla="*/ 489775 h 742950"/>
                  <a:gd name="connsiteX1102" fmla="*/ 11144 w 895350"/>
                  <a:gd name="connsiteY1102" fmla="*/ 492347 h 742950"/>
                  <a:gd name="connsiteX1103" fmla="*/ 11144 w 895350"/>
                  <a:gd name="connsiteY1103" fmla="*/ 494062 h 742950"/>
                  <a:gd name="connsiteX1104" fmla="*/ 10287 w 895350"/>
                  <a:gd name="connsiteY1104" fmla="*/ 496633 h 742950"/>
                  <a:gd name="connsiteX1105" fmla="*/ 8572 w 895350"/>
                  <a:gd name="connsiteY1105" fmla="*/ 504254 h 742950"/>
                  <a:gd name="connsiteX1106" fmla="*/ 8572 w 895350"/>
                  <a:gd name="connsiteY1106" fmla="*/ 504254 h 742950"/>
                  <a:gd name="connsiteX1107" fmla="*/ 8572 w 895350"/>
                  <a:gd name="connsiteY1107" fmla="*/ 505111 h 742950"/>
                  <a:gd name="connsiteX1108" fmla="*/ 7715 w 895350"/>
                  <a:gd name="connsiteY1108" fmla="*/ 505111 h 742950"/>
                  <a:gd name="connsiteX1109" fmla="*/ 5144 w 895350"/>
                  <a:gd name="connsiteY1109" fmla="*/ 505968 h 742950"/>
                  <a:gd name="connsiteX1110" fmla="*/ 5144 w 895350"/>
                  <a:gd name="connsiteY1110" fmla="*/ 506825 h 742950"/>
                  <a:gd name="connsiteX1111" fmla="*/ 5144 w 895350"/>
                  <a:gd name="connsiteY1111" fmla="*/ 507682 h 742950"/>
                  <a:gd name="connsiteX1112" fmla="*/ 5144 w 895350"/>
                  <a:gd name="connsiteY1112" fmla="*/ 511112 h 742950"/>
                  <a:gd name="connsiteX1113" fmla="*/ 5144 w 895350"/>
                  <a:gd name="connsiteY1113" fmla="*/ 512826 h 742950"/>
                  <a:gd name="connsiteX1114" fmla="*/ 5144 w 895350"/>
                  <a:gd name="connsiteY1114" fmla="*/ 514540 h 742950"/>
                  <a:gd name="connsiteX1115" fmla="*/ 4286 w 895350"/>
                  <a:gd name="connsiteY1115" fmla="*/ 516255 h 742950"/>
                  <a:gd name="connsiteX1116" fmla="*/ 2572 w 895350"/>
                  <a:gd name="connsiteY1116" fmla="*/ 518827 h 742950"/>
                  <a:gd name="connsiteX1117" fmla="*/ 1715 w 895350"/>
                  <a:gd name="connsiteY1117" fmla="*/ 521398 h 742950"/>
                  <a:gd name="connsiteX1118" fmla="*/ 1715 w 895350"/>
                  <a:gd name="connsiteY1118" fmla="*/ 523113 h 742950"/>
                  <a:gd name="connsiteX1119" fmla="*/ 2572 w 895350"/>
                  <a:gd name="connsiteY1119" fmla="*/ 524828 h 742950"/>
                  <a:gd name="connsiteX1120" fmla="*/ 3429 w 895350"/>
                  <a:gd name="connsiteY1120" fmla="*/ 529876 h 742950"/>
                  <a:gd name="connsiteX1121" fmla="*/ 4286 w 895350"/>
                  <a:gd name="connsiteY1121" fmla="*/ 530733 h 742950"/>
                  <a:gd name="connsiteX1122" fmla="*/ 5144 w 895350"/>
                  <a:gd name="connsiteY1122" fmla="*/ 531590 h 742950"/>
                  <a:gd name="connsiteX1123" fmla="*/ 6858 w 895350"/>
                  <a:gd name="connsiteY1123" fmla="*/ 532447 h 742950"/>
                  <a:gd name="connsiteX1124" fmla="*/ 6858 w 895350"/>
                  <a:gd name="connsiteY1124" fmla="*/ 532447 h 742950"/>
                  <a:gd name="connsiteX1125" fmla="*/ 7715 w 895350"/>
                  <a:gd name="connsiteY1125" fmla="*/ 533305 h 742950"/>
                  <a:gd name="connsiteX1126" fmla="*/ 8572 w 895350"/>
                  <a:gd name="connsiteY1126" fmla="*/ 534162 h 742950"/>
                  <a:gd name="connsiteX1127" fmla="*/ 9430 w 895350"/>
                  <a:gd name="connsiteY1127" fmla="*/ 535019 h 742950"/>
                  <a:gd name="connsiteX1128" fmla="*/ 10287 w 895350"/>
                  <a:gd name="connsiteY1128" fmla="*/ 537591 h 742950"/>
                  <a:gd name="connsiteX1129" fmla="*/ 11144 w 895350"/>
                  <a:gd name="connsiteY1129" fmla="*/ 539305 h 742950"/>
                  <a:gd name="connsiteX1130" fmla="*/ 12001 w 895350"/>
                  <a:gd name="connsiteY1130" fmla="*/ 540163 h 742950"/>
                  <a:gd name="connsiteX1131" fmla="*/ 12001 w 895350"/>
                  <a:gd name="connsiteY1131" fmla="*/ 540163 h 742950"/>
                  <a:gd name="connsiteX1132" fmla="*/ 12859 w 895350"/>
                  <a:gd name="connsiteY1132" fmla="*/ 540163 h 742950"/>
                  <a:gd name="connsiteX1133" fmla="*/ 13716 w 895350"/>
                  <a:gd name="connsiteY1133" fmla="*/ 540163 h 742950"/>
                  <a:gd name="connsiteX1134" fmla="*/ 15430 w 895350"/>
                  <a:gd name="connsiteY1134" fmla="*/ 539305 h 742950"/>
                  <a:gd name="connsiteX1135" fmla="*/ 16288 w 895350"/>
                  <a:gd name="connsiteY1135" fmla="*/ 539305 h 742950"/>
                  <a:gd name="connsiteX1136" fmla="*/ 17145 w 895350"/>
                  <a:gd name="connsiteY1136" fmla="*/ 539305 h 742950"/>
                  <a:gd name="connsiteX1137" fmla="*/ 18859 w 895350"/>
                  <a:gd name="connsiteY1137" fmla="*/ 539305 h 742950"/>
                  <a:gd name="connsiteX1138" fmla="*/ 21431 w 895350"/>
                  <a:gd name="connsiteY1138" fmla="*/ 539305 h 742950"/>
                  <a:gd name="connsiteX1139" fmla="*/ 22288 w 895350"/>
                  <a:gd name="connsiteY1139" fmla="*/ 540163 h 742950"/>
                  <a:gd name="connsiteX1140" fmla="*/ 22288 w 895350"/>
                  <a:gd name="connsiteY1140" fmla="*/ 540163 h 742950"/>
                  <a:gd name="connsiteX1141" fmla="*/ 23146 w 895350"/>
                  <a:gd name="connsiteY1141" fmla="*/ 541877 h 742950"/>
                  <a:gd name="connsiteX1142" fmla="*/ 23146 w 895350"/>
                  <a:gd name="connsiteY1142" fmla="*/ 542735 h 742950"/>
                  <a:gd name="connsiteX1143" fmla="*/ 23146 w 895350"/>
                  <a:gd name="connsiteY1143" fmla="*/ 543592 h 742950"/>
                  <a:gd name="connsiteX1144" fmla="*/ 23146 w 895350"/>
                  <a:gd name="connsiteY1144" fmla="*/ 544449 h 742950"/>
                  <a:gd name="connsiteX1145" fmla="*/ 22288 w 895350"/>
                  <a:gd name="connsiteY1145" fmla="*/ 545306 h 742950"/>
                  <a:gd name="connsiteX1146" fmla="*/ 21431 w 895350"/>
                  <a:gd name="connsiteY1146" fmla="*/ 546163 h 742950"/>
                  <a:gd name="connsiteX1147" fmla="*/ 21431 w 895350"/>
                  <a:gd name="connsiteY1147" fmla="*/ 547878 h 742950"/>
                  <a:gd name="connsiteX1148" fmla="*/ 20574 w 895350"/>
                  <a:gd name="connsiteY1148" fmla="*/ 547878 h 742950"/>
                  <a:gd name="connsiteX1149" fmla="*/ 20574 w 895350"/>
                  <a:gd name="connsiteY1149" fmla="*/ 548735 h 742950"/>
                  <a:gd name="connsiteX1150" fmla="*/ 19717 w 895350"/>
                  <a:gd name="connsiteY1150" fmla="*/ 548735 h 742950"/>
                  <a:gd name="connsiteX1151" fmla="*/ 18859 w 895350"/>
                  <a:gd name="connsiteY1151" fmla="*/ 548735 h 742950"/>
                  <a:gd name="connsiteX1152" fmla="*/ 18002 w 895350"/>
                  <a:gd name="connsiteY1152" fmla="*/ 548735 h 742950"/>
                  <a:gd name="connsiteX1153" fmla="*/ 18002 w 895350"/>
                  <a:gd name="connsiteY1153" fmla="*/ 548735 h 742950"/>
                  <a:gd name="connsiteX1154" fmla="*/ 17145 w 895350"/>
                  <a:gd name="connsiteY1154" fmla="*/ 548735 h 742950"/>
                  <a:gd name="connsiteX1155" fmla="*/ 16288 w 895350"/>
                  <a:gd name="connsiteY1155" fmla="*/ 548735 h 742950"/>
                  <a:gd name="connsiteX1156" fmla="*/ 16288 w 895350"/>
                  <a:gd name="connsiteY1156" fmla="*/ 549593 h 742950"/>
                  <a:gd name="connsiteX1157" fmla="*/ 15430 w 895350"/>
                  <a:gd name="connsiteY1157" fmla="*/ 550450 h 742950"/>
                  <a:gd name="connsiteX1158" fmla="*/ 15430 w 895350"/>
                  <a:gd name="connsiteY1158" fmla="*/ 551307 h 742950"/>
                  <a:gd name="connsiteX1159" fmla="*/ 15430 w 895350"/>
                  <a:gd name="connsiteY1159" fmla="*/ 553022 h 742950"/>
                  <a:gd name="connsiteX1160" fmla="*/ 15430 w 895350"/>
                  <a:gd name="connsiteY1160" fmla="*/ 553879 h 742950"/>
                  <a:gd name="connsiteX1161" fmla="*/ 16288 w 895350"/>
                  <a:gd name="connsiteY1161" fmla="*/ 555593 h 742950"/>
                  <a:gd name="connsiteX1162" fmla="*/ 16288 w 895350"/>
                  <a:gd name="connsiteY1162" fmla="*/ 556450 h 742950"/>
                  <a:gd name="connsiteX1163" fmla="*/ 17145 w 895350"/>
                  <a:gd name="connsiteY1163" fmla="*/ 557308 h 742950"/>
                  <a:gd name="connsiteX1164" fmla="*/ 18002 w 895350"/>
                  <a:gd name="connsiteY1164" fmla="*/ 558165 h 742950"/>
                  <a:gd name="connsiteX1165" fmla="*/ 21431 w 895350"/>
                  <a:gd name="connsiteY1165" fmla="*/ 559880 h 742950"/>
                  <a:gd name="connsiteX1166" fmla="*/ 22288 w 895350"/>
                  <a:gd name="connsiteY1166" fmla="*/ 560737 h 742950"/>
                  <a:gd name="connsiteX1167" fmla="*/ 22288 w 895350"/>
                  <a:gd name="connsiteY1167" fmla="*/ 560737 h 742950"/>
                  <a:gd name="connsiteX1168" fmla="*/ 22288 w 895350"/>
                  <a:gd name="connsiteY1168" fmla="*/ 561594 h 742950"/>
                  <a:gd name="connsiteX1169" fmla="*/ 21431 w 895350"/>
                  <a:gd name="connsiteY1169" fmla="*/ 562451 h 742950"/>
                  <a:gd name="connsiteX1170" fmla="*/ 21431 w 895350"/>
                  <a:gd name="connsiteY1170" fmla="*/ 563308 h 742950"/>
                  <a:gd name="connsiteX1171" fmla="*/ 20574 w 895350"/>
                  <a:gd name="connsiteY1171" fmla="*/ 564166 h 742950"/>
                  <a:gd name="connsiteX1172" fmla="*/ 21431 w 895350"/>
                  <a:gd name="connsiteY1172" fmla="*/ 565880 h 742950"/>
                  <a:gd name="connsiteX1173" fmla="*/ 27337 w 895350"/>
                  <a:gd name="connsiteY1173" fmla="*/ 566738 h 742950"/>
                  <a:gd name="connsiteX1174" fmla="*/ 30766 w 895350"/>
                  <a:gd name="connsiteY1174" fmla="*/ 567595 h 742950"/>
                  <a:gd name="connsiteX1175" fmla="*/ 34195 w 895350"/>
                  <a:gd name="connsiteY1175" fmla="*/ 567595 h 742950"/>
                  <a:gd name="connsiteX1176" fmla="*/ 36767 w 895350"/>
                  <a:gd name="connsiteY1176" fmla="*/ 568452 h 742950"/>
                  <a:gd name="connsiteX1177" fmla="*/ 38481 w 895350"/>
                  <a:gd name="connsiteY1177" fmla="*/ 568452 h 742950"/>
                  <a:gd name="connsiteX1178" fmla="*/ 39338 w 895350"/>
                  <a:gd name="connsiteY1178" fmla="*/ 568452 h 742950"/>
                  <a:gd name="connsiteX1179" fmla="*/ 40195 w 895350"/>
                  <a:gd name="connsiteY1179" fmla="*/ 567595 h 742950"/>
                  <a:gd name="connsiteX1180" fmla="*/ 40195 w 895350"/>
                  <a:gd name="connsiteY1180" fmla="*/ 567595 h 742950"/>
                  <a:gd name="connsiteX1181" fmla="*/ 40195 w 895350"/>
                  <a:gd name="connsiteY1181" fmla="*/ 566738 h 742950"/>
                  <a:gd name="connsiteX1182" fmla="*/ 40195 w 895350"/>
                  <a:gd name="connsiteY1182" fmla="*/ 563308 h 742950"/>
                  <a:gd name="connsiteX1183" fmla="*/ 40195 w 895350"/>
                  <a:gd name="connsiteY1183" fmla="*/ 562451 h 742950"/>
                  <a:gd name="connsiteX1184" fmla="*/ 41053 w 895350"/>
                  <a:gd name="connsiteY1184" fmla="*/ 561594 h 742950"/>
                  <a:gd name="connsiteX1185" fmla="*/ 41910 w 895350"/>
                  <a:gd name="connsiteY1185" fmla="*/ 559880 h 742950"/>
                  <a:gd name="connsiteX1186" fmla="*/ 43624 w 895350"/>
                  <a:gd name="connsiteY1186" fmla="*/ 557308 h 742950"/>
                  <a:gd name="connsiteX1187" fmla="*/ 45339 w 895350"/>
                  <a:gd name="connsiteY1187" fmla="*/ 556450 h 742950"/>
                  <a:gd name="connsiteX1188" fmla="*/ 46196 w 895350"/>
                  <a:gd name="connsiteY1188" fmla="*/ 555593 h 742950"/>
                  <a:gd name="connsiteX1189" fmla="*/ 47053 w 895350"/>
                  <a:gd name="connsiteY1189" fmla="*/ 555593 h 742950"/>
                  <a:gd name="connsiteX1190" fmla="*/ 48768 w 895350"/>
                  <a:gd name="connsiteY1190" fmla="*/ 557308 h 742950"/>
                  <a:gd name="connsiteX1191" fmla="*/ 50482 w 895350"/>
                  <a:gd name="connsiteY1191" fmla="*/ 557308 h 742950"/>
                  <a:gd name="connsiteX1192" fmla="*/ 52197 w 895350"/>
                  <a:gd name="connsiteY1192" fmla="*/ 557308 h 742950"/>
                  <a:gd name="connsiteX1193" fmla="*/ 53911 w 895350"/>
                  <a:gd name="connsiteY1193" fmla="*/ 557308 h 742950"/>
                  <a:gd name="connsiteX1194" fmla="*/ 57340 w 895350"/>
                  <a:gd name="connsiteY1194" fmla="*/ 557308 h 742950"/>
                  <a:gd name="connsiteX1195" fmla="*/ 59055 w 895350"/>
                  <a:gd name="connsiteY1195" fmla="*/ 556450 h 742950"/>
                  <a:gd name="connsiteX1196" fmla="*/ 59912 w 895350"/>
                  <a:gd name="connsiteY1196" fmla="*/ 556450 h 742950"/>
                  <a:gd name="connsiteX1197" fmla="*/ 60769 w 895350"/>
                  <a:gd name="connsiteY1197" fmla="*/ 557308 h 742950"/>
                  <a:gd name="connsiteX1198" fmla="*/ 60769 w 895350"/>
                  <a:gd name="connsiteY1198" fmla="*/ 558165 h 742950"/>
                  <a:gd name="connsiteX1199" fmla="*/ 60769 w 895350"/>
                  <a:gd name="connsiteY1199" fmla="*/ 559022 h 742950"/>
                  <a:gd name="connsiteX1200" fmla="*/ 60769 w 895350"/>
                  <a:gd name="connsiteY1200" fmla="*/ 559880 h 742950"/>
                  <a:gd name="connsiteX1201" fmla="*/ 60769 w 895350"/>
                  <a:gd name="connsiteY1201" fmla="*/ 560737 h 742950"/>
                  <a:gd name="connsiteX1202" fmla="*/ 62484 w 895350"/>
                  <a:gd name="connsiteY1202" fmla="*/ 561594 h 742950"/>
                  <a:gd name="connsiteX1203" fmla="*/ 65056 w 895350"/>
                  <a:gd name="connsiteY1203" fmla="*/ 562451 h 742950"/>
                  <a:gd name="connsiteX1204" fmla="*/ 66770 w 895350"/>
                  <a:gd name="connsiteY1204" fmla="*/ 562451 h 742950"/>
                  <a:gd name="connsiteX1205" fmla="*/ 67627 w 895350"/>
                  <a:gd name="connsiteY1205" fmla="*/ 563308 h 742950"/>
                  <a:gd name="connsiteX1206" fmla="*/ 69342 w 895350"/>
                  <a:gd name="connsiteY1206" fmla="*/ 565880 h 742950"/>
                  <a:gd name="connsiteX1207" fmla="*/ 71056 w 895350"/>
                  <a:gd name="connsiteY1207" fmla="*/ 566738 h 742950"/>
                  <a:gd name="connsiteX1208" fmla="*/ 71914 w 895350"/>
                  <a:gd name="connsiteY1208" fmla="*/ 567595 h 742950"/>
                  <a:gd name="connsiteX1209" fmla="*/ 73628 w 895350"/>
                  <a:gd name="connsiteY1209" fmla="*/ 567595 h 742950"/>
                  <a:gd name="connsiteX1210" fmla="*/ 74486 w 895350"/>
                  <a:gd name="connsiteY1210" fmla="*/ 567595 h 742950"/>
                  <a:gd name="connsiteX1211" fmla="*/ 74486 w 895350"/>
                  <a:gd name="connsiteY1211" fmla="*/ 565880 h 742950"/>
                  <a:gd name="connsiteX1212" fmla="*/ 74486 w 895350"/>
                  <a:gd name="connsiteY1212" fmla="*/ 565023 h 742950"/>
                  <a:gd name="connsiteX1213" fmla="*/ 71914 w 895350"/>
                  <a:gd name="connsiteY1213" fmla="*/ 562451 h 742950"/>
                  <a:gd name="connsiteX1214" fmla="*/ 71914 w 895350"/>
                  <a:gd name="connsiteY1214" fmla="*/ 561594 h 742950"/>
                  <a:gd name="connsiteX1215" fmla="*/ 71056 w 895350"/>
                  <a:gd name="connsiteY1215" fmla="*/ 560737 h 742950"/>
                  <a:gd name="connsiteX1216" fmla="*/ 71056 w 895350"/>
                  <a:gd name="connsiteY1216" fmla="*/ 559022 h 742950"/>
                  <a:gd name="connsiteX1217" fmla="*/ 71056 w 895350"/>
                  <a:gd name="connsiteY1217" fmla="*/ 558165 h 742950"/>
                  <a:gd name="connsiteX1218" fmla="*/ 71914 w 895350"/>
                  <a:gd name="connsiteY1218" fmla="*/ 557308 h 742950"/>
                  <a:gd name="connsiteX1219" fmla="*/ 72771 w 895350"/>
                  <a:gd name="connsiteY1219" fmla="*/ 556450 h 742950"/>
                  <a:gd name="connsiteX1220" fmla="*/ 73628 w 895350"/>
                  <a:gd name="connsiteY1220" fmla="*/ 556450 h 742950"/>
                  <a:gd name="connsiteX1221" fmla="*/ 74486 w 895350"/>
                  <a:gd name="connsiteY1221" fmla="*/ 556450 h 742950"/>
                  <a:gd name="connsiteX1222" fmla="*/ 76200 w 895350"/>
                  <a:gd name="connsiteY1222" fmla="*/ 557308 h 742950"/>
                  <a:gd name="connsiteX1223" fmla="*/ 77057 w 895350"/>
                  <a:gd name="connsiteY1223" fmla="*/ 558165 h 742950"/>
                  <a:gd name="connsiteX1224" fmla="*/ 77057 w 895350"/>
                  <a:gd name="connsiteY1224" fmla="*/ 558165 h 742950"/>
                  <a:gd name="connsiteX1225" fmla="*/ 77915 w 895350"/>
                  <a:gd name="connsiteY1225" fmla="*/ 559022 h 742950"/>
                  <a:gd name="connsiteX1226" fmla="*/ 77915 w 895350"/>
                  <a:gd name="connsiteY1226" fmla="*/ 559880 h 742950"/>
                  <a:gd name="connsiteX1227" fmla="*/ 77915 w 895350"/>
                  <a:gd name="connsiteY1227" fmla="*/ 560737 h 742950"/>
                  <a:gd name="connsiteX1228" fmla="*/ 77915 w 895350"/>
                  <a:gd name="connsiteY1228" fmla="*/ 560737 h 742950"/>
                  <a:gd name="connsiteX1229" fmla="*/ 78772 w 895350"/>
                  <a:gd name="connsiteY1229" fmla="*/ 561594 h 742950"/>
                  <a:gd name="connsiteX1230" fmla="*/ 81344 w 895350"/>
                  <a:gd name="connsiteY1230" fmla="*/ 561594 h 742950"/>
                  <a:gd name="connsiteX1231" fmla="*/ 83058 w 895350"/>
                  <a:gd name="connsiteY1231" fmla="*/ 562451 h 742950"/>
                  <a:gd name="connsiteX1232" fmla="*/ 83058 w 895350"/>
                  <a:gd name="connsiteY1232" fmla="*/ 562451 h 742950"/>
                  <a:gd name="connsiteX1233" fmla="*/ 83058 w 895350"/>
                  <a:gd name="connsiteY1233" fmla="*/ 563308 h 742950"/>
                  <a:gd name="connsiteX1234" fmla="*/ 84582 w 895350"/>
                  <a:gd name="connsiteY1234" fmla="*/ 563975 h 742950"/>
                  <a:gd name="connsiteX1235" fmla="*/ 84582 w 895350"/>
                  <a:gd name="connsiteY1235" fmla="*/ 564832 h 742950"/>
                  <a:gd name="connsiteX1236" fmla="*/ 84582 w 895350"/>
                  <a:gd name="connsiteY1236" fmla="*/ 565690 h 742950"/>
                  <a:gd name="connsiteX1237" fmla="*/ 84582 w 895350"/>
                  <a:gd name="connsiteY1237" fmla="*/ 566547 h 742950"/>
                  <a:gd name="connsiteX1238" fmla="*/ 85439 w 895350"/>
                  <a:gd name="connsiteY1238" fmla="*/ 569976 h 742950"/>
                  <a:gd name="connsiteX1239" fmla="*/ 85439 w 895350"/>
                  <a:gd name="connsiteY1239" fmla="*/ 570833 h 742950"/>
                  <a:gd name="connsiteX1240" fmla="*/ 85439 w 895350"/>
                  <a:gd name="connsiteY1240" fmla="*/ 571690 h 742950"/>
                  <a:gd name="connsiteX1241" fmla="*/ 85439 w 895350"/>
                  <a:gd name="connsiteY1241" fmla="*/ 571690 h 742950"/>
                  <a:gd name="connsiteX1242" fmla="*/ 84582 w 895350"/>
                  <a:gd name="connsiteY1242" fmla="*/ 572548 h 742950"/>
                  <a:gd name="connsiteX1243" fmla="*/ 83725 w 895350"/>
                  <a:gd name="connsiteY1243" fmla="*/ 573405 h 742950"/>
                  <a:gd name="connsiteX1244" fmla="*/ 82867 w 895350"/>
                  <a:gd name="connsiteY1244" fmla="*/ 573405 h 742950"/>
                  <a:gd name="connsiteX1245" fmla="*/ 77819 w 895350"/>
                  <a:gd name="connsiteY1245" fmla="*/ 573405 h 742950"/>
                  <a:gd name="connsiteX1246" fmla="*/ 76105 w 895350"/>
                  <a:gd name="connsiteY1246" fmla="*/ 574262 h 742950"/>
                  <a:gd name="connsiteX1247" fmla="*/ 75247 w 895350"/>
                  <a:gd name="connsiteY1247" fmla="*/ 574262 h 742950"/>
                  <a:gd name="connsiteX1248" fmla="*/ 74390 w 895350"/>
                  <a:gd name="connsiteY1248" fmla="*/ 574262 h 742950"/>
                  <a:gd name="connsiteX1249" fmla="*/ 72676 w 895350"/>
                  <a:gd name="connsiteY1249" fmla="*/ 576834 h 742950"/>
                  <a:gd name="connsiteX1250" fmla="*/ 70961 w 895350"/>
                  <a:gd name="connsiteY1250" fmla="*/ 578548 h 742950"/>
                  <a:gd name="connsiteX1251" fmla="*/ 70104 w 895350"/>
                  <a:gd name="connsiteY1251" fmla="*/ 578548 h 742950"/>
                  <a:gd name="connsiteX1252" fmla="*/ 70104 w 895350"/>
                  <a:gd name="connsiteY1252" fmla="*/ 579215 h 742950"/>
                  <a:gd name="connsiteX1253" fmla="*/ 70961 w 895350"/>
                  <a:gd name="connsiteY1253" fmla="*/ 579215 h 742950"/>
                  <a:gd name="connsiteX1254" fmla="*/ 71819 w 895350"/>
                  <a:gd name="connsiteY1254" fmla="*/ 579215 h 742950"/>
                  <a:gd name="connsiteX1255" fmla="*/ 72676 w 895350"/>
                  <a:gd name="connsiteY1255" fmla="*/ 580072 h 742950"/>
                  <a:gd name="connsiteX1256" fmla="*/ 73533 w 895350"/>
                  <a:gd name="connsiteY1256" fmla="*/ 580072 h 742950"/>
                  <a:gd name="connsiteX1257" fmla="*/ 74390 w 895350"/>
                  <a:gd name="connsiteY1257" fmla="*/ 580930 h 742950"/>
                  <a:gd name="connsiteX1258" fmla="*/ 73533 w 895350"/>
                  <a:gd name="connsiteY1258" fmla="*/ 581787 h 742950"/>
                  <a:gd name="connsiteX1259" fmla="*/ 73533 w 895350"/>
                  <a:gd name="connsiteY1259" fmla="*/ 582644 h 742950"/>
                  <a:gd name="connsiteX1260" fmla="*/ 70961 w 895350"/>
                  <a:gd name="connsiteY1260" fmla="*/ 586073 h 742950"/>
                  <a:gd name="connsiteX1261" fmla="*/ 70104 w 895350"/>
                  <a:gd name="connsiteY1261" fmla="*/ 586930 h 742950"/>
                  <a:gd name="connsiteX1262" fmla="*/ 70104 w 895350"/>
                  <a:gd name="connsiteY1262" fmla="*/ 586930 h 742950"/>
                  <a:gd name="connsiteX1263" fmla="*/ 70961 w 895350"/>
                  <a:gd name="connsiteY1263" fmla="*/ 587788 h 742950"/>
                  <a:gd name="connsiteX1264" fmla="*/ 70961 w 895350"/>
                  <a:gd name="connsiteY1264" fmla="*/ 588645 h 742950"/>
                  <a:gd name="connsiteX1265" fmla="*/ 72676 w 895350"/>
                  <a:gd name="connsiteY1265" fmla="*/ 590360 h 742950"/>
                  <a:gd name="connsiteX1266" fmla="*/ 72676 w 895350"/>
                  <a:gd name="connsiteY1266" fmla="*/ 590360 h 742950"/>
                  <a:gd name="connsiteX1267" fmla="*/ 72676 w 895350"/>
                  <a:gd name="connsiteY1267" fmla="*/ 592931 h 742950"/>
                  <a:gd name="connsiteX1268" fmla="*/ 73533 w 895350"/>
                  <a:gd name="connsiteY1268" fmla="*/ 593788 h 742950"/>
                  <a:gd name="connsiteX1269" fmla="*/ 73533 w 895350"/>
                  <a:gd name="connsiteY1269" fmla="*/ 593788 h 742950"/>
                  <a:gd name="connsiteX1270" fmla="*/ 74390 w 895350"/>
                  <a:gd name="connsiteY1270" fmla="*/ 594646 h 742950"/>
                  <a:gd name="connsiteX1271" fmla="*/ 75247 w 895350"/>
                  <a:gd name="connsiteY1271" fmla="*/ 595503 h 742950"/>
                  <a:gd name="connsiteX1272" fmla="*/ 76105 w 895350"/>
                  <a:gd name="connsiteY1272" fmla="*/ 595503 h 742950"/>
                  <a:gd name="connsiteX1273" fmla="*/ 76962 w 895350"/>
                  <a:gd name="connsiteY1273" fmla="*/ 596360 h 742950"/>
                  <a:gd name="connsiteX1274" fmla="*/ 76962 w 895350"/>
                  <a:gd name="connsiteY1274" fmla="*/ 597218 h 742950"/>
                  <a:gd name="connsiteX1275" fmla="*/ 76962 w 895350"/>
                  <a:gd name="connsiteY1275" fmla="*/ 599789 h 742950"/>
                  <a:gd name="connsiteX1276" fmla="*/ 76105 w 895350"/>
                  <a:gd name="connsiteY1276" fmla="*/ 599789 h 742950"/>
                  <a:gd name="connsiteX1277" fmla="*/ 76962 w 895350"/>
                  <a:gd name="connsiteY1277" fmla="*/ 600647 h 742950"/>
                  <a:gd name="connsiteX1278" fmla="*/ 78676 w 895350"/>
                  <a:gd name="connsiteY1278" fmla="*/ 603218 h 742950"/>
                  <a:gd name="connsiteX1279" fmla="*/ 78676 w 895350"/>
                  <a:gd name="connsiteY1279" fmla="*/ 604075 h 742950"/>
                  <a:gd name="connsiteX1280" fmla="*/ 78676 w 895350"/>
                  <a:gd name="connsiteY1280" fmla="*/ 604933 h 742950"/>
                  <a:gd name="connsiteX1281" fmla="*/ 77819 w 895350"/>
                  <a:gd name="connsiteY1281" fmla="*/ 605790 h 742950"/>
                  <a:gd name="connsiteX1282" fmla="*/ 76962 w 895350"/>
                  <a:gd name="connsiteY1282" fmla="*/ 605790 h 742950"/>
                  <a:gd name="connsiteX1283" fmla="*/ 76105 w 895350"/>
                  <a:gd name="connsiteY1283" fmla="*/ 605790 h 742950"/>
                  <a:gd name="connsiteX1284" fmla="*/ 73533 w 895350"/>
                  <a:gd name="connsiteY1284" fmla="*/ 604075 h 742950"/>
                  <a:gd name="connsiteX1285" fmla="*/ 71819 w 895350"/>
                  <a:gd name="connsiteY1285" fmla="*/ 604075 h 742950"/>
                  <a:gd name="connsiteX1286" fmla="*/ 70961 w 895350"/>
                  <a:gd name="connsiteY1286" fmla="*/ 604075 h 742950"/>
                  <a:gd name="connsiteX1287" fmla="*/ 70104 w 895350"/>
                  <a:gd name="connsiteY1287" fmla="*/ 603218 h 742950"/>
                  <a:gd name="connsiteX1288" fmla="*/ 70961 w 895350"/>
                  <a:gd name="connsiteY1288" fmla="*/ 602361 h 742950"/>
                  <a:gd name="connsiteX1289" fmla="*/ 70961 w 895350"/>
                  <a:gd name="connsiteY1289" fmla="*/ 601504 h 742950"/>
                  <a:gd name="connsiteX1290" fmla="*/ 70961 w 895350"/>
                  <a:gd name="connsiteY1290" fmla="*/ 599789 h 742950"/>
                  <a:gd name="connsiteX1291" fmla="*/ 70104 w 895350"/>
                  <a:gd name="connsiteY1291" fmla="*/ 598932 h 742950"/>
                  <a:gd name="connsiteX1292" fmla="*/ 68390 w 895350"/>
                  <a:gd name="connsiteY1292" fmla="*/ 596360 h 742950"/>
                  <a:gd name="connsiteX1293" fmla="*/ 66675 w 895350"/>
                  <a:gd name="connsiteY1293" fmla="*/ 592931 h 742950"/>
                  <a:gd name="connsiteX1294" fmla="*/ 66675 w 895350"/>
                  <a:gd name="connsiteY1294" fmla="*/ 592074 h 742950"/>
                  <a:gd name="connsiteX1295" fmla="*/ 65818 w 895350"/>
                  <a:gd name="connsiteY1295" fmla="*/ 592074 h 742950"/>
                  <a:gd name="connsiteX1296" fmla="*/ 65818 w 895350"/>
                  <a:gd name="connsiteY1296" fmla="*/ 591217 h 742950"/>
                  <a:gd name="connsiteX1297" fmla="*/ 64103 w 895350"/>
                  <a:gd name="connsiteY1297" fmla="*/ 591217 h 742950"/>
                  <a:gd name="connsiteX1298" fmla="*/ 63246 w 895350"/>
                  <a:gd name="connsiteY1298" fmla="*/ 591217 h 742950"/>
                  <a:gd name="connsiteX1299" fmla="*/ 62389 w 895350"/>
                  <a:gd name="connsiteY1299" fmla="*/ 591217 h 742950"/>
                  <a:gd name="connsiteX1300" fmla="*/ 61531 w 895350"/>
                  <a:gd name="connsiteY1300" fmla="*/ 590360 h 742950"/>
                  <a:gd name="connsiteX1301" fmla="*/ 60674 w 895350"/>
                  <a:gd name="connsiteY1301" fmla="*/ 590360 h 742950"/>
                  <a:gd name="connsiteX1302" fmla="*/ 53911 w 895350"/>
                  <a:gd name="connsiteY1302" fmla="*/ 592074 h 742950"/>
                  <a:gd name="connsiteX1303" fmla="*/ 52197 w 895350"/>
                  <a:gd name="connsiteY1303" fmla="*/ 592074 h 742950"/>
                  <a:gd name="connsiteX1304" fmla="*/ 49625 w 895350"/>
                  <a:gd name="connsiteY1304" fmla="*/ 592074 h 742950"/>
                  <a:gd name="connsiteX1305" fmla="*/ 47911 w 895350"/>
                  <a:gd name="connsiteY1305" fmla="*/ 592931 h 742950"/>
                  <a:gd name="connsiteX1306" fmla="*/ 46196 w 895350"/>
                  <a:gd name="connsiteY1306" fmla="*/ 592931 h 742950"/>
                  <a:gd name="connsiteX1307" fmla="*/ 45339 w 895350"/>
                  <a:gd name="connsiteY1307" fmla="*/ 592074 h 742950"/>
                  <a:gd name="connsiteX1308" fmla="*/ 44482 w 895350"/>
                  <a:gd name="connsiteY1308" fmla="*/ 591217 h 742950"/>
                  <a:gd name="connsiteX1309" fmla="*/ 43624 w 895350"/>
                  <a:gd name="connsiteY1309" fmla="*/ 589502 h 742950"/>
                  <a:gd name="connsiteX1310" fmla="*/ 42767 w 895350"/>
                  <a:gd name="connsiteY1310" fmla="*/ 589502 h 742950"/>
                  <a:gd name="connsiteX1311" fmla="*/ 41910 w 895350"/>
                  <a:gd name="connsiteY1311" fmla="*/ 588645 h 742950"/>
                  <a:gd name="connsiteX1312" fmla="*/ 41053 w 895350"/>
                  <a:gd name="connsiteY1312" fmla="*/ 588645 h 742950"/>
                  <a:gd name="connsiteX1313" fmla="*/ 37624 w 895350"/>
                  <a:gd name="connsiteY1313" fmla="*/ 587788 h 742950"/>
                  <a:gd name="connsiteX1314" fmla="*/ 35909 w 895350"/>
                  <a:gd name="connsiteY1314" fmla="*/ 586930 h 742950"/>
                  <a:gd name="connsiteX1315" fmla="*/ 34195 w 895350"/>
                  <a:gd name="connsiteY1315" fmla="*/ 586930 h 742950"/>
                  <a:gd name="connsiteX1316" fmla="*/ 33338 w 895350"/>
                  <a:gd name="connsiteY1316" fmla="*/ 586073 h 742950"/>
                  <a:gd name="connsiteX1317" fmla="*/ 33338 w 895350"/>
                  <a:gd name="connsiteY1317" fmla="*/ 585216 h 742950"/>
                  <a:gd name="connsiteX1318" fmla="*/ 32480 w 895350"/>
                  <a:gd name="connsiteY1318" fmla="*/ 584359 h 742950"/>
                  <a:gd name="connsiteX1319" fmla="*/ 32480 w 895350"/>
                  <a:gd name="connsiteY1319" fmla="*/ 583502 h 742950"/>
                  <a:gd name="connsiteX1320" fmla="*/ 31623 w 895350"/>
                  <a:gd name="connsiteY1320" fmla="*/ 580930 h 742950"/>
                  <a:gd name="connsiteX1321" fmla="*/ 30766 w 895350"/>
                  <a:gd name="connsiteY1321" fmla="*/ 575024 h 742950"/>
                  <a:gd name="connsiteX1322" fmla="*/ 30766 w 895350"/>
                  <a:gd name="connsiteY1322" fmla="*/ 574167 h 742950"/>
                  <a:gd name="connsiteX1323" fmla="*/ 29908 w 895350"/>
                  <a:gd name="connsiteY1323" fmla="*/ 573310 h 742950"/>
                  <a:gd name="connsiteX1324" fmla="*/ 29908 w 895350"/>
                  <a:gd name="connsiteY1324" fmla="*/ 573310 h 742950"/>
                  <a:gd name="connsiteX1325" fmla="*/ 29051 w 895350"/>
                  <a:gd name="connsiteY1325" fmla="*/ 574167 h 742950"/>
                  <a:gd name="connsiteX1326" fmla="*/ 29051 w 895350"/>
                  <a:gd name="connsiteY1326" fmla="*/ 574167 h 742950"/>
                  <a:gd name="connsiteX1327" fmla="*/ 28194 w 895350"/>
                  <a:gd name="connsiteY1327" fmla="*/ 574167 h 742950"/>
                  <a:gd name="connsiteX1328" fmla="*/ 27337 w 895350"/>
                  <a:gd name="connsiteY1328" fmla="*/ 573310 h 742950"/>
                  <a:gd name="connsiteX1329" fmla="*/ 26479 w 895350"/>
                  <a:gd name="connsiteY1329" fmla="*/ 572453 h 742950"/>
                  <a:gd name="connsiteX1330" fmla="*/ 25622 w 895350"/>
                  <a:gd name="connsiteY1330" fmla="*/ 571595 h 742950"/>
                  <a:gd name="connsiteX1331" fmla="*/ 24765 w 895350"/>
                  <a:gd name="connsiteY1331" fmla="*/ 571595 h 742950"/>
                  <a:gd name="connsiteX1332" fmla="*/ 24765 w 895350"/>
                  <a:gd name="connsiteY1332" fmla="*/ 571595 h 742950"/>
                  <a:gd name="connsiteX1333" fmla="*/ 23908 w 895350"/>
                  <a:gd name="connsiteY1333" fmla="*/ 572453 h 742950"/>
                  <a:gd name="connsiteX1334" fmla="*/ 23050 w 895350"/>
                  <a:gd name="connsiteY1334" fmla="*/ 572453 h 742950"/>
                  <a:gd name="connsiteX1335" fmla="*/ 22193 w 895350"/>
                  <a:gd name="connsiteY1335" fmla="*/ 574167 h 742950"/>
                  <a:gd name="connsiteX1336" fmla="*/ 22193 w 895350"/>
                  <a:gd name="connsiteY1336" fmla="*/ 574167 h 742950"/>
                  <a:gd name="connsiteX1337" fmla="*/ 20479 w 895350"/>
                  <a:gd name="connsiteY1337" fmla="*/ 574167 h 742950"/>
                  <a:gd name="connsiteX1338" fmla="*/ 19621 w 895350"/>
                  <a:gd name="connsiteY1338" fmla="*/ 575024 h 742950"/>
                  <a:gd name="connsiteX1339" fmla="*/ 18764 w 895350"/>
                  <a:gd name="connsiteY1339" fmla="*/ 575881 h 742950"/>
                  <a:gd name="connsiteX1340" fmla="*/ 18764 w 895350"/>
                  <a:gd name="connsiteY1340" fmla="*/ 576739 h 742950"/>
                  <a:gd name="connsiteX1341" fmla="*/ 19621 w 895350"/>
                  <a:gd name="connsiteY1341" fmla="*/ 577596 h 742950"/>
                  <a:gd name="connsiteX1342" fmla="*/ 26384 w 895350"/>
                  <a:gd name="connsiteY1342" fmla="*/ 583502 h 742950"/>
                  <a:gd name="connsiteX1343" fmla="*/ 27242 w 895350"/>
                  <a:gd name="connsiteY1343" fmla="*/ 585216 h 742950"/>
                  <a:gd name="connsiteX1344" fmla="*/ 27242 w 895350"/>
                  <a:gd name="connsiteY1344" fmla="*/ 586073 h 742950"/>
                  <a:gd name="connsiteX1345" fmla="*/ 27242 w 895350"/>
                  <a:gd name="connsiteY1345" fmla="*/ 586930 h 742950"/>
                  <a:gd name="connsiteX1346" fmla="*/ 26384 w 895350"/>
                  <a:gd name="connsiteY1346" fmla="*/ 587788 h 742950"/>
                  <a:gd name="connsiteX1347" fmla="*/ 26384 w 895350"/>
                  <a:gd name="connsiteY1347" fmla="*/ 588645 h 742950"/>
                  <a:gd name="connsiteX1348" fmla="*/ 26384 w 895350"/>
                  <a:gd name="connsiteY1348" fmla="*/ 590360 h 742950"/>
                  <a:gd name="connsiteX1349" fmla="*/ 26384 w 895350"/>
                  <a:gd name="connsiteY1349" fmla="*/ 592074 h 742950"/>
                  <a:gd name="connsiteX1350" fmla="*/ 27242 w 895350"/>
                  <a:gd name="connsiteY1350" fmla="*/ 592931 h 742950"/>
                  <a:gd name="connsiteX1351" fmla="*/ 28099 w 895350"/>
                  <a:gd name="connsiteY1351" fmla="*/ 592931 h 742950"/>
                  <a:gd name="connsiteX1352" fmla="*/ 28099 w 895350"/>
                  <a:gd name="connsiteY1352" fmla="*/ 593788 h 742950"/>
                  <a:gd name="connsiteX1353" fmla="*/ 29813 w 895350"/>
                  <a:gd name="connsiteY1353" fmla="*/ 595503 h 742950"/>
                  <a:gd name="connsiteX1354" fmla="*/ 30670 w 895350"/>
                  <a:gd name="connsiteY1354" fmla="*/ 598075 h 742950"/>
                  <a:gd name="connsiteX1355" fmla="*/ 31528 w 895350"/>
                  <a:gd name="connsiteY1355" fmla="*/ 598932 h 742950"/>
                  <a:gd name="connsiteX1356" fmla="*/ 34099 w 895350"/>
                  <a:gd name="connsiteY1356" fmla="*/ 601504 h 742950"/>
                  <a:gd name="connsiteX1357" fmla="*/ 34099 w 895350"/>
                  <a:gd name="connsiteY1357" fmla="*/ 601504 h 742950"/>
                  <a:gd name="connsiteX1358" fmla="*/ 34957 w 895350"/>
                  <a:gd name="connsiteY1358" fmla="*/ 603218 h 742950"/>
                  <a:gd name="connsiteX1359" fmla="*/ 34957 w 895350"/>
                  <a:gd name="connsiteY1359" fmla="*/ 604075 h 742950"/>
                  <a:gd name="connsiteX1360" fmla="*/ 34099 w 895350"/>
                  <a:gd name="connsiteY1360" fmla="*/ 604933 h 742950"/>
                  <a:gd name="connsiteX1361" fmla="*/ 34099 w 895350"/>
                  <a:gd name="connsiteY1361" fmla="*/ 604933 h 742950"/>
                  <a:gd name="connsiteX1362" fmla="*/ 33242 w 895350"/>
                  <a:gd name="connsiteY1362" fmla="*/ 605790 h 742950"/>
                  <a:gd name="connsiteX1363" fmla="*/ 33242 w 895350"/>
                  <a:gd name="connsiteY1363" fmla="*/ 605790 h 742950"/>
                  <a:gd name="connsiteX1364" fmla="*/ 32385 w 895350"/>
                  <a:gd name="connsiteY1364" fmla="*/ 606647 h 742950"/>
                  <a:gd name="connsiteX1365" fmla="*/ 32385 w 895350"/>
                  <a:gd name="connsiteY1365" fmla="*/ 607505 h 742950"/>
                  <a:gd name="connsiteX1366" fmla="*/ 32385 w 895350"/>
                  <a:gd name="connsiteY1366" fmla="*/ 608362 h 742950"/>
                  <a:gd name="connsiteX1367" fmla="*/ 31528 w 895350"/>
                  <a:gd name="connsiteY1367" fmla="*/ 609219 h 742950"/>
                  <a:gd name="connsiteX1368" fmla="*/ 31528 w 895350"/>
                  <a:gd name="connsiteY1368" fmla="*/ 609219 h 742950"/>
                  <a:gd name="connsiteX1369" fmla="*/ 29813 w 895350"/>
                  <a:gd name="connsiteY1369" fmla="*/ 611791 h 742950"/>
                  <a:gd name="connsiteX1370" fmla="*/ 28956 w 895350"/>
                  <a:gd name="connsiteY1370" fmla="*/ 612648 h 742950"/>
                  <a:gd name="connsiteX1371" fmla="*/ 28956 w 895350"/>
                  <a:gd name="connsiteY1371" fmla="*/ 613505 h 742950"/>
                  <a:gd name="connsiteX1372" fmla="*/ 28956 w 895350"/>
                  <a:gd name="connsiteY1372" fmla="*/ 615220 h 742950"/>
                  <a:gd name="connsiteX1373" fmla="*/ 28956 w 895350"/>
                  <a:gd name="connsiteY1373" fmla="*/ 617791 h 742950"/>
                  <a:gd name="connsiteX1374" fmla="*/ 29813 w 895350"/>
                  <a:gd name="connsiteY1374" fmla="*/ 619506 h 742950"/>
                  <a:gd name="connsiteX1375" fmla="*/ 30670 w 895350"/>
                  <a:gd name="connsiteY1375" fmla="*/ 621221 h 742950"/>
                  <a:gd name="connsiteX1376" fmla="*/ 30670 w 895350"/>
                  <a:gd name="connsiteY1376" fmla="*/ 621221 h 742950"/>
                  <a:gd name="connsiteX1377" fmla="*/ 31528 w 895350"/>
                  <a:gd name="connsiteY1377" fmla="*/ 621221 h 742950"/>
                  <a:gd name="connsiteX1378" fmla="*/ 32385 w 895350"/>
                  <a:gd name="connsiteY1378" fmla="*/ 620363 h 742950"/>
                  <a:gd name="connsiteX1379" fmla="*/ 32385 w 895350"/>
                  <a:gd name="connsiteY1379" fmla="*/ 619506 h 742950"/>
                  <a:gd name="connsiteX1380" fmla="*/ 32385 w 895350"/>
                  <a:gd name="connsiteY1380" fmla="*/ 618649 h 742950"/>
                  <a:gd name="connsiteX1381" fmla="*/ 32385 w 895350"/>
                  <a:gd name="connsiteY1381" fmla="*/ 618649 h 742950"/>
                  <a:gd name="connsiteX1382" fmla="*/ 33242 w 895350"/>
                  <a:gd name="connsiteY1382" fmla="*/ 618649 h 742950"/>
                  <a:gd name="connsiteX1383" fmla="*/ 33242 w 895350"/>
                  <a:gd name="connsiteY1383" fmla="*/ 618649 h 742950"/>
                  <a:gd name="connsiteX1384" fmla="*/ 34099 w 895350"/>
                  <a:gd name="connsiteY1384" fmla="*/ 618649 h 742950"/>
                  <a:gd name="connsiteX1385" fmla="*/ 34099 w 895350"/>
                  <a:gd name="connsiteY1385" fmla="*/ 618649 h 742950"/>
                  <a:gd name="connsiteX1386" fmla="*/ 34957 w 895350"/>
                  <a:gd name="connsiteY1386" fmla="*/ 619506 h 742950"/>
                  <a:gd name="connsiteX1387" fmla="*/ 35814 w 895350"/>
                  <a:gd name="connsiteY1387" fmla="*/ 621221 h 742950"/>
                  <a:gd name="connsiteX1388" fmla="*/ 37528 w 895350"/>
                  <a:gd name="connsiteY1388" fmla="*/ 622078 h 742950"/>
                  <a:gd name="connsiteX1389" fmla="*/ 38386 w 895350"/>
                  <a:gd name="connsiteY1389" fmla="*/ 622078 h 742950"/>
                  <a:gd name="connsiteX1390" fmla="*/ 39243 w 895350"/>
                  <a:gd name="connsiteY1390" fmla="*/ 622078 h 742950"/>
                  <a:gd name="connsiteX1391" fmla="*/ 39243 w 895350"/>
                  <a:gd name="connsiteY1391" fmla="*/ 621221 h 742950"/>
                  <a:gd name="connsiteX1392" fmla="*/ 40100 w 895350"/>
                  <a:gd name="connsiteY1392" fmla="*/ 620363 h 742950"/>
                  <a:gd name="connsiteX1393" fmla="*/ 40100 w 895350"/>
                  <a:gd name="connsiteY1393" fmla="*/ 619506 h 742950"/>
                  <a:gd name="connsiteX1394" fmla="*/ 40957 w 895350"/>
                  <a:gd name="connsiteY1394" fmla="*/ 619506 h 742950"/>
                  <a:gd name="connsiteX1395" fmla="*/ 41815 w 895350"/>
                  <a:gd name="connsiteY1395" fmla="*/ 619506 h 742950"/>
                  <a:gd name="connsiteX1396" fmla="*/ 43529 w 895350"/>
                  <a:gd name="connsiteY1396" fmla="*/ 620363 h 742950"/>
                  <a:gd name="connsiteX1397" fmla="*/ 44386 w 895350"/>
                  <a:gd name="connsiteY1397" fmla="*/ 620363 h 742950"/>
                  <a:gd name="connsiteX1398" fmla="*/ 46101 w 895350"/>
                  <a:gd name="connsiteY1398" fmla="*/ 620363 h 742950"/>
                  <a:gd name="connsiteX1399" fmla="*/ 46958 w 895350"/>
                  <a:gd name="connsiteY1399" fmla="*/ 620363 h 742950"/>
                  <a:gd name="connsiteX1400" fmla="*/ 47815 w 895350"/>
                  <a:gd name="connsiteY1400" fmla="*/ 619506 h 742950"/>
                  <a:gd name="connsiteX1401" fmla="*/ 48673 w 895350"/>
                  <a:gd name="connsiteY1401" fmla="*/ 618649 h 742950"/>
                  <a:gd name="connsiteX1402" fmla="*/ 48673 w 895350"/>
                  <a:gd name="connsiteY1402" fmla="*/ 617791 h 742950"/>
                  <a:gd name="connsiteX1403" fmla="*/ 47815 w 895350"/>
                  <a:gd name="connsiteY1403" fmla="*/ 616077 h 742950"/>
                  <a:gd name="connsiteX1404" fmla="*/ 47815 w 895350"/>
                  <a:gd name="connsiteY1404" fmla="*/ 615220 h 742950"/>
                  <a:gd name="connsiteX1405" fmla="*/ 47815 w 895350"/>
                  <a:gd name="connsiteY1405" fmla="*/ 614363 h 742950"/>
                  <a:gd name="connsiteX1406" fmla="*/ 47815 w 895350"/>
                  <a:gd name="connsiteY1406" fmla="*/ 612648 h 742950"/>
                  <a:gd name="connsiteX1407" fmla="*/ 47815 w 895350"/>
                  <a:gd name="connsiteY1407" fmla="*/ 611791 h 742950"/>
                  <a:gd name="connsiteX1408" fmla="*/ 46958 w 895350"/>
                  <a:gd name="connsiteY1408" fmla="*/ 611791 h 742950"/>
                  <a:gd name="connsiteX1409" fmla="*/ 46101 w 895350"/>
                  <a:gd name="connsiteY1409" fmla="*/ 610933 h 742950"/>
                  <a:gd name="connsiteX1410" fmla="*/ 45244 w 895350"/>
                  <a:gd name="connsiteY1410" fmla="*/ 610076 h 742950"/>
                  <a:gd name="connsiteX1411" fmla="*/ 44386 w 895350"/>
                  <a:gd name="connsiteY1411" fmla="*/ 610076 h 742950"/>
                  <a:gd name="connsiteX1412" fmla="*/ 44386 w 895350"/>
                  <a:gd name="connsiteY1412" fmla="*/ 609219 h 742950"/>
                  <a:gd name="connsiteX1413" fmla="*/ 45244 w 895350"/>
                  <a:gd name="connsiteY1413" fmla="*/ 609219 h 742950"/>
                  <a:gd name="connsiteX1414" fmla="*/ 46958 w 895350"/>
                  <a:gd name="connsiteY1414" fmla="*/ 608362 h 742950"/>
                  <a:gd name="connsiteX1415" fmla="*/ 47815 w 895350"/>
                  <a:gd name="connsiteY1415" fmla="*/ 608362 h 742950"/>
                  <a:gd name="connsiteX1416" fmla="*/ 47815 w 895350"/>
                  <a:gd name="connsiteY1416" fmla="*/ 607505 h 742950"/>
                  <a:gd name="connsiteX1417" fmla="*/ 47815 w 895350"/>
                  <a:gd name="connsiteY1417" fmla="*/ 607505 h 742950"/>
                  <a:gd name="connsiteX1418" fmla="*/ 47815 w 895350"/>
                  <a:gd name="connsiteY1418" fmla="*/ 606647 h 742950"/>
                  <a:gd name="connsiteX1419" fmla="*/ 47815 w 895350"/>
                  <a:gd name="connsiteY1419" fmla="*/ 605790 h 742950"/>
                  <a:gd name="connsiteX1420" fmla="*/ 47815 w 895350"/>
                  <a:gd name="connsiteY1420" fmla="*/ 605790 h 742950"/>
                  <a:gd name="connsiteX1421" fmla="*/ 47815 w 895350"/>
                  <a:gd name="connsiteY1421" fmla="*/ 604933 h 742950"/>
                  <a:gd name="connsiteX1422" fmla="*/ 48673 w 895350"/>
                  <a:gd name="connsiteY1422" fmla="*/ 604933 h 742950"/>
                  <a:gd name="connsiteX1423" fmla="*/ 48673 w 895350"/>
                  <a:gd name="connsiteY1423" fmla="*/ 604075 h 742950"/>
                  <a:gd name="connsiteX1424" fmla="*/ 49530 w 895350"/>
                  <a:gd name="connsiteY1424" fmla="*/ 603218 h 742950"/>
                  <a:gd name="connsiteX1425" fmla="*/ 49530 w 895350"/>
                  <a:gd name="connsiteY1425" fmla="*/ 603218 h 742950"/>
                  <a:gd name="connsiteX1426" fmla="*/ 50387 w 895350"/>
                  <a:gd name="connsiteY1426" fmla="*/ 604075 h 742950"/>
                  <a:gd name="connsiteX1427" fmla="*/ 50387 w 895350"/>
                  <a:gd name="connsiteY1427" fmla="*/ 604075 h 742950"/>
                  <a:gd name="connsiteX1428" fmla="*/ 50387 w 895350"/>
                  <a:gd name="connsiteY1428" fmla="*/ 604933 h 742950"/>
                  <a:gd name="connsiteX1429" fmla="*/ 50387 w 895350"/>
                  <a:gd name="connsiteY1429" fmla="*/ 605790 h 742950"/>
                  <a:gd name="connsiteX1430" fmla="*/ 51244 w 895350"/>
                  <a:gd name="connsiteY1430" fmla="*/ 606647 h 742950"/>
                  <a:gd name="connsiteX1431" fmla="*/ 51244 w 895350"/>
                  <a:gd name="connsiteY1431" fmla="*/ 607505 h 742950"/>
                  <a:gd name="connsiteX1432" fmla="*/ 52102 w 895350"/>
                  <a:gd name="connsiteY1432" fmla="*/ 607505 h 742950"/>
                  <a:gd name="connsiteX1433" fmla="*/ 53816 w 895350"/>
                  <a:gd name="connsiteY1433" fmla="*/ 605790 h 742950"/>
                  <a:gd name="connsiteX1434" fmla="*/ 54673 w 895350"/>
                  <a:gd name="connsiteY1434" fmla="*/ 605790 h 742950"/>
                  <a:gd name="connsiteX1435" fmla="*/ 55531 w 895350"/>
                  <a:gd name="connsiteY1435" fmla="*/ 605790 h 742950"/>
                  <a:gd name="connsiteX1436" fmla="*/ 56388 w 895350"/>
                  <a:gd name="connsiteY1436" fmla="*/ 605790 h 742950"/>
                  <a:gd name="connsiteX1437" fmla="*/ 58102 w 895350"/>
                  <a:gd name="connsiteY1437" fmla="*/ 608362 h 742950"/>
                  <a:gd name="connsiteX1438" fmla="*/ 59817 w 895350"/>
                  <a:gd name="connsiteY1438" fmla="*/ 608362 h 742950"/>
                  <a:gd name="connsiteX1439" fmla="*/ 61531 w 895350"/>
                  <a:gd name="connsiteY1439" fmla="*/ 608362 h 742950"/>
                  <a:gd name="connsiteX1440" fmla="*/ 62389 w 895350"/>
                  <a:gd name="connsiteY1440" fmla="*/ 608362 h 742950"/>
                  <a:gd name="connsiteX1441" fmla="*/ 63246 w 895350"/>
                  <a:gd name="connsiteY1441" fmla="*/ 609219 h 742950"/>
                  <a:gd name="connsiteX1442" fmla="*/ 64960 w 895350"/>
                  <a:gd name="connsiteY1442" fmla="*/ 610076 h 742950"/>
                  <a:gd name="connsiteX1443" fmla="*/ 65818 w 895350"/>
                  <a:gd name="connsiteY1443" fmla="*/ 610076 h 742950"/>
                  <a:gd name="connsiteX1444" fmla="*/ 67532 w 895350"/>
                  <a:gd name="connsiteY1444" fmla="*/ 610076 h 742950"/>
                  <a:gd name="connsiteX1445" fmla="*/ 68390 w 895350"/>
                  <a:gd name="connsiteY1445" fmla="*/ 610076 h 742950"/>
                  <a:gd name="connsiteX1446" fmla="*/ 69247 w 895350"/>
                  <a:gd name="connsiteY1446" fmla="*/ 610076 h 742950"/>
                  <a:gd name="connsiteX1447" fmla="*/ 70961 w 895350"/>
                  <a:gd name="connsiteY1447" fmla="*/ 610933 h 742950"/>
                  <a:gd name="connsiteX1448" fmla="*/ 73533 w 895350"/>
                  <a:gd name="connsiteY1448" fmla="*/ 610933 h 742950"/>
                  <a:gd name="connsiteX1449" fmla="*/ 76105 w 895350"/>
                  <a:gd name="connsiteY1449" fmla="*/ 610933 h 742950"/>
                  <a:gd name="connsiteX1450" fmla="*/ 76962 w 895350"/>
                  <a:gd name="connsiteY1450" fmla="*/ 610933 h 742950"/>
                  <a:gd name="connsiteX1451" fmla="*/ 77819 w 895350"/>
                  <a:gd name="connsiteY1451" fmla="*/ 611791 h 742950"/>
                  <a:gd name="connsiteX1452" fmla="*/ 77819 w 895350"/>
                  <a:gd name="connsiteY1452" fmla="*/ 612648 h 742950"/>
                  <a:gd name="connsiteX1453" fmla="*/ 78676 w 895350"/>
                  <a:gd name="connsiteY1453" fmla="*/ 613505 h 742950"/>
                  <a:gd name="connsiteX1454" fmla="*/ 78676 w 895350"/>
                  <a:gd name="connsiteY1454" fmla="*/ 614363 h 742950"/>
                  <a:gd name="connsiteX1455" fmla="*/ 80391 w 895350"/>
                  <a:gd name="connsiteY1455" fmla="*/ 615220 h 742950"/>
                  <a:gd name="connsiteX1456" fmla="*/ 81248 w 895350"/>
                  <a:gd name="connsiteY1456" fmla="*/ 616077 h 742950"/>
                  <a:gd name="connsiteX1457" fmla="*/ 81248 w 895350"/>
                  <a:gd name="connsiteY1457" fmla="*/ 617791 h 742950"/>
                  <a:gd name="connsiteX1458" fmla="*/ 82105 w 895350"/>
                  <a:gd name="connsiteY1458" fmla="*/ 618649 h 742950"/>
                  <a:gd name="connsiteX1459" fmla="*/ 82963 w 895350"/>
                  <a:gd name="connsiteY1459" fmla="*/ 621221 h 742950"/>
                  <a:gd name="connsiteX1460" fmla="*/ 82963 w 895350"/>
                  <a:gd name="connsiteY1460" fmla="*/ 622078 h 742950"/>
                  <a:gd name="connsiteX1461" fmla="*/ 82963 w 895350"/>
                  <a:gd name="connsiteY1461" fmla="*/ 625507 h 742950"/>
                  <a:gd name="connsiteX1462" fmla="*/ 82963 w 895350"/>
                  <a:gd name="connsiteY1462" fmla="*/ 626840 h 742950"/>
                  <a:gd name="connsiteX1463" fmla="*/ 83820 w 895350"/>
                  <a:gd name="connsiteY1463" fmla="*/ 626840 h 742950"/>
                  <a:gd name="connsiteX1464" fmla="*/ 84582 w 895350"/>
                  <a:gd name="connsiteY1464" fmla="*/ 626840 h 742950"/>
                  <a:gd name="connsiteX1465" fmla="*/ 85439 w 895350"/>
                  <a:gd name="connsiteY1465" fmla="*/ 626840 h 742950"/>
                  <a:gd name="connsiteX1466" fmla="*/ 85439 w 895350"/>
                  <a:gd name="connsiteY1466" fmla="*/ 626840 h 742950"/>
                  <a:gd name="connsiteX1467" fmla="*/ 88011 w 895350"/>
                  <a:gd name="connsiteY1467" fmla="*/ 626840 h 742950"/>
                  <a:gd name="connsiteX1468" fmla="*/ 88868 w 895350"/>
                  <a:gd name="connsiteY1468" fmla="*/ 626840 h 742950"/>
                  <a:gd name="connsiteX1469" fmla="*/ 89725 w 895350"/>
                  <a:gd name="connsiteY1469" fmla="*/ 626840 h 742950"/>
                  <a:gd name="connsiteX1470" fmla="*/ 92297 w 895350"/>
                  <a:gd name="connsiteY1470" fmla="*/ 624269 h 742950"/>
                  <a:gd name="connsiteX1471" fmla="*/ 94869 w 895350"/>
                  <a:gd name="connsiteY1471" fmla="*/ 622554 h 742950"/>
                  <a:gd name="connsiteX1472" fmla="*/ 96583 w 895350"/>
                  <a:gd name="connsiteY1472" fmla="*/ 622554 h 742950"/>
                  <a:gd name="connsiteX1473" fmla="*/ 98298 w 895350"/>
                  <a:gd name="connsiteY1473" fmla="*/ 622554 h 742950"/>
                  <a:gd name="connsiteX1474" fmla="*/ 100013 w 895350"/>
                  <a:gd name="connsiteY1474" fmla="*/ 622554 h 742950"/>
                  <a:gd name="connsiteX1475" fmla="*/ 100013 w 895350"/>
                  <a:gd name="connsiteY1475" fmla="*/ 622554 h 742950"/>
                  <a:gd name="connsiteX1476" fmla="*/ 100013 w 895350"/>
                  <a:gd name="connsiteY1476" fmla="*/ 620839 h 742950"/>
                  <a:gd name="connsiteX1477" fmla="*/ 100013 w 895350"/>
                  <a:gd name="connsiteY1477" fmla="*/ 619982 h 742950"/>
                  <a:gd name="connsiteX1478" fmla="*/ 100013 w 895350"/>
                  <a:gd name="connsiteY1478" fmla="*/ 619125 h 742950"/>
                  <a:gd name="connsiteX1479" fmla="*/ 100870 w 895350"/>
                  <a:gd name="connsiteY1479" fmla="*/ 619125 h 742950"/>
                  <a:gd name="connsiteX1480" fmla="*/ 100870 w 895350"/>
                  <a:gd name="connsiteY1480" fmla="*/ 618268 h 742950"/>
                  <a:gd name="connsiteX1481" fmla="*/ 102584 w 895350"/>
                  <a:gd name="connsiteY1481" fmla="*/ 618268 h 742950"/>
                  <a:gd name="connsiteX1482" fmla="*/ 103442 w 895350"/>
                  <a:gd name="connsiteY1482" fmla="*/ 617411 h 742950"/>
                  <a:gd name="connsiteX1483" fmla="*/ 105156 w 895350"/>
                  <a:gd name="connsiteY1483" fmla="*/ 617411 h 742950"/>
                  <a:gd name="connsiteX1484" fmla="*/ 106013 w 895350"/>
                  <a:gd name="connsiteY1484" fmla="*/ 618268 h 742950"/>
                  <a:gd name="connsiteX1485" fmla="*/ 106870 w 895350"/>
                  <a:gd name="connsiteY1485" fmla="*/ 619125 h 742950"/>
                  <a:gd name="connsiteX1486" fmla="*/ 106870 w 895350"/>
                  <a:gd name="connsiteY1486" fmla="*/ 619125 h 742950"/>
                  <a:gd name="connsiteX1487" fmla="*/ 107728 w 895350"/>
                  <a:gd name="connsiteY1487" fmla="*/ 619982 h 742950"/>
                  <a:gd name="connsiteX1488" fmla="*/ 108585 w 895350"/>
                  <a:gd name="connsiteY1488" fmla="*/ 619982 h 742950"/>
                  <a:gd name="connsiteX1489" fmla="*/ 108585 w 895350"/>
                  <a:gd name="connsiteY1489" fmla="*/ 619125 h 742950"/>
                  <a:gd name="connsiteX1490" fmla="*/ 109442 w 895350"/>
                  <a:gd name="connsiteY1490" fmla="*/ 618268 h 742950"/>
                  <a:gd name="connsiteX1491" fmla="*/ 110299 w 895350"/>
                  <a:gd name="connsiteY1491" fmla="*/ 616553 h 742950"/>
                  <a:gd name="connsiteX1492" fmla="*/ 110299 w 895350"/>
                  <a:gd name="connsiteY1492" fmla="*/ 615696 h 742950"/>
                  <a:gd name="connsiteX1493" fmla="*/ 111157 w 895350"/>
                  <a:gd name="connsiteY1493" fmla="*/ 614839 h 742950"/>
                  <a:gd name="connsiteX1494" fmla="*/ 112014 w 895350"/>
                  <a:gd name="connsiteY1494" fmla="*/ 613981 h 742950"/>
                  <a:gd name="connsiteX1495" fmla="*/ 113728 w 895350"/>
                  <a:gd name="connsiteY1495" fmla="*/ 613981 h 742950"/>
                  <a:gd name="connsiteX1496" fmla="*/ 114586 w 895350"/>
                  <a:gd name="connsiteY1496" fmla="*/ 613124 h 742950"/>
                  <a:gd name="connsiteX1497" fmla="*/ 115443 w 895350"/>
                  <a:gd name="connsiteY1497" fmla="*/ 613124 h 742950"/>
                  <a:gd name="connsiteX1498" fmla="*/ 117157 w 895350"/>
                  <a:gd name="connsiteY1498" fmla="*/ 611410 h 742950"/>
                  <a:gd name="connsiteX1499" fmla="*/ 118015 w 895350"/>
                  <a:gd name="connsiteY1499" fmla="*/ 610553 h 742950"/>
                  <a:gd name="connsiteX1500" fmla="*/ 120586 w 895350"/>
                  <a:gd name="connsiteY1500" fmla="*/ 608838 h 742950"/>
                  <a:gd name="connsiteX1501" fmla="*/ 121444 w 895350"/>
                  <a:gd name="connsiteY1501" fmla="*/ 607981 h 742950"/>
                  <a:gd name="connsiteX1502" fmla="*/ 121444 w 895350"/>
                  <a:gd name="connsiteY1502" fmla="*/ 607123 h 742950"/>
                  <a:gd name="connsiteX1503" fmla="*/ 122301 w 895350"/>
                  <a:gd name="connsiteY1503" fmla="*/ 607123 h 742950"/>
                  <a:gd name="connsiteX1504" fmla="*/ 122301 w 895350"/>
                  <a:gd name="connsiteY1504" fmla="*/ 606266 h 742950"/>
                  <a:gd name="connsiteX1505" fmla="*/ 121444 w 895350"/>
                  <a:gd name="connsiteY1505" fmla="*/ 605409 h 742950"/>
                  <a:gd name="connsiteX1506" fmla="*/ 120586 w 895350"/>
                  <a:gd name="connsiteY1506" fmla="*/ 604552 h 742950"/>
                  <a:gd name="connsiteX1507" fmla="*/ 120586 w 895350"/>
                  <a:gd name="connsiteY1507" fmla="*/ 603695 h 742950"/>
                  <a:gd name="connsiteX1508" fmla="*/ 119729 w 895350"/>
                  <a:gd name="connsiteY1508" fmla="*/ 602837 h 742950"/>
                  <a:gd name="connsiteX1509" fmla="*/ 119729 w 895350"/>
                  <a:gd name="connsiteY1509" fmla="*/ 601980 h 742950"/>
                  <a:gd name="connsiteX1510" fmla="*/ 119729 w 895350"/>
                  <a:gd name="connsiteY1510" fmla="*/ 601123 h 742950"/>
                  <a:gd name="connsiteX1511" fmla="*/ 120586 w 895350"/>
                  <a:gd name="connsiteY1511" fmla="*/ 600265 h 742950"/>
                  <a:gd name="connsiteX1512" fmla="*/ 121444 w 895350"/>
                  <a:gd name="connsiteY1512" fmla="*/ 600265 h 742950"/>
                  <a:gd name="connsiteX1513" fmla="*/ 122301 w 895350"/>
                  <a:gd name="connsiteY1513" fmla="*/ 599408 h 742950"/>
                  <a:gd name="connsiteX1514" fmla="*/ 123158 w 895350"/>
                  <a:gd name="connsiteY1514" fmla="*/ 599408 h 742950"/>
                  <a:gd name="connsiteX1515" fmla="*/ 124873 w 895350"/>
                  <a:gd name="connsiteY1515" fmla="*/ 600265 h 742950"/>
                  <a:gd name="connsiteX1516" fmla="*/ 127444 w 895350"/>
                  <a:gd name="connsiteY1516" fmla="*/ 600265 h 742950"/>
                  <a:gd name="connsiteX1517" fmla="*/ 128302 w 895350"/>
                  <a:gd name="connsiteY1517" fmla="*/ 600265 h 742950"/>
                  <a:gd name="connsiteX1518" fmla="*/ 128302 w 895350"/>
                  <a:gd name="connsiteY1518" fmla="*/ 601123 h 742950"/>
                  <a:gd name="connsiteX1519" fmla="*/ 129159 w 895350"/>
                  <a:gd name="connsiteY1519" fmla="*/ 601123 h 742950"/>
                  <a:gd name="connsiteX1520" fmla="*/ 130016 w 895350"/>
                  <a:gd name="connsiteY1520" fmla="*/ 601980 h 742950"/>
                  <a:gd name="connsiteX1521" fmla="*/ 131731 w 895350"/>
                  <a:gd name="connsiteY1521" fmla="*/ 601980 h 742950"/>
                  <a:gd name="connsiteX1522" fmla="*/ 132588 w 895350"/>
                  <a:gd name="connsiteY1522" fmla="*/ 601980 h 742950"/>
                  <a:gd name="connsiteX1523" fmla="*/ 133445 w 895350"/>
                  <a:gd name="connsiteY1523" fmla="*/ 601123 h 742950"/>
                  <a:gd name="connsiteX1524" fmla="*/ 134302 w 895350"/>
                  <a:gd name="connsiteY1524" fmla="*/ 600265 h 742950"/>
                  <a:gd name="connsiteX1525" fmla="*/ 134302 w 895350"/>
                  <a:gd name="connsiteY1525" fmla="*/ 599408 h 742950"/>
                  <a:gd name="connsiteX1526" fmla="*/ 135160 w 895350"/>
                  <a:gd name="connsiteY1526" fmla="*/ 598551 h 742950"/>
                  <a:gd name="connsiteX1527" fmla="*/ 136017 w 895350"/>
                  <a:gd name="connsiteY1527" fmla="*/ 597694 h 742950"/>
                  <a:gd name="connsiteX1528" fmla="*/ 136874 w 895350"/>
                  <a:gd name="connsiteY1528" fmla="*/ 596837 h 742950"/>
                  <a:gd name="connsiteX1529" fmla="*/ 137731 w 895350"/>
                  <a:gd name="connsiteY1529" fmla="*/ 596837 h 742950"/>
                  <a:gd name="connsiteX1530" fmla="*/ 138589 w 895350"/>
                  <a:gd name="connsiteY1530" fmla="*/ 596837 h 742950"/>
                  <a:gd name="connsiteX1531" fmla="*/ 138589 w 895350"/>
                  <a:gd name="connsiteY1531" fmla="*/ 597694 h 742950"/>
                  <a:gd name="connsiteX1532" fmla="*/ 138589 w 895350"/>
                  <a:gd name="connsiteY1532" fmla="*/ 597694 h 742950"/>
                  <a:gd name="connsiteX1533" fmla="*/ 138589 w 895350"/>
                  <a:gd name="connsiteY1533" fmla="*/ 598551 h 742950"/>
                  <a:gd name="connsiteX1534" fmla="*/ 138589 w 895350"/>
                  <a:gd name="connsiteY1534" fmla="*/ 601980 h 742950"/>
                  <a:gd name="connsiteX1535" fmla="*/ 138589 w 895350"/>
                  <a:gd name="connsiteY1535" fmla="*/ 601980 h 742950"/>
                  <a:gd name="connsiteX1536" fmla="*/ 138589 w 895350"/>
                  <a:gd name="connsiteY1536" fmla="*/ 602837 h 742950"/>
                  <a:gd name="connsiteX1537" fmla="*/ 137731 w 895350"/>
                  <a:gd name="connsiteY1537" fmla="*/ 602837 h 742950"/>
                  <a:gd name="connsiteX1538" fmla="*/ 136017 w 895350"/>
                  <a:gd name="connsiteY1538" fmla="*/ 605409 h 742950"/>
                  <a:gd name="connsiteX1539" fmla="*/ 135160 w 895350"/>
                  <a:gd name="connsiteY1539" fmla="*/ 605409 h 742950"/>
                  <a:gd name="connsiteX1540" fmla="*/ 135160 w 895350"/>
                  <a:gd name="connsiteY1540" fmla="*/ 606266 h 742950"/>
                  <a:gd name="connsiteX1541" fmla="*/ 135160 w 895350"/>
                  <a:gd name="connsiteY1541" fmla="*/ 607123 h 742950"/>
                  <a:gd name="connsiteX1542" fmla="*/ 135160 w 895350"/>
                  <a:gd name="connsiteY1542" fmla="*/ 609695 h 742950"/>
                  <a:gd name="connsiteX1543" fmla="*/ 136017 w 895350"/>
                  <a:gd name="connsiteY1543" fmla="*/ 611410 h 742950"/>
                  <a:gd name="connsiteX1544" fmla="*/ 136017 w 895350"/>
                  <a:gd name="connsiteY1544" fmla="*/ 611410 h 742950"/>
                  <a:gd name="connsiteX1545" fmla="*/ 136017 w 895350"/>
                  <a:gd name="connsiteY1545" fmla="*/ 612267 h 742950"/>
                  <a:gd name="connsiteX1546" fmla="*/ 136874 w 895350"/>
                  <a:gd name="connsiteY1546" fmla="*/ 612267 h 742950"/>
                  <a:gd name="connsiteX1547" fmla="*/ 137731 w 895350"/>
                  <a:gd name="connsiteY1547" fmla="*/ 611410 h 742950"/>
                  <a:gd name="connsiteX1548" fmla="*/ 139446 w 895350"/>
                  <a:gd name="connsiteY1548" fmla="*/ 608838 h 742950"/>
                  <a:gd name="connsiteX1549" fmla="*/ 141161 w 895350"/>
                  <a:gd name="connsiteY1549" fmla="*/ 607981 h 742950"/>
                  <a:gd name="connsiteX1550" fmla="*/ 142018 w 895350"/>
                  <a:gd name="connsiteY1550" fmla="*/ 607123 h 742950"/>
                  <a:gd name="connsiteX1551" fmla="*/ 143732 w 895350"/>
                  <a:gd name="connsiteY1551" fmla="*/ 607981 h 742950"/>
                  <a:gd name="connsiteX1552" fmla="*/ 144590 w 895350"/>
                  <a:gd name="connsiteY1552" fmla="*/ 607981 h 742950"/>
                  <a:gd name="connsiteX1553" fmla="*/ 145447 w 895350"/>
                  <a:gd name="connsiteY1553" fmla="*/ 607981 h 742950"/>
                  <a:gd name="connsiteX1554" fmla="*/ 145447 w 895350"/>
                  <a:gd name="connsiteY1554" fmla="*/ 607981 h 742950"/>
                  <a:gd name="connsiteX1555" fmla="*/ 148876 w 895350"/>
                  <a:gd name="connsiteY1555" fmla="*/ 606266 h 742950"/>
                  <a:gd name="connsiteX1556" fmla="*/ 153924 w 895350"/>
                  <a:gd name="connsiteY1556" fmla="*/ 608838 h 742950"/>
                  <a:gd name="connsiteX1557" fmla="*/ 155638 w 895350"/>
                  <a:gd name="connsiteY1557" fmla="*/ 612267 h 742950"/>
                  <a:gd name="connsiteX1558" fmla="*/ 155638 w 895350"/>
                  <a:gd name="connsiteY1558" fmla="*/ 614839 h 742950"/>
                  <a:gd name="connsiteX1559" fmla="*/ 156496 w 895350"/>
                  <a:gd name="connsiteY1559" fmla="*/ 615696 h 742950"/>
                  <a:gd name="connsiteX1560" fmla="*/ 155638 w 895350"/>
                  <a:gd name="connsiteY1560" fmla="*/ 617411 h 742950"/>
                  <a:gd name="connsiteX1561" fmla="*/ 154781 w 895350"/>
                  <a:gd name="connsiteY1561" fmla="*/ 619982 h 742950"/>
                  <a:gd name="connsiteX1562" fmla="*/ 154781 w 895350"/>
                  <a:gd name="connsiteY1562" fmla="*/ 620839 h 742950"/>
                  <a:gd name="connsiteX1563" fmla="*/ 154781 w 895350"/>
                  <a:gd name="connsiteY1563" fmla="*/ 621697 h 742950"/>
                  <a:gd name="connsiteX1564" fmla="*/ 155638 w 895350"/>
                  <a:gd name="connsiteY1564" fmla="*/ 623411 h 742950"/>
                  <a:gd name="connsiteX1565" fmla="*/ 156496 w 895350"/>
                  <a:gd name="connsiteY1565" fmla="*/ 625126 h 742950"/>
                  <a:gd name="connsiteX1566" fmla="*/ 157353 w 895350"/>
                  <a:gd name="connsiteY1566" fmla="*/ 625983 h 742950"/>
                  <a:gd name="connsiteX1567" fmla="*/ 156496 w 895350"/>
                  <a:gd name="connsiteY1567" fmla="*/ 626840 h 742950"/>
                  <a:gd name="connsiteX1568" fmla="*/ 156496 w 895350"/>
                  <a:gd name="connsiteY1568" fmla="*/ 627697 h 742950"/>
                  <a:gd name="connsiteX1569" fmla="*/ 155638 w 895350"/>
                  <a:gd name="connsiteY1569" fmla="*/ 627697 h 742950"/>
                  <a:gd name="connsiteX1570" fmla="*/ 154781 w 895350"/>
                  <a:gd name="connsiteY1570" fmla="*/ 627697 h 742950"/>
                  <a:gd name="connsiteX1571" fmla="*/ 153067 w 895350"/>
                  <a:gd name="connsiteY1571" fmla="*/ 627697 h 742950"/>
                  <a:gd name="connsiteX1572" fmla="*/ 152209 w 895350"/>
                  <a:gd name="connsiteY1572" fmla="*/ 627697 h 742950"/>
                  <a:gd name="connsiteX1573" fmla="*/ 151352 w 895350"/>
                  <a:gd name="connsiteY1573" fmla="*/ 627697 h 742950"/>
                  <a:gd name="connsiteX1574" fmla="*/ 151352 w 895350"/>
                  <a:gd name="connsiteY1574" fmla="*/ 629412 h 742950"/>
                  <a:gd name="connsiteX1575" fmla="*/ 152209 w 895350"/>
                  <a:gd name="connsiteY1575" fmla="*/ 630269 h 742950"/>
                  <a:gd name="connsiteX1576" fmla="*/ 153067 w 895350"/>
                  <a:gd name="connsiteY1576" fmla="*/ 631984 h 742950"/>
                  <a:gd name="connsiteX1577" fmla="*/ 153924 w 895350"/>
                  <a:gd name="connsiteY1577" fmla="*/ 631984 h 742950"/>
                  <a:gd name="connsiteX1578" fmla="*/ 154781 w 895350"/>
                  <a:gd name="connsiteY1578" fmla="*/ 631984 h 742950"/>
                  <a:gd name="connsiteX1579" fmla="*/ 156496 w 895350"/>
                  <a:gd name="connsiteY1579" fmla="*/ 631984 h 742950"/>
                  <a:gd name="connsiteX1580" fmla="*/ 157353 w 895350"/>
                  <a:gd name="connsiteY1580" fmla="*/ 631127 h 742950"/>
                  <a:gd name="connsiteX1581" fmla="*/ 158210 w 895350"/>
                  <a:gd name="connsiteY1581" fmla="*/ 631127 h 742950"/>
                  <a:gd name="connsiteX1582" fmla="*/ 159067 w 895350"/>
                  <a:gd name="connsiteY1582" fmla="*/ 631984 h 742950"/>
                  <a:gd name="connsiteX1583" fmla="*/ 159925 w 895350"/>
                  <a:gd name="connsiteY1583" fmla="*/ 631984 h 742950"/>
                  <a:gd name="connsiteX1584" fmla="*/ 164211 w 895350"/>
                  <a:gd name="connsiteY1584" fmla="*/ 637032 h 742950"/>
                  <a:gd name="connsiteX1585" fmla="*/ 165068 w 895350"/>
                  <a:gd name="connsiteY1585" fmla="*/ 637889 h 742950"/>
                  <a:gd name="connsiteX1586" fmla="*/ 165925 w 895350"/>
                  <a:gd name="connsiteY1586" fmla="*/ 638747 h 742950"/>
                  <a:gd name="connsiteX1587" fmla="*/ 165925 w 895350"/>
                  <a:gd name="connsiteY1587" fmla="*/ 638747 h 742950"/>
                  <a:gd name="connsiteX1588" fmla="*/ 167640 w 895350"/>
                  <a:gd name="connsiteY1588" fmla="*/ 638747 h 742950"/>
                  <a:gd name="connsiteX1589" fmla="*/ 168497 w 895350"/>
                  <a:gd name="connsiteY1589" fmla="*/ 638747 h 742950"/>
                  <a:gd name="connsiteX1590" fmla="*/ 171069 w 895350"/>
                  <a:gd name="connsiteY1590" fmla="*/ 639604 h 742950"/>
                  <a:gd name="connsiteX1591" fmla="*/ 173641 w 895350"/>
                  <a:gd name="connsiteY1591" fmla="*/ 640461 h 742950"/>
                  <a:gd name="connsiteX1592" fmla="*/ 174498 w 895350"/>
                  <a:gd name="connsiteY1592" fmla="*/ 640461 h 742950"/>
                  <a:gd name="connsiteX1593" fmla="*/ 175355 w 895350"/>
                  <a:gd name="connsiteY1593" fmla="*/ 640461 h 742950"/>
                  <a:gd name="connsiteX1594" fmla="*/ 176213 w 895350"/>
                  <a:gd name="connsiteY1594" fmla="*/ 639604 h 742950"/>
                  <a:gd name="connsiteX1595" fmla="*/ 177927 w 895350"/>
                  <a:gd name="connsiteY1595" fmla="*/ 638747 h 742950"/>
                  <a:gd name="connsiteX1596" fmla="*/ 178784 w 895350"/>
                  <a:gd name="connsiteY1596" fmla="*/ 638747 h 742950"/>
                  <a:gd name="connsiteX1597" fmla="*/ 178784 w 895350"/>
                  <a:gd name="connsiteY1597" fmla="*/ 638747 h 742950"/>
                  <a:gd name="connsiteX1598" fmla="*/ 179642 w 895350"/>
                  <a:gd name="connsiteY1598" fmla="*/ 638747 h 742950"/>
                  <a:gd name="connsiteX1599" fmla="*/ 181356 w 895350"/>
                  <a:gd name="connsiteY1599" fmla="*/ 639604 h 742950"/>
                  <a:gd name="connsiteX1600" fmla="*/ 182213 w 895350"/>
                  <a:gd name="connsiteY1600" fmla="*/ 639604 h 742950"/>
                  <a:gd name="connsiteX1601" fmla="*/ 182213 w 895350"/>
                  <a:gd name="connsiteY1601" fmla="*/ 639604 h 742950"/>
                  <a:gd name="connsiteX1602" fmla="*/ 183070 w 895350"/>
                  <a:gd name="connsiteY1602" fmla="*/ 639604 h 742950"/>
                  <a:gd name="connsiteX1603" fmla="*/ 184785 w 895350"/>
                  <a:gd name="connsiteY1603" fmla="*/ 639604 h 742950"/>
                  <a:gd name="connsiteX1604" fmla="*/ 185642 w 895350"/>
                  <a:gd name="connsiteY1604" fmla="*/ 639604 h 742950"/>
                  <a:gd name="connsiteX1605" fmla="*/ 186499 w 895350"/>
                  <a:gd name="connsiteY1605" fmla="*/ 639604 h 742950"/>
                  <a:gd name="connsiteX1606" fmla="*/ 186499 w 895350"/>
                  <a:gd name="connsiteY1606" fmla="*/ 640461 h 742950"/>
                  <a:gd name="connsiteX1607" fmla="*/ 187357 w 895350"/>
                  <a:gd name="connsiteY1607" fmla="*/ 640461 h 742950"/>
                  <a:gd name="connsiteX1608" fmla="*/ 186499 w 895350"/>
                  <a:gd name="connsiteY1608" fmla="*/ 642175 h 742950"/>
                  <a:gd name="connsiteX1609" fmla="*/ 185642 w 895350"/>
                  <a:gd name="connsiteY1609" fmla="*/ 643890 h 742950"/>
                  <a:gd name="connsiteX1610" fmla="*/ 185642 w 895350"/>
                  <a:gd name="connsiteY1610" fmla="*/ 645605 h 742950"/>
                  <a:gd name="connsiteX1611" fmla="*/ 185642 w 895350"/>
                  <a:gd name="connsiteY1611" fmla="*/ 646462 h 742950"/>
                  <a:gd name="connsiteX1612" fmla="*/ 186499 w 895350"/>
                  <a:gd name="connsiteY1612" fmla="*/ 649891 h 742950"/>
                  <a:gd name="connsiteX1613" fmla="*/ 186499 w 895350"/>
                  <a:gd name="connsiteY1613" fmla="*/ 649891 h 742950"/>
                  <a:gd name="connsiteX1614" fmla="*/ 185642 w 895350"/>
                  <a:gd name="connsiteY1614" fmla="*/ 651605 h 742950"/>
                  <a:gd name="connsiteX1615" fmla="*/ 185642 w 895350"/>
                  <a:gd name="connsiteY1615" fmla="*/ 652463 h 742950"/>
                  <a:gd name="connsiteX1616" fmla="*/ 185642 w 895350"/>
                  <a:gd name="connsiteY1616" fmla="*/ 653320 h 742950"/>
                  <a:gd name="connsiteX1617" fmla="*/ 185642 w 895350"/>
                  <a:gd name="connsiteY1617" fmla="*/ 655034 h 742950"/>
                  <a:gd name="connsiteX1618" fmla="*/ 185642 w 895350"/>
                  <a:gd name="connsiteY1618" fmla="*/ 659321 h 742950"/>
                  <a:gd name="connsiteX1619" fmla="*/ 185642 w 895350"/>
                  <a:gd name="connsiteY1619" fmla="*/ 660178 h 742950"/>
                  <a:gd name="connsiteX1620" fmla="*/ 185642 w 895350"/>
                  <a:gd name="connsiteY1620" fmla="*/ 661035 h 742950"/>
                  <a:gd name="connsiteX1621" fmla="*/ 184785 w 895350"/>
                  <a:gd name="connsiteY1621" fmla="*/ 661035 h 742950"/>
                  <a:gd name="connsiteX1622" fmla="*/ 184785 w 895350"/>
                  <a:gd name="connsiteY1622" fmla="*/ 661892 h 742950"/>
                  <a:gd name="connsiteX1623" fmla="*/ 183928 w 895350"/>
                  <a:gd name="connsiteY1623" fmla="*/ 662749 h 742950"/>
                  <a:gd name="connsiteX1624" fmla="*/ 183928 w 895350"/>
                  <a:gd name="connsiteY1624" fmla="*/ 663607 h 742950"/>
                  <a:gd name="connsiteX1625" fmla="*/ 184785 w 895350"/>
                  <a:gd name="connsiteY1625" fmla="*/ 665321 h 742950"/>
                  <a:gd name="connsiteX1626" fmla="*/ 185642 w 895350"/>
                  <a:gd name="connsiteY1626" fmla="*/ 665321 h 742950"/>
                  <a:gd name="connsiteX1627" fmla="*/ 185642 w 895350"/>
                  <a:gd name="connsiteY1627" fmla="*/ 666179 h 742950"/>
                  <a:gd name="connsiteX1628" fmla="*/ 186499 w 895350"/>
                  <a:gd name="connsiteY1628" fmla="*/ 667036 h 742950"/>
                  <a:gd name="connsiteX1629" fmla="*/ 187357 w 895350"/>
                  <a:gd name="connsiteY1629" fmla="*/ 668750 h 742950"/>
                  <a:gd name="connsiteX1630" fmla="*/ 187357 w 895350"/>
                  <a:gd name="connsiteY1630" fmla="*/ 670465 h 742950"/>
                  <a:gd name="connsiteX1631" fmla="*/ 188214 w 895350"/>
                  <a:gd name="connsiteY1631" fmla="*/ 670465 h 742950"/>
                  <a:gd name="connsiteX1632" fmla="*/ 189071 w 895350"/>
                  <a:gd name="connsiteY1632" fmla="*/ 670465 h 742950"/>
                  <a:gd name="connsiteX1633" fmla="*/ 190786 w 895350"/>
                  <a:gd name="connsiteY1633" fmla="*/ 669607 h 742950"/>
                  <a:gd name="connsiteX1634" fmla="*/ 191643 w 895350"/>
                  <a:gd name="connsiteY1634" fmla="*/ 669607 h 742950"/>
                  <a:gd name="connsiteX1635" fmla="*/ 192500 w 895350"/>
                  <a:gd name="connsiteY1635" fmla="*/ 669607 h 742950"/>
                  <a:gd name="connsiteX1636" fmla="*/ 193357 w 895350"/>
                  <a:gd name="connsiteY1636" fmla="*/ 670465 h 742950"/>
                  <a:gd name="connsiteX1637" fmla="*/ 194215 w 895350"/>
                  <a:gd name="connsiteY1637" fmla="*/ 670465 h 742950"/>
                  <a:gd name="connsiteX1638" fmla="*/ 194215 w 895350"/>
                  <a:gd name="connsiteY1638" fmla="*/ 671322 h 742950"/>
                  <a:gd name="connsiteX1639" fmla="*/ 195072 w 895350"/>
                  <a:gd name="connsiteY1639" fmla="*/ 671322 h 742950"/>
                  <a:gd name="connsiteX1640" fmla="*/ 195929 w 895350"/>
                  <a:gd name="connsiteY1640" fmla="*/ 671322 h 742950"/>
                  <a:gd name="connsiteX1641" fmla="*/ 196786 w 895350"/>
                  <a:gd name="connsiteY1641" fmla="*/ 671322 h 742950"/>
                  <a:gd name="connsiteX1642" fmla="*/ 196786 w 895350"/>
                  <a:gd name="connsiteY1642" fmla="*/ 671322 h 742950"/>
                  <a:gd name="connsiteX1643" fmla="*/ 201835 w 895350"/>
                  <a:gd name="connsiteY1643" fmla="*/ 674751 h 742950"/>
                  <a:gd name="connsiteX1644" fmla="*/ 201835 w 895350"/>
                  <a:gd name="connsiteY1644" fmla="*/ 674751 h 742950"/>
                  <a:gd name="connsiteX1645" fmla="*/ 202692 w 895350"/>
                  <a:gd name="connsiteY1645" fmla="*/ 674751 h 742950"/>
                  <a:gd name="connsiteX1646" fmla="*/ 203549 w 895350"/>
                  <a:gd name="connsiteY1646" fmla="*/ 674751 h 742950"/>
                  <a:gd name="connsiteX1647" fmla="*/ 204406 w 895350"/>
                  <a:gd name="connsiteY1647" fmla="*/ 674751 h 742950"/>
                  <a:gd name="connsiteX1648" fmla="*/ 205264 w 895350"/>
                  <a:gd name="connsiteY1648" fmla="*/ 674751 h 742950"/>
                  <a:gd name="connsiteX1649" fmla="*/ 205264 w 895350"/>
                  <a:gd name="connsiteY1649" fmla="*/ 673894 h 742950"/>
                  <a:gd name="connsiteX1650" fmla="*/ 206978 w 895350"/>
                  <a:gd name="connsiteY1650" fmla="*/ 672179 h 742950"/>
                  <a:gd name="connsiteX1651" fmla="*/ 207836 w 895350"/>
                  <a:gd name="connsiteY1651" fmla="*/ 673037 h 742950"/>
                  <a:gd name="connsiteX1652" fmla="*/ 207836 w 895350"/>
                  <a:gd name="connsiteY1652" fmla="*/ 673037 h 742950"/>
                  <a:gd name="connsiteX1653" fmla="*/ 207836 w 895350"/>
                  <a:gd name="connsiteY1653" fmla="*/ 673894 h 742950"/>
                  <a:gd name="connsiteX1654" fmla="*/ 208693 w 895350"/>
                  <a:gd name="connsiteY1654" fmla="*/ 675608 h 742950"/>
                  <a:gd name="connsiteX1655" fmla="*/ 208693 w 895350"/>
                  <a:gd name="connsiteY1655" fmla="*/ 676465 h 742950"/>
                  <a:gd name="connsiteX1656" fmla="*/ 208693 w 895350"/>
                  <a:gd name="connsiteY1656" fmla="*/ 678180 h 742950"/>
                  <a:gd name="connsiteX1657" fmla="*/ 207836 w 895350"/>
                  <a:gd name="connsiteY1657" fmla="*/ 679895 h 742950"/>
                  <a:gd name="connsiteX1658" fmla="*/ 207836 w 895350"/>
                  <a:gd name="connsiteY1658" fmla="*/ 680752 h 742950"/>
                  <a:gd name="connsiteX1659" fmla="*/ 207836 w 895350"/>
                  <a:gd name="connsiteY1659" fmla="*/ 681609 h 742950"/>
                  <a:gd name="connsiteX1660" fmla="*/ 207836 w 895350"/>
                  <a:gd name="connsiteY1660" fmla="*/ 682466 h 742950"/>
                  <a:gd name="connsiteX1661" fmla="*/ 207836 w 895350"/>
                  <a:gd name="connsiteY1661" fmla="*/ 682466 h 742950"/>
                  <a:gd name="connsiteX1662" fmla="*/ 207836 w 895350"/>
                  <a:gd name="connsiteY1662" fmla="*/ 683323 h 742950"/>
                  <a:gd name="connsiteX1663" fmla="*/ 206978 w 895350"/>
                  <a:gd name="connsiteY1663" fmla="*/ 685895 h 742950"/>
                  <a:gd name="connsiteX1664" fmla="*/ 206978 w 895350"/>
                  <a:gd name="connsiteY1664" fmla="*/ 686753 h 742950"/>
                  <a:gd name="connsiteX1665" fmla="*/ 206121 w 895350"/>
                  <a:gd name="connsiteY1665" fmla="*/ 688467 h 742950"/>
                  <a:gd name="connsiteX1666" fmla="*/ 204406 w 895350"/>
                  <a:gd name="connsiteY1666" fmla="*/ 690181 h 742950"/>
                  <a:gd name="connsiteX1667" fmla="*/ 203549 w 895350"/>
                  <a:gd name="connsiteY1667" fmla="*/ 691039 h 742950"/>
                  <a:gd name="connsiteX1668" fmla="*/ 203549 w 895350"/>
                  <a:gd name="connsiteY1668" fmla="*/ 692753 h 742950"/>
                  <a:gd name="connsiteX1669" fmla="*/ 203549 w 895350"/>
                  <a:gd name="connsiteY1669" fmla="*/ 695325 h 742950"/>
                  <a:gd name="connsiteX1670" fmla="*/ 202692 w 895350"/>
                  <a:gd name="connsiteY1670" fmla="*/ 697039 h 742950"/>
                  <a:gd name="connsiteX1671" fmla="*/ 202692 w 895350"/>
                  <a:gd name="connsiteY1671" fmla="*/ 697897 h 742950"/>
                  <a:gd name="connsiteX1672" fmla="*/ 200977 w 895350"/>
                  <a:gd name="connsiteY1672" fmla="*/ 699611 h 742950"/>
                  <a:gd name="connsiteX1673" fmla="*/ 200120 w 895350"/>
                  <a:gd name="connsiteY1673" fmla="*/ 699611 h 742950"/>
                  <a:gd name="connsiteX1674" fmla="*/ 198406 w 895350"/>
                  <a:gd name="connsiteY1674" fmla="*/ 701326 h 742950"/>
                  <a:gd name="connsiteX1675" fmla="*/ 197548 w 895350"/>
                  <a:gd name="connsiteY1675" fmla="*/ 701326 h 742950"/>
                  <a:gd name="connsiteX1676" fmla="*/ 197548 w 895350"/>
                  <a:gd name="connsiteY1676" fmla="*/ 702183 h 742950"/>
                  <a:gd name="connsiteX1677" fmla="*/ 196691 w 895350"/>
                  <a:gd name="connsiteY1677" fmla="*/ 703040 h 742950"/>
                  <a:gd name="connsiteX1678" fmla="*/ 195834 w 895350"/>
                  <a:gd name="connsiteY1678" fmla="*/ 706469 h 742950"/>
                  <a:gd name="connsiteX1679" fmla="*/ 195834 w 895350"/>
                  <a:gd name="connsiteY1679" fmla="*/ 707327 h 742950"/>
                  <a:gd name="connsiteX1680" fmla="*/ 195834 w 895350"/>
                  <a:gd name="connsiteY1680" fmla="*/ 707327 h 742950"/>
                  <a:gd name="connsiteX1681" fmla="*/ 194119 w 895350"/>
                  <a:gd name="connsiteY1681" fmla="*/ 709041 h 742950"/>
                  <a:gd name="connsiteX1682" fmla="*/ 191548 w 895350"/>
                  <a:gd name="connsiteY1682" fmla="*/ 712470 h 742950"/>
                  <a:gd name="connsiteX1683" fmla="*/ 190690 w 895350"/>
                  <a:gd name="connsiteY1683" fmla="*/ 714185 h 742950"/>
                  <a:gd name="connsiteX1684" fmla="*/ 190690 w 895350"/>
                  <a:gd name="connsiteY1684" fmla="*/ 715042 h 742950"/>
                  <a:gd name="connsiteX1685" fmla="*/ 191548 w 895350"/>
                  <a:gd name="connsiteY1685" fmla="*/ 715042 h 742950"/>
                  <a:gd name="connsiteX1686" fmla="*/ 192405 w 895350"/>
                  <a:gd name="connsiteY1686" fmla="*/ 715899 h 742950"/>
                  <a:gd name="connsiteX1687" fmla="*/ 194119 w 895350"/>
                  <a:gd name="connsiteY1687" fmla="*/ 715899 h 742950"/>
                  <a:gd name="connsiteX1688" fmla="*/ 194977 w 895350"/>
                  <a:gd name="connsiteY1688" fmla="*/ 716756 h 742950"/>
                  <a:gd name="connsiteX1689" fmla="*/ 196691 w 895350"/>
                  <a:gd name="connsiteY1689" fmla="*/ 719328 h 742950"/>
                  <a:gd name="connsiteX1690" fmla="*/ 197548 w 895350"/>
                  <a:gd name="connsiteY1690" fmla="*/ 721043 h 742950"/>
                  <a:gd name="connsiteX1691" fmla="*/ 197548 w 895350"/>
                  <a:gd name="connsiteY1691" fmla="*/ 721900 h 742950"/>
                  <a:gd name="connsiteX1692" fmla="*/ 196691 w 895350"/>
                  <a:gd name="connsiteY1692" fmla="*/ 722757 h 742950"/>
                  <a:gd name="connsiteX1693" fmla="*/ 195834 w 895350"/>
                  <a:gd name="connsiteY1693" fmla="*/ 722757 h 742950"/>
                  <a:gd name="connsiteX1694" fmla="*/ 194119 w 895350"/>
                  <a:gd name="connsiteY1694" fmla="*/ 721900 h 742950"/>
                  <a:gd name="connsiteX1695" fmla="*/ 187357 w 895350"/>
                  <a:gd name="connsiteY1695" fmla="*/ 716852 h 742950"/>
                  <a:gd name="connsiteX1696" fmla="*/ 186499 w 895350"/>
                  <a:gd name="connsiteY1696" fmla="*/ 716852 h 742950"/>
                  <a:gd name="connsiteX1697" fmla="*/ 185642 w 895350"/>
                  <a:gd name="connsiteY1697" fmla="*/ 716852 h 742950"/>
                  <a:gd name="connsiteX1698" fmla="*/ 185642 w 895350"/>
                  <a:gd name="connsiteY1698" fmla="*/ 715994 h 742950"/>
                  <a:gd name="connsiteX1699" fmla="*/ 184785 w 895350"/>
                  <a:gd name="connsiteY1699" fmla="*/ 716852 h 742950"/>
                  <a:gd name="connsiteX1700" fmla="*/ 183928 w 895350"/>
                  <a:gd name="connsiteY1700" fmla="*/ 716852 h 742950"/>
                  <a:gd name="connsiteX1701" fmla="*/ 183070 w 895350"/>
                  <a:gd name="connsiteY1701" fmla="*/ 717709 h 742950"/>
                  <a:gd name="connsiteX1702" fmla="*/ 183070 w 895350"/>
                  <a:gd name="connsiteY1702" fmla="*/ 718566 h 742950"/>
                  <a:gd name="connsiteX1703" fmla="*/ 183070 w 895350"/>
                  <a:gd name="connsiteY1703" fmla="*/ 721138 h 742950"/>
                  <a:gd name="connsiteX1704" fmla="*/ 183070 w 895350"/>
                  <a:gd name="connsiteY1704" fmla="*/ 721995 h 742950"/>
                  <a:gd name="connsiteX1705" fmla="*/ 183070 w 895350"/>
                  <a:gd name="connsiteY1705" fmla="*/ 721995 h 742950"/>
                  <a:gd name="connsiteX1706" fmla="*/ 181356 w 895350"/>
                  <a:gd name="connsiteY1706" fmla="*/ 722852 h 742950"/>
                  <a:gd name="connsiteX1707" fmla="*/ 180499 w 895350"/>
                  <a:gd name="connsiteY1707" fmla="*/ 722852 h 742950"/>
                  <a:gd name="connsiteX1708" fmla="*/ 179642 w 895350"/>
                  <a:gd name="connsiteY1708" fmla="*/ 723710 h 742950"/>
                  <a:gd name="connsiteX1709" fmla="*/ 178784 w 895350"/>
                  <a:gd name="connsiteY1709" fmla="*/ 723710 h 742950"/>
                  <a:gd name="connsiteX1710" fmla="*/ 178784 w 895350"/>
                  <a:gd name="connsiteY1710" fmla="*/ 723710 h 742950"/>
                  <a:gd name="connsiteX1711" fmla="*/ 177927 w 895350"/>
                  <a:gd name="connsiteY1711" fmla="*/ 724567 h 742950"/>
                  <a:gd name="connsiteX1712" fmla="*/ 177070 w 895350"/>
                  <a:gd name="connsiteY1712" fmla="*/ 724567 h 742950"/>
                  <a:gd name="connsiteX1713" fmla="*/ 177070 w 895350"/>
                  <a:gd name="connsiteY1713" fmla="*/ 724567 h 742950"/>
                  <a:gd name="connsiteX1714" fmla="*/ 177070 w 895350"/>
                  <a:gd name="connsiteY1714" fmla="*/ 724567 h 742950"/>
                  <a:gd name="connsiteX1715" fmla="*/ 176213 w 895350"/>
                  <a:gd name="connsiteY1715" fmla="*/ 723710 h 742950"/>
                  <a:gd name="connsiteX1716" fmla="*/ 175355 w 895350"/>
                  <a:gd name="connsiteY1716" fmla="*/ 723710 h 742950"/>
                  <a:gd name="connsiteX1717" fmla="*/ 174498 w 895350"/>
                  <a:gd name="connsiteY1717" fmla="*/ 723710 h 742950"/>
                  <a:gd name="connsiteX1718" fmla="*/ 173641 w 895350"/>
                  <a:gd name="connsiteY1718" fmla="*/ 723710 h 742950"/>
                  <a:gd name="connsiteX1719" fmla="*/ 172784 w 895350"/>
                  <a:gd name="connsiteY1719" fmla="*/ 723710 h 742950"/>
                  <a:gd name="connsiteX1720" fmla="*/ 172784 w 895350"/>
                  <a:gd name="connsiteY1720" fmla="*/ 723710 h 742950"/>
                  <a:gd name="connsiteX1721" fmla="*/ 171926 w 895350"/>
                  <a:gd name="connsiteY1721" fmla="*/ 724567 h 742950"/>
                  <a:gd name="connsiteX1722" fmla="*/ 171926 w 895350"/>
                  <a:gd name="connsiteY1722" fmla="*/ 724567 h 742950"/>
                  <a:gd name="connsiteX1723" fmla="*/ 171926 w 895350"/>
                  <a:gd name="connsiteY1723" fmla="*/ 726281 h 742950"/>
                  <a:gd name="connsiteX1724" fmla="*/ 172784 w 895350"/>
                  <a:gd name="connsiteY1724" fmla="*/ 729710 h 742950"/>
                  <a:gd name="connsiteX1725" fmla="*/ 172784 w 895350"/>
                  <a:gd name="connsiteY1725" fmla="*/ 730568 h 742950"/>
                  <a:gd name="connsiteX1726" fmla="*/ 172784 w 895350"/>
                  <a:gd name="connsiteY1726" fmla="*/ 732282 h 742950"/>
                  <a:gd name="connsiteX1727" fmla="*/ 171926 w 895350"/>
                  <a:gd name="connsiteY1727" fmla="*/ 733139 h 742950"/>
                  <a:gd name="connsiteX1728" fmla="*/ 171069 w 895350"/>
                  <a:gd name="connsiteY1728" fmla="*/ 734854 h 742950"/>
                  <a:gd name="connsiteX1729" fmla="*/ 176117 w 895350"/>
                  <a:gd name="connsiteY1729" fmla="*/ 741616 h 742950"/>
                  <a:gd name="connsiteX1730" fmla="*/ 178689 w 895350"/>
                  <a:gd name="connsiteY1730" fmla="*/ 744188 h 742950"/>
                  <a:gd name="connsiteX1731" fmla="*/ 184594 w 895350"/>
                  <a:gd name="connsiteY1731" fmla="*/ 747617 h 742950"/>
                  <a:gd name="connsiteX1732" fmla="*/ 187166 w 895350"/>
                  <a:gd name="connsiteY1732" fmla="*/ 748474 h 742950"/>
                  <a:gd name="connsiteX1733" fmla="*/ 188023 w 895350"/>
                  <a:gd name="connsiteY1733" fmla="*/ 749332 h 742950"/>
                  <a:gd name="connsiteX1734" fmla="*/ 189738 w 895350"/>
                  <a:gd name="connsiteY1734" fmla="*/ 749332 h 742950"/>
                  <a:gd name="connsiteX1735" fmla="*/ 192310 w 895350"/>
                  <a:gd name="connsiteY1735" fmla="*/ 748474 h 742950"/>
                  <a:gd name="connsiteX1736" fmla="*/ 192310 w 895350"/>
                  <a:gd name="connsiteY1736" fmla="*/ 748474 h 742950"/>
                  <a:gd name="connsiteX1737" fmla="*/ 194024 w 895350"/>
                  <a:gd name="connsiteY1737" fmla="*/ 748474 h 742950"/>
                  <a:gd name="connsiteX1738" fmla="*/ 194881 w 895350"/>
                  <a:gd name="connsiteY1738" fmla="*/ 747617 h 742950"/>
                  <a:gd name="connsiteX1739" fmla="*/ 199930 w 895350"/>
                  <a:gd name="connsiteY1739" fmla="*/ 742569 h 742950"/>
                  <a:gd name="connsiteX1740" fmla="*/ 199930 w 895350"/>
                  <a:gd name="connsiteY1740" fmla="*/ 740855 h 742950"/>
                  <a:gd name="connsiteX1741" fmla="*/ 200787 w 895350"/>
                  <a:gd name="connsiteY1741" fmla="*/ 739140 h 742950"/>
                  <a:gd name="connsiteX1742" fmla="*/ 199930 w 895350"/>
                  <a:gd name="connsiteY1742" fmla="*/ 737425 h 742950"/>
                  <a:gd name="connsiteX1743" fmla="*/ 200787 w 895350"/>
                  <a:gd name="connsiteY1743" fmla="*/ 736568 h 742950"/>
                  <a:gd name="connsiteX1744" fmla="*/ 200787 w 895350"/>
                  <a:gd name="connsiteY1744" fmla="*/ 736568 h 742950"/>
                  <a:gd name="connsiteX1745" fmla="*/ 200787 w 895350"/>
                  <a:gd name="connsiteY1745" fmla="*/ 735711 h 742950"/>
                  <a:gd name="connsiteX1746" fmla="*/ 201644 w 895350"/>
                  <a:gd name="connsiteY1746" fmla="*/ 736568 h 742950"/>
                  <a:gd name="connsiteX1747" fmla="*/ 202501 w 895350"/>
                  <a:gd name="connsiteY1747" fmla="*/ 737425 h 742950"/>
                  <a:gd name="connsiteX1748" fmla="*/ 203359 w 895350"/>
                  <a:gd name="connsiteY1748" fmla="*/ 737425 h 742950"/>
                  <a:gd name="connsiteX1749" fmla="*/ 204216 w 895350"/>
                  <a:gd name="connsiteY1749" fmla="*/ 737425 h 742950"/>
                  <a:gd name="connsiteX1750" fmla="*/ 208502 w 895350"/>
                  <a:gd name="connsiteY1750" fmla="*/ 733997 h 742950"/>
                  <a:gd name="connsiteX1751" fmla="*/ 209359 w 895350"/>
                  <a:gd name="connsiteY1751" fmla="*/ 733139 h 742950"/>
                  <a:gd name="connsiteX1752" fmla="*/ 210217 w 895350"/>
                  <a:gd name="connsiteY1752" fmla="*/ 732282 h 742950"/>
                  <a:gd name="connsiteX1753" fmla="*/ 212788 w 895350"/>
                  <a:gd name="connsiteY1753" fmla="*/ 724662 h 742950"/>
                  <a:gd name="connsiteX1754" fmla="*/ 215360 w 895350"/>
                  <a:gd name="connsiteY1754" fmla="*/ 717042 h 742950"/>
                  <a:gd name="connsiteX1755" fmla="*/ 216217 w 895350"/>
                  <a:gd name="connsiteY1755" fmla="*/ 714470 h 742950"/>
                  <a:gd name="connsiteX1756" fmla="*/ 216217 w 895350"/>
                  <a:gd name="connsiteY1756" fmla="*/ 712565 h 742950"/>
                  <a:gd name="connsiteX1757" fmla="*/ 216217 w 895350"/>
                  <a:gd name="connsiteY1757" fmla="*/ 709136 h 742950"/>
                  <a:gd name="connsiteX1758" fmla="*/ 216217 w 895350"/>
                  <a:gd name="connsiteY1758" fmla="*/ 708279 h 742950"/>
                  <a:gd name="connsiteX1759" fmla="*/ 217075 w 895350"/>
                  <a:gd name="connsiteY1759" fmla="*/ 707422 h 742950"/>
                  <a:gd name="connsiteX1760" fmla="*/ 217932 w 895350"/>
                  <a:gd name="connsiteY1760" fmla="*/ 705707 h 742950"/>
                  <a:gd name="connsiteX1761" fmla="*/ 218789 w 895350"/>
                  <a:gd name="connsiteY1761" fmla="*/ 704850 h 742950"/>
                  <a:gd name="connsiteX1762" fmla="*/ 219646 w 895350"/>
                  <a:gd name="connsiteY1762" fmla="*/ 703993 h 742950"/>
                  <a:gd name="connsiteX1763" fmla="*/ 221361 w 895350"/>
                  <a:gd name="connsiteY1763" fmla="*/ 703993 h 742950"/>
                  <a:gd name="connsiteX1764" fmla="*/ 223075 w 895350"/>
                  <a:gd name="connsiteY1764" fmla="*/ 703993 h 742950"/>
                  <a:gd name="connsiteX1765" fmla="*/ 223933 w 895350"/>
                  <a:gd name="connsiteY1765" fmla="*/ 703136 h 742950"/>
                  <a:gd name="connsiteX1766" fmla="*/ 223933 w 895350"/>
                  <a:gd name="connsiteY1766" fmla="*/ 702278 h 742950"/>
                  <a:gd name="connsiteX1767" fmla="*/ 224790 w 895350"/>
                  <a:gd name="connsiteY1767" fmla="*/ 700564 h 742950"/>
                  <a:gd name="connsiteX1768" fmla="*/ 225647 w 895350"/>
                  <a:gd name="connsiteY1768" fmla="*/ 699706 h 742950"/>
                  <a:gd name="connsiteX1769" fmla="*/ 227362 w 895350"/>
                  <a:gd name="connsiteY1769" fmla="*/ 698849 h 742950"/>
                  <a:gd name="connsiteX1770" fmla="*/ 231648 w 895350"/>
                  <a:gd name="connsiteY1770" fmla="*/ 698849 h 742950"/>
                  <a:gd name="connsiteX1771" fmla="*/ 234220 w 895350"/>
                  <a:gd name="connsiteY1771" fmla="*/ 697992 h 742950"/>
                  <a:gd name="connsiteX1772" fmla="*/ 235934 w 895350"/>
                  <a:gd name="connsiteY1772" fmla="*/ 697135 h 742950"/>
                  <a:gd name="connsiteX1773" fmla="*/ 240982 w 895350"/>
                  <a:gd name="connsiteY1773" fmla="*/ 697135 h 742950"/>
                  <a:gd name="connsiteX1774" fmla="*/ 241840 w 895350"/>
                  <a:gd name="connsiteY1774" fmla="*/ 697992 h 742950"/>
                  <a:gd name="connsiteX1775" fmla="*/ 242697 w 895350"/>
                  <a:gd name="connsiteY1775" fmla="*/ 698849 h 742950"/>
                  <a:gd name="connsiteX1776" fmla="*/ 242697 w 895350"/>
                  <a:gd name="connsiteY1776" fmla="*/ 700564 h 742950"/>
                  <a:gd name="connsiteX1777" fmla="*/ 243554 w 895350"/>
                  <a:gd name="connsiteY1777" fmla="*/ 701421 h 742950"/>
                  <a:gd name="connsiteX1778" fmla="*/ 244411 w 895350"/>
                  <a:gd name="connsiteY1778" fmla="*/ 702278 h 742950"/>
                  <a:gd name="connsiteX1779" fmla="*/ 245269 w 895350"/>
                  <a:gd name="connsiteY1779" fmla="*/ 701421 h 742950"/>
                  <a:gd name="connsiteX1780" fmla="*/ 246983 w 895350"/>
                  <a:gd name="connsiteY1780" fmla="*/ 700564 h 742950"/>
                  <a:gd name="connsiteX1781" fmla="*/ 247840 w 895350"/>
                  <a:gd name="connsiteY1781" fmla="*/ 699706 h 742950"/>
                  <a:gd name="connsiteX1782" fmla="*/ 248698 w 895350"/>
                  <a:gd name="connsiteY1782" fmla="*/ 698849 h 742950"/>
                  <a:gd name="connsiteX1783" fmla="*/ 248698 w 895350"/>
                  <a:gd name="connsiteY1783" fmla="*/ 697992 h 742950"/>
                  <a:gd name="connsiteX1784" fmla="*/ 248698 w 895350"/>
                  <a:gd name="connsiteY1784" fmla="*/ 696278 h 742950"/>
                  <a:gd name="connsiteX1785" fmla="*/ 249555 w 895350"/>
                  <a:gd name="connsiteY1785" fmla="*/ 695420 h 742950"/>
                  <a:gd name="connsiteX1786" fmla="*/ 250412 w 895350"/>
                  <a:gd name="connsiteY1786" fmla="*/ 695420 h 742950"/>
                  <a:gd name="connsiteX1787" fmla="*/ 252127 w 895350"/>
                  <a:gd name="connsiteY1787" fmla="*/ 695420 h 742950"/>
                  <a:gd name="connsiteX1788" fmla="*/ 254698 w 895350"/>
                  <a:gd name="connsiteY1788" fmla="*/ 696278 h 742950"/>
                  <a:gd name="connsiteX1789" fmla="*/ 255556 w 895350"/>
                  <a:gd name="connsiteY1789" fmla="*/ 696278 h 742950"/>
                  <a:gd name="connsiteX1790" fmla="*/ 256413 w 895350"/>
                  <a:gd name="connsiteY1790" fmla="*/ 696278 h 742950"/>
                  <a:gd name="connsiteX1791" fmla="*/ 256413 w 895350"/>
                  <a:gd name="connsiteY1791" fmla="*/ 697135 h 742950"/>
                  <a:gd name="connsiteX1792" fmla="*/ 257270 w 895350"/>
                  <a:gd name="connsiteY1792" fmla="*/ 697135 h 742950"/>
                  <a:gd name="connsiteX1793" fmla="*/ 257270 w 895350"/>
                  <a:gd name="connsiteY1793" fmla="*/ 698849 h 742950"/>
                  <a:gd name="connsiteX1794" fmla="*/ 258127 w 895350"/>
                  <a:gd name="connsiteY1794" fmla="*/ 699706 h 742950"/>
                  <a:gd name="connsiteX1795" fmla="*/ 258985 w 895350"/>
                  <a:gd name="connsiteY1795" fmla="*/ 700564 h 742950"/>
                  <a:gd name="connsiteX1796" fmla="*/ 261556 w 895350"/>
                  <a:gd name="connsiteY1796" fmla="*/ 700564 h 742950"/>
                  <a:gd name="connsiteX1797" fmla="*/ 262414 w 895350"/>
                  <a:gd name="connsiteY1797" fmla="*/ 700564 h 742950"/>
                  <a:gd name="connsiteX1798" fmla="*/ 264128 w 895350"/>
                  <a:gd name="connsiteY1798" fmla="*/ 701421 h 742950"/>
                  <a:gd name="connsiteX1799" fmla="*/ 264986 w 895350"/>
                  <a:gd name="connsiteY1799" fmla="*/ 702278 h 742950"/>
                  <a:gd name="connsiteX1800" fmla="*/ 266700 w 895350"/>
                  <a:gd name="connsiteY1800" fmla="*/ 702278 h 742950"/>
                  <a:gd name="connsiteX1801" fmla="*/ 269272 w 895350"/>
                  <a:gd name="connsiteY1801" fmla="*/ 701421 h 742950"/>
                  <a:gd name="connsiteX1802" fmla="*/ 273558 w 895350"/>
                  <a:gd name="connsiteY1802" fmla="*/ 701421 h 742950"/>
                  <a:gd name="connsiteX1803" fmla="*/ 274415 w 895350"/>
                  <a:gd name="connsiteY1803" fmla="*/ 701421 h 742950"/>
                  <a:gd name="connsiteX1804" fmla="*/ 276130 w 895350"/>
                  <a:gd name="connsiteY1804" fmla="*/ 700564 h 742950"/>
                  <a:gd name="connsiteX1805" fmla="*/ 276130 w 895350"/>
                  <a:gd name="connsiteY1805" fmla="*/ 699706 h 742950"/>
                  <a:gd name="connsiteX1806" fmla="*/ 279559 w 895350"/>
                  <a:gd name="connsiteY1806" fmla="*/ 696278 h 742950"/>
                  <a:gd name="connsiteX1807" fmla="*/ 282988 w 895350"/>
                  <a:gd name="connsiteY1807" fmla="*/ 690372 h 742950"/>
                  <a:gd name="connsiteX1808" fmla="*/ 284702 w 895350"/>
                  <a:gd name="connsiteY1808" fmla="*/ 689515 h 742950"/>
                  <a:gd name="connsiteX1809" fmla="*/ 285560 w 895350"/>
                  <a:gd name="connsiteY1809" fmla="*/ 688657 h 742950"/>
                  <a:gd name="connsiteX1810" fmla="*/ 287274 w 895350"/>
                  <a:gd name="connsiteY1810" fmla="*/ 689515 h 742950"/>
                  <a:gd name="connsiteX1811" fmla="*/ 288989 w 895350"/>
                  <a:gd name="connsiteY1811" fmla="*/ 690372 h 742950"/>
                  <a:gd name="connsiteX1812" fmla="*/ 289846 w 895350"/>
                  <a:gd name="connsiteY1812" fmla="*/ 691229 h 742950"/>
                  <a:gd name="connsiteX1813" fmla="*/ 290703 w 895350"/>
                  <a:gd name="connsiteY1813" fmla="*/ 691229 h 742950"/>
                  <a:gd name="connsiteX1814" fmla="*/ 291560 w 895350"/>
                  <a:gd name="connsiteY1814" fmla="*/ 691229 h 742950"/>
                  <a:gd name="connsiteX1815" fmla="*/ 293275 w 895350"/>
                  <a:gd name="connsiteY1815" fmla="*/ 689515 h 742950"/>
                  <a:gd name="connsiteX1816" fmla="*/ 295846 w 895350"/>
                  <a:gd name="connsiteY1816" fmla="*/ 686943 h 742950"/>
                  <a:gd name="connsiteX1817" fmla="*/ 297561 w 895350"/>
                  <a:gd name="connsiteY1817" fmla="*/ 685229 h 742950"/>
                  <a:gd name="connsiteX1818" fmla="*/ 298418 w 895350"/>
                  <a:gd name="connsiteY1818" fmla="*/ 683514 h 742950"/>
                  <a:gd name="connsiteX1819" fmla="*/ 299275 w 895350"/>
                  <a:gd name="connsiteY1819" fmla="*/ 682657 h 742950"/>
                  <a:gd name="connsiteX1820" fmla="*/ 303562 w 895350"/>
                  <a:gd name="connsiteY1820" fmla="*/ 680942 h 742950"/>
                  <a:gd name="connsiteX1821" fmla="*/ 304419 w 895350"/>
                  <a:gd name="connsiteY1821" fmla="*/ 680085 h 742950"/>
                  <a:gd name="connsiteX1822" fmla="*/ 304419 w 895350"/>
                  <a:gd name="connsiteY1822" fmla="*/ 678371 h 742950"/>
                  <a:gd name="connsiteX1823" fmla="*/ 303562 w 895350"/>
                  <a:gd name="connsiteY1823" fmla="*/ 677513 h 742950"/>
                  <a:gd name="connsiteX1824" fmla="*/ 303562 w 895350"/>
                  <a:gd name="connsiteY1824" fmla="*/ 676656 h 742950"/>
                  <a:gd name="connsiteX1825" fmla="*/ 303562 w 895350"/>
                  <a:gd name="connsiteY1825" fmla="*/ 675799 h 742950"/>
                  <a:gd name="connsiteX1826" fmla="*/ 305276 w 895350"/>
                  <a:gd name="connsiteY1826" fmla="*/ 673227 h 742950"/>
                  <a:gd name="connsiteX1827" fmla="*/ 305276 w 895350"/>
                  <a:gd name="connsiteY1827" fmla="*/ 672370 h 742950"/>
                  <a:gd name="connsiteX1828" fmla="*/ 305276 w 895350"/>
                  <a:gd name="connsiteY1828" fmla="*/ 670655 h 742950"/>
                  <a:gd name="connsiteX1829" fmla="*/ 306133 w 895350"/>
                  <a:gd name="connsiteY1829" fmla="*/ 669798 h 742950"/>
                  <a:gd name="connsiteX1830" fmla="*/ 306133 w 895350"/>
                  <a:gd name="connsiteY1830" fmla="*/ 668941 h 742950"/>
                  <a:gd name="connsiteX1831" fmla="*/ 306991 w 895350"/>
                  <a:gd name="connsiteY1831" fmla="*/ 668941 h 742950"/>
                  <a:gd name="connsiteX1832" fmla="*/ 308705 w 895350"/>
                  <a:gd name="connsiteY1832" fmla="*/ 668083 h 742950"/>
                  <a:gd name="connsiteX1833" fmla="*/ 311277 w 895350"/>
                  <a:gd name="connsiteY1833" fmla="*/ 667226 h 742950"/>
                  <a:gd name="connsiteX1834" fmla="*/ 312991 w 895350"/>
                  <a:gd name="connsiteY1834" fmla="*/ 667226 h 742950"/>
                  <a:gd name="connsiteX1835" fmla="*/ 314706 w 895350"/>
                  <a:gd name="connsiteY1835" fmla="*/ 668083 h 742950"/>
                  <a:gd name="connsiteX1836" fmla="*/ 316420 w 895350"/>
                  <a:gd name="connsiteY1836" fmla="*/ 668941 h 742950"/>
                  <a:gd name="connsiteX1837" fmla="*/ 317278 w 895350"/>
                  <a:gd name="connsiteY1837" fmla="*/ 669798 h 742950"/>
                  <a:gd name="connsiteX1838" fmla="*/ 318992 w 895350"/>
                  <a:gd name="connsiteY1838" fmla="*/ 671513 h 742950"/>
                  <a:gd name="connsiteX1839" fmla="*/ 319849 w 895350"/>
                  <a:gd name="connsiteY1839" fmla="*/ 672370 h 742950"/>
                  <a:gd name="connsiteX1840" fmla="*/ 320707 w 895350"/>
                  <a:gd name="connsiteY1840" fmla="*/ 674084 h 742950"/>
                  <a:gd name="connsiteX1841" fmla="*/ 321564 w 895350"/>
                  <a:gd name="connsiteY1841" fmla="*/ 674084 h 742950"/>
                  <a:gd name="connsiteX1842" fmla="*/ 323278 w 895350"/>
                  <a:gd name="connsiteY1842" fmla="*/ 674941 h 742950"/>
                  <a:gd name="connsiteX1843" fmla="*/ 330898 w 895350"/>
                  <a:gd name="connsiteY1843" fmla="*/ 673227 h 742950"/>
                  <a:gd name="connsiteX1844" fmla="*/ 332613 w 895350"/>
                  <a:gd name="connsiteY1844" fmla="*/ 673227 h 742950"/>
                  <a:gd name="connsiteX1845" fmla="*/ 333470 w 895350"/>
                  <a:gd name="connsiteY1845" fmla="*/ 674084 h 742950"/>
                  <a:gd name="connsiteX1846" fmla="*/ 333470 w 895350"/>
                  <a:gd name="connsiteY1846" fmla="*/ 675799 h 742950"/>
                  <a:gd name="connsiteX1847" fmla="*/ 333470 w 895350"/>
                  <a:gd name="connsiteY1847" fmla="*/ 676656 h 742950"/>
                  <a:gd name="connsiteX1848" fmla="*/ 333470 w 895350"/>
                  <a:gd name="connsiteY1848" fmla="*/ 677513 h 742950"/>
                  <a:gd name="connsiteX1849" fmla="*/ 333470 w 895350"/>
                  <a:gd name="connsiteY1849" fmla="*/ 678371 h 742950"/>
                  <a:gd name="connsiteX1850" fmla="*/ 334328 w 895350"/>
                  <a:gd name="connsiteY1850" fmla="*/ 679228 h 742950"/>
                  <a:gd name="connsiteX1851" fmla="*/ 336899 w 895350"/>
                  <a:gd name="connsiteY1851" fmla="*/ 680942 h 742950"/>
                  <a:gd name="connsiteX1852" fmla="*/ 338614 w 895350"/>
                  <a:gd name="connsiteY1852" fmla="*/ 680942 h 742950"/>
                  <a:gd name="connsiteX1853" fmla="*/ 341186 w 895350"/>
                  <a:gd name="connsiteY1853" fmla="*/ 680942 h 742950"/>
                  <a:gd name="connsiteX1854" fmla="*/ 342043 w 895350"/>
                  <a:gd name="connsiteY1854" fmla="*/ 680942 h 742950"/>
                  <a:gd name="connsiteX1855" fmla="*/ 342900 w 895350"/>
                  <a:gd name="connsiteY1855" fmla="*/ 680942 h 742950"/>
                  <a:gd name="connsiteX1856" fmla="*/ 343757 w 895350"/>
                  <a:gd name="connsiteY1856" fmla="*/ 680942 h 742950"/>
                  <a:gd name="connsiteX1857" fmla="*/ 344615 w 895350"/>
                  <a:gd name="connsiteY1857" fmla="*/ 679228 h 742950"/>
                  <a:gd name="connsiteX1858" fmla="*/ 344615 w 895350"/>
                  <a:gd name="connsiteY1858" fmla="*/ 678371 h 742950"/>
                  <a:gd name="connsiteX1859" fmla="*/ 344615 w 895350"/>
                  <a:gd name="connsiteY1859" fmla="*/ 678371 h 742950"/>
                  <a:gd name="connsiteX1860" fmla="*/ 343757 w 895350"/>
                  <a:gd name="connsiteY1860" fmla="*/ 677513 h 742950"/>
                  <a:gd name="connsiteX1861" fmla="*/ 342900 w 895350"/>
                  <a:gd name="connsiteY1861" fmla="*/ 676656 h 742950"/>
                  <a:gd name="connsiteX1862" fmla="*/ 342043 w 895350"/>
                  <a:gd name="connsiteY1862" fmla="*/ 676656 h 742950"/>
                  <a:gd name="connsiteX1863" fmla="*/ 341186 w 895350"/>
                  <a:gd name="connsiteY1863" fmla="*/ 675799 h 742950"/>
                  <a:gd name="connsiteX1864" fmla="*/ 341186 w 895350"/>
                  <a:gd name="connsiteY1864" fmla="*/ 675799 h 742950"/>
                  <a:gd name="connsiteX1865" fmla="*/ 340328 w 895350"/>
                  <a:gd name="connsiteY1865" fmla="*/ 674941 h 742950"/>
                  <a:gd name="connsiteX1866" fmla="*/ 340328 w 895350"/>
                  <a:gd name="connsiteY1866" fmla="*/ 674084 h 742950"/>
                  <a:gd name="connsiteX1867" fmla="*/ 341186 w 895350"/>
                  <a:gd name="connsiteY1867" fmla="*/ 672370 h 742950"/>
                  <a:gd name="connsiteX1868" fmla="*/ 342043 w 895350"/>
                  <a:gd name="connsiteY1868" fmla="*/ 672370 h 742950"/>
                  <a:gd name="connsiteX1869" fmla="*/ 342900 w 895350"/>
                  <a:gd name="connsiteY1869" fmla="*/ 672370 h 742950"/>
                  <a:gd name="connsiteX1870" fmla="*/ 343757 w 895350"/>
                  <a:gd name="connsiteY1870" fmla="*/ 672370 h 742950"/>
                  <a:gd name="connsiteX1871" fmla="*/ 345472 w 895350"/>
                  <a:gd name="connsiteY1871" fmla="*/ 673227 h 742950"/>
                  <a:gd name="connsiteX1872" fmla="*/ 348044 w 895350"/>
                  <a:gd name="connsiteY1872" fmla="*/ 672370 h 742950"/>
                  <a:gd name="connsiteX1873" fmla="*/ 353949 w 895350"/>
                  <a:gd name="connsiteY1873" fmla="*/ 669798 h 742950"/>
                  <a:gd name="connsiteX1874" fmla="*/ 363283 w 895350"/>
                  <a:gd name="connsiteY1874" fmla="*/ 664750 h 742950"/>
                  <a:gd name="connsiteX1875" fmla="*/ 364141 w 895350"/>
                  <a:gd name="connsiteY1875" fmla="*/ 663035 h 742950"/>
                  <a:gd name="connsiteX1876" fmla="*/ 364141 w 895350"/>
                  <a:gd name="connsiteY1876" fmla="*/ 662178 h 742950"/>
                  <a:gd name="connsiteX1877" fmla="*/ 364141 w 895350"/>
                  <a:gd name="connsiteY1877" fmla="*/ 661321 h 742950"/>
                  <a:gd name="connsiteX1878" fmla="*/ 363283 w 895350"/>
                  <a:gd name="connsiteY1878" fmla="*/ 660463 h 742950"/>
                  <a:gd name="connsiteX1879" fmla="*/ 363283 w 895350"/>
                  <a:gd name="connsiteY1879" fmla="*/ 659606 h 742950"/>
                  <a:gd name="connsiteX1880" fmla="*/ 363283 w 895350"/>
                  <a:gd name="connsiteY1880" fmla="*/ 658749 h 742950"/>
                  <a:gd name="connsiteX1881" fmla="*/ 364141 w 895350"/>
                  <a:gd name="connsiteY1881" fmla="*/ 657892 h 742950"/>
                  <a:gd name="connsiteX1882" fmla="*/ 365855 w 895350"/>
                  <a:gd name="connsiteY1882" fmla="*/ 656177 h 742950"/>
                  <a:gd name="connsiteX1883" fmla="*/ 367570 w 895350"/>
                  <a:gd name="connsiteY1883" fmla="*/ 654463 h 742950"/>
                  <a:gd name="connsiteX1884" fmla="*/ 370141 w 895350"/>
                  <a:gd name="connsiteY1884" fmla="*/ 653605 h 742950"/>
                  <a:gd name="connsiteX1885" fmla="*/ 372713 w 895350"/>
                  <a:gd name="connsiteY1885" fmla="*/ 652748 h 742950"/>
                  <a:gd name="connsiteX1886" fmla="*/ 373570 w 895350"/>
                  <a:gd name="connsiteY1886" fmla="*/ 651891 h 742950"/>
                  <a:gd name="connsiteX1887" fmla="*/ 373570 w 895350"/>
                  <a:gd name="connsiteY1887" fmla="*/ 651034 h 742950"/>
                  <a:gd name="connsiteX1888" fmla="*/ 373570 w 895350"/>
                  <a:gd name="connsiteY1888" fmla="*/ 650177 h 742950"/>
                  <a:gd name="connsiteX1889" fmla="*/ 373570 w 895350"/>
                  <a:gd name="connsiteY1889" fmla="*/ 649319 h 742950"/>
                  <a:gd name="connsiteX1890" fmla="*/ 373570 w 895350"/>
                  <a:gd name="connsiteY1890" fmla="*/ 649319 h 742950"/>
                  <a:gd name="connsiteX1891" fmla="*/ 372713 w 895350"/>
                  <a:gd name="connsiteY1891" fmla="*/ 648462 h 742950"/>
                  <a:gd name="connsiteX1892" fmla="*/ 371856 w 895350"/>
                  <a:gd name="connsiteY1892" fmla="*/ 647605 h 742950"/>
                  <a:gd name="connsiteX1893" fmla="*/ 370999 w 895350"/>
                  <a:gd name="connsiteY1893" fmla="*/ 646747 h 742950"/>
                  <a:gd name="connsiteX1894" fmla="*/ 370999 w 895350"/>
                  <a:gd name="connsiteY1894" fmla="*/ 646747 h 742950"/>
                  <a:gd name="connsiteX1895" fmla="*/ 370999 w 895350"/>
                  <a:gd name="connsiteY1895" fmla="*/ 645890 h 742950"/>
                  <a:gd name="connsiteX1896" fmla="*/ 371856 w 895350"/>
                  <a:gd name="connsiteY1896" fmla="*/ 645033 h 742950"/>
                  <a:gd name="connsiteX1897" fmla="*/ 372713 w 895350"/>
                  <a:gd name="connsiteY1897" fmla="*/ 645033 h 742950"/>
                  <a:gd name="connsiteX1898" fmla="*/ 373570 w 895350"/>
                  <a:gd name="connsiteY1898" fmla="*/ 645033 h 742950"/>
                  <a:gd name="connsiteX1899" fmla="*/ 375285 w 895350"/>
                  <a:gd name="connsiteY1899" fmla="*/ 646747 h 742950"/>
                  <a:gd name="connsiteX1900" fmla="*/ 377857 w 895350"/>
                  <a:gd name="connsiteY1900" fmla="*/ 647605 h 742950"/>
                  <a:gd name="connsiteX1901" fmla="*/ 380428 w 895350"/>
                  <a:gd name="connsiteY1901" fmla="*/ 647605 h 742950"/>
                  <a:gd name="connsiteX1902" fmla="*/ 380428 w 895350"/>
                  <a:gd name="connsiteY1902" fmla="*/ 648462 h 742950"/>
                  <a:gd name="connsiteX1903" fmla="*/ 380428 w 895350"/>
                  <a:gd name="connsiteY1903" fmla="*/ 649319 h 742950"/>
                  <a:gd name="connsiteX1904" fmla="*/ 380428 w 895350"/>
                  <a:gd name="connsiteY1904" fmla="*/ 650177 h 742950"/>
                  <a:gd name="connsiteX1905" fmla="*/ 379571 w 895350"/>
                  <a:gd name="connsiteY1905" fmla="*/ 651034 h 742950"/>
                  <a:gd name="connsiteX1906" fmla="*/ 379571 w 895350"/>
                  <a:gd name="connsiteY1906" fmla="*/ 651891 h 742950"/>
                  <a:gd name="connsiteX1907" fmla="*/ 378714 w 895350"/>
                  <a:gd name="connsiteY1907" fmla="*/ 651891 h 742950"/>
                  <a:gd name="connsiteX1908" fmla="*/ 378714 w 895350"/>
                  <a:gd name="connsiteY1908" fmla="*/ 652748 h 742950"/>
                  <a:gd name="connsiteX1909" fmla="*/ 378714 w 895350"/>
                  <a:gd name="connsiteY1909" fmla="*/ 653605 h 742950"/>
                  <a:gd name="connsiteX1910" fmla="*/ 379571 w 895350"/>
                  <a:gd name="connsiteY1910" fmla="*/ 653605 h 742950"/>
                  <a:gd name="connsiteX1911" fmla="*/ 380428 w 895350"/>
                  <a:gd name="connsiteY1911" fmla="*/ 654463 h 742950"/>
                  <a:gd name="connsiteX1912" fmla="*/ 383000 w 895350"/>
                  <a:gd name="connsiteY1912" fmla="*/ 653605 h 742950"/>
                  <a:gd name="connsiteX1913" fmla="*/ 384715 w 895350"/>
                  <a:gd name="connsiteY1913" fmla="*/ 653605 h 742950"/>
                  <a:gd name="connsiteX1914" fmla="*/ 390620 w 895350"/>
                  <a:gd name="connsiteY1914" fmla="*/ 655320 h 742950"/>
                  <a:gd name="connsiteX1915" fmla="*/ 393192 w 895350"/>
                  <a:gd name="connsiteY1915" fmla="*/ 655320 h 742950"/>
                  <a:gd name="connsiteX1916" fmla="*/ 396621 w 895350"/>
                  <a:gd name="connsiteY1916" fmla="*/ 653605 h 742950"/>
                  <a:gd name="connsiteX1917" fmla="*/ 396621 w 895350"/>
                  <a:gd name="connsiteY1917" fmla="*/ 652748 h 742950"/>
                  <a:gd name="connsiteX1918" fmla="*/ 396621 w 895350"/>
                  <a:gd name="connsiteY1918" fmla="*/ 652748 h 742950"/>
                  <a:gd name="connsiteX1919" fmla="*/ 396621 w 895350"/>
                  <a:gd name="connsiteY1919" fmla="*/ 652748 h 742950"/>
                  <a:gd name="connsiteX1920" fmla="*/ 395764 w 895350"/>
                  <a:gd name="connsiteY1920" fmla="*/ 652748 h 742950"/>
                  <a:gd name="connsiteX1921" fmla="*/ 394907 w 895350"/>
                  <a:gd name="connsiteY1921" fmla="*/ 652748 h 742950"/>
                  <a:gd name="connsiteX1922" fmla="*/ 394049 w 895350"/>
                  <a:gd name="connsiteY1922" fmla="*/ 651891 h 742950"/>
                  <a:gd name="connsiteX1923" fmla="*/ 393192 w 895350"/>
                  <a:gd name="connsiteY1923" fmla="*/ 651034 h 742950"/>
                  <a:gd name="connsiteX1924" fmla="*/ 392335 w 895350"/>
                  <a:gd name="connsiteY1924" fmla="*/ 651034 h 742950"/>
                  <a:gd name="connsiteX1925" fmla="*/ 387286 w 895350"/>
                  <a:gd name="connsiteY1925" fmla="*/ 651034 h 742950"/>
                  <a:gd name="connsiteX1926" fmla="*/ 384715 w 895350"/>
                  <a:gd name="connsiteY1926" fmla="*/ 650177 h 742950"/>
                  <a:gd name="connsiteX1927" fmla="*/ 383000 w 895350"/>
                  <a:gd name="connsiteY1927" fmla="*/ 649319 h 742950"/>
                  <a:gd name="connsiteX1928" fmla="*/ 381286 w 895350"/>
                  <a:gd name="connsiteY1928" fmla="*/ 649319 h 742950"/>
                  <a:gd name="connsiteX1929" fmla="*/ 380428 w 895350"/>
                  <a:gd name="connsiteY1929" fmla="*/ 647605 h 742950"/>
                  <a:gd name="connsiteX1930" fmla="*/ 379571 w 895350"/>
                  <a:gd name="connsiteY1930" fmla="*/ 645033 h 742950"/>
                  <a:gd name="connsiteX1931" fmla="*/ 375285 w 895350"/>
                  <a:gd name="connsiteY1931" fmla="*/ 640747 h 742950"/>
                  <a:gd name="connsiteX1932" fmla="*/ 374428 w 895350"/>
                  <a:gd name="connsiteY1932" fmla="*/ 638175 h 742950"/>
                  <a:gd name="connsiteX1933" fmla="*/ 373570 w 895350"/>
                  <a:gd name="connsiteY1933" fmla="*/ 635603 h 742950"/>
                  <a:gd name="connsiteX1934" fmla="*/ 376142 w 895350"/>
                  <a:gd name="connsiteY1934" fmla="*/ 632174 h 742950"/>
                  <a:gd name="connsiteX1935" fmla="*/ 377857 w 895350"/>
                  <a:gd name="connsiteY1935" fmla="*/ 631317 h 742950"/>
                  <a:gd name="connsiteX1936" fmla="*/ 378714 w 895350"/>
                  <a:gd name="connsiteY1936" fmla="*/ 629603 h 742950"/>
                  <a:gd name="connsiteX1937" fmla="*/ 378714 w 895350"/>
                  <a:gd name="connsiteY1937" fmla="*/ 627031 h 742950"/>
                  <a:gd name="connsiteX1938" fmla="*/ 379571 w 895350"/>
                  <a:gd name="connsiteY1938" fmla="*/ 627888 h 742950"/>
                  <a:gd name="connsiteX1939" fmla="*/ 380428 w 895350"/>
                  <a:gd name="connsiteY1939" fmla="*/ 628745 h 742950"/>
                  <a:gd name="connsiteX1940" fmla="*/ 381286 w 895350"/>
                  <a:gd name="connsiteY1940" fmla="*/ 629603 h 742950"/>
                  <a:gd name="connsiteX1941" fmla="*/ 381286 w 895350"/>
                  <a:gd name="connsiteY1941" fmla="*/ 630460 h 742950"/>
                  <a:gd name="connsiteX1942" fmla="*/ 381286 w 895350"/>
                  <a:gd name="connsiteY1942" fmla="*/ 633031 h 742950"/>
                  <a:gd name="connsiteX1943" fmla="*/ 381286 w 895350"/>
                  <a:gd name="connsiteY1943" fmla="*/ 634746 h 742950"/>
                  <a:gd name="connsiteX1944" fmla="*/ 383000 w 895350"/>
                  <a:gd name="connsiteY1944" fmla="*/ 635603 h 742950"/>
                  <a:gd name="connsiteX1945" fmla="*/ 383857 w 895350"/>
                  <a:gd name="connsiteY1945" fmla="*/ 632174 h 742950"/>
                  <a:gd name="connsiteX1946" fmla="*/ 383857 w 895350"/>
                  <a:gd name="connsiteY1946" fmla="*/ 622840 h 742950"/>
                  <a:gd name="connsiteX1947" fmla="*/ 384715 w 895350"/>
                  <a:gd name="connsiteY1947" fmla="*/ 624554 h 742950"/>
                  <a:gd name="connsiteX1948" fmla="*/ 388144 w 895350"/>
                  <a:gd name="connsiteY1948" fmla="*/ 628840 h 742950"/>
                  <a:gd name="connsiteX1949" fmla="*/ 389858 w 895350"/>
                  <a:gd name="connsiteY1949" fmla="*/ 633127 h 742950"/>
                  <a:gd name="connsiteX1950" fmla="*/ 394907 w 895350"/>
                  <a:gd name="connsiteY1950" fmla="*/ 639032 h 742950"/>
                  <a:gd name="connsiteX1951" fmla="*/ 399193 w 895350"/>
                  <a:gd name="connsiteY1951" fmla="*/ 647510 h 742950"/>
                  <a:gd name="connsiteX1952" fmla="*/ 399193 w 895350"/>
                  <a:gd name="connsiteY1952" fmla="*/ 647510 h 742950"/>
                  <a:gd name="connsiteX1953" fmla="*/ 400050 w 895350"/>
                  <a:gd name="connsiteY1953" fmla="*/ 646652 h 742950"/>
                  <a:gd name="connsiteX1954" fmla="*/ 400050 w 895350"/>
                  <a:gd name="connsiteY1954" fmla="*/ 645795 h 742950"/>
                  <a:gd name="connsiteX1955" fmla="*/ 400050 w 895350"/>
                  <a:gd name="connsiteY1955" fmla="*/ 645795 h 742950"/>
                  <a:gd name="connsiteX1956" fmla="*/ 396621 w 895350"/>
                  <a:gd name="connsiteY1956" fmla="*/ 639032 h 742950"/>
                  <a:gd name="connsiteX1957" fmla="*/ 394049 w 895350"/>
                  <a:gd name="connsiteY1957" fmla="*/ 631412 h 742950"/>
                  <a:gd name="connsiteX1958" fmla="*/ 393192 w 895350"/>
                  <a:gd name="connsiteY1958" fmla="*/ 628840 h 742950"/>
                  <a:gd name="connsiteX1959" fmla="*/ 392335 w 895350"/>
                  <a:gd name="connsiteY1959" fmla="*/ 627126 h 742950"/>
                  <a:gd name="connsiteX1960" fmla="*/ 393192 w 895350"/>
                  <a:gd name="connsiteY1960" fmla="*/ 624554 h 742950"/>
                  <a:gd name="connsiteX1961" fmla="*/ 394907 w 895350"/>
                  <a:gd name="connsiteY1961" fmla="*/ 620268 h 742950"/>
                  <a:gd name="connsiteX1962" fmla="*/ 395764 w 895350"/>
                  <a:gd name="connsiteY1962" fmla="*/ 615220 h 742950"/>
                  <a:gd name="connsiteX1963" fmla="*/ 394049 w 895350"/>
                  <a:gd name="connsiteY1963" fmla="*/ 610933 h 742950"/>
                  <a:gd name="connsiteX1964" fmla="*/ 386429 w 895350"/>
                  <a:gd name="connsiteY1964" fmla="*/ 593979 h 742950"/>
                  <a:gd name="connsiteX1965" fmla="*/ 384715 w 895350"/>
                  <a:gd name="connsiteY1965" fmla="*/ 589693 h 742950"/>
                  <a:gd name="connsiteX1966" fmla="*/ 382143 w 895350"/>
                  <a:gd name="connsiteY1966" fmla="*/ 575215 h 742950"/>
                  <a:gd name="connsiteX1967" fmla="*/ 381286 w 895350"/>
                  <a:gd name="connsiteY1967" fmla="*/ 570166 h 742950"/>
                  <a:gd name="connsiteX1968" fmla="*/ 383000 w 895350"/>
                  <a:gd name="connsiteY1968" fmla="*/ 566738 h 742950"/>
                  <a:gd name="connsiteX1969" fmla="*/ 381286 w 895350"/>
                  <a:gd name="connsiteY1969" fmla="*/ 565023 h 742950"/>
                  <a:gd name="connsiteX1970" fmla="*/ 379571 w 895350"/>
                  <a:gd name="connsiteY1970" fmla="*/ 565880 h 742950"/>
                  <a:gd name="connsiteX1971" fmla="*/ 377857 w 895350"/>
                  <a:gd name="connsiteY1971" fmla="*/ 567595 h 742950"/>
                  <a:gd name="connsiteX1972" fmla="*/ 376142 w 895350"/>
                  <a:gd name="connsiteY1972" fmla="*/ 569309 h 742950"/>
                  <a:gd name="connsiteX1973" fmla="*/ 373570 w 895350"/>
                  <a:gd name="connsiteY1973" fmla="*/ 570166 h 742950"/>
                  <a:gd name="connsiteX1974" fmla="*/ 372713 w 895350"/>
                  <a:gd name="connsiteY1974" fmla="*/ 569309 h 742950"/>
                  <a:gd name="connsiteX1975" fmla="*/ 374428 w 895350"/>
                  <a:gd name="connsiteY1975" fmla="*/ 567595 h 742950"/>
                  <a:gd name="connsiteX1976" fmla="*/ 375285 w 895350"/>
                  <a:gd name="connsiteY1976" fmla="*/ 566738 h 742950"/>
                  <a:gd name="connsiteX1977" fmla="*/ 376142 w 895350"/>
                  <a:gd name="connsiteY1977" fmla="*/ 565880 h 742950"/>
                  <a:gd name="connsiteX1978" fmla="*/ 377857 w 895350"/>
                  <a:gd name="connsiteY1978" fmla="*/ 564166 h 742950"/>
                  <a:gd name="connsiteX1979" fmla="*/ 378714 w 895350"/>
                  <a:gd name="connsiteY1979" fmla="*/ 563308 h 742950"/>
                  <a:gd name="connsiteX1980" fmla="*/ 379857 w 895350"/>
                  <a:gd name="connsiteY1980" fmla="*/ 563308 h 742950"/>
                  <a:gd name="connsiteX1981" fmla="*/ 380714 w 895350"/>
                  <a:gd name="connsiteY1981" fmla="*/ 561594 h 742950"/>
                  <a:gd name="connsiteX1982" fmla="*/ 383286 w 895350"/>
                  <a:gd name="connsiteY1982" fmla="*/ 555688 h 742950"/>
                  <a:gd name="connsiteX1983" fmla="*/ 385000 w 895350"/>
                  <a:gd name="connsiteY1983" fmla="*/ 553117 h 742950"/>
                  <a:gd name="connsiteX1984" fmla="*/ 385858 w 895350"/>
                  <a:gd name="connsiteY1984" fmla="*/ 548069 h 742950"/>
                  <a:gd name="connsiteX1985" fmla="*/ 385000 w 895350"/>
                  <a:gd name="connsiteY1985" fmla="*/ 538734 h 742950"/>
                  <a:gd name="connsiteX1986" fmla="*/ 386715 w 895350"/>
                  <a:gd name="connsiteY1986" fmla="*/ 532829 h 742950"/>
                  <a:gd name="connsiteX1987" fmla="*/ 386715 w 895350"/>
                  <a:gd name="connsiteY1987" fmla="*/ 530257 h 742950"/>
                  <a:gd name="connsiteX1988" fmla="*/ 387572 w 895350"/>
                  <a:gd name="connsiteY1988" fmla="*/ 529399 h 742950"/>
                  <a:gd name="connsiteX1989" fmla="*/ 387572 w 895350"/>
                  <a:gd name="connsiteY1989" fmla="*/ 528542 h 742950"/>
                  <a:gd name="connsiteX1990" fmla="*/ 387572 w 895350"/>
                  <a:gd name="connsiteY1990" fmla="*/ 528542 h 742950"/>
                  <a:gd name="connsiteX1991" fmla="*/ 386715 w 895350"/>
                  <a:gd name="connsiteY1991" fmla="*/ 527685 h 742950"/>
                  <a:gd name="connsiteX1992" fmla="*/ 385858 w 895350"/>
                  <a:gd name="connsiteY1992" fmla="*/ 527685 h 742950"/>
                  <a:gd name="connsiteX1993" fmla="*/ 383286 w 895350"/>
                  <a:gd name="connsiteY1993" fmla="*/ 527685 h 742950"/>
                  <a:gd name="connsiteX1994" fmla="*/ 382429 w 895350"/>
                  <a:gd name="connsiteY1994" fmla="*/ 528542 h 742950"/>
                  <a:gd name="connsiteX1995" fmla="*/ 381571 w 895350"/>
                  <a:gd name="connsiteY1995" fmla="*/ 527685 h 742950"/>
                  <a:gd name="connsiteX1996" fmla="*/ 383286 w 895350"/>
                  <a:gd name="connsiteY1996" fmla="*/ 526828 h 742950"/>
                  <a:gd name="connsiteX1997" fmla="*/ 384143 w 895350"/>
                  <a:gd name="connsiteY1997" fmla="*/ 525971 h 742950"/>
                  <a:gd name="connsiteX1998" fmla="*/ 385000 w 895350"/>
                  <a:gd name="connsiteY1998" fmla="*/ 525113 h 742950"/>
                  <a:gd name="connsiteX1999" fmla="*/ 385858 w 895350"/>
                  <a:gd name="connsiteY1999" fmla="*/ 523399 h 742950"/>
                  <a:gd name="connsiteX2000" fmla="*/ 385000 w 895350"/>
                  <a:gd name="connsiteY2000" fmla="*/ 522541 h 742950"/>
                  <a:gd name="connsiteX2001" fmla="*/ 384143 w 895350"/>
                  <a:gd name="connsiteY2001" fmla="*/ 520827 h 742950"/>
                  <a:gd name="connsiteX2002" fmla="*/ 383286 w 895350"/>
                  <a:gd name="connsiteY2002" fmla="*/ 516541 h 742950"/>
                  <a:gd name="connsiteX2003" fmla="*/ 382429 w 895350"/>
                  <a:gd name="connsiteY2003" fmla="*/ 515683 h 742950"/>
                  <a:gd name="connsiteX2004" fmla="*/ 379857 w 895350"/>
                  <a:gd name="connsiteY2004" fmla="*/ 513969 h 742950"/>
                  <a:gd name="connsiteX2005" fmla="*/ 379000 w 895350"/>
                  <a:gd name="connsiteY2005" fmla="*/ 513112 h 742950"/>
                  <a:gd name="connsiteX2006" fmla="*/ 378143 w 895350"/>
                  <a:gd name="connsiteY2006" fmla="*/ 512255 h 742950"/>
                  <a:gd name="connsiteX2007" fmla="*/ 378143 w 895350"/>
                  <a:gd name="connsiteY2007" fmla="*/ 511397 h 742950"/>
                  <a:gd name="connsiteX2008" fmla="*/ 377285 w 895350"/>
                  <a:gd name="connsiteY2008" fmla="*/ 505492 h 742950"/>
                  <a:gd name="connsiteX2009" fmla="*/ 373856 w 895350"/>
                  <a:gd name="connsiteY2009" fmla="*/ 487680 h 742950"/>
                  <a:gd name="connsiteX2010" fmla="*/ 373856 w 895350"/>
                  <a:gd name="connsiteY2010" fmla="*/ 485108 h 742950"/>
                  <a:gd name="connsiteX2011" fmla="*/ 372142 w 895350"/>
                  <a:gd name="connsiteY2011" fmla="*/ 481679 h 742950"/>
                  <a:gd name="connsiteX2012" fmla="*/ 371285 w 895350"/>
                  <a:gd name="connsiteY2012" fmla="*/ 476631 h 742950"/>
                  <a:gd name="connsiteX2013" fmla="*/ 371285 w 895350"/>
                  <a:gd name="connsiteY2013" fmla="*/ 468154 h 742950"/>
                  <a:gd name="connsiteX2014" fmla="*/ 374714 w 895350"/>
                  <a:gd name="connsiteY2014" fmla="*/ 455390 h 742950"/>
                  <a:gd name="connsiteX2015" fmla="*/ 376428 w 895350"/>
                  <a:gd name="connsiteY2015" fmla="*/ 444341 h 742950"/>
                  <a:gd name="connsiteX2016" fmla="*/ 375571 w 895350"/>
                  <a:gd name="connsiteY2016" fmla="*/ 443484 h 742950"/>
                  <a:gd name="connsiteX2017" fmla="*/ 379000 w 895350"/>
                  <a:gd name="connsiteY2017" fmla="*/ 435864 h 742950"/>
                  <a:gd name="connsiteX2018" fmla="*/ 379857 w 895350"/>
                  <a:gd name="connsiteY2018" fmla="*/ 434149 h 742950"/>
                  <a:gd name="connsiteX2019" fmla="*/ 381571 w 895350"/>
                  <a:gd name="connsiteY2019" fmla="*/ 432435 h 742950"/>
                  <a:gd name="connsiteX2020" fmla="*/ 385000 w 895350"/>
                  <a:gd name="connsiteY2020" fmla="*/ 428149 h 742950"/>
                  <a:gd name="connsiteX2021" fmla="*/ 385858 w 895350"/>
                  <a:gd name="connsiteY2021" fmla="*/ 427291 h 742950"/>
                  <a:gd name="connsiteX2022" fmla="*/ 388429 w 895350"/>
                  <a:gd name="connsiteY2022" fmla="*/ 423005 h 742950"/>
                  <a:gd name="connsiteX2023" fmla="*/ 389287 w 895350"/>
                  <a:gd name="connsiteY2023" fmla="*/ 421291 h 742950"/>
                  <a:gd name="connsiteX2024" fmla="*/ 387572 w 895350"/>
                  <a:gd name="connsiteY2024" fmla="*/ 421291 h 742950"/>
                  <a:gd name="connsiteX2025" fmla="*/ 388429 w 895350"/>
                  <a:gd name="connsiteY2025" fmla="*/ 419576 h 742950"/>
                  <a:gd name="connsiteX2026" fmla="*/ 390144 w 895350"/>
                  <a:gd name="connsiteY2026" fmla="*/ 416147 h 742950"/>
                  <a:gd name="connsiteX2027" fmla="*/ 390144 w 895350"/>
                  <a:gd name="connsiteY2027" fmla="*/ 413575 h 742950"/>
                  <a:gd name="connsiteX2028" fmla="*/ 395192 w 895350"/>
                  <a:gd name="connsiteY2028" fmla="*/ 401669 h 742950"/>
                  <a:gd name="connsiteX2029" fmla="*/ 396907 w 895350"/>
                  <a:gd name="connsiteY2029" fmla="*/ 398240 h 742950"/>
                  <a:gd name="connsiteX2030" fmla="*/ 405384 w 895350"/>
                  <a:gd name="connsiteY2030" fmla="*/ 389763 h 742950"/>
                  <a:gd name="connsiteX2031" fmla="*/ 409670 w 895350"/>
                  <a:gd name="connsiteY2031" fmla="*/ 387191 h 742950"/>
                  <a:gd name="connsiteX2032" fmla="*/ 413957 w 895350"/>
                  <a:gd name="connsiteY2032" fmla="*/ 386334 h 742950"/>
                  <a:gd name="connsiteX2033" fmla="*/ 414814 w 895350"/>
                  <a:gd name="connsiteY2033" fmla="*/ 385477 h 742950"/>
                  <a:gd name="connsiteX2034" fmla="*/ 417386 w 895350"/>
                  <a:gd name="connsiteY2034" fmla="*/ 383762 h 742950"/>
                  <a:gd name="connsiteX2035" fmla="*/ 418243 w 895350"/>
                  <a:gd name="connsiteY2035" fmla="*/ 382905 h 742950"/>
                  <a:gd name="connsiteX2036" fmla="*/ 418243 w 895350"/>
                  <a:gd name="connsiteY2036" fmla="*/ 382905 h 742950"/>
                  <a:gd name="connsiteX2037" fmla="*/ 419100 w 895350"/>
                  <a:gd name="connsiteY2037" fmla="*/ 382905 h 742950"/>
                  <a:gd name="connsiteX2038" fmla="*/ 419957 w 895350"/>
                  <a:gd name="connsiteY2038" fmla="*/ 382048 h 742950"/>
                  <a:gd name="connsiteX2039" fmla="*/ 424244 w 895350"/>
                  <a:gd name="connsiteY2039" fmla="*/ 380333 h 742950"/>
                  <a:gd name="connsiteX2040" fmla="*/ 425958 w 895350"/>
                  <a:gd name="connsiteY2040" fmla="*/ 378619 h 742950"/>
                  <a:gd name="connsiteX2041" fmla="*/ 427673 w 895350"/>
                  <a:gd name="connsiteY2041" fmla="*/ 377762 h 742950"/>
                  <a:gd name="connsiteX2042" fmla="*/ 428530 w 895350"/>
                  <a:gd name="connsiteY2042" fmla="*/ 377762 h 742950"/>
                  <a:gd name="connsiteX2043" fmla="*/ 429387 w 895350"/>
                  <a:gd name="connsiteY2043" fmla="*/ 378619 h 742950"/>
                  <a:gd name="connsiteX2044" fmla="*/ 431102 w 895350"/>
                  <a:gd name="connsiteY2044" fmla="*/ 378619 h 742950"/>
                  <a:gd name="connsiteX2045" fmla="*/ 432816 w 895350"/>
                  <a:gd name="connsiteY2045" fmla="*/ 377762 h 742950"/>
                  <a:gd name="connsiteX2046" fmla="*/ 434531 w 895350"/>
                  <a:gd name="connsiteY2046" fmla="*/ 376904 h 742950"/>
                  <a:gd name="connsiteX2047" fmla="*/ 439579 w 895350"/>
                  <a:gd name="connsiteY2047" fmla="*/ 376904 h 742950"/>
                  <a:gd name="connsiteX2048" fmla="*/ 438721 w 895350"/>
                  <a:gd name="connsiteY2048" fmla="*/ 376047 h 742950"/>
                  <a:gd name="connsiteX2049" fmla="*/ 439579 w 895350"/>
                  <a:gd name="connsiteY2049" fmla="*/ 375190 h 742950"/>
                  <a:gd name="connsiteX2050" fmla="*/ 440436 w 895350"/>
                  <a:gd name="connsiteY2050" fmla="*/ 374332 h 742950"/>
                  <a:gd name="connsiteX2051" fmla="*/ 441293 w 895350"/>
                  <a:gd name="connsiteY2051" fmla="*/ 374332 h 742950"/>
                  <a:gd name="connsiteX2052" fmla="*/ 441293 w 895350"/>
                  <a:gd name="connsiteY2052" fmla="*/ 375190 h 742950"/>
                  <a:gd name="connsiteX2053" fmla="*/ 442150 w 895350"/>
                  <a:gd name="connsiteY2053" fmla="*/ 375190 h 742950"/>
                  <a:gd name="connsiteX2054" fmla="*/ 447199 w 895350"/>
                  <a:gd name="connsiteY2054" fmla="*/ 376047 h 742950"/>
                  <a:gd name="connsiteX2055" fmla="*/ 449770 w 895350"/>
                  <a:gd name="connsiteY2055" fmla="*/ 376047 h 742950"/>
                  <a:gd name="connsiteX2056" fmla="*/ 452342 w 895350"/>
                  <a:gd name="connsiteY2056" fmla="*/ 376904 h 742950"/>
                  <a:gd name="connsiteX2057" fmla="*/ 454914 w 895350"/>
                  <a:gd name="connsiteY2057" fmla="*/ 381953 h 742950"/>
                  <a:gd name="connsiteX2058" fmla="*/ 455771 w 895350"/>
                  <a:gd name="connsiteY2058" fmla="*/ 386239 h 742950"/>
                  <a:gd name="connsiteX2059" fmla="*/ 454914 w 895350"/>
                  <a:gd name="connsiteY2059" fmla="*/ 396430 h 742950"/>
                  <a:gd name="connsiteX2060" fmla="*/ 456628 w 895350"/>
                  <a:gd name="connsiteY2060" fmla="*/ 394716 h 742950"/>
                  <a:gd name="connsiteX2061" fmla="*/ 458343 w 895350"/>
                  <a:gd name="connsiteY2061" fmla="*/ 393002 h 742950"/>
                  <a:gd name="connsiteX2062" fmla="*/ 460915 w 895350"/>
                  <a:gd name="connsiteY2062" fmla="*/ 384524 h 742950"/>
                  <a:gd name="connsiteX2063" fmla="*/ 464344 w 895350"/>
                  <a:gd name="connsiteY2063" fmla="*/ 376047 h 742950"/>
                  <a:gd name="connsiteX2064" fmla="*/ 465201 w 895350"/>
                  <a:gd name="connsiteY2064" fmla="*/ 370999 h 742950"/>
                  <a:gd name="connsiteX2065" fmla="*/ 464344 w 895350"/>
                  <a:gd name="connsiteY2065" fmla="*/ 366713 h 742950"/>
                  <a:gd name="connsiteX2066" fmla="*/ 462629 w 895350"/>
                  <a:gd name="connsiteY2066" fmla="*/ 361664 h 742950"/>
                  <a:gd name="connsiteX2067" fmla="*/ 463486 w 895350"/>
                  <a:gd name="connsiteY2067" fmla="*/ 362521 h 742950"/>
                  <a:gd name="connsiteX2068" fmla="*/ 464344 w 895350"/>
                  <a:gd name="connsiteY2068" fmla="*/ 363379 h 742950"/>
                  <a:gd name="connsiteX2069" fmla="*/ 464344 w 895350"/>
                  <a:gd name="connsiteY2069" fmla="*/ 363379 h 742950"/>
                  <a:gd name="connsiteX2070" fmla="*/ 465201 w 895350"/>
                  <a:gd name="connsiteY2070" fmla="*/ 362521 h 742950"/>
                  <a:gd name="connsiteX2071" fmla="*/ 465201 w 895350"/>
                  <a:gd name="connsiteY2071" fmla="*/ 361664 h 742950"/>
                  <a:gd name="connsiteX2072" fmla="*/ 465201 w 895350"/>
                  <a:gd name="connsiteY2072" fmla="*/ 360807 h 742950"/>
                  <a:gd name="connsiteX2073" fmla="*/ 466058 w 895350"/>
                  <a:gd name="connsiteY2073" fmla="*/ 364236 h 742950"/>
                  <a:gd name="connsiteX2074" fmla="*/ 466915 w 895350"/>
                  <a:gd name="connsiteY2074" fmla="*/ 365950 h 742950"/>
                  <a:gd name="connsiteX2075" fmla="*/ 466915 w 895350"/>
                  <a:gd name="connsiteY2075" fmla="*/ 367665 h 742950"/>
                  <a:gd name="connsiteX2076" fmla="*/ 466058 w 895350"/>
                  <a:gd name="connsiteY2076" fmla="*/ 376142 h 742950"/>
                  <a:gd name="connsiteX2077" fmla="*/ 466058 w 895350"/>
                  <a:gd name="connsiteY2077" fmla="*/ 378714 h 742950"/>
                  <a:gd name="connsiteX2078" fmla="*/ 466915 w 895350"/>
                  <a:gd name="connsiteY2078" fmla="*/ 381286 h 742950"/>
                  <a:gd name="connsiteX2079" fmla="*/ 468630 w 895350"/>
                  <a:gd name="connsiteY2079" fmla="*/ 382143 h 742950"/>
                  <a:gd name="connsiteX2080" fmla="*/ 470344 w 895350"/>
                  <a:gd name="connsiteY2080" fmla="*/ 383000 h 742950"/>
                  <a:gd name="connsiteX2081" fmla="*/ 471202 w 895350"/>
                  <a:gd name="connsiteY2081" fmla="*/ 383857 h 742950"/>
                  <a:gd name="connsiteX2082" fmla="*/ 474631 w 895350"/>
                  <a:gd name="connsiteY2082" fmla="*/ 386429 h 742950"/>
                  <a:gd name="connsiteX2083" fmla="*/ 475488 w 895350"/>
                  <a:gd name="connsiteY2083" fmla="*/ 388144 h 742950"/>
                  <a:gd name="connsiteX2084" fmla="*/ 476345 w 895350"/>
                  <a:gd name="connsiteY2084" fmla="*/ 389001 h 742950"/>
                  <a:gd name="connsiteX2085" fmla="*/ 477203 w 895350"/>
                  <a:gd name="connsiteY2085" fmla="*/ 389858 h 742950"/>
                  <a:gd name="connsiteX2086" fmla="*/ 478060 w 895350"/>
                  <a:gd name="connsiteY2086" fmla="*/ 389858 h 742950"/>
                  <a:gd name="connsiteX2087" fmla="*/ 478917 w 895350"/>
                  <a:gd name="connsiteY2087" fmla="*/ 389001 h 742950"/>
                  <a:gd name="connsiteX2088" fmla="*/ 478917 w 895350"/>
                  <a:gd name="connsiteY2088" fmla="*/ 388144 h 742950"/>
                  <a:gd name="connsiteX2089" fmla="*/ 478060 w 895350"/>
                  <a:gd name="connsiteY2089" fmla="*/ 385572 h 742950"/>
                  <a:gd name="connsiteX2090" fmla="*/ 478060 w 895350"/>
                  <a:gd name="connsiteY2090" fmla="*/ 384715 h 742950"/>
                  <a:gd name="connsiteX2091" fmla="*/ 477203 w 895350"/>
                  <a:gd name="connsiteY2091" fmla="*/ 383857 h 742950"/>
                  <a:gd name="connsiteX2092" fmla="*/ 476345 w 895350"/>
                  <a:gd name="connsiteY2092" fmla="*/ 383000 h 742950"/>
                  <a:gd name="connsiteX2093" fmla="*/ 476345 w 895350"/>
                  <a:gd name="connsiteY2093" fmla="*/ 381286 h 742950"/>
                  <a:gd name="connsiteX2094" fmla="*/ 479774 w 895350"/>
                  <a:gd name="connsiteY2094" fmla="*/ 377857 h 742950"/>
                  <a:gd name="connsiteX2095" fmla="*/ 481489 w 895350"/>
                  <a:gd name="connsiteY2095" fmla="*/ 376142 h 742950"/>
                  <a:gd name="connsiteX2096" fmla="*/ 486537 w 895350"/>
                  <a:gd name="connsiteY2096" fmla="*/ 372713 h 742950"/>
                  <a:gd name="connsiteX2097" fmla="*/ 491585 w 895350"/>
                  <a:gd name="connsiteY2097" fmla="*/ 367665 h 742950"/>
                  <a:gd name="connsiteX2098" fmla="*/ 493300 w 895350"/>
                  <a:gd name="connsiteY2098" fmla="*/ 367665 h 742950"/>
                  <a:gd name="connsiteX2099" fmla="*/ 494157 w 895350"/>
                  <a:gd name="connsiteY2099" fmla="*/ 365950 h 742950"/>
                  <a:gd name="connsiteX2100" fmla="*/ 494157 w 895350"/>
                  <a:gd name="connsiteY2100" fmla="*/ 360045 h 742950"/>
                  <a:gd name="connsiteX2101" fmla="*/ 495014 w 895350"/>
                  <a:gd name="connsiteY2101" fmla="*/ 357473 h 742950"/>
                  <a:gd name="connsiteX2102" fmla="*/ 496729 w 895350"/>
                  <a:gd name="connsiteY2102" fmla="*/ 354044 h 742950"/>
                  <a:gd name="connsiteX2103" fmla="*/ 497586 w 895350"/>
                  <a:gd name="connsiteY2103" fmla="*/ 348139 h 742950"/>
                  <a:gd name="connsiteX2104" fmla="*/ 501015 w 895350"/>
                  <a:gd name="connsiteY2104" fmla="*/ 341376 h 742950"/>
                  <a:gd name="connsiteX2105" fmla="*/ 502729 w 895350"/>
                  <a:gd name="connsiteY2105" fmla="*/ 336328 h 742950"/>
                  <a:gd name="connsiteX2106" fmla="*/ 505301 w 895350"/>
                  <a:gd name="connsiteY2106" fmla="*/ 332899 h 742950"/>
                  <a:gd name="connsiteX2107" fmla="*/ 505301 w 895350"/>
                  <a:gd name="connsiteY2107" fmla="*/ 331184 h 742950"/>
                  <a:gd name="connsiteX2108" fmla="*/ 505301 w 895350"/>
                  <a:gd name="connsiteY2108" fmla="*/ 329470 h 742950"/>
                  <a:gd name="connsiteX2109" fmla="*/ 504444 w 895350"/>
                  <a:gd name="connsiteY2109" fmla="*/ 328613 h 742950"/>
                  <a:gd name="connsiteX2110" fmla="*/ 504444 w 895350"/>
                  <a:gd name="connsiteY2110" fmla="*/ 326898 h 742950"/>
                  <a:gd name="connsiteX2111" fmla="*/ 505301 w 895350"/>
                  <a:gd name="connsiteY2111" fmla="*/ 326041 h 742950"/>
                  <a:gd name="connsiteX2112" fmla="*/ 512064 w 895350"/>
                  <a:gd name="connsiteY2112" fmla="*/ 321755 h 742950"/>
                  <a:gd name="connsiteX2113" fmla="*/ 513778 w 895350"/>
                  <a:gd name="connsiteY2113" fmla="*/ 321755 h 742950"/>
                  <a:gd name="connsiteX2114" fmla="*/ 515493 w 895350"/>
                  <a:gd name="connsiteY2114" fmla="*/ 320897 h 742950"/>
                  <a:gd name="connsiteX2115" fmla="*/ 516350 w 895350"/>
                  <a:gd name="connsiteY2115" fmla="*/ 320897 h 742950"/>
                  <a:gd name="connsiteX2116" fmla="*/ 518922 w 895350"/>
                  <a:gd name="connsiteY2116" fmla="*/ 321755 h 742950"/>
                  <a:gd name="connsiteX2117" fmla="*/ 519779 w 895350"/>
                  <a:gd name="connsiteY2117" fmla="*/ 320897 h 742950"/>
                  <a:gd name="connsiteX2118" fmla="*/ 521494 w 895350"/>
                  <a:gd name="connsiteY2118" fmla="*/ 320040 h 742950"/>
                  <a:gd name="connsiteX2119" fmla="*/ 522351 w 895350"/>
                  <a:gd name="connsiteY2119" fmla="*/ 320040 h 742950"/>
                  <a:gd name="connsiteX2120" fmla="*/ 524065 w 895350"/>
                  <a:gd name="connsiteY2120" fmla="*/ 320897 h 742950"/>
                  <a:gd name="connsiteX2121" fmla="*/ 524065 w 895350"/>
                  <a:gd name="connsiteY2121" fmla="*/ 321755 h 742950"/>
                  <a:gd name="connsiteX2122" fmla="*/ 524065 w 895350"/>
                  <a:gd name="connsiteY2122" fmla="*/ 322612 h 742950"/>
                  <a:gd name="connsiteX2123" fmla="*/ 524065 w 895350"/>
                  <a:gd name="connsiteY2123" fmla="*/ 323469 h 742950"/>
                  <a:gd name="connsiteX2124" fmla="*/ 523208 w 895350"/>
                  <a:gd name="connsiteY2124" fmla="*/ 325183 h 742950"/>
                  <a:gd name="connsiteX2125" fmla="*/ 529971 w 895350"/>
                  <a:gd name="connsiteY2125" fmla="*/ 322612 h 742950"/>
                  <a:gd name="connsiteX2126" fmla="*/ 531686 w 895350"/>
                  <a:gd name="connsiteY2126" fmla="*/ 322612 h 742950"/>
                  <a:gd name="connsiteX2127" fmla="*/ 535972 w 895350"/>
                  <a:gd name="connsiteY2127" fmla="*/ 323469 h 742950"/>
                  <a:gd name="connsiteX2128" fmla="*/ 537686 w 895350"/>
                  <a:gd name="connsiteY2128" fmla="*/ 323469 h 742950"/>
                  <a:gd name="connsiteX2129" fmla="*/ 536829 w 895350"/>
                  <a:gd name="connsiteY2129" fmla="*/ 320897 h 742950"/>
                  <a:gd name="connsiteX2130" fmla="*/ 538544 w 895350"/>
                  <a:gd name="connsiteY2130" fmla="*/ 320897 h 742950"/>
                  <a:gd name="connsiteX2131" fmla="*/ 540258 w 895350"/>
                  <a:gd name="connsiteY2131" fmla="*/ 321755 h 742950"/>
                  <a:gd name="connsiteX2132" fmla="*/ 541115 w 895350"/>
                  <a:gd name="connsiteY2132" fmla="*/ 322612 h 742950"/>
                  <a:gd name="connsiteX2133" fmla="*/ 540258 w 895350"/>
                  <a:gd name="connsiteY2133" fmla="*/ 324326 h 742950"/>
                  <a:gd name="connsiteX2134" fmla="*/ 541973 w 895350"/>
                  <a:gd name="connsiteY2134" fmla="*/ 325183 h 742950"/>
                  <a:gd name="connsiteX2135" fmla="*/ 546259 w 895350"/>
                  <a:gd name="connsiteY2135" fmla="*/ 325183 h 742950"/>
                  <a:gd name="connsiteX2136" fmla="*/ 547973 w 895350"/>
                  <a:gd name="connsiteY2136" fmla="*/ 326041 h 742950"/>
                  <a:gd name="connsiteX2137" fmla="*/ 549688 w 895350"/>
                  <a:gd name="connsiteY2137" fmla="*/ 325183 h 742950"/>
                  <a:gd name="connsiteX2138" fmla="*/ 552260 w 895350"/>
                  <a:gd name="connsiteY2138" fmla="*/ 326898 h 742950"/>
                  <a:gd name="connsiteX2139" fmla="*/ 553974 w 895350"/>
                  <a:gd name="connsiteY2139" fmla="*/ 327755 h 742950"/>
                  <a:gd name="connsiteX2140" fmla="*/ 555689 w 895350"/>
                  <a:gd name="connsiteY2140" fmla="*/ 328613 h 742950"/>
                  <a:gd name="connsiteX2141" fmla="*/ 556546 w 895350"/>
                  <a:gd name="connsiteY2141" fmla="*/ 328613 h 742950"/>
                  <a:gd name="connsiteX2142" fmla="*/ 561594 w 895350"/>
                  <a:gd name="connsiteY2142" fmla="*/ 326898 h 742950"/>
                  <a:gd name="connsiteX2143" fmla="*/ 564166 w 895350"/>
                  <a:gd name="connsiteY2143" fmla="*/ 325183 h 742950"/>
                  <a:gd name="connsiteX2144" fmla="*/ 572643 w 895350"/>
                  <a:gd name="connsiteY2144" fmla="*/ 320897 h 742950"/>
                  <a:gd name="connsiteX2145" fmla="*/ 574357 w 895350"/>
                  <a:gd name="connsiteY2145" fmla="*/ 320040 h 742950"/>
                  <a:gd name="connsiteX2146" fmla="*/ 576929 w 895350"/>
                  <a:gd name="connsiteY2146" fmla="*/ 320040 h 742950"/>
                  <a:gd name="connsiteX2147" fmla="*/ 581215 w 895350"/>
                  <a:gd name="connsiteY2147" fmla="*/ 319183 h 742950"/>
                  <a:gd name="connsiteX2148" fmla="*/ 582073 w 895350"/>
                  <a:gd name="connsiteY2148" fmla="*/ 319183 h 742950"/>
                  <a:gd name="connsiteX2149" fmla="*/ 582930 w 895350"/>
                  <a:gd name="connsiteY2149" fmla="*/ 317468 h 742950"/>
                  <a:gd name="connsiteX2150" fmla="*/ 584645 w 895350"/>
                  <a:gd name="connsiteY2150" fmla="*/ 316611 h 742950"/>
                  <a:gd name="connsiteX2151" fmla="*/ 586359 w 895350"/>
                  <a:gd name="connsiteY2151" fmla="*/ 317468 h 742950"/>
                  <a:gd name="connsiteX2152" fmla="*/ 587216 w 895350"/>
                  <a:gd name="connsiteY2152" fmla="*/ 316611 h 742950"/>
                  <a:gd name="connsiteX2153" fmla="*/ 588931 w 895350"/>
                  <a:gd name="connsiteY2153" fmla="*/ 315754 h 742950"/>
                  <a:gd name="connsiteX2154" fmla="*/ 590645 w 895350"/>
                  <a:gd name="connsiteY2154" fmla="*/ 314039 h 742950"/>
                  <a:gd name="connsiteX2155" fmla="*/ 592360 w 895350"/>
                  <a:gd name="connsiteY2155" fmla="*/ 312325 h 742950"/>
                  <a:gd name="connsiteX2156" fmla="*/ 595789 w 895350"/>
                  <a:gd name="connsiteY2156" fmla="*/ 313182 h 742950"/>
                  <a:gd name="connsiteX2157" fmla="*/ 598361 w 895350"/>
                  <a:gd name="connsiteY2157" fmla="*/ 311468 h 742950"/>
                  <a:gd name="connsiteX2158" fmla="*/ 601790 w 895350"/>
                  <a:gd name="connsiteY2158" fmla="*/ 308896 h 742950"/>
                  <a:gd name="connsiteX2159" fmla="*/ 606838 w 895350"/>
                  <a:gd name="connsiteY2159" fmla="*/ 306324 h 742950"/>
                  <a:gd name="connsiteX2160" fmla="*/ 608552 w 895350"/>
                  <a:gd name="connsiteY2160" fmla="*/ 306324 h 742950"/>
                  <a:gd name="connsiteX2161" fmla="*/ 610267 w 895350"/>
                  <a:gd name="connsiteY2161" fmla="*/ 305467 h 742950"/>
                  <a:gd name="connsiteX2162" fmla="*/ 617029 w 895350"/>
                  <a:gd name="connsiteY2162" fmla="*/ 298704 h 742950"/>
                  <a:gd name="connsiteX2163" fmla="*/ 622078 w 895350"/>
                  <a:gd name="connsiteY2163" fmla="*/ 296989 h 742950"/>
                  <a:gd name="connsiteX2164" fmla="*/ 620363 w 895350"/>
                  <a:gd name="connsiteY2164" fmla="*/ 296132 h 742950"/>
                  <a:gd name="connsiteX2165" fmla="*/ 619506 w 895350"/>
                  <a:gd name="connsiteY2165" fmla="*/ 294418 h 742950"/>
                  <a:gd name="connsiteX2166" fmla="*/ 619506 w 895350"/>
                  <a:gd name="connsiteY2166" fmla="*/ 292703 h 742950"/>
                  <a:gd name="connsiteX2167" fmla="*/ 619506 w 895350"/>
                  <a:gd name="connsiteY2167" fmla="*/ 291846 h 742950"/>
                  <a:gd name="connsiteX2168" fmla="*/ 620363 w 895350"/>
                  <a:gd name="connsiteY2168" fmla="*/ 291846 h 742950"/>
                  <a:gd name="connsiteX2169" fmla="*/ 621220 w 895350"/>
                  <a:gd name="connsiteY2169" fmla="*/ 293561 h 742950"/>
                  <a:gd name="connsiteX2170" fmla="*/ 622078 w 895350"/>
                  <a:gd name="connsiteY2170" fmla="*/ 294418 h 742950"/>
                  <a:gd name="connsiteX2171" fmla="*/ 622935 w 895350"/>
                  <a:gd name="connsiteY2171" fmla="*/ 294418 h 742950"/>
                  <a:gd name="connsiteX2172" fmla="*/ 622935 w 895350"/>
                  <a:gd name="connsiteY2172" fmla="*/ 293561 h 742950"/>
                  <a:gd name="connsiteX2173" fmla="*/ 622935 w 895350"/>
                  <a:gd name="connsiteY2173" fmla="*/ 292703 h 742950"/>
                  <a:gd name="connsiteX2174" fmla="*/ 622935 w 895350"/>
                  <a:gd name="connsiteY2174" fmla="*/ 291846 h 742950"/>
                  <a:gd name="connsiteX2175" fmla="*/ 625507 w 895350"/>
                  <a:gd name="connsiteY2175" fmla="*/ 285940 h 742950"/>
                  <a:gd name="connsiteX2176" fmla="*/ 626364 w 895350"/>
                  <a:gd name="connsiteY2176" fmla="*/ 282512 h 742950"/>
                  <a:gd name="connsiteX2177" fmla="*/ 627221 w 895350"/>
                  <a:gd name="connsiteY2177" fmla="*/ 276606 h 742950"/>
                  <a:gd name="connsiteX2178" fmla="*/ 628936 w 895350"/>
                  <a:gd name="connsiteY2178" fmla="*/ 270700 h 742950"/>
                  <a:gd name="connsiteX2179" fmla="*/ 628936 w 895350"/>
                  <a:gd name="connsiteY2179" fmla="*/ 265652 h 742950"/>
                  <a:gd name="connsiteX2180" fmla="*/ 628936 w 895350"/>
                  <a:gd name="connsiteY2180" fmla="*/ 259747 h 742950"/>
                  <a:gd name="connsiteX2181" fmla="*/ 628078 w 895350"/>
                  <a:gd name="connsiteY2181" fmla="*/ 256318 h 742950"/>
                  <a:gd name="connsiteX2182" fmla="*/ 626364 w 895350"/>
                  <a:gd name="connsiteY2182" fmla="*/ 253746 h 742950"/>
                  <a:gd name="connsiteX2183" fmla="*/ 628078 w 895350"/>
                  <a:gd name="connsiteY2183" fmla="*/ 258032 h 742950"/>
                  <a:gd name="connsiteX2184" fmla="*/ 628078 w 895350"/>
                  <a:gd name="connsiteY2184" fmla="*/ 261461 h 742950"/>
                  <a:gd name="connsiteX2185" fmla="*/ 628078 w 895350"/>
                  <a:gd name="connsiteY2185" fmla="*/ 265747 h 742950"/>
                  <a:gd name="connsiteX2186" fmla="*/ 627221 w 895350"/>
                  <a:gd name="connsiteY2186" fmla="*/ 267462 h 742950"/>
                  <a:gd name="connsiteX2187" fmla="*/ 625507 w 895350"/>
                  <a:gd name="connsiteY2187" fmla="*/ 265747 h 742950"/>
                  <a:gd name="connsiteX2188" fmla="*/ 624649 w 895350"/>
                  <a:gd name="connsiteY2188" fmla="*/ 266605 h 742950"/>
                  <a:gd name="connsiteX2189" fmla="*/ 624649 w 895350"/>
                  <a:gd name="connsiteY2189" fmla="*/ 266605 h 742950"/>
                  <a:gd name="connsiteX2190" fmla="*/ 623792 w 895350"/>
                  <a:gd name="connsiteY2190" fmla="*/ 266605 h 742950"/>
                  <a:gd name="connsiteX2191" fmla="*/ 622935 w 895350"/>
                  <a:gd name="connsiteY2191" fmla="*/ 266605 h 742950"/>
                  <a:gd name="connsiteX2192" fmla="*/ 622078 w 895350"/>
                  <a:gd name="connsiteY2192" fmla="*/ 266605 h 742950"/>
                  <a:gd name="connsiteX2193" fmla="*/ 622078 w 895350"/>
                  <a:gd name="connsiteY2193" fmla="*/ 265747 h 742950"/>
                  <a:gd name="connsiteX2194" fmla="*/ 621220 w 895350"/>
                  <a:gd name="connsiteY2194" fmla="*/ 265747 h 742950"/>
                  <a:gd name="connsiteX2195" fmla="*/ 617791 w 895350"/>
                  <a:gd name="connsiteY2195" fmla="*/ 264890 h 742950"/>
                  <a:gd name="connsiteX2196" fmla="*/ 616077 w 895350"/>
                  <a:gd name="connsiteY2196" fmla="*/ 262319 h 742950"/>
                  <a:gd name="connsiteX2197" fmla="*/ 616077 w 895350"/>
                  <a:gd name="connsiteY2197" fmla="*/ 259747 h 742950"/>
                  <a:gd name="connsiteX2198" fmla="*/ 616077 w 895350"/>
                  <a:gd name="connsiteY2198" fmla="*/ 257175 h 742950"/>
                  <a:gd name="connsiteX2199" fmla="*/ 620363 w 895350"/>
                  <a:gd name="connsiteY2199" fmla="*/ 249555 h 742950"/>
                  <a:gd name="connsiteX2200" fmla="*/ 621220 w 895350"/>
                  <a:gd name="connsiteY2200" fmla="*/ 245269 h 742950"/>
                  <a:gd name="connsiteX2201" fmla="*/ 622935 w 895350"/>
                  <a:gd name="connsiteY2201" fmla="*/ 243554 h 742950"/>
                  <a:gd name="connsiteX2202" fmla="*/ 626364 w 895350"/>
                  <a:gd name="connsiteY2202" fmla="*/ 240982 h 742950"/>
                  <a:gd name="connsiteX2203" fmla="*/ 628936 w 895350"/>
                  <a:gd name="connsiteY2203" fmla="*/ 235934 h 742950"/>
                  <a:gd name="connsiteX2204" fmla="*/ 630650 w 895350"/>
                  <a:gd name="connsiteY2204" fmla="*/ 234220 h 742950"/>
                  <a:gd name="connsiteX2205" fmla="*/ 634936 w 895350"/>
                  <a:gd name="connsiteY2205" fmla="*/ 232505 h 742950"/>
                  <a:gd name="connsiteX2206" fmla="*/ 636651 w 895350"/>
                  <a:gd name="connsiteY2206" fmla="*/ 231648 h 742950"/>
                  <a:gd name="connsiteX2207" fmla="*/ 638365 w 895350"/>
                  <a:gd name="connsiteY2207" fmla="*/ 228219 h 742950"/>
                  <a:gd name="connsiteX2208" fmla="*/ 640937 w 895350"/>
                  <a:gd name="connsiteY2208" fmla="*/ 225647 h 742950"/>
                  <a:gd name="connsiteX2209" fmla="*/ 668083 w 895350"/>
                  <a:gd name="connsiteY2209" fmla="*/ 208693 h 742950"/>
                  <a:gd name="connsiteX2210" fmla="*/ 672370 w 895350"/>
                  <a:gd name="connsiteY2210" fmla="*/ 207836 h 742950"/>
                  <a:gd name="connsiteX2211" fmla="*/ 676656 w 895350"/>
                  <a:gd name="connsiteY2211" fmla="*/ 205264 h 742950"/>
                  <a:gd name="connsiteX2212" fmla="*/ 680942 w 895350"/>
                  <a:gd name="connsiteY2212" fmla="*/ 203549 h 742950"/>
                  <a:gd name="connsiteX2213" fmla="*/ 682657 w 895350"/>
                  <a:gd name="connsiteY2213" fmla="*/ 202692 h 742950"/>
                  <a:gd name="connsiteX2214" fmla="*/ 684371 w 895350"/>
                  <a:gd name="connsiteY2214" fmla="*/ 200978 h 742950"/>
                  <a:gd name="connsiteX2215" fmla="*/ 686086 w 895350"/>
                  <a:gd name="connsiteY2215" fmla="*/ 200120 h 742950"/>
                  <a:gd name="connsiteX2216" fmla="*/ 686943 w 895350"/>
                  <a:gd name="connsiteY2216" fmla="*/ 201835 h 742950"/>
                  <a:gd name="connsiteX2217" fmla="*/ 687800 w 895350"/>
                  <a:gd name="connsiteY2217" fmla="*/ 201835 h 742950"/>
                  <a:gd name="connsiteX2218" fmla="*/ 692849 w 895350"/>
                  <a:gd name="connsiteY2218" fmla="*/ 197548 h 742950"/>
                  <a:gd name="connsiteX2219" fmla="*/ 693706 w 895350"/>
                  <a:gd name="connsiteY2219" fmla="*/ 197548 h 742950"/>
                  <a:gd name="connsiteX2220" fmla="*/ 695420 w 895350"/>
                  <a:gd name="connsiteY2220" fmla="*/ 196691 h 742950"/>
                  <a:gd name="connsiteX2221" fmla="*/ 696278 w 895350"/>
                  <a:gd name="connsiteY2221" fmla="*/ 196691 h 742950"/>
                  <a:gd name="connsiteX2222" fmla="*/ 698849 w 895350"/>
                  <a:gd name="connsiteY2222" fmla="*/ 194120 h 742950"/>
                  <a:gd name="connsiteX2223" fmla="*/ 701421 w 895350"/>
                  <a:gd name="connsiteY2223" fmla="*/ 192405 h 742950"/>
                  <a:gd name="connsiteX2224" fmla="*/ 704850 w 895350"/>
                  <a:gd name="connsiteY2224" fmla="*/ 190691 h 742950"/>
                  <a:gd name="connsiteX2225" fmla="*/ 709136 w 895350"/>
                  <a:gd name="connsiteY2225" fmla="*/ 188119 h 742950"/>
                  <a:gd name="connsiteX2226" fmla="*/ 718471 w 895350"/>
                  <a:gd name="connsiteY2226" fmla="*/ 184690 h 742950"/>
                  <a:gd name="connsiteX2227" fmla="*/ 721043 w 895350"/>
                  <a:gd name="connsiteY2227" fmla="*/ 182118 h 742950"/>
                  <a:gd name="connsiteX2228" fmla="*/ 721900 w 895350"/>
                  <a:gd name="connsiteY2228" fmla="*/ 181261 h 742950"/>
                  <a:gd name="connsiteX2229" fmla="*/ 723614 w 895350"/>
                  <a:gd name="connsiteY2229" fmla="*/ 181261 h 742950"/>
                  <a:gd name="connsiteX2230" fmla="*/ 725329 w 895350"/>
                  <a:gd name="connsiteY2230" fmla="*/ 180404 h 742950"/>
                  <a:gd name="connsiteX2231" fmla="*/ 725329 w 895350"/>
                  <a:gd name="connsiteY2231" fmla="*/ 178689 h 742950"/>
                  <a:gd name="connsiteX2232" fmla="*/ 722757 w 895350"/>
                  <a:gd name="connsiteY2232" fmla="*/ 175260 h 742950"/>
                  <a:gd name="connsiteX2233" fmla="*/ 727043 w 895350"/>
                  <a:gd name="connsiteY2233" fmla="*/ 175260 h 742950"/>
                  <a:gd name="connsiteX2234" fmla="*/ 727900 w 895350"/>
                  <a:gd name="connsiteY2234" fmla="*/ 175260 h 742950"/>
                  <a:gd name="connsiteX2235" fmla="*/ 728758 w 895350"/>
                  <a:gd name="connsiteY2235" fmla="*/ 173546 h 742950"/>
                  <a:gd name="connsiteX2236" fmla="*/ 731329 w 895350"/>
                  <a:gd name="connsiteY2236" fmla="*/ 172688 h 742950"/>
                  <a:gd name="connsiteX2237" fmla="*/ 732187 w 895350"/>
                  <a:gd name="connsiteY2237" fmla="*/ 171831 h 742950"/>
                  <a:gd name="connsiteX2238" fmla="*/ 732187 w 895350"/>
                  <a:gd name="connsiteY2238" fmla="*/ 170974 h 742950"/>
                  <a:gd name="connsiteX2239" fmla="*/ 731329 w 895350"/>
                  <a:gd name="connsiteY2239" fmla="*/ 170117 h 742950"/>
                  <a:gd name="connsiteX2240" fmla="*/ 729615 w 895350"/>
                  <a:gd name="connsiteY2240" fmla="*/ 169259 h 742950"/>
                  <a:gd name="connsiteX2241" fmla="*/ 727043 w 895350"/>
                  <a:gd name="connsiteY2241" fmla="*/ 168402 h 742950"/>
                  <a:gd name="connsiteX2242" fmla="*/ 726186 w 895350"/>
                  <a:gd name="connsiteY2242" fmla="*/ 166688 h 742950"/>
                  <a:gd name="connsiteX2243" fmla="*/ 727043 w 895350"/>
                  <a:gd name="connsiteY2243" fmla="*/ 165830 h 742950"/>
                  <a:gd name="connsiteX2244" fmla="*/ 728758 w 895350"/>
                  <a:gd name="connsiteY2244" fmla="*/ 165830 h 742950"/>
                  <a:gd name="connsiteX2245" fmla="*/ 729615 w 895350"/>
                  <a:gd name="connsiteY2245" fmla="*/ 166688 h 742950"/>
                  <a:gd name="connsiteX2246" fmla="*/ 730472 w 895350"/>
                  <a:gd name="connsiteY2246" fmla="*/ 167545 h 742950"/>
                  <a:gd name="connsiteX2247" fmla="*/ 730472 w 895350"/>
                  <a:gd name="connsiteY2247" fmla="*/ 167545 h 742950"/>
                  <a:gd name="connsiteX2248" fmla="*/ 730472 w 895350"/>
                  <a:gd name="connsiteY2248" fmla="*/ 168402 h 742950"/>
                  <a:gd name="connsiteX2249" fmla="*/ 731329 w 895350"/>
                  <a:gd name="connsiteY2249" fmla="*/ 168402 h 742950"/>
                  <a:gd name="connsiteX2250" fmla="*/ 731329 w 895350"/>
                  <a:gd name="connsiteY2250" fmla="*/ 168402 h 742950"/>
                  <a:gd name="connsiteX2251" fmla="*/ 731329 w 895350"/>
                  <a:gd name="connsiteY2251" fmla="*/ 169259 h 742950"/>
                  <a:gd name="connsiteX2252" fmla="*/ 732187 w 895350"/>
                  <a:gd name="connsiteY2252" fmla="*/ 169259 h 742950"/>
                  <a:gd name="connsiteX2253" fmla="*/ 733044 w 895350"/>
                  <a:gd name="connsiteY2253" fmla="*/ 168402 h 742950"/>
                  <a:gd name="connsiteX2254" fmla="*/ 733901 w 895350"/>
                  <a:gd name="connsiteY2254" fmla="*/ 167545 h 742950"/>
                  <a:gd name="connsiteX2255" fmla="*/ 734758 w 895350"/>
                  <a:gd name="connsiteY2255" fmla="*/ 167545 h 742950"/>
                  <a:gd name="connsiteX2256" fmla="*/ 737330 w 895350"/>
                  <a:gd name="connsiteY2256" fmla="*/ 165830 h 742950"/>
                  <a:gd name="connsiteX2257" fmla="*/ 744093 w 895350"/>
                  <a:gd name="connsiteY2257" fmla="*/ 158210 h 742950"/>
                  <a:gd name="connsiteX2258" fmla="*/ 745807 w 895350"/>
                  <a:gd name="connsiteY2258" fmla="*/ 155638 h 742950"/>
                  <a:gd name="connsiteX2259" fmla="*/ 746665 w 895350"/>
                  <a:gd name="connsiteY2259" fmla="*/ 152209 h 742950"/>
                  <a:gd name="connsiteX2260" fmla="*/ 747522 w 895350"/>
                  <a:gd name="connsiteY2260" fmla="*/ 149638 h 742950"/>
                  <a:gd name="connsiteX2261" fmla="*/ 749236 w 895350"/>
                  <a:gd name="connsiteY2261" fmla="*/ 148780 h 742950"/>
                  <a:gd name="connsiteX2262" fmla="*/ 749236 w 895350"/>
                  <a:gd name="connsiteY2262" fmla="*/ 146209 h 742950"/>
                  <a:gd name="connsiteX2263" fmla="*/ 749236 w 895350"/>
                  <a:gd name="connsiteY2263" fmla="*/ 143637 h 742950"/>
                  <a:gd name="connsiteX2264" fmla="*/ 749236 w 895350"/>
                  <a:gd name="connsiteY2264" fmla="*/ 141922 h 742950"/>
                  <a:gd name="connsiteX2265" fmla="*/ 750951 w 895350"/>
                  <a:gd name="connsiteY2265" fmla="*/ 143637 h 742950"/>
                  <a:gd name="connsiteX2266" fmla="*/ 750951 w 895350"/>
                  <a:gd name="connsiteY2266" fmla="*/ 144494 h 742950"/>
                  <a:gd name="connsiteX2267" fmla="*/ 751808 w 895350"/>
                  <a:gd name="connsiteY2267" fmla="*/ 144494 h 742950"/>
                  <a:gd name="connsiteX2268" fmla="*/ 753523 w 895350"/>
                  <a:gd name="connsiteY2268" fmla="*/ 142780 h 742950"/>
                  <a:gd name="connsiteX2269" fmla="*/ 757809 w 895350"/>
                  <a:gd name="connsiteY2269" fmla="*/ 139351 h 742950"/>
                  <a:gd name="connsiteX2270" fmla="*/ 758666 w 895350"/>
                  <a:gd name="connsiteY2270" fmla="*/ 138493 h 742950"/>
                  <a:gd name="connsiteX2271" fmla="*/ 759524 w 895350"/>
                  <a:gd name="connsiteY2271" fmla="*/ 137636 h 742950"/>
                  <a:gd name="connsiteX2272" fmla="*/ 761238 w 895350"/>
                  <a:gd name="connsiteY2272" fmla="*/ 135922 h 742950"/>
                  <a:gd name="connsiteX2273" fmla="*/ 761238 w 895350"/>
                  <a:gd name="connsiteY2273" fmla="*/ 135922 h 742950"/>
                  <a:gd name="connsiteX2274" fmla="*/ 762095 w 895350"/>
                  <a:gd name="connsiteY2274" fmla="*/ 135064 h 742950"/>
                  <a:gd name="connsiteX2275" fmla="*/ 762953 w 895350"/>
                  <a:gd name="connsiteY2275" fmla="*/ 131635 h 742950"/>
                  <a:gd name="connsiteX2276" fmla="*/ 763810 w 895350"/>
                  <a:gd name="connsiteY2276" fmla="*/ 130778 h 742950"/>
                  <a:gd name="connsiteX2277" fmla="*/ 767239 w 895350"/>
                  <a:gd name="connsiteY2277" fmla="*/ 127349 h 742950"/>
                  <a:gd name="connsiteX2278" fmla="*/ 785050 w 895350"/>
                  <a:gd name="connsiteY2278" fmla="*/ 116300 h 742950"/>
                  <a:gd name="connsiteX2279" fmla="*/ 818960 w 895350"/>
                  <a:gd name="connsiteY2279" fmla="*/ 101060 h 742950"/>
                  <a:gd name="connsiteX2280" fmla="*/ 822389 w 895350"/>
                  <a:gd name="connsiteY2280" fmla="*/ 98488 h 742950"/>
                  <a:gd name="connsiteX2281" fmla="*/ 824103 w 895350"/>
                  <a:gd name="connsiteY2281" fmla="*/ 94202 h 742950"/>
                  <a:gd name="connsiteX2282" fmla="*/ 824960 w 895350"/>
                  <a:gd name="connsiteY2282" fmla="*/ 93345 h 742950"/>
                  <a:gd name="connsiteX2283" fmla="*/ 824960 w 895350"/>
                  <a:gd name="connsiteY2283" fmla="*/ 93440 h 742950"/>
                  <a:gd name="connsiteX2284" fmla="*/ 825818 w 895350"/>
                  <a:gd name="connsiteY2284" fmla="*/ 92583 h 742950"/>
                  <a:gd name="connsiteX2285" fmla="*/ 825818 w 895350"/>
                  <a:gd name="connsiteY2285" fmla="*/ 90868 h 742950"/>
                  <a:gd name="connsiteX2286" fmla="*/ 827532 w 895350"/>
                  <a:gd name="connsiteY2286" fmla="*/ 90011 h 742950"/>
                  <a:gd name="connsiteX2287" fmla="*/ 829246 w 895350"/>
                  <a:gd name="connsiteY2287" fmla="*/ 88297 h 742950"/>
                  <a:gd name="connsiteX2288" fmla="*/ 830961 w 895350"/>
                  <a:gd name="connsiteY2288" fmla="*/ 85725 h 742950"/>
                  <a:gd name="connsiteX2289" fmla="*/ 836009 w 895350"/>
                  <a:gd name="connsiteY2289" fmla="*/ 83153 h 742950"/>
                  <a:gd name="connsiteX2290" fmla="*/ 836866 w 895350"/>
                  <a:gd name="connsiteY2290" fmla="*/ 81439 h 742950"/>
                  <a:gd name="connsiteX2291" fmla="*/ 841915 w 895350"/>
                  <a:gd name="connsiteY2291" fmla="*/ 75533 h 742950"/>
                  <a:gd name="connsiteX2292" fmla="*/ 846963 w 895350"/>
                  <a:gd name="connsiteY2292" fmla="*/ 72104 h 742950"/>
                  <a:gd name="connsiteX2293" fmla="*/ 848678 w 895350"/>
                  <a:gd name="connsiteY2293" fmla="*/ 70390 h 742950"/>
                  <a:gd name="connsiteX2294" fmla="*/ 846106 w 895350"/>
                  <a:gd name="connsiteY2294" fmla="*/ 72104 h 742950"/>
                  <a:gd name="connsiteX2295" fmla="*/ 842677 w 895350"/>
                  <a:gd name="connsiteY2295" fmla="*/ 74676 h 742950"/>
                  <a:gd name="connsiteX2296" fmla="*/ 840105 w 895350"/>
                  <a:gd name="connsiteY2296" fmla="*/ 76391 h 742950"/>
                  <a:gd name="connsiteX2297" fmla="*/ 837533 w 895350"/>
                  <a:gd name="connsiteY2297" fmla="*/ 76391 h 742950"/>
                  <a:gd name="connsiteX2298" fmla="*/ 835819 w 895350"/>
                  <a:gd name="connsiteY2298" fmla="*/ 75533 h 742950"/>
                  <a:gd name="connsiteX2299" fmla="*/ 837533 w 895350"/>
                  <a:gd name="connsiteY2299" fmla="*/ 73819 h 742950"/>
                  <a:gd name="connsiteX2300" fmla="*/ 837533 w 895350"/>
                  <a:gd name="connsiteY2300" fmla="*/ 73819 h 742950"/>
                  <a:gd name="connsiteX2301" fmla="*/ 840105 w 895350"/>
                  <a:gd name="connsiteY2301" fmla="*/ 73819 h 742950"/>
                  <a:gd name="connsiteX2302" fmla="*/ 840962 w 895350"/>
                  <a:gd name="connsiteY2302" fmla="*/ 73819 h 742950"/>
                  <a:gd name="connsiteX2303" fmla="*/ 841820 w 895350"/>
                  <a:gd name="connsiteY2303" fmla="*/ 72962 h 742950"/>
                  <a:gd name="connsiteX2304" fmla="*/ 843534 w 895350"/>
                  <a:gd name="connsiteY2304" fmla="*/ 71247 h 742950"/>
                  <a:gd name="connsiteX2305" fmla="*/ 844391 w 895350"/>
                  <a:gd name="connsiteY2305" fmla="*/ 71247 h 742950"/>
                  <a:gd name="connsiteX2306" fmla="*/ 846963 w 895350"/>
                  <a:gd name="connsiteY2306" fmla="*/ 70390 h 742950"/>
                  <a:gd name="connsiteX2307" fmla="*/ 848678 w 895350"/>
                  <a:gd name="connsiteY2307" fmla="*/ 68675 h 742950"/>
                  <a:gd name="connsiteX2308" fmla="*/ 851249 w 895350"/>
                  <a:gd name="connsiteY2308" fmla="*/ 64389 h 742950"/>
                  <a:gd name="connsiteX2309" fmla="*/ 857155 w 895350"/>
                  <a:gd name="connsiteY2309" fmla="*/ 60960 h 742950"/>
                  <a:gd name="connsiteX2310" fmla="*/ 858012 w 895350"/>
                  <a:gd name="connsiteY2310" fmla="*/ 59246 h 742950"/>
                  <a:gd name="connsiteX2311" fmla="*/ 858869 w 895350"/>
                  <a:gd name="connsiteY2311" fmla="*/ 57531 h 742950"/>
                  <a:gd name="connsiteX2312" fmla="*/ 859727 w 895350"/>
                  <a:gd name="connsiteY2312" fmla="*/ 55817 h 742950"/>
                  <a:gd name="connsiteX2313" fmla="*/ 869918 w 895350"/>
                  <a:gd name="connsiteY2313" fmla="*/ 44767 h 742950"/>
                  <a:gd name="connsiteX2314" fmla="*/ 870775 w 895350"/>
                  <a:gd name="connsiteY2314" fmla="*/ 42196 h 742950"/>
                  <a:gd name="connsiteX2315" fmla="*/ 880110 w 895350"/>
                  <a:gd name="connsiteY2315" fmla="*/ 27718 h 742950"/>
                  <a:gd name="connsiteX2316" fmla="*/ 883539 w 895350"/>
                  <a:gd name="connsiteY2316" fmla="*/ 26860 h 742950"/>
                  <a:gd name="connsiteX2317" fmla="*/ 885253 w 895350"/>
                  <a:gd name="connsiteY2317" fmla="*/ 24289 h 742950"/>
                  <a:gd name="connsiteX2318" fmla="*/ 887825 w 895350"/>
                  <a:gd name="connsiteY2318" fmla="*/ 20860 h 742950"/>
                  <a:gd name="connsiteX2319" fmla="*/ 892111 w 895350"/>
                  <a:gd name="connsiteY2319" fmla="*/ 14954 h 742950"/>
                  <a:gd name="connsiteX2320" fmla="*/ 892969 w 895350"/>
                  <a:gd name="connsiteY2320" fmla="*/ 11525 h 742950"/>
                  <a:gd name="connsiteX2321" fmla="*/ 896398 w 895350"/>
                  <a:gd name="connsiteY2321" fmla="*/ 7239 h 742950"/>
                  <a:gd name="connsiteX2322" fmla="*/ 896398 w 895350"/>
                  <a:gd name="connsiteY2322" fmla="*/ 6858 h 742950"/>
                  <a:gd name="connsiteX2323" fmla="*/ 893921 w 895350"/>
                  <a:gd name="connsiteY2323" fmla="*/ 6858 h 742950"/>
                  <a:gd name="connsiteX2324" fmla="*/ 893921 w 895350"/>
                  <a:gd name="connsiteY2324" fmla="*/ 6858 h 742950"/>
                  <a:gd name="connsiteX2325" fmla="*/ 893921 w 895350"/>
                  <a:gd name="connsiteY2325" fmla="*/ 6858 h 742950"/>
                  <a:gd name="connsiteX2326" fmla="*/ 615696 w 895350"/>
                  <a:gd name="connsiteY2326" fmla="*/ 282893 h 742950"/>
                  <a:gd name="connsiteX2327" fmla="*/ 616553 w 895350"/>
                  <a:gd name="connsiteY2327" fmla="*/ 282035 h 742950"/>
                  <a:gd name="connsiteX2328" fmla="*/ 617411 w 895350"/>
                  <a:gd name="connsiteY2328" fmla="*/ 282035 h 742950"/>
                  <a:gd name="connsiteX2329" fmla="*/ 618268 w 895350"/>
                  <a:gd name="connsiteY2329" fmla="*/ 280321 h 742950"/>
                  <a:gd name="connsiteX2330" fmla="*/ 619125 w 895350"/>
                  <a:gd name="connsiteY2330" fmla="*/ 280321 h 742950"/>
                  <a:gd name="connsiteX2331" fmla="*/ 619125 w 895350"/>
                  <a:gd name="connsiteY2331" fmla="*/ 280321 h 742950"/>
                  <a:gd name="connsiteX2332" fmla="*/ 619982 w 895350"/>
                  <a:gd name="connsiteY2332" fmla="*/ 280321 h 742950"/>
                  <a:gd name="connsiteX2333" fmla="*/ 619982 w 895350"/>
                  <a:gd name="connsiteY2333" fmla="*/ 281178 h 742950"/>
                  <a:gd name="connsiteX2334" fmla="*/ 619982 w 895350"/>
                  <a:gd name="connsiteY2334" fmla="*/ 282893 h 742950"/>
                  <a:gd name="connsiteX2335" fmla="*/ 619125 w 895350"/>
                  <a:gd name="connsiteY2335" fmla="*/ 283750 h 742950"/>
                  <a:gd name="connsiteX2336" fmla="*/ 618268 w 895350"/>
                  <a:gd name="connsiteY2336" fmla="*/ 283750 h 742950"/>
                  <a:gd name="connsiteX2337" fmla="*/ 616553 w 895350"/>
                  <a:gd name="connsiteY2337" fmla="*/ 283750 h 742950"/>
                  <a:gd name="connsiteX2338" fmla="*/ 616553 w 895350"/>
                  <a:gd name="connsiteY2338" fmla="*/ 283750 h 742950"/>
                  <a:gd name="connsiteX2339" fmla="*/ 616553 w 895350"/>
                  <a:gd name="connsiteY2339" fmla="*/ 284607 h 742950"/>
                  <a:gd name="connsiteX2340" fmla="*/ 618268 w 895350"/>
                  <a:gd name="connsiteY2340" fmla="*/ 284607 h 742950"/>
                  <a:gd name="connsiteX2341" fmla="*/ 616553 w 895350"/>
                  <a:gd name="connsiteY2341" fmla="*/ 285464 h 742950"/>
                  <a:gd name="connsiteX2342" fmla="*/ 615696 w 895350"/>
                  <a:gd name="connsiteY2342" fmla="*/ 285464 h 742950"/>
                  <a:gd name="connsiteX2343" fmla="*/ 613982 w 895350"/>
                  <a:gd name="connsiteY2343" fmla="*/ 285464 h 742950"/>
                  <a:gd name="connsiteX2344" fmla="*/ 611410 w 895350"/>
                  <a:gd name="connsiteY2344" fmla="*/ 284607 h 742950"/>
                  <a:gd name="connsiteX2345" fmla="*/ 608838 w 895350"/>
                  <a:gd name="connsiteY2345" fmla="*/ 283750 h 742950"/>
                  <a:gd name="connsiteX2346" fmla="*/ 607981 w 895350"/>
                  <a:gd name="connsiteY2346" fmla="*/ 283750 h 742950"/>
                  <a:gd name="connsiteX2347" fmla="*/ 606266 w 895350"/>
                  <a:gd name="connsiteY2347" fmla="*/ 282893 h 742950"/>
                  <a:gd name="connsiteX2348" fmla="*/ 606266 w 895350"/>
                  <a:gd name="connsiteY2348" fmla="*/ 282035 h 742950"/>
                  <a:gd name="connsiteX2349" fmla="*/ 607124 w 895350"/>
                  <a:gd name="connsiteY2349" fmla="*/ 282035 h 742950"/>
                  <a:gd name="connsiteX2350" fmla="*/ 607981 w 895350"/>
                  <a:gd name="connsiteY2350" fmla="*/ 281178 h 742950"/>
                  <a:gd name="connsiteX2351" fmla="*/ 608838 w 895350"/>
                  <a:gd name="connsiteY2351" fmla="*/ 280321 h 742950"/>
                  <a:gd name="connsiteX2352" fmla="*/ 609695 w 895350"/>
                  <a:gd name="connsiteY2352" fmla="*/ 279463 h 742950"/>
                  <a:gd name="connsiteX2353" fmla="*/ 610553 w 895350"/>
                  <a:gd name="connsiteY2353" fmla="*/ 279463 h 742950"/>
                  <a:gd name="connsiteX2354" fmla="*/ 611410 w 895350"/>
                  <a:gd name="connsiteY2354" fmla="*/ 278606 h 742950"/>
                  <a:gd name="connsiteX2355" fmla="*/ 610553 w 895350"/>
                  <a:gd name="connsiteY2355" fmla="*/ 281178 h 742950"/>
                  <a:gd name="connsiteX2356" fmla="*/ 610553 w 895350"/>
                  <a:gd name="connsiteY2356" fmla="*/ 282035 h 742950"/>
                  <a:gd name="connsiteX2357" fmla="*/ 612267 w 895350"/>
                  <a:gd name="connsiteY2357" fmla="*/ 282893 h 742950"/>
                  <a:gd name="connsiteX2358" fmla="*/ 615696 w 895350"/>
                  <a:gd name="connsiteY2358" fmla="*/ 282893 h 742950"/>
                  <a:gd name="connsiteX2359" fmla="*/ 615696 w 895350"/>
                  <a:gd name="connsiteY2359" fmla="*/ 282893 h 742950"/>
                  <a:gd name="connsiteX2360" fmla="*/ 615696 w 895350"/>
                  <a:gd name="connsiteY2360" fmla="*/ 282893 h 742950"/>
                  <a:gd name="connsiteX2361" fmla="*/ 473202 w 895350"/>
                  <a:gd name="connsiteY2361" fmla="*/ 388144 h 742950"/>
                  <a:gd name="connsiteX2362" fmla="*/ 469773 w 895350"/>
                  <a:gd name="connsiteY2362" fmla="*/ 385572 h 742950"/>
                  <a:gd name="connsiteX2363" fmla="*/ 463868 w 895350"/>
                  <a:gd name="connsiteY2363" fmla="*/ 382143 h 742950"/>
                  <a:gd name="connsiteX2364" fmla="*/ 463010 w 895350"/>
                  <a:gd name="connsiteY2364" fmla="*/ 383000 h 742950"/>
                  <a:gd name="connsiteX2365" fmla="*/ 462153 w 895350"/>
                  <a:gd name="connsiteY2365" fmla="*/ 386429 h 742950"/>
                  <a:gd name="connsiteX2366" fmla="*/ 467201 w 895350"/>
                  <a:gd name="connsiteY2366" fmla="*/ 393192 h 742950"/>
                  <a:gd name="connsiteX2367" fmla="*/ 469773 w 895350"/>
                  <a:gd name="connsiteY2367" fmla="*/ 394906 h 742950"/>
                  <a:gd name="connsiteX2368" fmla="*/ 469773 w 895350"/>
                  <a:gd name="connsiteY2368" fmla="*/ 394906 h 742950"/>
                  <a:gd name="connsiteX2369" fmla="*/ 473202 w 895350"/>
                  <a:gd name="connsiteY2369" fmla="*/ 393192 h 742950"/>
                  <a:gd name="connsiteX2370" fmla="*/ 474916 w 895350"/>
                  <a:gd name="connsiteY2370" fmla="*/ 392335 h 742950"/>
                  <a:gd name="connsiteX2371" fmla="*/ 474916 w 895350"/>
                  <a:gd name="connsiteY2371" fmla="*/ 391478 h 742950"/>
                  <a:gd name="connsiteX2372" fmla="*/ 474059 w 895350"/>
                  <a:gd name="connsiteY2372" fmla="*/ 389763 h 742950"/>
                  <a:gd name="connsiteX2373" fmla="*/ 473202 w 895350"/>
                  <a:gd name="connsiteY2373" fmla="*/ 388144 h 742950"/>
                  <a:gd name="connsiteX2374" fmla="*/ 473202 w 895350"/>
                  <a:gd name="connsiteY2374" fmla="*/ 388144 h 742950"/>
                  <a:gd name="connsiteX2375" fmla="*/ 473202 w 895350"/>
                  <a:gd name="connsiteY2375" fmla="*/ 388144 h 742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  <a:cxn ang="0">
                    <a:pos x="connsiteX1224" y="connsiteY1224"/>
                  </a:cxn>
                  <a:cxn ang="0">
                    <a:pos x="connsiteX1225" y="connsiteY1225"/>
                  </a:cxn>
                  <a:cxn ang="0">
                    <a:pos x="connsiteX1226" y="connsiteY1226"/>
                  </a:cxn>
                  <a:cxn ang="0">
                    <a:pos x="connsiteX1227" y="connsiteY1227"/>
                  </a:cxn>
                  <a:cxn ang="0">
                    <a:pos x="connsiteX1228" y="connsiteY1228"/>
                  </a:cxn>
                  <a:cxn ang="0">
                    <a:pos x="connsiteX1229" y="connsiteY1229"/>
                  </a:cxn>
                  <a:cxn ang="0">
                    <a:pos x="connsiteX1230" y="connsiteY1230"/>
                  </a:cxn>
                  <a:cxn ang="0">
                    <a:pos x="connsiteX1231" y="connsiteY1231"/>
                  </a:cxn>
                  <a:cxn ang="0">
                    <a:pos x="connsiteX1232" y="connsiteY1232"/>
                  </a:cxn>
                  <a:cxn ang="0">
                    <a:pos x="connsiteX1233" y="connsiteY1233"/>
                  </a:cxn>
                  <a:cxn ang="0">
                    <a:pos x="connsiteX1234" y="connsiteY1234"/>
                  </a:cxn>
                  <a:cxn ang="0">
                    <a:pos x="connsiteX1235" y="connsiteY1235"/>
                  </a:cxn>
                  <a:cxn ang="0">
                    <a:pos x="connsiteX1236" y="connsiteY1236"/>
                  </a:cxn>
                  <a:cxn ang="0">
                    <a:pos x="connsiteX1237" y="connsiteY1237"/>
                  </a:cxn>
                  <a:cxn ang="0">
                    <a:pos x="connsiteX1238" y="connsiteY1238"/>
                  </a:cxn>
                  <a:cxn ang="0">
                    <a:pos x="connsiteX1239" y="connsiteY1239"/>
                  </a:cxn>
                  <a:cxn ang="0">
                    <a:pos x="connsiteX1240" y="connsiteY1240"/>
                  </a:cxn>
                  <a:cxn ang="0">
                    <a:pos x="connsiteX1241" y="connsiteY1241"/>
                  </a:cxn>
                  <a:cxn ang="0">
                    <a:pos x="connsiteX1242" y="connsiteY1242"/>
                  </a:cxn>
                  <a:cxn ang="0">
                    <a:pos x="connsiteX1243" y="connsiteY1243"/>
                  </a:cxn>
                  <a:cxn ang="0">
                    <a:pos x="connsiteX1244" y="connsiteY1244"/>
                  </a:cxn>
                  <a:cxn ang="0">
                    <a:pos x="connsiteX1245" y="connsiteY1245"/>
                  </a:cxn>
                  <a:cxn ang="0">
                    <a:pos x="connsiteX1246" y="connsiteY1246"/>
                  </a:cxn>
                  <a:cxn ang="0">
                    <a:pos x="connsiteX1247" y="connsiteY1247"/>
                  </a:cxn>
                  <a:cxn ang="0">
                    <a:pos x="connsiteX1248" y="connsiteY1248"/>
                  </a:cxn>
                  <a:cxn ang="0">
                    <a:pos x="connsiteX1249" y="connsiteY1249"/>
                  </a:cxn>
                  <a:cxn ang="0">
                    <a:pos x="connsiteX1250" y="connsiteY1250"/>
                  </a:cxn>
                  <a:cxn ang="0">
                    <a:pos x="connsiteX1251" y="connsiteY1251"/>
                  </a:cxn>
                  <a:cxn ang="0">
                    <a:pos x="connsiteX1252" y="connsiteY1252"/>
                  </a:cxn>
                  <a:cxn ang="0">
                    <a:pos x="connsiteX1253" y="connsiteY1253"/>
                  </a:cxn>
                  <a:cxn ang="0">
                    <a:pos x="connsiteX1254" y="connsiteY1254"/>
                  </a:cxn>
                  <a:cxn ang="0">
                    <a:pos x="connsiteX1255" y="connsiteY1255"/>
                  </a:cxn>
                  <a:cxn ang="0">
                    <a:pos x="connsiteX1256" y="connsiteY1256"/>
                  </a:cxn>
                  <a:cxn ang="0">
                    <a:pos x="connsiteX1257" y="connsiteY1257"/>
                  </a:cxn>
                  <a:cxn ang="0">
                    <a:pos x="connsiteX1258" y="connsiteY1258"/>
                  </a:cxn>
                  <a:cxn ang="0">
                    <a:pos x="connsiteX1259" y="connsiteY1259"/>
                  </a:cxn>
                  <a:cxn ang="0">
                    <a:pos x="connsiteX1260" y="connsiteY1260"/>
                  </a:cxn>
                  <a:cxn ang="0">
                    <a:pos x="connsiteX1261" y="connsiteY1261"/>
                  </a:cxn>
                  <a:cxn ang="0">
                    <a:pos x="connsiteX1262" y="connsiteY1262"/>
                  </a:cxn>
                  <a:cxn ang="0">
                    <a:pos x="connsiteX1263" y="connsiteY1263"/>
                  </a:cxn>
                  <a:cxn ang="0">
                    <a:pos x="connsiteX1264" y="connsiteY1264"/>
                  </a:cxn>
                  <a:cxn ang="0">
                    <a:pos x="connsiteX1265" y="connsiteY1265"/>
                  </a:cxn>
                  <a:cxn ang="0">
                    <a:pos x="connsiteX1266" y="connsiteY1266"/>
                  </a:cxn>
                  <a:cxn ang="0">
                    <a:pos x="connsiteX1267" y="connsiteY1267"/>
                  </a:cxn>
                  <a:cxn ang="0">
                    <a:pos x="connsiteX1268" y="connsiteY1268"/>
                  </a:cxn>
                  <a:cxn ang="0">
                    <a:pos x="connsiteX1269" y="connsiteY1269"/>
                  </a:cxn>
                  <a:cxn ang="0">
                    <a:pos x="connsiteX1270" y="connsiteY1270"/>
                  </a:cxn>
                  <a:cxn ang="0">
                    <a:pos x="connsiteX1271" y="connsiteY1271"/>
                  </a:cxn>
                  <a:cxn ang="0">
                    <a:pos x="connsiteX1272" y="connsiteY1272"/>
                  </a:cxn>
                  <a:cxn ang="0">
                    <a:pos x="connsiteX1273" y="connsiteY1273"/>
                  </a:cxn>
                  <a:cxn ang="0">
                    <a:pos x="connsiteX1274" y="connsiteY1274"/>
                  </a:cxn>
                  <a:cxn ang="0">
                    <a:pos x="connsiteX1275" y="connsiteY1275"/>
                  </a:cxn>
                  <a:cxn ang="0">
                    <a:pos x="connsiteX1276" y="connsiteY1276"/>
                  </a:cxn>
                  <a:cxn ang="0">
                    <a:pos x="connsiteX1277" y="connsiteY1277"/>
                  </a:cxn>
                  <a:cxn ang="0">
                    <a:pos x="connsiteX1278" y="connsiteY1278"/>
                  </a:cxn>
                  <a:cxn ang="0">
                    <a:pos x="connsiteX1279" y="connsiteY1279"/>
                  </a:cxn>
                  <a:cxn ang="0">
                    <a:pos x="connsiteX1280" y="connsiteY1280"/>
                  </a:cxn>
                  <a:cxn ang="0">
                    <a:pos x="connsiteX1281" y="connsiteY1281"/>
                  </a:cxn>
                  <a:cxn ang="0">
                    <a:pos x="connsiteX1282" y="connsiteY1282"/>
                  </a:cxn>
                  <a:cxn ang="0">
                    <a:pos x="connsiteX1283" y="connsiteY1283"/>
                  </a:cxn>
                  <a:cxn ang="0">
                    <a:pos x="connsiteX1284" y="connsiteY1284"/>
                  </a:cxn>
                  <a:cxn ang="0">
                    <a:pos x="connsiteX1285" y="connsiteY1285"/>
                  </a:cxn>
                  <a:cxn ang="0">
                    <a:pos x="connsiteX1286" y="connsiteY1286"/>
                  </a:cxn>
                  <a:cxn ang="0">
                    <a:pos x="connsiteX1287" y="connsiteY1287"/>
                  </a:cxn>
                  <a:cxn ang="0">
                    <a:pos x="connsiteX1288" y="connsiteY1288"/>
                  </a:cxn>
                  <a:cxn ang="0">
                    <a:pos x="connsiteX1289" y="connsiteY1289"/>
                  </a:cxn>
                  <a:cxn ang="0">
                    <a:pos x="connsiteX1290" y="connsiteY1290"/>
                  </a:cxn>
                  <a:cxn ang="0">
                    <a:pos x="connsiteX1291" y="connsiteY1291"/>
                  </a:cxn>
                  <a:cxn ang="0">
                    <a:pos x="connsiteX1292" y="connsiteY1292"/>
                  </a:cxn>
                  <a:cxn ang="0">
                    <a:pos x="connsiteX1293" y="connsiteY1293"/>
                  </a:cxn>
                  <a:cxn ang="0">
                    <a:pos x="connsiteX1294" y="connsiteY1294"/>
                  </a:cxn>
                  <a:cxn ang="0">
                    <a:pos x="connsiteX1295" y="connsiteY1295"/>
                  </a:cxn>
                  <a:cxn ang="0">
                    <a:pos x="connsiteX1296" y="connsiteY1296"/>
                  </a:cxn>
                  <a:cxn ang="0">
                    <a:pos x="connsiteX1297" y="connsiteY1297"/>
                  </a:cxn>
                  <a:cxn ang="0">
                    <a:pos x="connsiteX1298" y="connsiteY1298"/>
                  </a:cxn>
                  <a:cxn ang="0">
                    <a:pos x="connsiteX1299" y="connsiteY1299"/>
                  </a:cxn>
                  <a:cxn ang="0">
                    <a:pos x="connsiteX1300" y="connsiteY1300"/>
                  </a:cxn>
                  <a:cxn ang="0">
                    <a:pos x="connsiteX1301" y="connsiteY1301"/>
                  </a:cxn>
                  <a:cxn ang="0">
                    <a:pos x="connsiteX1302" y="connsiteY1302"/>
                  </a:cxn>
                  <a:cxn ang="0">
                    <a:pos x="connsiteX1303" y="connsiteY1303"/>
                  </a:cxn>
                  <a:cxn ang="0">
                    <a:pos x="connsiteX1304" y="connsiteY1304"/>
                  </a:cxn>
                  <a:cxn ang="0">
                    <a:pos x="connsiteX1305" y="connsiteY1305"/>
                  </a:cxn>
                  <a:cxn ang="0">
                    <a:pos x="connsiteX1306" y="connsiteY1306"/>
                  </a:cxn>
                  <a:cxn ang="0">
                    <a:pos x="connsiteX1307" y="connsiteY1307"/>
                  </a:cxn>
                  <a:cxn ang="0">
                    <a:pos x="connsiteX1308" y="connsiteY1308"/>
                  </a:cxn>
                  <a:cxn ang="0">
                    <a:pos x="connsiteX1309" y="connsiteY1309"/>
                  </a:cxn>
                  <a:cxn ang="0">
                    <a:pos x="connsiteX1310" y="connsiteY1310"/>
                  </a:cxn>
                  <a:cxn ang="0">
                    <a:pos x="connsiteX1311" y="connsiteY1311"/>
                  </a:cxn>
                  <a:cxn ang="0">
                    <a:pos x="connsiteX1312" y="connsiteY1312"/>
                  </a:cxn>
                  <a:cxn ang="0">
                    <a:pos x="connsiteX1313" y="connsiteY1313"/>
                  </a:cxn>
                  <a:cxn ang="0">
                    <a:pos x="connsiteX1314" y="connsiteY1314"/>
                  </a:cxn>
                  <a:cxn ang="0">
                    <a:pos x="connsiteX1315" y="connsiteY1315"/>
                  </a:cxn>
                  <a:cxn ang="0">
                    <a:pos x="connsiteX1316" y="connsiteY1316"/>
                  </a:cxn>
                  <a:cxn ang="0">
                    <a:pos x="connsiteX1317" y="connsiteY1317"/>
                  </a:cxn>
                  <a:cxn ang="0">
                    <a:pos x="connsiteX1318" y="connsiteY1318"/>
                  </a:cxn>
                  <a:cxn ang="0">
                    <a:pos x="connsiteX1319" y="connsiteY1319"/>
                  </a:cxn>
                  <a:cxn ang="0">
                    <a:pos x="connsiteX1320" y="connsiteY1320"/>
                  </a:cxn>
                  <a:cxn ang="0">
                    <a:pos x="connsiteX1321" y="connsiteY1321"/>
                  </a:cxn>
                  <a:cxn ang="0">
                    <a:pos x="connsiteX1322" y="connsiteY1322"/>
                  </a:cxn>
                  <a:cxn ang="0">
                    <a:pos x="connsiteX1323" y="connsiteY1323"/>
                  </a:cxn>
                  <a:cxn ang="0">
                    <a:pos x="connsiteX1324" y="connsiteY1324"/>
                  </a:cxn>
                  <a:cxn ang="0">
                    <a:pos x="connsiteX1325" y="connsiteY1325"/>
                  </a:cxn>
                  <a:cxn ang="0">
                    <a:pos x="connsiteX1326" y="connsiteY1326"/>
                  </a:cxn>
                  <a:cxn ang="0">
                    <a:pos x="connsiteX1327" y="connsiteY1327"/>
                  </a:cxn>
                  <a:cxn ang="0">
                    <a:pos x="connsiteX1328" y="connsiteY1328"/>
                  </a:cxn>
                  <a:cxn ang="0">
                    <a:pos x="connsiteX1329" y="connsiteY1329"/>
                  </a:cxn>
                  <a:cxn ang="0">
                    <a:pos x="connsiteX1330" y="connsiteY1330"/>
                  </a:cxn>
                  <a:cxn ang="0">
                    <a:pos x="connsiteX1331" y="connsiteY1331"/>
                  </a:cxn>
                  <a:cxn ang="0">
                    <a:pos x="connsiteX1332" y="connsiteY1332"/>
                  </a:cxn>
                  <a:cxn ang="0">
                    <a:pos x="connsiteX1333" y="connsiteY1333"/>
                  </a:cxn>
                  <a:cxn ang="0">
                    <a:pos x="connsiteX1334" y="connsiteY1334"/>
                  </a:cxn>
                  <a:cxn ang="0">
                    <a:pos x="connsiteX1335" y="connsiteY1335"/>
                  </a:cxn>
                  <a:cxn ang="0">
                    <a:pos x="connsiteX1336" y="connsiteY1336"/>
                  </a:cxn>
                  <a:cxn ang="0">
                    <a:pos x="connsiteX1337" y="connsiteY1337"/>
                  </a:cxn>
                  <a:cxn ang="0">
                    <a:pos x="connsiteX1338" y="connsiteY1338"/>
                  </a:cxn>
                  <a:cxn ang="0">
                    <a:pos x="connsiteX1339" y="connsiteY1339"/>
                  </a:cxn>
                  <a:cxn ang="0">
                    <a:pos x="connsiteX1340" y="connsiteY1340"/>
                  </a:cxn>
                  <a:cxn ang="0">
                    <a:pos x="connsiteX1341" y="connsiteY1341"/>
                  </a:cxn>
                  <a:cxn ang="0">
                    <a:pos x="connsiteX1342" y="connsiteY1342"/>
                  </a:cxn>
                  <a:cxn ang="0">
                    <a:pos x="connsiteX1343" y="connsiteY1343"/>
                  </a:cxn>
                  <a:cxn ang="0">
                    <a:pos x="connsiteX1344" y="connsiteY1344"/>
                  </a:cxn>
                  <a:cxn ang="0">
                    <a:pos x="connsiteX1345" y="connsiteY1345"/>
                  </a:cxn>
                  <a:cxn ang="0">
                    <a:pos x="connsiteX1346" y="connsiteY1346"/>
                  </a:cxn>
                  <a:cxn ang="0">
                    <a:pos x="connsiteX1347" y="connsiteY1347"/>
                  </a:cxn>
                  <a:cxn ang="0">
                    <a:pos x="connsiteX1348" y="connsiteY1348"/>
                  </a:cxn>
                  <a:cxn ang="0">
                    <a:pos x="connsiteX1349" y="connsiteY1349"/>
                  </a:cxn>
                  <a:cxn ang="0">
                    <a:pos x="connsiteX1350" y="connsiteY1350"/>
                  </a:cxn>
                  <a:cxn ang="0">
                    <a:pos x="connsiteX1351" y="connsiteY1351"/>
                  </a:cxn>
                  <a:cxn ang="0">
                    <a:pos x="connsiteX1352" y="connsiteY1352"/>
                  </a:cxn>
                  <a:cxn ang="0">
                    <a:pos x="connsiteX1353" y="connsiteY1353"/>
                  </a:cxn>
                  <a:cxn ang="0">
                    <a:pos x="connsiteX1354" y="connsiteY1354"/>
                  </a:cxn>
                  <a:cxn ang="0">
                    <a:pos x="connsiteX1355" y="connsiteY1355"/>
                  </a:cxn>
                  <a:cxn ang="0">
                    <a:pos x="connsiteX1356" y="connsiteY1356"/>
                  </a:cxn>
                  <a:cxn ang="0">
                    <a:pos x="connsiteX1357" y="connsiteY1357"/>
                  </a:cxn>
                  <a:cxn ang="0">
                    <a:pos x="connsiteX1358" y="connsiteY1358"/>
                  </a:cxn>
                  <a:cxn ang="0">
                    <a:pos x="connsiteX1359" y="connsiteY1359"/>
                  </a:cxn>
                  <a:cxn ang="0">
                    <a:pos x="connsiteX1360" y="connsiteY1360"/>
                  </a:cxn>
                  <a:cxn ang="0">
                    <a:pos x="connsiteX1361" y="connsiteY1361"/>
                  </a:cxn>
                  <a:cxn ang="0">
                    <a:pos x="connsiteX1362" y="connsiteY1362"/>
                  </a:cxn>
                  <a:cxn ang="0">
                    <a:pos x="connsiteX1363" y="connsiteY1363"/>
                  </a:cxn>
                  <a:cxn ang="0">
                    <a:pos x="connsiteX1364" y="connsiteY1364"/>
                  </a:cxn>
                  <a:cxn ang="0">
                    <a:pos x="connsiteX1365" y="connsiteY1365"/>
                  </a:cxn>
                  <a:cxn ang="0">
                    <a:pos x="connsiteX1366" y="connsiteY1366"/>
                  </a:cxn>
                  <a:cxn ang="0">
                    <a:pos x="connsiteX1367" y="connsiteY1367"/>
                  </a:cxn>
                  <a:cxn ang="0">
                    <a:pos x="connsiteX1368" y="connsiteY1368"/>
                  </a:cxn>
                  <a:cxn ang="0">
                    <a:pos x="connsiteX1369" y="connsiteY1369"/>
                  </a:cxn>
                  <a:cxn ang="0">
                    <a:pos x="connsiteX1370" y="connsiteY1370"/>
                  </a:cxn>
                  <a:cxn ang="0">
                    <a:pos x="connsiteX1371" y="connsiteY1371"/>
                  </a:cxn>
                  <a:cxn ang="0">
                    <a:pos x="connsiteX1372" y="connsiteY1372"/>
                  </a:cxn>
                  <a:cxn ang="0">
                    <a:pos x="connsiteX1373" y="connsiteY1373"/>
                  </a:cxn>
                  <a:cxn ang="0">
                    <a:pos x="connsiteX1374" y="connsiteY1374"/>
                  </a:cxn>
                  <a:cxn ang="0">
                    <a:pos x="connsiteX1375" y="connsiteY1375"/>
                  </a:cxn>
                  <a:cxn ang="0">
                    <a:pos x="connsiteX1376" y="connsiteY1376"/>
                  </a:cxn>
                  <a:cxn ang="0">
                    <a:pos x="connsiteX1377" y="connsiteY1377"/>
                  </a:cxn>
                  <a:cxn ang="0">
                    <a:pos x="connsiteX1378" y="connsiteY1378"/>
                  </a:cxn>
                  <a:cxn ang="0">
                    <a:pos x="connsiteX1379" y="connsiteY1379"/>
                  </a:cxn>
                  <a:cxn ang="0">
                    <a:pos x="connsiteX1380" y="connsiteY1380"/>
                  </a:cxn>
                  <a:cxn ang="0">
                    <a:pos x="connsiteX1381" y="connsiteY1381"/>
                  </a:cxn>
                  <a:cxn ang="0">
                    <a:pos x="connsiteX1382" y="connsiteY1382"/>
                  </a:cxn>
                  <a:cxn ang="0">
                    <a:pos x="connsiteX1383" y="connsiteY1383"/>
                  </a:cxn>
                  <a:cxn ang="0">
                    <a:pos x="connsiteX1384" y="connsiteY1384"/>
                  </a:cxn>
                  <a:cxn ang="0">
                    <a:pos x="connsiteX1385" y="connsiteY1385"/>
                  </a:cxn>
                  <a:cxn ang="0">
                    <a:pos x="connsiteX1386" y="connsiteY1386"/>
                  </a:cxn>
                  <a:cxn ang="0">
                    <a:pos x="connsiteX1387" y="connsiteY1387"/>
                  </a:cxn>
                  <a:cxn ang="0">
                    <a:pos x="connsiteX1388" y="connsiteY1388"/>
                  </a:cxn>
                  <a:cxn ang="0">
                    <a:pos x="connsiteX1389" y="connsiteY1389"/>
                  </a:cxn>
                  <a:cxn ang="0">
                    <a:pos x="connsiteX1390" y="connsiteY1390"/>
                  </a:cxn>
                  <a:cxn ang="0">
                    <a:pos x="connsiteX1391" y="connsiteY1391"/>
                  </a:cxn>
                  <a:cxn ang="0">
                    <a:pos x="connsiteX1392" y="connsiteY1392"/>
                  </a:cxn>
                  <a:cxn ang="0">
                    <a:pos x="connsiteX1393" y="connsiteY1393"/>
                  </a:cxn>
                  <a:cxn ang="0">
                    <a:pos x="connsiteX1394" y="connsiteY1394"/>
                  </a:cxn>
                  <a:cxn ang="0">
                    <a:pos x="connsiteX1395" y="connsiteY1395"/>
                  </a:cxn>
                  <a:cxn ang="0">
                    <a:pos x="connsiteX1396" y="connsiteY1396"/>
                  </a:cxn>
                  <a:cxn ang="0">
                    <a:pos x="connsiteX1397" y="connsiteY1397"/>
                  </a:cxn>
                  <a:cxn ang="0">
                    <a:pos x="connsiteX1398" y="connsiteY1398"/>
                  </a:cxn>
                  <a:cxn ang="0">
                    <a:pos x="connsiteX1399" y="connsiteY1399"/>
                  </a:cxn>
                  <a:cxn ang="0">
                    <a:pos x="connsiteX1400" y="connsiteY1400"/>
                  </a:cxn>
                  <a:cxn ang="0">
                    <a:pos x="connsiteX1401" y="connsiteY1401"/>
                  </a:cxn>
                  <a:cxn ang="0">
                    <a:pos x="connsiteX1402" y="connsiteY1402"/>
                  </a:cxn>
                  <a:cxn ang="0">
                    <a:pos x="connsiteX1403" y="connsiteY1403"/>
                  </a:cxn>
                  <a:cxn ang="0">
                    <a:pos x="connsiteX1404" y="connsiteY1404"/>
                  </a:cxn>
                  <a:cxn ang="0">
                    <a:pos x="connsiteX1405" y="connsiteY1405"/>
                  </a:cxn>
                  <a:cxn ang="0">
                    <a:pos x="connsiteX1406" y="connsiteY1406"/>
                  </a:cxn>
                  <a:cxn ang="0">
                    <a:pos x="connsiteX1407" y="connsiteY1407"/>
                  </a:cxn>
                  <a:cxn ang="0">
                    <a:pos x="connsiteX1408" y="connsiteY1408"/>
                  </a:cxn>
                  <a:cxn ang="0">
                    <a:pos x="connsiteX1409" y="connsiteY1409"/>
                  </a:cxn>
                  <a:cxn ang="0">
                    <a:pos x="connsiteX1410" y="connsiteY1410"/>
                  </a:cxn>
                  <a:cxn ang="0">
                    <a:pos x="connsiteX1411" y="connsiteY1411"/>
                  </a:cxn>
                  <a:cxn ang="0">
                    <a:pos x="connsiteX1412" y="connsiteY1412"/>
                  </a:cxn>
                  <a:cxn ang="0">
                    <a:pos x="connsiteX1413" y="connsiteY1413"/>
                  </a:cxn>
                  <a:cxn ang="0">
                    <a:pos x="connsiteX1414" y="connsiteY1414"/>
                  </a:cxn>
                  <a:cxn ang="0">
                    <a:pos x="connsiteX1415" y="connsiteY1415"/>
                  </a:cxn>
                  <a:cxn ang="0">
                    <a:pos x="connsiteX1416" y="connsiteY1416"/>
                  </a:cxn>
                  <a:cxn ang="0">
                    <a:pos x="connsiteX1417" y="connsiteY1417"/>
                  </a:cxn>
                  <a:cxn ang="0">
                    <a:pos x="connsiteX1418" y="connsiteY1418"/>
                  </a:cxn>
                  <a:cxn ang="0">
                    <a:pos x="connsiteX1419" y="connsiteY1419"/>
                  </a:cxn>
                  <a:cxn ang="0">
                    <a:pos x="connsiteX1420" y="connsiteY1420"/>
                  </a:cxn>
                  <a:cxn ang="0">
                    <a:pos x="connsiteX1421" y="connsiteY1421"/>
                  </a:cxn>
                  <a:cxn ang="0">
                    <a:pos x="connsiteX1422" y="connsiteY1422"/>
                  </a:cxn>
                  <a:cxn ang="0">
                    <a:pos x="connsiteX1423" y="connsiteY1423"/>
                  </a:cxn>
                  <a:cxn ang="0">
                    <a:pos x="connsiteX1424" y="connsiteY1424"/>
                  </a:cxn>
                  <a:cxn ang="0">
                    <a:pos x="connsiteX1425" y="connsiteY1425"/>
                  </a:cxn>
                  <a:cxn ang="0">
                    <a:pos x="connsiteX1426" y="connsiteY1426"/>
                  </a:cxn>
                  <a:cxn ang="0">
                    <a:pos x="connsiteX1427" y="connsiteY1427"/>
                  </a:cxn>
                  <a:cxn ang="0">
                    <a:pos x="connsiteX1428" y="connsiteY1428"/>
                  </a:cxn>
                  <a:cxn ang="0">
                    <a:pos x="connsiteX1429" y="connsiteY1429"/>
                  </a:cxn>
                  <a:cxn ang="0">
                    <a:pos x="connsiteX1430" y="connsiteY1430"/>
                  </a:cxn>
                  <a:cxn ang="0">
                    <a:pos x="connsiteX1431" y="connsiteY1431"/>
                  </a:cxn>
                  <a:cxn ang="0">
                    <a:pos x="connsiteX1432" y="connsiteY1432"/>
                  </a:cxn>
                  <a:cxn ang="0">
                    <a:pos x="connsiteX1433" y="connsiteY1433"/>
                  </a:cxn>
                  <a:cxn ang="0">
                    <a:pos x="connsiteX1434" y="connsiteY1434"/>
                  </a:cxn>
                  <a:cxn ang="0">
                    <a:pos x="connsiteX1435" y="connsiteY1435"/>
                  </a:cxn>
                  <a:cxn ang="0">
                    <a:pos x="connsiteX1436" y="connsiteY1436"/>
                  </a:cxn>
                  <a:cxn ang="0">
                    <a:pos x="connsiteX1437" y="connsiteY1437"/>
                  </a:cxn>
                  <a:cxn ang="0">
                    <a:pos x="connsiteX1438" y="connsiteY1438"/>
                  </a:cxn>
                  <a:cxn ang="0">
                    <a:pos x="connsiteX1439" y="connsiteY1439"/>
                  </a:cxn>
                  <a:cxn ang="0">
                    <a:pos x="connsiteX1440" y="connsiteY1440"/>
                  </a:cxn>
                  <a:cxn ang="0">
                    <a:pos x="connsiteX1441" y="connsiteY1441"/>
                  </a:cxn>
                  <a:cxn ang="0">
                    <a:pos x="connsiteX1442" y="connsiteY1442"/>
                  </a:cxn>
                  <a:cxn ang="0">
                    <a:pos x="connsiteX1443" y="connsiteY1443"/>
                  </a:cxn>
                  <a:cxn ang="0">
                    <a:pos x="connsiteX1444" y="connsiteY1444"/>
                  </a:cxn>
                  <a:cxn ang="0">
                    <a:pos x="connsiteX1445" y="connsiteY1445"/>
                  </a:cxn>
                  <a:cxn ang="0">
                    <a:pos x="connsiteX1446" y="connsiteY1446"/>
                  </a:cxn>
                  <a:cxn ang="0">
                    <a:pos x="connsiteX1447" y="connsiteY1447"/>
                  </a:cxn>
                  <a:cxn ang="0">
                    <a:pos x="connsiteX1448" y="connsiteY1448"/>
                  </a:cxn>
                  <a:cxn ang="0">
                    <a:pos x="connsiteX1449" y="connsiteY1449"/>
                  </a:cxn>
                  <a:cxn ang="0">
                    <a:pos x="connsiteX1450" y="connsiteY1450"/>
                  </a:cxn>
                  <a:cxn ang="0">
                    <a:pos x="connsiteX1451" y="connsiteY1451"/>
                  </a:cxn>
                  <a:cxn ang="0">
                    <a:pos x="connsiteX1452" y="connsiteY1452"/>
                  </a:cxn>
                  <a:cxn ang="0">
                    <a:pos x="connsiteX1453" y="connsiteY1453"/>
                  </a:cxn>
                  <a:cxn ang="0">
                    <a:pos x="connsiteX1454" y="connsiteY1454"/>
                  </a:cxn>
                  <a:cxn ang="0">
                    <a:pos x="connsiteX1455" y="connsiteY1455"/>
                  </a:cxn>
                  <a:cxn ang="0">
                    <a:pos x="connsiteX1456" y="connsiteY1456"/>
                  </a:cxn>
                  <a:cxn ang="0">
                    <a:pos x="connsiteX1457" y="connsiteY1457"/>
                  </a:cxn>
                  <a:cxn ang="0">
                    <a:pos x="connsiteX1458" y="connsiteY1458"/>
                  </a:cxn>
                  <a:cxn ang="0">
                    <a:pos x="connsiteX1459" y="connsiteY1459"/>
                  </a:cxn>
                  <a:cxn ang="0">
                    <a:pos x="connsiteX1460" y="connsiteY1460"/>
                  </a:cxn>
                  <a:cxn ang="0">
                    <a:pos x="connsiteX1461" y="connsiteY1461"/>
                  </a:cxn>
                  <a:cxn ang="0">
                    <a:pos x="connsiteX1462" y="connsiteY1462"/>
                  </a:cxn>
                  <a:cxn ang="0">
                    <a:pos x="connsiteX1463" y="connsiteY1463"/>
                  </a:cxn>
                  <a:cxn ang="0">
                    <a:pos x="connsiteX1464" y="connsiteY1464"/>
                  </a:cxn>
                  <a:cxn ang="0">
                    <a:pos x="connsiteX1465" y="connsiteY1465"/>
                  </a:cxn>
                  <a:cxn ang="0">
                    <a:pos x="connsiteX1466" y="connsiteY1466"/>
                  </a:cxn>
                  <a:cxn ang="0">
                    <a:pos x="connsiteX1467" y="connsiteY1467"/>
                  </a:cxn>
                  <a:cxn ang="0">
                    <a:pos x="connsiteX1468" y="connsiteY1468"/>
                  </a:cxn>
                  <a:cxn ang="0">
                    <a:pos x="connsiteX1469" y="connsiteY1469"/>
                  </a:cxn>
                  <a:cxn ang="0">
                    <a:pos x="connsiteX1470" y="connsiteY1470"/>
                  </a:cxn>
                  <a:cxn ang="0">
                    <a:pos x="connsiteX1471" y="connsiteY1471"/>
                  </a:cxn>
                  <a:cxn ang="0">
                    <a:pos x="connsiteX1472" y="connsiteY1472"/>
                  </a:cxn>
                  <a:cxn ang="0">
                    <a:pos x="connsiteX1473" y="connsiteY1473"/>
                  </a:cxn>
                  <a:cxn ang="0">
                    <a:pos x="connsiteX1474" y="connsiteY1474"/>
                  </a:cxn>
                  <a:cxn ang="0">
                    <a:pos x="connsiteX1475" y="connsiteY1475"/>
                  </a:cxn>
                  <a:cxn ang="0">
                    <a:pos x="connsiteX1476" y="connsiteY1476"/>
                  </a:cxn>
                  <a:cxn ang="0">
                    <a:pos x="connsiteX1477" y="connsiteY1477"/>
                  </a:cxn>
                  <a:cxn ang="0">
                    <a:pos x="connsiteX1478" y="connsiteY1478"/>
                  </a:cxn>
                  <a:cxn ang="0">
                    <a:pos x="connsiteX1479" y="connsiteY1479"/>
                  </a:cxn>
                  <a:cxn ang="0">
                    <a:pos x="connsiteX1480" y="connsiteY1480"/>
                  </a:cxn>
                  <a:cxn ang="0">
                    <a:pos x="connsiteX1481" y="connsiteY1481"/>
                  </a:cxn>
                  <a:cxn ang="0">
                    <a:pos x="connsiteX1482" y="connsiteY1482"/>
                  </a:cxn>
                  <a:cxn ang="0">
                    <a:pos x="connsiteX1483" y="connsiteY1483"/>
                  </a:cxn>
                  <a:cxn ang="0">
                    <a:pos x="connsiteX1484" y="connsiteY1484"/>
                  </a:cxn>
                  <a:cxn ang="0">
                    <a:pos x="connsiteX1485" y="connsiteY1485"/>
                  </a:cxn>
                  <a:cxn ang="0">
                    <a:pos x="connsiteX1486" y="connsiteY1486"/>
                  </a:cxn>
                  <a:cxn ang="0">
                    <a:pos x="connsiteX1487" y="connsiteY1487"/>
                  </a:cxn>
                  <a:cxn ang="0">
                    <a:pos x="connsiteX1488" y="connsiteY1488"/>
                  </a:cxn>
                  <a:cxn ang="0">
                    <a:pos x="connsiteX1489" y="connsiteY1489"/>
                  </a:cxn>
                  <a:cxn ang="0">
                    <a:pos x="connsiteX1490" y="connsiteY1490"/>
                  </a:cxn>
                  <a:cxn ang="0">
                    <a:pos x="connsiteX1491" y="connsiteY1491"/>
                  </a:cxn>
                  <a:cxn ang="0">
                    <a:pos x="connsiteX1492" y="connsiteY1492"/>
                  </a:cxn>
                  <a:cxn ang="0">
                    <a:pos x="connsiteX1493" y="connsiteY1493"/>
                  </a:cxn>
                  <a:cxn ang="0">
                    <a:pos x="connsiteX1494" y="connsiteY1494"/>
                  </a:cxn>
                  <a:cxn ang="0">
                    <a:pos x="connsiteX1495" y="connsiteY1495"/>
                  </a:cxn>
                  <a:cxn ang="0">
                    <a:pos x="connsiteX1496" y="connsiteY1496"/>
                  </a:cxn>
                  <a:cxn ang="0">
                    <a:pos x="connsiteX1497" y="connsiteY1497"/>
                  </a:cxn>
                  <a:cxn ang="0">
                    <a:pos x="connsiteX1498" y="connsiteY1498"/>
                  </a:cxn>
                  <a:cxn ang="0">
                    <a:pos x="connsiteX1499" y="connsiteY1499"/>
                  </a:cxn>
                  <a:cxn ang="0">
                    <a:pos x="connsiteX1500" y="connsiteY1500"/>
                  </a:cxn>
                  <a:cxn ang="0">
                    <a:pos x="connsiteX1501" y="connsiteY1501"/>
                  </a:cxn>
                  <a:cxn ang="0">
                    <a:pos x="connsiteX1502" y="connsiteY1502"/>
                  </a:cxn>
                  <a:cxn ang="0">
                    <a:pos x="connsiteX1503" y="connsiteY1503"/>
                  </a:cxn>
                  <a:cxn ang="0">
                    <a:pos x="connsiteX1504" y="connsiteY1504"/>
                  </a:cxn>
                  <a:cxn ang="0">
                    <a:pos x="connsiteX1505" y="connsiteY1505"/>
                  </a:cxn>
                  <a:cxn ang="0">
                    <a:pos x="connsiteX1506" y="connsiteY1506"/>
                  </a:cxn>
                  <a:cxn ang="0">
                    <a:pos x="connsiteX1507" y="connsiteY1507"/>
                  </a:cxn>
                  <a:cxn ang="0">
                    <a:pos x="connsiteX1508" y="connsiteY1508"/>
                  </a:cxn>
                  <a:cxn ang="0">
                    <a:pos x="connsiteX1509" y="connsiteY1509"/>
                  </a:cxn>
                  <a:cxn ang="0">
                    <a:pos x="connsiteX1510" y="connsiteY1510"/>
                  </a:cxn>
                  <a:cxn ang="0">
                    <a:pos x="connsiteX1511" y="connsiteY1511"/>
                  </a:cxn>
                  <a:cxn ang="0">
                    <a:pos x="connsiteX1512" y="connsiteY1512"/>
                  </a:cxn>
                  <a:cxn ang="0">
                    <a:pos x="connsiteX1513" y="connsiteY1513"/>
                  </a:cxn>
                  <a:cxn ang="0">
                    <a:pos x="connsiteX1514" y="connsiteY1514"/>
                  </a:cxn>
                  <a:cxn ang="0">
                    <a:pos x="connsiteX1515" y="connsiteY1515"/>
                  </a:cxn>
                  <a:cxn ang="0">
                    <a:pos x="connsiteX1516" y="connsiteY1516"/>
                  </a:cxn>
                  <a:cxn ang="0">
                    <a:pos x="connsiteX1517" y="connsiteY1517"/>
                  </a:cxn>
                  <a:cxn ang="0">
                    <a:pos x="connsiteX1518" y="connsiteY1518"/>
                  </a:cxn>
                  <a:cxn ang="0">
                    <a:pos x="connsiteX1519" y="connsiteY1519"/>
                  </a:cxn>
                  <a:cxn ang="0">
                    <a:pos x="connsiteX1520" y="connsiteY1520"/>
                  </a:cxn>
                  <a:cxn ang="0">
                    <a:pos x="connsiteX1521" y="connsiteY1521"/>
                  </a:cxn>
                  <a:cxn ang="0">
                    <a:pos x="connsiteX1522" y="connsiteY1522"/>
                  </a:cxn>
                  <a:cxn ang="0">
                    <a:pos x="connsiteX1523" y="connsiteY1523"/>
                  </a:cxn>
                  <a:cxn ang="0">
                    <a:pos x="connsiteX1524" y="connsiteY1524"/>
                  </a:cxn>
                  <a:cxn ang="0">
                    <a:pos x="connsiteX1525" y="connsiteY1525"/>
                  </a:cxn>
                  <a:cxn ang="0">
                    <a:pos x="connsiteX1526" y="connsiteY1526"/>
                  </a:cxn>
                  <a:cxn ang="0">
                    <a:pos x="connsiteX1527" y="connsiteY1527"/>
                  </a:cxn>
                  <a:cxn ang="0">
                    <a:pos x="connsiteX1528" y="connsiteY1528"/>
                  </a:cxn>
                  <a:cxn ang="0">
                    <a:pos x="connsiteX1529" y="connsiteY1529"/>
                  </a:cxn>
                  <a:cxn ang="0">
                    <a:pos x="connsiteX1530" y="connsiteY1530"/>
                  </a:cxn>
                  <a:cxn ang="0">
                    <a:pos x="connsiteX1531" y="connsiteY1531"/>
                  </a:cxn>
                  <a:cxn ang="0">
                    <a:pos x="connsiteX1532" y="connsiteY1532"/>
                  </a:cxn>
                  <a:cxn ang="0">
                    <a:pos x="connsiteX1533" y="connsiteY1533"/>
                  </a:cxn>
                  <a:cxn ang="0">
                    <a:pos x="connsiteX1534" y="connsiteY1534"/>
                  </a:cxn>
                  <a:cxn ang="0">
                    <a:pos x="connsiteX1535" y="connsiteY1535"/>
                  </a:cxn>
                  <a:cxn ang="0">
                    <a:pos x="connsiteX1536" y="connsiteY1536"/>
                  </a:cxn>
                  <a:cxn ang="0">
                    <a:pos x="connsiteX1537" y="connsiteY1537"/>
                  </a:cxn>
                  <a:cxn ang="0">
                    <a:pos x="connsiteX1538" y="connsiteY1538"/>
                  </a:cxn>
                  <a:cxn ang="0">
                    <a:pos x="connsiteX1539" y="connsiteY1539"/>
                  </a:cxn>
                  <a:cxn ang="0">
                    <a:pos x="connsiteX1540" y="connsiteY1540"/>
                  </a:cxn>
                  <a:cxn ang="0">
                    <a:pos x="connsiteX1541" y="connsiteY1541"/>
                  </a:cxn>
                  <a:cxn ang="0">
                    <a:pos x="connsiteX1542" y="connsiteY1542"/>
                  </a:cxn>
                  <a:cxn ang="0">
                    <a:pos x="connsiteX1543" y="connsiteY1543"/>
                  </a:cxn>
                  <a:cxn ang="0">
                    <a:pos x="connsiteX1544" y="connsiteY1544"/>
                  </a:cxn>
                  <a:cxn ang="0">
                    <a:pos x="connsiteX1545" y="connsiteY1545"/>
                  </a:cxn>
                  <a:cxn ang="0">
                    <a:pos x="connsiteX1546" y="connsiteY1546"/>
                  </a:cxn>
                  <a:cxn ang="0">
                    <a:pos x="connsiteX1547" y="connsiteY1547"/>
                  </a:cxn>
                  <a:cxn ang="0">
                    <a:pos x="connsiteX1548" y="connsiteY1548"/>
                  </a:cxn>
                  <a:cxn ang="0">
                    <a:pos x="connsiteX1549" y="connsiteY1549"/>
                  </a:cxn>
                  <a:cxn ang="0">
                    <a:pos x="connsiteX1550" y="connsiteY1550"/>
                  </a:cxn>
                  <a:cxn ang="0">
                    <a:pos x="connsiteX1551" y="connsiteY1551"/>
                  </a:cxn>
                  <a:cxn ang="0">
                    <a:pos x="connsiteX1552" y="connsiteY1552"/>
                  </a:cxn>
                  <a:cxn ang="0">
                    <a:pos x="connsiteX1553" y="connsiteY1553"/>
                  </a:cxn>
                  <a:cxn ang="0">
                    <a:pos x="connsiteX1554" y="connsiteY1554"/>
                  </a:cxn>
                  <a:cxn ang="0">
                    <a:pos x="connsiteX1555" y="connsiteY1555"/>
                  </a:cxn>
                  <a:cxn ang="0">
                    <a:pos x="connsiteX1556" y="connsiteY1556"/>
                  </a:cxn>
                  <a:cxn ang="0">
                    <a:pos x="connsiteX1557" y="connsiteY1557"/>
                  </a:cxn>
                  <a:cxn ang="0">
                    <a:pos x="connsiteX1558" y="connsiteY1558"/>
                  </a:cxn>
                  <a:cxn ang="0">
                    <a:pos x="connsiteX1559" y="connsiteY1559"/>
                  </a:cxn>
                  <a:cxn ang="0">
                    <a:pos x="connsiteX1560" y="connsiteY1560"/>
                  </a:cxn>
                  <a:cxn ang="0">
                    <a:pos x="connsiteX1561" y="connsiteY1561"/>
                  </a:cxn>
                  <a:cxn ang="0">
                    <a:pos x="connsiteX1562" y="connsiteY1562"/>
                  </a:cxn>
                  <a:cxn ang="0">
                    <a:pos x="connsiteX1563" y="connsiteY1563"/>
                  </a:cxn>
                  <a:cxn ang="0">
                    <a:pos x="connsiteX1564" y="connsiteY1564"/>
                  </a:cxn>
                  <a:cxn ang="0">
                    <a:pos x="connsiteX1565" y="connsiteY1565"/>
                  </a:cxn>
                  <a:cxn ang="0">
                    <a:pos x="connsiteX1566" y="connsiteY1566"/>
                  </a:cxn>
                  <a:cxn ang="0">
                    <a:pos x="connsiteX1567" y="connsiteY1567"/>
                  </a:cxn>
                  <a:cxn ang="0">
                    <a:pos x="connsiteX1568" y="connsiteY1568"/>
                  </a:cxn>
                  <a:cxn ang="0">
                    <a:pos x="connsiteX1569" y="connsiteY1569"/>
                  </a:cxn>
                  <a:cxn ang="0">
                    <a:pos x="connsiteX1570" y="connsiteY1570"/>
                  </a:cxn>
                  <a:cxn ang="0">
                    <a:pos x="connsiteX1571" y="connsiteY1571"/>
                  </a:cxn>
                  <a:cxn ang="0">
                    <a:pos x="connsiteX1572" y="connsiteY1572"/>
                  </a:cxn>
                  <a:cxn ang="0">
                    <a:pos x="connsiteX1573" y="connsiteY1573"/>
                  </a:cxn>
                  <a:cxn ang="0">
                    <a:pos x="connsiteX1574" y="connsiteY1574"/>
                  </a:cxn>
                  <a:cxn ang="0">
                    <a:pos x="connsiteX1575" y="connsiteY1575"/>
                  </a:cxn>
                  <a:cxn ang="0">
                    <a:pos x="connsiteX1576" y="connsiteY1576"/>
                  </a:cxn>
                  <a:cxn ang="0">
                    <a:pos x="connsiteX1577" y="connsiteY1577"/>
                  </a:cxn>
                  <a:cxn ang="0">
                    <a:pos x="connsiteX1578" y="connsiteY1578"/>
                  </a:cxn>
                  <a:cxn ang="0">
                    <a:pos x="connsiteX1579" y="connsiteY1579"/>
                  </a:cxn>
                  <a:cxn ang="0">
                    <a:pos x="connsiteX1580" y="connsiteY1580"/>
                  </a:cxn>
                  <a:cxn ang="0">
                    <a:pos x="connsiteX1581" y="connsiteY1581"/>
                  </a:cxn>
                  <a:cxn ang="0">
                    <a:pos x="connsiteX1582" y="connsiteY1582"/>
                  </a:cxn>
                  <a:cxn ang="0">
                    <a:pos x="connsiteX1583" y="connsiteY1583"/>
                  </a:cxn>
                  <a:cxn ang="0">
                    <a:pos x="connsiteX1584" y="connsiteY1584"/>
                  </a:cxn>
                  <a:cxn ang="0">
                    <a:pos x="connsiteX1585" y="connsiteY1585"/>
                  </a:cxn>
                  <a:cxn ang="0">
                    <a:pos x="connsiteX1586" y="connsiteY1586"/>
                  </a:cxn>
                  <a:cxn ang="0">
                    <a:pos x="connsiteX1587" y="connsiteY1587"/>
                  </a:cxn>
                  <a:cxn ang="0">
                    <a:pos x="connsiteX1588" y="connsiteY1588"/>
                  </a:cxn>
                  <a:cxn ang="0">
                    <a:pos x="connsiteX1589" y="connsiteY1589"/>
                  </a:cxn>
                  <a:cxn ang="0">
                    <a:pos x="connsiteX1590" y="connsiteY1590"/>
                  </a:cxn>
                  <a:cxn ang="0">
                    <a:pos x="connsiteX1591" y="connsiteY1591"/>
                  </a:cxn>
                  <a:cxn ang="0">
                    <a:pos x="connsiteX1592" y="connsiteY1592"/>
                  </a:cxn>
                  <a:cxn ang="0">
                    <a:pos x="connsiteX1593" y="connsiteY1593"/>
                  </a:cxn>
                  <a:cxn ang="0">
                    <a:pos x="connsiteX1594" y="connsiteY1594"/>
                  </a:cxn>
                  <a:cxn ang="0">
                    <a:pos x="connsiteX1595" y="connsiteY1595"/>
                  </a:cxn>
                  <a:cxn ang="0">
                    <a:pos x="connsiteX1596" y="connsiteY1596"/>
                  </a:cxn>
                  <a:cxn ang="0">
                    <a:pos x="connsiteX1597" y="connsiteY1597"/>
                  </a:cxn>
                  <a:cxn ang="0">
                    <a:pos x="connsiteX1598" y="connsiteY1598"/>
                  </a:cxn>
                  <a:cxn ang="0">
                    <a:pos x="connsiteX1599" y="connsiteY1599"/>
                  </a:cxn>
                  <a:cxn ang="0">
                    <a:pos x="connsiteX1600" y="connsiteY1600"/>
                  </a:cxn>
                  <a:cxn ang="0">
                    <a:pos x="connsiteX1601" y="connsiteY1601"/>
                  </a:cxn>
                  <a:cxn ang="0">
                    <a:pos x="connsiteX1602" y="connsiteY1602"/>
                  </a:cxn>
                  <a:cxn ang="0">
                    <a:pos x="connsiteX1603" y="connsiteY1603"/>
                  </a:cxn>
                  <a:cxn ang="0">
                    <a:pos x="connsiteX1604" y="connsiteY1604"/>
                  </a:cxn>
                  <a:cxn ang="0">
                    <a:pos x="connsiteX1605" y="connsiteY1605"/>
                  </a:cxn>
                  <a:cxn ang="0">
                    <a:pos x="connsiteX1606" y="connsiteY1606"/>
                  </a:cxn>
                  <a:cxn ang="0">
                    <a:pos x="connsiteX1607" y="connsiteY1607"/>
                  </a:cxn>
                  <a:cxn ang="0">
                    <a:pos x="connsiteX1608" y="connsiteY1608"/>
                  </a:cxn>
                  <a:cxn ang="0">
                    <a:pos x="connsiteX1609" y="connsiteY1609"/>
                  </a:cxn>
                  <a:cxn ang="0">
                    <a:pos x="connsiteX1610" y="connsiteY1610"/>
                  </a:cxn>
                  <a:cxn ang="0">
                    <a:pos x="connsiteX1611" y="connsiteY1611"/>
                  </a:cxn>
                  <a:cxn ang="0">
                    <a:pos x="connsiteX1612" y="connsiteY1612"/>
                  </a:cxn>
                  <a:cxn ang="0">
                    <a:pos x="connsiteX1613" y="connsiteY1613"/>
                  </a:cxn>
                  <a:cxn ang="0">
                    <a:pos x="connsiteX1614" y="connsiteY1614"/>
                  </a:cxn>
                  <a:cxn ang="0">
                    <a:pos x="connsiteX1615" y="connsiteY1615"/>
                  </a:cxn>
                  <a:cxn ang="0">
                    <a:pos x="connsiteX1616" y="connsiteY1616"/>
                  </a:cxn>
                  <a:cxn ang="0">
                    <a:pos x="connsiteX1617" y="connsiteY1617"/>
                  </a:cxn>
                  <a:cxn ang="0">
                    <a:pos x="connsiteX1618" y="connsiteY1618"/>
                  </a:cxn>
                  <a:cxn ang="0">
                    <a:pos x="connsiteX1619" y="connsiteY1619"/>
                  </a:cxn>
                  <a:cxn ang="0">
                    <a:pos x="connsiteX1620" y="connsiteY1620"/>
                  </a:cxn>
                  <a:cxn ang="0">
                    <a:pos x="connsiteX1621" y="connsiteY1621"/>
                  </a:cxn>
                  <a:cxn ang="0">
                    <a:pos x="connsiteX1622" y="connsiteY1622"/>
                  </a:cxn>
                  <a:cxn ang="0">
                    <a:pos x="connsiteX1623" y="connsiteY1623"/>
                  </a:cxn>
                  <a:cxn ang="0">
                    <a:pos x="connsiteX1624" y="connsiteY1624"/>
                  </a:cxn>
                  <a:cxn ang="0">
                    <a:pos x="connsiteX1625" y="connsiteY1625"/>
                  </a:cxn>
                  <a:cxn ang="0">
                    <a:pos x="connsiteX1626" y="connsiteY1626"/>
                  </a:cxn>
                  <a:cxn ang="0">
                    <a:pos x="connsiteX1627" y="connsiteY1627"/>
                  </a:cxn>
                  <a:cxn ang="0">
                    <a:pos x="connsiteX1628" y="connsiteY1628"/>
                  </a:cxn>
                  <a:cxn ang="0">
                    <a:pos x="connsiteX1629" y="connsiteY1629"/>
                  </a:cxn>
                  <a:cxn ang="0">
                    <a:pos x="connsiteX1630" y="connsiteY1630"/>
                  </a:cxn>
                  <a:cxn ang="0">
                    <a:pos x="connsiteX1631" y="connsiteY1631"/>
                  </a:cxn>
                  <a:cxn ang="0">
                    <a:pos x="connsiteX1632" y="connsiteY1632"/>
                  </a:cxn>
                  <a:cxn ang="0">
                    <a:pos x="connsiteX1633" y="connsiteY1633"/>
                  </a:cxn>
                  <a:cxn ang="0">
                    <a:pos x="connsiteX1634" y="connsiteY1634"/>
                  </a:cxn>
                  <a:cxn ang="0">
                    <a:pos x="connsiteX1635" y="connsiteY1635"/>
                  </a:cxn>
                  <a:cxn ang="0">
                    <a:pos x="connsiteX1636" y="connsiteY1636"/>
                  </a:cxn>
                  <a:cxn ang="0">
                    <a:pos x="connsiteX1637" y="connsiteY1637"/>
                  </a:cxn>
                  <a:cxn ang="0">
                    <a:pos x="connsiteX1638" y="connsiteY1638"/>
                  </a:cxn>
                  <a:cxn ang="0">
                    <a:pos x="connsiteX1639" y="connsiteY1639"/>
                  </a:cxn>
                  <a:cxn ang="0">
                    <a:pos x="connsiteX1640" y="connsiteY1640"/>
                  </a:cxn>
                  <a:cxn ang="0">
                    <a:pos x="connsiteX1641" y="connsiteY1641"/>
                  </a:cxn>
                  <a:cxn ang="0">
                    <a:pos x="connsiteX1642" y="connsiteY1642"/>
                  </a:cxn>
                  <a:cxn ang="0">
                    <a:pos x="connsiteX1643" y="connsiteY1643"/>
                  </a:cxn>
                  <a:cxn ang="0">
                    <a:pos x="connsiteX1644" y="connsiteY1644"/>
                  </a:cxn>
                  <a:cxn ang="0">
                    <a:pos x="connsiteX1645" y="connsiteY1645"/>
                  </a:cxn>
                  <a:cxn ang="0">
                    <a:pos x="connsiteX1646" y="connsiteY1646"/>
                  </a:cxn>
                  <a:cxn ang="0">
                    <a:pos x="connsiteX1647" y="connsiteY1647"/>
                  </a:cxn>
                  <a:cxn ang="0">
                    <a:pos x="connsiteX1648" y="connsiteY1648"/>
                  </a:cxn>
                  <a:cxn ang="0">
                    <a:pos x="connsiteX1649" y="connsiteY1649"/>
                  </a:cxn>
                  <a:cxn ang="0">
                    <a:pos x="connsiteX1650" y="connsiteY1650"/>
                  </a:cxn>
                  <a:cxn ang="0">
                    <a:pos x="connsiteX1651" y="connsiteY1651"/>
                  </a:cxn>
                  <a:cxn ang="0">
                    <a:pos x="connsiteX1652" y="connsiteY1652"/>
                  </a:cxn>
                  <a:cxn ang="0">
                    <a:pos x="connsiteX1653" y="connsiteY1653"/>
                  </a:cxn>
                  <a:cxn ang="0">
                    <a:pos x="connsiteX1654" y="connsiteY1654"/>
                  </a:cxn>
                  <a:cxn ang="0">
                    <a:pos x="connsiteX1655" y="connsiteY1655"/>
                  </a:cxn>
                  <a:cxn ang="0">
                    <a:pos x="connsiteX1656" y="connsiteY1656"/>
                  </a:cxn>
                  <a:cxn ang="0">
                    <a:pos x="connsiteX1657" y="connsiteY1657"/>
                  </a:cxn>
                  <a:cxn ang="0">
                    <a:pos x="connsiteX1658" y="connsiteY1658"/>
                  </a:cxn>
                  <a:cxn ang="0">
                    <a:pos x="connsiteX1659" y="connsiteY1659"/>
                  </a:cxn>
                  <a:cxn ang="0">
                    <a:pos x="connsiteX1660" y="connsiteY1660"/>
                  </a:cxn>
                  <a:cxn ang="0">
                    <a:pos x="connsiteX1661" y="connsiteY1661"/>
                  </a:cxn>
                  <a:cxn ang="0">
                    <a:pos x="connsiteX1662" y="connsiteY1662"/>
                  </a:cxn>
                  <a:cxn ang="0">
                    <a:pos x="connsiteX1663" y="connsiteY1663"/>
                  </a:cxn>
                  <a:cxn ang="0">
                    <a:pos x="connsiteX1664" y="connsiteY1664"/>
                  </a:cxn>
                  <a:cxn ang="0">
                    <a:pos x="connsiteX1665" y="connsiteY1665"/>
                  </a:cxn>
                  <a:cxn ang="0">
                    <a:pos x="connsiteX1666" y="connsiteY1666"/>
                  </a:cxn>
                  <a:cxn ang="0">
                    <a:pos x="connsiteX1667" y="connsiteY1667"/>
                  </a:cxn>
                  <a:cxn ang="0">
                    <a:pos x="connsiteX1668" y="connsiteY1668"/>
                  </a:cxn>
                  <a:cxn ang="0">
                    <a:pos x="connsiteX1669" y="connsiteY1669"/>
                  </a:cxn>
                  <a:cxn ang="0">
                    <a:pos x="connsiteX1670" y="connsiteY1670"/>
                  </a:cxn>
                  <a:cxn ang="0">
                    <a:pos x="connsiteX1671" y="connsiteY1671"/>
                  </a:cxn>
                  <a:cxn ang="0">
                    <a:pos x="connsiteX1672" y="connsiteY1672"/>
                  </a:cxn>
                  <a:cxn ang="0">
                    <a:pos x="connsiteX1673" y="connsiteY1673"/>
                  </a:cxn>
                  <a:cxn ang="0">
                    <a:pos x="connsiteX1674" y="connsiteY1674"/>
                  </a:cxn>
                  <a:cxn ang="0">
                    <a:pos x="connsiteX1675" y="connsiteY1675"/>
                  </a:cxn>
                  <a:cxn ang="0">
                    <a:pos x="connsiteX1676" y="connsiteY1676"/>
                  </a:cxn>
                  <a:cxn ang="0">
                    <a:pos x="connsiteX1677" y="connsiteY1677"/>
                  </a:cxn>
                  <a:cxn ang="0">
                    <a:pos x="connsiteX1678" y="connsiteY1678"/>
                  </a:cxn>
                  <a:cxn ang="0">
                    <a:pos x="connsiteX1679" y="connsiteY1679"/>
                  </a:cxn>
                  <a:cxn ang="0">
                    <a:pos x="connsiteX1680" y="connsiteY1680"/>
                  </a:cxn>
                  <a:cxn ang="0">
                    <a:pos x="connsiteX1681" y="connsiteY1681"/>
                  </a:cxn>
                  <a:cxn ang="0">
                    <a:pos x="connsiteX1682" y="connsiteY1682"/>
                  </a:cxn>
                  <a:cxn ang="0">
                    <a:pos x="connsiteX1683" y="connsiteY1683"/>
                  </a:cxn>
                  <a:cxn ang="0">
                    <a:pos x="connsiteX1684" y="connsiteY1684"/>
                  </a:cxn>
                  <a:cxn ang="0">
                    <a:pos x="connsiteX1685" y="connsiteY1685"/>
                  </a:cxn>
                  <a:cxn ang="0">
                    <a:pos x="connsiteX1686" y="connsiteY1686"/>
                  </a:cxn>
                  <a:cxn ang="0">
                    <a:pos x="connsiteX1687" y="connsiteY1687"/>
                  </a:cxn>
                  <a:cxn ang="0">
                    <a:pos x="connsiteX1688" y="connsiteY1688"/>
                  </a:cxn>
                  <a:cxn ang="0">
                    <a:pos x="connsiteX1689" y="connsiteY1689"/>
                  </a:cxn>
                  <a:cxn ang="0">
                    <a:pos x="connsiteX1690" y="connsiteY1690"/>
                  </a:cxn>
                  <a:cxn ang="0">
                    <a:pos x="connsiteX1691" y="connsiteY1691"/>
                  </a:cxn>
                  <a:cxn ang="0">
                    <a:pos x="connsiteX1692" y="connsiteY1692"/>
                  </a:cxn>
                  <a:cxn ang="0">
                    <a:pos x="connsiteX1693" y="connsiteY1693"/>
                  </a:cxn>
                  <a:cxn ang="0">
                    <a:pos x="connsiteX1694" y="connsiteY1694"/>
                  </a:cxn>
                  <a:cxn ang="0">
                    <a:pos x="connsiteX1695" y="connsiteY1695"/>
                  </a:cxn>
                  <a:cxn ang="0">
                    <a:pos x="connsiteX1696" y="connsiteY1696"/>
                  </a:cxn>
                  <a:cxn ang="0">
                    <a:pos x="connsiteX1697" y="connsiteY1697"/>
                  </a:cxn>
                  <a:cxn ang="0">
                    <a:pos x="connsiteX1698" y="connsiteY1698"/>
                  </a:cxn>
                  <a:cxn ang="0">
                    <a:pos x="connsiteX1699" y="connsiteY1699"/>
                  </a:cxn>
                  <a:cxn ang="0">
                    <a:pos x="connsiteX1700" y="connsiteY1700"/>
                  </a:cxn>
                  <a:cxn ang="0">
                    <a:pos x="connsiteX1701" y="connsiteY1701"/>
                  </a:cxn>
                  <a:cxn ang="0">
                    <a:pos x="connsiteX1702" y="connsiteY1702"/>
                  </a:cxn>
                  <a:cxn ang="0">
                    <a:pos x="connsiteX1703" y="connsiteY1703"/>
                  </a:cxn>
                  <a:cxn ang="0">
                    <a:pos x="connsiteX1704" y="connsiteY1704"/>
                  </a:cxn>
                  <a:cxn ang="0">
                    <a:pos x="connsiteX1705" y="connsiteY1705"/>
                  </a:cxn>
                  <a:cxn ang="0">
                    <a:pos x="connsiteX1706" y="connsiteY1706"/>
                  </a:cxn>
                  <a:cxn ang="0">
                    <a:pos x="connsiteX1707" y="connsiteY1707"/>
                  </a:cxn>
                  <a:cxn ang="0">
                    <a:pos x="connsiteX1708" y="connsiteY1708"/>
                  </a:cxn>
                  <a:cxn ang="0">
                    <a:pos x="connsiteX1709" y="connsiteY1709"/>
                  </a:cxn>
                  <a:cxn ang="0">
                    <a:pos x="connsiteX1710" y="connsiteY1710"/>
                  </a:cxn>
                  <a:cxn ang="0">
                    <a:pos x="connsiteX1711" y="connsiteY1711"/>
                  </a:cxn>
                  <a:cxn ang="0">
                    <a:pos x="connsiteX1712" y="connsiteY1712"/>
                  </a:cxn>
                  <a:cxn ang="0">
                    <a:pos x="connsiteX1713" y="connsiteY1713"/>
                  </a:cxn>
                  <a:cxn ang="0">
                    <a:pos x="connsiteX1714" y="connsiteY1714"/>
                  </a:cxn>
                  <a:cxn ang="0">
                    <a:pos x="connsiteX1715" y="connsiteY1715"/>
                  </a:cxn>
                  <a:cxn ang="0">
                    <a:pos x="connsiteX1716" y="connsiteY1716"/>
                  </a:cxn>
                  <a:cxn ang="0">
                    <a:pos x="connsiteX1717" y="connsiteY1717"/>
                  </a:cxn>
                  <a:cxn ang="0">
                    <a:pos x="connsiteX1718" y="connsiteY1718"/>
                  </a:cxn>
                  <a:cxn ang="0">
                    <a:pos x="connsiteX1719" y="connsiteY1719"/>
                  </a:cxn>
                  <a:cxn ang="0">
                    <a:pos x="connsiteX1720" y="connsiteY1720"/>
                  </a:cxn>
                  <a:cxn ang="0">
                    <a:pos x="connsiteX1721" y="connsiteY1721"/>
                  </a:cxn>
                  <a:cxn ang="0">
                    <a:pos x="connsiteX1722" y="connsiteY1722"/>
                  </a:cxn>
                  <a:cxn ang="0">
                    <a:pos x="connsiteX1723" y="connsiteY1723"/>
                  </a:cxn>
                  <a:cxn ang="0">
                    <a:pos x="connsiteX1724" y="connsiteY1724"/>
                  </a:cxn>
                  <a:cxn ang="0">
                    <a:pos x="connsiteX1725" y="connsiteY1725"/>
                  </a:cxn>
                  <a:cxn ang="0">
                    <a:pos x="connsiteX1726" y="connsiteY1726"/>
                  </a:cxn>
                  <a:cxn ang="0">
                    <a:pos x="connsiteX1727" y="connsiteY1727"/>
                  </a:cxn>
                  <a:cxn ang="0">
                    <a:pos x="connsiteX1728" y="connsiteY1728"/>
                  </a:cxn>
                  <a:cxn ang="0">
                    <a:pos x="connsiteX1729" y="connsiteY1729"/>
                  </a:cxn>
                  <a:cxn ang="0">
                    <a:pos x="connsiteX1730" y="connsiteY1730"/>
                  </a:cxn>
                  <a:cxn ang="0">
                    <a:pos x="connsiteX1731" y="connsiteY1731"/>
                  </a:cxn>
                  <a:cxn ang="0">
                    <a:pos x="connsiteX1732" y="connsiteY1732"/>
                  </a:cxn>
                  <a:cxn ang="0">
                    <a:pos x="connsiteX1733" y="connsiteY1733"/>
                  </a:cxn>
                  <a:cxn ang="0">
                    <a:pos x="connsiteX1734" y="connsiteY1734"/>
                  </a:cxn>
                  <a:cxn ang="0">
                    <a:pos x="connsiteX1735" y="connsiteY1735"/>
                  </a:cxn>
                  <a:cxn ang="0">
                    <a:pos x="connsiteX1736" y="connsiteY1736"/>
                  </a:cxn>
                  <a:cxn ang="0">
                    <a:pos x="connsiteX1737" y="connsiteY1737"/>
                  </a:cxn>
                  <a:cxn ang="0">
                    <a:pos x="connsiteX1738" y="connsiteY1738"/>
                  </a:cxn>
                  <a:cxn ang="0">
                    <a:pos x="connsiteX1739" y="connsiteY1739"/>
                  </a:cxn>
                  <a:cxn ang="0">
                    <a:pos x="connsiteX1740" y="connsiteY1740"/>
                  </a:cxn>
                  <a:cxn ang="0">
                    <a:pos x="connsiteX1741" y="connsiteY1741"/>
                  </a:cxn>
                  <a:cxn ang="0">
                    <a:pos x="connsiteX1742" y="connsiteY1742"/>
                  </a:cxn>
                  <a:cxn ang="0">
                    <a:pos x="connsiteX1743" y="connsiteY1743"/>
                  </a:cxn>
                  <a:cxn ang="0">
                    <a:pos x="connsiteX1744" y="connsiteY1744"/>
                  </a:cxn>
                  <a:cxn ang="0">
                    <a:pos x="connsiteX1745" y="connsiteY1745"/>
                  </a:cxn>
                  <a:cxn ang="0">
                    <a:pos x="connsiteX1746" y="connsiteY1746"/>
                  </a:cxn>
                  <a:cxn ang="0">
                    <a:pos x="connsiteX1747" y="connsiteY1747"/>
                  </a:cxn>
                  <a:cxn ang="0">
                    <a:pos x="connsiteX1748" y="connsiteY1748"/>
                  </a:cxn>
                  <a:cxn ang="0">
                    <a:pos x="connsiteX1749" y="connsiteY1749"/>
                  </a:cxn>
                  <a:cxn ang="0">
                    <a:pos x="connsiteX1750" y="connsiteY1750"/>
                  </a:cxn>
                  <a:cxn ang="0">
                    <a:pos x="connsiteX1751" y="connsiteY1751"/>
                  </a:cxn>
                  <a:cxn ang="0">
                    <a:pos x="connsiteX1752" y="connsiteY1752"/>
                  </a:cxn>
                  <a:cxn ang="0">
                    <a:pos x="connsiteX1753" y="connsiteY1753"/>
                  </a:cxn>
                  <a:cxn ang="0">
                    <a:pos x="connsiteX1754" y="connsiteY1754"/>
                  </a:cxn>
                  <a:cxn ang="0">
                    <a:pos x="connsiteX1755" y="connsiteY1755"/>
                  </a:cxn>
                  <a:cxn ang="0">
                    <a:pos x="connsiteX1756" y="connsiteY1756"/>
                  </a:cxn>
                  <a:cxn ang="0">
                    <a:pos x="connsiteX1757" y="connsiteY1757"/>
                  </a:cxn>
                  <a:cxn ang="0">
                    <a:pos x="connsiteX1758" y="connsiteY1758"/>
                  </a:cxn>
                  <a:cxn ang="0">
                    <a:pos x="connsiteX1759" y="connsiteY1759"/>
                  </a:cxn>
                  <a:cxn ang="0">
                    <a:pos x="connsiteX1760" y="connsiteY1760"/>
                  </a:cxn>
                  <a:cxn ang="0">
                    <a:pos x="connsiteX1761" y="connsiteY1761"/>
                  </a:cxn>
                  <a:cxn ang="0">
                    <a:pos x="connsiteX1762" y="connsiteY1762"/>
                  </a:cxn>
                  <a:cxn ang="0">
                    <a:pos x="connsiteX1763" y="connsiteY1763"/>
                  </a:cxn>
                  <a:cxn ang="0">
                    <a:pos x="connsiteX1764" y="connsiteY1764"/>
                  </a:cxn>
                  <a:cxn ang="0">
                    <a:pos x="connsiteX1765" y="connsiteY1765"/>
                  </a:cxn>
                  <a:cxn ang="0">
                    <a:pos x="connsiteX1766" y="connsiteY1766"/>
                  </a:cxn>
                  <a:cxn ang="0">
                    <a:pos x="connsiteX1767" y="connsiteY1767"/>
                  </a:cxn>
                  <a:cxn ang="0">
                    <a:pos x="connsiteX1768" y="connsiteY1768"/>
                  </a:cxn>
                  <a:cxn ang="0">
                    <a:pos x="connsiteX1769" y="connsiteY1769"/>
                  </a:cxn>
                  <a:cxn ang="0">
                    <a:pos x="connsiteX1770" y="connsiteY1770"/>
                  </a:cxn>
                  <a:cxn ang="0">
                    <a:pos x="connsiteX1771" y="connsiteY1771"/>
                  </a:cxn>
                  <a:cxn ang="0">
                    <a:pos x="connsiteX1772" y="connsiteY1772"/>
                  </a:cxn>
                  <a:cxn ang="0">
                    <a:pos x="connsiteX1773" y="connsiteY1773"/>
                  </a:cxn>
                  <a:cxn ang="0">
                    <a:pos x="connsiteX1774" y="connsiteY1774"/>
                  </a:cxn>
                  <a:cxn ang="0">
                    <a:pos x="connsiteX1775" y="connsiteY1775"/>
                  </a:cxn>
                  <a:cxn ang="0">
                    <a:pos x="connsiteX1776" y="connsiteY1776"/>
                  </a:cxn>
                  <a:cxn ang="0">
                    <a:pos x="connsiteX1777" y="connsiteY1777"/>
                  </a:cxn>
                  <a:cxn ang="0">
                    <a:pos x="connsiteX1778" y="connsiteY1778"/>
                  </a:cxn>
                  <a:cxn ang="0">
                    <a:pos x="connsiteX1779" y="connsiteY1779"/>
                  </a:cxn>
                  <a:cxn ang="0">
                    <a:pos x="connsiteX1780" y="connsiteY1780"/>
                  </a:cxn>
                  <a:cxn ang="0">
                    <a:pos x="connsiteX1781" y="connsiteY1781"/>
                  </a:cxn>
                  <a:cxn ang="0">
                    <a:pos x="connsiteX1782" y="connsiteY1782"/>
                  </a:cxn>
                  <a:cxn ang="0">
                    <a:pos x="connsiteX1783" y="connsiteY1783"/>
                  </a:cxn>
                  <a:cxn ang="0">
                    <a:pos x="connsiteX1784" y="connsiteY1784"/>
                  </a:cxn>
                  <a:cxn ang="0">
                    <a:pos x="connsiteX1785" y="connsiteY1785"/>
                  </a:cxn>
                  <a:cxn ang="0">
                    <a:pos x="connsiteX1786" y="connsiteY1786"/>
                  </a:cxn>
                  <a:cxn ang="0">
                    <a:pos x="connsiteX1787" y="connsiteY1787"/>
                  </a:cxn>
                  <a:cxn ang="0">
                    <a:pos x="connsiteX1788" y="connsiteY1788"/>
                  </a:cxn>
                  <a:cxn ang="0">
                    <a:pos x="connsiteX1789" y="connsiteY1789"/>
                  </a:cxn>
                  <a:cxn ang="0">
                    <a:pos x="connsiteX1790" y="connsiteY1790"/>
                  </a:cxn>
                  <a:cxn ang="0">
                    <a:pos x="connsiteX1791" y="connsiteY1791"/>
                  </a:cxn>
                  <a:cxn ang="0">
                    <a:pos x="connsiteX1792" y="connsiteY1792"/>
                  </a:cxn>
                  <a:cxn ang="0">
                    <a:pos x="connsiteX1793" y="connsiteY1793"/>
                  </a:cxn>
                  <a:cxn ang="0">
                    <a:pos x="connsiteX1794" y="connsiteY1794"/>
                  </a:cxn>
                  <a:cxn ang="0">
                    <a:pos x="connsiteX1795" y="connsiteY1795"/>
                  </a:cxn>
                  <a:cxn ang="0">
                    <a:pos x="connsiteX1796" y="connsiteY1796"/>
                  </a:cxn>
                  <a:cxn ang="0">
                    <a:pos x="connsiteX1797" y="connsiteY1797"/>
                  </a:cxn>
                  <a:cxn ang="0">
                    <a:pos x="connsiteX1798" y="connsiteY1798"/>
                  </a:cxn>
                  <a:cxn ang="0">
                    <a:pos x="connsiteX1799" y="connsiteY1799"/>
                  </a:cxn>
                  <a:cxn ang="0">
                    <a:pos x="connsiteX1800" y="connsiteY1800"/>
                  </a:cxn>
                  <a:cxn ang="0">
                    <a:pos x="connsiteX1801" y="connsiteY1801"/>
                  </a:cxn>
                  <a:cxn ang="0">
                    <a:pos x="connsiteX1802" y="connsiteY1802"/>
                  </a:cxn>
                  <a:cxn ang="0">
                    <a:pos x="connsiteX1803" y="connsiteY1803"/>
                  </a:cxn>
                  <a:cxn ang="0">
                    <a:pos x="connsiteX1804" y="connsiteY1804"/>
                  </a:cxn>
                  <a:cxn ang="0">
                    <a:pos x="connsiteX1805" y="connsiteY1805"/>
                  </a:cxn>
                  <a:cxn ang="0">
                    <a:pos x="connsiteX1806" y="connsiteY1806"/>
                  </a:cxn>
                  <a:cxn ang="0">
                    <a:pos x="connsiteX1807" y="connsiteY1807"/>
                  </a:cxn>
                  <a:cxn ang="0">
                    <a:pos x="connsiteX1808" y="connsiteY1808"/>
                  </a:cxn>
                  <a:cxn ang="0">
                    <a:pos x="connsiteX1809" y="connsiteY1809"/>
                  </a:cxn>
                  <a:cxn ang="0">
                    <a:pos x="connsiteX1810" y="connsiteY1810"/>
                  </a:cxn>
                  <a:cxn ang="0">
                    <a:pos x="connsiteX1811" y="connsiteY1811"/>
                  </a:cxn>
                  <a:cxn ang="0">
                    <a:pos x="connsiteX1812" y="connsiteY1812"/>
                  </a:cxn>
                  <a:cxn ang="0">
                    <a:pos x="connsiteX1813" y="connsiteY1813"/>
                  </a:cxn>
                  <a:cxn ang="0">
                    <a:pos x="connsiteX1814" y="connsiteY1814"/>
                  </a:cxn>
                  <a:cxn ang="0">
                    <a:pos x="connsiteX1815" y="connsiteY1815"/>
                  </a:cxn>
                  <a:cxn ang="0">
                    <a:pos x="connsiteX1816" y="connsiteY1816"/>
                  </a:cxn>
                  <a:cxn ang="0">
                    <a:pos x="connsiteX1817" y="connsiteY1817"/>
                  </a:cxn>
                  <a:cxn ang="0">
                    <a:pos x="connsiteX1818" y="connsiteY1818"/>
                  </a:cxn>
                  <a:cxn ang="0">
                    <a:pos x="connsiteX1819" y="connsiteY1819"/>
                  </a:cxn>
                  <a:cxn ang="0">
                    <a:pos x="connsiteX1820" y="connsiteY1820"/>
                  </a:cxn>
                  <a:cxn ang="0">
                    <a:pos x="connsiteX1821" y="connsiteY1821"/>
                  </a:cxn>
                  <a:cxn ang="0">
                    <a:pos x="connsiteX1822" y="connsiteY1822"/>
                  </a:cxn>
                  <a:cxn ang="0">
                    <a:pos x="connsiteX1823" y="connsiteY1823"/>
                  </a:cxn>
                  <a:cxn ang="0">
                    <a:pos x="connsiteX1824" y="connsiteY1824"/>
                  </a:cxn>
                  <a:cxn ang="0">
                    <a:pos x="connsiteX1825" y="connsiteY1825"/>
                  </a:cxn>
                  <a:cxn ang="0">
                    <a:pos x="connsiteX1826" y="connsiteY1826"/>
                  </a:cxn>
                  <a:cxn ang="0">
                    <a:pos x="connsiteX1827" y="connsiteY1827"/>
                  </a:cxn>
                  <a:cxn ang="0">
                    <a:pos x="connsiteX1828" y="connsiteY1828"/>
                  </a:cxn>
                  <a:cxn ang="0">
                    <a:pos x="connsiteX1829" y="connsiteY1829"/>
                  </a:cxn>
                  <a:cxn ang="0">
                    <a:pos x="connsiteX1830" y="connsiteY1830"/>
                  </a:cxn>
                  <a:cxn ang="0">
                    <a:pos x="connsiteX1831" y="connsiteY1831"/>
                  </a:cxn>
                  <a:cxn ang="0">
                    <a:pos x="connsiteX1832" y="connsiteY1832"/>
                  </a:cxn>
                  <a:cxn ang="0">
                    <a:pos x="connsiteX1833" y="connsiteY1833"/>
                  </a:cxn>
                  <a:cxn ang="0">
                    <a:pos x="connsiteX1834" y="connsiteY1834"/>
                  </a:cxn>
                  <a:cxn ang="0">
                    <a:pos x="connsiteX1835" y="connsiteY1835"/>
                  </a:cxn>
                  <a:cxn ang="0">
                    <a:pos x="connsiteX1836" y="connsiteY1836"/>
                  </a:cxn>
                  <a:cxn ang="0">
                    <a:pos x="connsiteX1837" y="connsiteY1837"/>
                  </a:cxn>
                  <a:cxn ang="0">
                    <a:pos x="connsiteX1838" y="connsiteY1838"/>
                  </a:cxn>
                  <a:cxn ang="0">
                    <a:pos x="connsiteX1839" y="connsiteY1839"/>
                  </a:cxn>
                  <a:cxn ang="0">
                    <a:pos x="connsiteX1840" y="connsiteY1840"/>
                  </a:cxn>
                  <a:cxn ang="0">
                    <a:pos x="connsiteX1841" y="connsiteY1841"/>
                  </a:cxn>
                  <a:cxn ang="0">
                    <a:pos x="connsiteX1842" y="connsiteY1842"/>
                  </a:cxn>
                  <a:cxn ang="0">
                    <a:pos x="connsiteX1843" y="connsiteY1843"/>
                  </a:cxn>
                  <a:cxn ang="0">
                    <a:pos x="connsiteX1844" y="connsiteY1844"/>
                  </a:cxn>
                  <a:cxn ang="0">
                    <a:pos x="connsiteX1845" y="connsiteY1845"/>
                  </a:cxn>
                  <a:cxn ang="0">
                    <a:pos x="connsiteX1846" y="connsiteY1846"/>
                  </a:cxn>
                  <a:cxn ang="0">
                    <a:pos x="connsiteX1847" y="connsiteY1847"/>
                  </a:cxn>
                  <a:cxn ang="0">
                    <a:pos x="connsiteX1848" y="connsiteY1848"/>
                  </a:cxn>
                  <a:cxn ang="0">
                    <a:pos x="connsiteX1849" y="connsiteY1849"/>
                  </a:cxn>
                  <a:cxn ang="0">
                    <a:pos x="connsiteX1850" y="connsiteY1850"/>
                  </a:cxn>
                  <a:cxn ang="0">
                    <a:pos x="connsiteX1851" y="connsiteY1851"/>
                  </a:cxn>
                  <a:cxn ang="0">
                    <a:pos x="connsiteX1852" y="connsiteY1852"/>
                  </a:cxn>
                  <a:cxn ang="0">
                    <a:pos x="connsiteX1853" y="connsiteY1853"/>
                  </a:cxn>
                  <a:cxn ang="0">
                    <a:pos x="connsiteX1854" y="connsiteY1854"/>
                  </a:cxn>
                  <a:cxn ang="0">
                    <a:pos x="connsiteX1855" y="connsiteY1855"/>
                  </a:cxn>
                  <a:cxn ang="0">
                    <a:pos x="connsiteX1856" y="connsiteY1856"/>
                  </a:cxn>
                  <a:cxn ang="0">
                    <a:pos x="connsiteX1857" y="connsiteY1857"/>
                  </a:cxn>
                  <a:cxn ang="0">
                    <a:pos x="connsiteX1858" y="connsiteY1858"/>
                  </a:cxn>
                  <a:cxn ang="0">
                    <a:pos x="connsiteX1859" y="connsiteY1859"/>
                  </a:cxn>
                  <a:cxn ang="0">
                    <a:pos x="connsiteX1860" y="connsiteY1860"/>
                  </a:cxn>
                  <a:cxn ang="0">
                    <a:pos x="connsiteX1861" y="connsiteY1861"/>
                  </a:cxn>
                  <a:cxn ang="0">
                    <a:pos x="connsiteX1862" y="connsiteY1862"/>
                  </a:cxn>
                  <a:cxn ang="0">
                    <a:pos x="connsiteX1863" y="connsiteY1863"/>
                  </a:cxn>
                  <a:cxn ang="0">
                    <a:pos x="connsiteX1864" y="connsiteY1864"/>
                  </a:cxn>
                  <a:cxn ang="0">
                    <a:pos x="connsiteX1865" y="connsiteY1865"/>
                  </a:cxn>
                  <a:cxn ang="0">
                    <a:pos x="connsiteX1866" y="connsiteY1866"/>
                  </a:cxn>
                  <a:cxn ang="0">
                    <a:pos x="connsiteX1867" y="connsiteY1867"/>
                  </a:cxn>
                  <a:cxn ang="0">
                    <a:pos x="connsiteX1868" y="connsiteY1868"/>
                  </a:cxn>
                  <a:cxn ang="0">
                    <a:pos x="connsiteX1869" y="connsiteY1869"/>
                  </a:cxn>
                  <a:cxn ang="0">
                    <a:pos x="connsiteX1870" y="connsiteY1870"/>
                  </a:cxn>
                  <a:cxn ang="0">
                    <a:pos x="connsiteX1871" y="connsiteY1871"/>
                  </a:cxn>
                  <a:cxn ang="0">
                    <a:pos x="connsiteX1872" y="connsiteY1872"/>
                  </a:cxn>
                  <a:cxn ang="0">
                    <a:pos x="connsiteX1873" y="connsiteY1873"/>
                  </a:cxn>
                  <a:cxn ang="0">
                    <a:pos x="connsiteX1874" y="connsiteY1874"/>
                  </a:cxn>
                  <a:cxn ang="0">
                    <a:pos x="connsiteX1875" y="connsiteY1875"/>
                  </a:cxn>
                  <a:cxn ang="0">
                    <a:pos x="connsiteX1876" y="connsiteY1876"/>
                  </a:cxn>
                  <a:cxn ang="0">
                    <a:pos x="connsiteX1877" y="connsiteY1877"/>
                  </a:cxn>
                  <a:cxn ang="0">
                    <a:pos x="connsiteX1878" y="connsiteY1878"/>
                  </a:cxn>
                  <a:cxn ang="0">
                    <a:pos x="connsiteX1879" y="connsiteY1879"/>
                  </a:cxn>
                  <a:cxn ang="0">
                    <a:pos x="connsiteX1880" y="connsiteY1880"/>
                  </a:cxn>
                  <a:cxn ang="0">
                    <a:pos x="connsiteX1881" y="connsiteY1881"/>
                  </a:cxn>
                  <a:cxn ang="0">
                    <a:pos x="connsiteX1882" y="connsiteY1882"/>
                  </a:cxn>
                  <a:cxn ang="0">
                    <a:pos x="connsiteX1883" y="connsiteY1883"/>
                  </a:cxn>
                  <a:cxn ang="0">
                    <a:pos x="connsiteX1884" y="connsiteY1884"/>
                  </a:cxn>
                  <a:cxn ang="0">
                    <a:pos x="connsiteX1885" y="connsiteY1885"/>
                  </a:cxn>
                  <a:cxn ang="0">
                    <a:pos x="connsiteX1886" y="connsiteY1886"/>
                  </a:cxn>
                  <a:cxn ang="0">
                    <a:pos x="connsiteX1887" y="connsiteY1887"/>
                  </a:cxn>
                  <a:cxn ang="0">
                    <a:pos x="connsiteX1888" y="connsiteY1888"/>
                  </a:cxn>
                  <a:cxn ang="0">
                    <a:pos x="connsiteX1889" y="connsiteY1889"/>
                  </a:cxn>
                  <a:cxn ang="0">
                    <a:pos x="connsiteX1890" y="connsiteY1890"/>
                  </a:cxn>
                  <a:cxn ang="0">
                    <a:pos x="connsiteX1891" y="connsiteY1891"/>
                  </a:cxn>
                  <a:cxn ang="0">
                    <a:pos x="connsiteX1892" y="connsiteY1892"/>
                  </a:cxn>
                  <a:cxn ang="0">
                    <a:pos x="connsiteX1893" y="connsiteY1893"/>
                  </a:cxn>
                  <a:cxn ang="0">
                    <a:pos x="connsiteX1894" y="connsiteY1894"/>
                  </a:cxn>
                  <a:cxn ang="0">
                    <a:pos x="connsiteX1895" y="connsiteY1895"/>
                  </a:cxn>
                  <a:cxn ang="0">
                    <a:pos x="connsiteX1896" y="connsiteY1896"/>
                  </a:cxn>
                  <a:cxn ang="0">
                    <a:pos x="connsiteX1897" y="connsiteY1897"/>
                  </a:cxn>
                  <a:cxn ang="0">
                    <a:pos x="connsiteX1898" y="connsiteY1898"/>
                  </a:cxn>
                  <a:cxn ang="0">
                    <a:pos x="connsiteX1899" y="connsiteY1899"/>
                  </a:cxn>
                  <a:cxn ang="0">
                    <a:pos x="connsiteX1900" y="connsiteY1900"/>
                  </a:cxn>
                  <a:cxn ang="0">
                    <a:pos x="connsiteX1901" y="connsiteY1901"/>
                  </a:cxn>
                  <a:cxn ang="0">
                    <a:pos x="connsiteX1902" y="connsiteY1902"/>
                  </a:cxn>
                  <a:cxn ang="0">
                    <a:pos x="connsiteX1903" y="connsiteY1903"/>
                  </a:cxn>
                  <a:cxn ang="0">
                    <a:pos x="connsiteX1904" y="connsiteY1904"/>
                  </a:cxn>
                  <a:cxn ang="0">
                    <a:pos x="connsiteX1905" y="connsiteY1905"/>
                  </a:cxn>
                  <a:cxn ang="0">
                    <a:pos x="connsiteX1906" y="connsiteY1906"/>
                  </a:cxn>
                  <a:cxn ang="0">
                    <a:pos x="connsiteX1907" y="connsiteY1907"/>
                  </a:cxn>
                  <a:cxn ang="0">
                    <a:pos x="connsiteX1908" y="connsiteY1908"/>
                  </a:cxn>
                  <a:cxn ang="0">
                    <a:pos x="connsiteX1909" y="connsiteY1909"/>
                  </a:cxn>
                  <a:cxn ang="0">
                    <a:pos x="connsiteX1910" y="connsiteY1910"/>
                  </a:cxn>
                  <a:cxn ang="0">
                    <a:pos x="connsiteX1911" y="connsiteY1911"/>
                  </a:cxn>
                  <a:cxn ang="0">
                    <a:pos x="connsiteX1912" y="connsiteY1912"/>
                  </a:cxn>
                  <a:cxn ang="0">
                    <a:pos x="connsiteX1913" y="connsiteY1913"/>
                  </a:cxn>
                  <a:cxn ang="0">
                    <a:pos x="connsiteX1914" y="connsiteY1914"/>
                  </a:cxn>
                  <a:cxn ang="0">
                    <a:pos x="connsiteX1915" y="connsiteY1915"/>
                  </a:cxn>
                  <a:cxn ang="0">
                    <a:pos x="connsiteX1916" y="connsiteY1916"/>
                  </a:cxn>
                  <a:cxn ang="0">
                    <a:pos x="connsiteX1917" y="connsiteY1917"/>
                  </a:cxn>
                  <a:cxn ang="0">
                    <a:pos x="connsiteX1918" y="connsiteY1918"/>
                  </a:cxn>
                  <a:cxn ang="0">
                    <a:pos x="connsiteX1919" y="connsiteY1919"/>
                  </a:cxn>
                  <a:cxn ang="0">
                    <a:pos x="connsiteX1920" y="connsiteY1920"/>
                  </a:cxn>
                  <a:cxn ang="0">
                    <a:pos x="connsiteX1921" y="connsiteY1921"/>
                  </a:cxn>
                  <a:cxn ang="0">
                    <a:pos x="connsiteX1922" y="connsiteY1922"/>
                  </a:cxn>
                  <a:cxn ang="0">
                    <a:pos x="connsiteX1923" y="connsiteY1923"/>
                  </a:cxn>
                  <a:cxn ang="0">
                    <a:pos x="connsiteX1924" y="connsiteY1924"/>
                  </a:cxn>
                  <a:cxn ang="0">
                    <a:pos x="connsiteX1925" y="connsiteY1925"/>
                  </a:cxn>
                  <a:cxn ang="0">
                    <a:pos x="connsiteX1926" y="connsiteY1926"/>
                  </a:cxn>
                  <a:cxn ang="0">
                    <a:pos x="connsiteX1927" y="connsiteY1927"/>
                  </a:cxn>
                  <a:cxn ang="0">
                    <a:pos x="connsiteX1928" y="connsiteY1928"/>
                  </a:cxn>
                  <a:cxn ang="0">
                    <a:pos x="connsiteX1929" y="connsiteY1929"/>
                  </a:cxn>
                  <a:cxn ang="0">
                    <a:pos x="connsiteX1930" y="connsiteY1930"/>
                  </a:cxn>
                  <a:cxn ang="0">
                    <a:pos x="connsiteX1931" y="connsiteY1931"/>
                  </a:cxn>
                  <a:cxn ang="0">
                    <a:pos x="connsiteX1932" y="connsiteY1932"/>
                  </a:cxn>
                  <a:cxn ang="0">
                    <a:pos x="connsiteX1933" y="connsiteY1933"/>
                  </a:cxn>
                  <a:cxn ang="0">
                    <a:pos x="connsiteX1934" y="connsiteY1934"/>
                  </a:cxn>
                  <a:cxn ang="0">
                    <a:pos x="connsiteX1935" y="connsiteY1935"/>
                  </a:cxn>
                  <a:cxn ang="0">
                    <a:pos x="connsiteX1936" y="connsiteY1936"/>
                  </a:cxn>
                  <a:cxn ang="0">
                    <a:pos x="connsiteX1937" y="connsiteY1937"/>
                  </a:cxn>
                  <a:cxn ang="0">
                    <a:pos x="connsiteX1938" y="connsiteY1938"/>
                  </a:cxn>
                  <a:cxn ang="0">
                    <a:pos x="connsiteX1939" y="connsiteY1939"/>
                  </a:cxn>
                  <a:cxn ang="0">
                    <a:pos x="connsiteX1940" y="connsiteY1940"/>
                  </a:cxn>
                  <a:cxn ang="0">
                    <a:pos x="connsiteX1941" y="connsiteY1941"/>
                  </a:cxn>
                  <a:cxn ang="0">
                    <a:pos x="connsiteX1942" y="connsiteY1942"/>
                  </a:cxn>
                  <a:cxn ang="0">
                    <a:pos x="connsiteX1943" y="connsiteY1943"/>
                  </a:cxn>
                  <a:cxn ang="0">
                    <a:pos x="connsiteX1944" y="connsiteY1944"/>
                  </a:cxn>
                  <a:cxn ang="0">
                    <a:pos x="connsiteX1945" y="connsiteY1945"/>
                  </a:cxn>
                  <a:cxn ang="0">
                    <a:pos x="connsiteX1946" y="connsiteY1946"/>
                  </a:cxn>
                  <a:cxn ang="0">
                    <a:pos x="connsiteX1947" y="connsiteY1947"/>
                  </a:cxn>
                  <a:cxn ang="0">
                    <a:pos x="connsiteX1948" y="connsiteY1948"/>
                  </a:cxn>
                  <a:cxn ang="0">
                    <a:pos x="connsiteX1949" y="connsiteY1949"/>
                  </a:cxn>
                  <a:cxn ang="0">
                    <a:pos x="connsiteX1950" y="connsiteY1950"/>
                  </a:cxn>
                  <a:cxn ang="0">
                    <a:pos x="connsiteX1951" y="connsiteY1951"/>
                  </a:cxn>
                  <a:cxn ang="0">
                    <a:pos x="connsiteX1952" y="connsiteY1952"/>
                  </a:cxn>
                  <a:cxn ang="0">
                    <a:pos x="connsiteX1953" y="connsiteY1953"/>
                  </a:cxn>
                  <a:cxn ang="0">
                    <a:pos x="connsiteX1954" y="connsiteY1954"/>
                  </a:cxn>
                  <a:cxn ang="0">
                    <a:pos x="connsiteX1955" y="connsiteY1955"/>
                  </a:cxn>
                  <a:cxn ang="0">
                    <a:pos x="connsiteX1956" y="connsiteY1956"/>
                  </a:cxn>
                  <a:cxn ang="0">
                    <a:pos x="connsiteX1957" y="connsiteY1957"/>
                  </a:cxn>
                  <a:cxn ang="0">
                    <a:pos x="connsiteX1958" y="connsiteY1958"/>
                  </a:cxn>
                  <a:cxn ang="0">
                    <a:pos x="connsiteX1959" y="connsiteY1959"/>
                  </a:cxn>
                  <a:cxn ang="0">
                    <a:pos x="connsiteX1960" y="connsiteY1960"/>
                  </a:cxn>
                  <a:cxn ang="0">
                    <a:pos x="connsiteX1961" y="connsiteY1961"/>
                  </a:cxn>
                  <a:cxn ang="0">
                    <a:pos x="connsiteX1962" y="connsiteY1962"/>
                  </a:cxn>
                  <a:cxn ang="0">
                    <a:pos x="connsiteX1963" y="connsiteY1963"/>
                  </a:cxn>
                  <a:cxn ang="0">
                    <a:pos x="connsiteX1964" y="connsiteY1964"/>
                  </a:cxn>
                  <a:cxn ang="0">
                    <a:pos x="connsiteX1965" y="connsiteY1965"/>
                  </a:cxn>
                  <a:cxn ang="0">
                    <a:pos x="connsiteX1966" y="connsiteY1966"/>
                  </a:cxn>
                  <a:cxn ang="0">
                    <a:pos x="connsiteX1967" y="connsiteY1967"/>
                  </a:cxn>
                  <a:cxn ang="0">
                    <a:pos x="connsiteX1968" y="connsiteY1968"/>
                  </a:cxn>
                  <a:cxn ang="0">
                    <a:pos x="connsiteX1969" y="connsiteY1969"/>
                  </a:cxn>
                  <a:cxn ang="0">
                    <a:pos x="connsiteX1970" y="connsiteY1970"/>
                  </a:cxn>
                  <a:cxn ang="0">
                    <a:pos x="connsiteX1971" y="connsiteY1971"/>
                  </a:cxn>
                  <a:cxn ang="0">
                    <a:pos x="connsiteX1972" y="connsiteY1972"/>
                  </a:cxn>
                  <a:cxn ang="0">
                    <a:pos x="connsiteX1973" y="connsiteY1973"/>
                  </a:cxn>
                  <a:cxn ang="0">
                    <a:pos x="connsiteX1974" y="connsiteY1974"/>
                  </a:cxn>
                  <a:cxn ang="0">
                    <a:pos x="connsiteX1975" y="connsiteY1975"/>
                  </a:cxn>
                  <a:cxn ang="0">
                    <a:pos x="connsiteX1976" y="connsiteY1976"/>
                  </a:cxn>
                  <a:cxn ang="0">
                    <a:pos x="connsiteX1977" y="connsiteY1977"/>
                  </a:cxn>
                  <a:cxn ang="0">
                    <a:pos x="connsiteX1978" y="connsiteY1978"/>
                  </a:cxn>
                  <a:cxn ang="0">
                    <a:pos x="connsiteX1979" y="connsiteY1979"/>
                  </a:cxn>
                  <a:cxn ang="0">
                    <a:pos x="connsiteX1980" y="connsiteY1980"/>
                  </a:cxn>
                  <a:cxn ang="0">
                    <a:pos x="connsiteX1981" y="connsiteY1981"/>
                  </a:cxn>
                  <a:cxn ang="0">
                    <a:pos x="connsiteX1982" y="connsiteY1982"/>
                  </a:cxn>
                  <a:cxn ang="0">
                    <a:pos x="connsiteX1983" y="connsiteY1983"/>
                  </a:cxn>
                  <a:cxn ang="0">
                    <a:pos x="connsiteX1984" y="connsiteY1984"/>
                  </a:cxn>
                  <a:cxn ang="0">
                    <a:pos x="connsiteX1985" y="connsiteY1985"/>
                  </a:cxn>
                  <a:cxn ang="0">
                    <a:pos x="connsiteX1986" y="connsiteY1986"/>
                  </a:cxn>
                  <a:cxn ang="0">
                    <a:pos x="connsiteX1987" y="connsiteY1987"/>
                  </a:cxn>
                  <a:cxn ang="0">
                    <a:pos x="connsiteX1988" y="connsiteY1988"/>
                  </a:cxn>
                  <a:cxn ang="0">
                    <a:pos x="connsiteX1989" y="connsiteY1989"/>
                  </a:cxn>
                  <a:cxn ang="0">
                    <a:pos x="connsiteX1990" y="connsiteY1990"/>
                  </a:cxn>
                  <a:cxn ang="0">
                    <a:pos x="connsiteX1991" y="connsiteY1991"/>
                  </a:cxn>
                  <a:cxn ang="0">
                    <a:pos x="connsiteX1992" y="connsiteY1992"/>
                  </a:cxn>
                  <a:cxn ang="0">
                    <a:pos x="connsiteX1993" y="connsiteY1993"/>
                  </a:cxn>
                  <a:cxn ang="0">
                    <a:pos x="connsiteX1994" y="connsiteY1994"/>
                  </a:cxn>
                  <a:cxn ang="0">
                    <a:pos x="connsiteX1995" y="connsiteY1995"/>
                  </a:cxn>
                  <a:cxn ang="0">
                    <a:pos x="connsiteX1996" y="connsiteY1996"/>
                  </a:cxn>
                  <a:cxn ang="0">
                    <a:pos x="connsiteX1997" y="connsiteY1997"/>
                  </a:cxn>
                  <a:cxn ang="0">
                    <a:pos x="connsiteX1998" y="connsiteY1998"/>
                  </a:cxn>
                  <a:cxn ang="0">
                    <a:pos x="connsiteX1999" y="connsiteY1999"/>
                  </a:cxn>
                  <a:cxn ang="0">
                    <a:pos x="connsiteX2000" y="connsiteY2000"/>
                  </a:cxn>
                  <a:cxn ang="0">
                    <a:pos x="connsiteX2001" y="connsiteY2001"/>
                  </a:cxn>
                  <a:cxn ang="0">
                    <a:pos x="connsiteX2002" y="connsiteY2002"/>
                  </a:cxn>
                  <a:cxn ang="0">
                    <a:pos x="connsiteX2003" y="connsiteY2003"/>
                  </a:cxn>
                  <a:cxn ang="0">
                    <a:pos x="connsiteX2004" y="connsiteY2004"/>
                  </a:cxn>
                  <a:cxn ang="0">
                    <a:pos x="connsiteX2005" y="connsiteY2005"/>
                  </a:cxn>
                  <a:cxn ang="0">
                    <a:pos x="connsiteX2006" y="connsiteY2006"/>
                  </a:cxn>
                  <a:cxn ang="0">
                    <a:pos x="connsiteX2007" y="connsiteY2007"/>
                  </a:cxn>
                  <a:cxn ang="0">
                    <a:pos x="connsiteX2008" y="connsiteY2008"/>
                  </a:cxn>
                  <a:cxn ang="0">
                    <a:pos x="connsiteX2009" y="connsiteY2009"/>
                  </a:cxn>
                  <a:cxn ang="0">
                    <a:pos x="connsiteX2010" y="connsiteY2010"/>
                  </a:cxn>
                  <a:cxn ang="0">
                    <a:pos x="connsiteX2011" y="connsiteY2011"/>
                  </a:cxn>
                  <a:cxn ang="0">
                    <a:pos x="connsiteX2012" y="connsiteY2012"/>
                  </a:cxn>
                  <a:cxn ang="0">
                    <a:pos x="connsiteX2013" y="connsiteY2013"/>
                  </a:cxn>
                  <a:cxn ang="0">
                    <a:pos x="connsiteX2014" y="connsiteY2014"/>
                  </a:cxn>
                  <a:cxn ang="0">
                    <a:pos x="connsiteX2015" y="connsiteY2015"/>
                  </a:cxn>
                  <a:cxn ang="0">
                    <a:pos x="connsiteX2016" y="connsiteY2016"/>
                  </a:cxn>
                  <a:cxn ang="0">
                    <a:pos x="connsiteX2017" y="connsiteY2017"/>
                  </a:cxn>
                  <a:cxn ang="0">
                    <a:pos x="connsiteX2018" y="connsiteY2018"/>
                  </a:cxn>
                  <a:cxn ang="0">
                    <a:pos x="connsiteX2019" y="connsiteY2019"/>
                  </a:cxn>
                  <a:cxn ang="0">
                    <a:pos x="connsiteX2020" y="connsiteY2020"/>
                  </a:cxn>
                  <a:cxn ang="0">
                    <a:pos x="connsiteX2021" y="connsiteY2021"/>
                  </a:cxn>
                  <a:cxn ang="0">
                    <a:pos x="connsiteX2022" y="connsiteY2022"/>
                  </a:cxn>
                  <a:cxn ang="0">
                    <a:pos x="connsiteX2023" y="connsiteY2023"/>
                  </a:cxn>
                  <a:cxn ang="0">
                    <a:pos x="connsiteX2024" y="connsiteY2024"/>
                  </a:cxn>
                  <a:cxn ang="0">
                    <a:pos x="connsiteX2025" y="connsiteY2025"/>
                  </a:cxn>
                  <a:cxn ang="0">
                    <a:pos x="connsiteX2026" y="connsiteY2026"/>
                  </a:cxn>
                  <a:cxn ang="0">
                    <a:pos x="connsiteX2027" y="connsiteY2027"/>
                  </a:cxn>
                  <a:cxn ang="0">
                    <a:pos x="connsiteX2028" y="connsiteY2028"/>
                  </a:cxn>
                  <a:cxn ang="0">
                    <a:pos x="connsiteX2029" y="connsiteY2029"/>
                  </a:cxn>
                  <a:cxn ang="0">
                    <a:pos x="connsiteX2030" y="connsiteY2030"/>
                  </a:cxn>
                  <a:cxn ang="0">
                    <a:pos x="connsiteX2031" y="connsiteY2031"/>
                  </a:cxn>
                  <a:cxn ang="0">
                    <a:pos x="connsiteX2032" y="connsiteY2032"/>
                  </a:cxn>
                  <a:cxn ang="0">
                    <a:pos x="connsiteX2033" y="connsiteY2033"/>
                  </a:cxn>
                  <a:cxn ang="0">
                    <a:pos x="connsiteX2034" y="connsiteY2034"/>
                  </a:cxn>
                  <a:cxn ang="0">
                    <a:pos x="connsiteX2035" y="connsiteY2035"/>
                  </a:cxn>
                  <a:cxn ang="0">
                    <a:pos x="connsiteX2036" y="connsiteY2036"/>
                  </a:cxn>
                  <a:cxn ang="0">
                    <a:pos x="connsiteX2037" y="connsiteY2037"/>
                  </a:cxn>
                  <a:cxn ang="0">
                    <a:pos x="connsiteX2038" y="connsiteY2038"/>
                  </a:cxn>
                  <a:cxn ang="0">
                    <a:pos x="connsiteX2039" y="connsiteY2039"/>
                  </a:cxn>
                  <a:cxn ang="0">
                    <a:pos x="connsiteX2040" y="connsiteY2040"/>
                  </a:cxn>
                  <a:cxn ang="0">
                    <a:pos x="connsiteX2041" y="connsiteY2041"/>
                  </a:cxn>
                  <a:cxn ang="0">
                    <a:pos x="connsiteX2042" y="connsiteY2042"/>
                  </a:cxn>
                  <a:cxn ang="0">
                    <a:pos x="connsiteX2043" y="connsiteY2043"/>
                  </a:cxn>
                  <a:cxn ang="0">
                    <a:pos x="connsiteX2044" y="connsiteY2044"/>
                  </a:cxn>
                  <a:cxn ang="0">
                    <a:pos x="connsiteX2045" y="connsiteY2045"/>
                  </a:cxn>
                  <a:cxn ang="0">
                    <a:pos x="connsiteX2046" y="connsiteY2046"/>
                  </a:cxn>
                  <a:cxn ang="0">
                    <a:pos x="connsiteX2047" y="connsiteY2047"/>
                  </a:cxn>
                  <a:cxn ang="0">
                    <a:pos x="connsiteX2048" y="connsiteY2048"/>
                  </a:cxn>
                  <a:cxn ang="0">
                    <a:pos x="connsiteX2049" y="connsiteY2049"/>
                  </a:cxn>
                  <a:cxn ang="0">
                    <a:pos x="connsiteX2050" y="connsiteY2050"/>
                  </a:cxn>
                  <a:cxn ang="0">
                    <a:pos x="connsiteX2051" y="connsiteY2051"/>
                  </a:cxn>
                  <a:cxn ang="0">
                    <a:pos x="connsiteX2052" y="connsiteY2052"/>
                  </a:cxn>
                  <a:cxn ang="0">
                    <a:pos x="connsiteX2053" y="connsiteY2053"/>
                  </a:cxn>
                  <a:cxn ang="0">
                    <a:pos x="connsiteX2054" y="connsiteY2054"/>
                  </a:cxn>
                  <a:cxn ang="0">
                    <a:pos x="connsiteX2055" y="connsiteY2055"/>
                  </a:cxn>
                  <a:cxn ang="0">
                    <a:pos x="connsiteX2056" y="connsiteY2056"/>
                  </a:cxn>
                  <a:cxn ang="0">
                    <a:pos x="connsiteX2057" y="connsiteY2057"/>
                  </a:cxn>
                  <a:cxn ang="0">
                    <a:pos x="connsiteX2058" y="connsiteY2058"/>
                  </a:cxn>
                  <a:cxn ang="0">
                    <a:pos x="connsiteX2059" y="connsiteY2059"/>
                  </a:cxn>
                  <a:cxn ang="0">
                    <a:pos x="connsiteX2060" y="connsiteY2060"/>
                  </a:cxn>
                  <a:cxn ang="0">
                    <a:pos x="connsiteX2061" y="connsiteY2061"/>
                  </a:cxn>
                  <a:cxn ang="0">
                    <a:pos x="connsiteX2062" y="connsiteY2062"/>
                  </a:cxn>
                  <a:cxn ang="0">
                    <a:pos x="connsiteX2063" y="connsiteY2063"/>
                  </a:cxn>
                  <a:cxn ang="0">
                    <a:pos x="connsiteX2064" y="connsiteY2064"/>
                  </a:cxn>
                  <a:cxn ang="0">
                    <a:pos x="connsiteX2065" y="connsiteY2065"/>
                  </a:cxn>
                  <a:cxn ang="0">
                    <a:pos x="connsiteX2066" y="connsiteY2066"/>
                  </a:cxn>
                  <a:cxn ang="0">
                    <a:pos x="connsiteX2067" y="connsiteY2067"/>
                  </a:cxn>
                  <a:cxn ang="0">
                    <a:pos x="connsiteX2068" y="connsiteY2068"/>
                  </a:cxn>
                  <a:cxn ang="0">
                    <a:pos x="connsiteX2069" y="connsiteY2069"/>
                  </a:cxn>
                  <a:cxn ang="0">
                    <a:pos x="connsiteX2070" y="connsiteY2070"/>
                  </a:cxn>
                  <a:cxn ang="0">
                    <a:pos x="connsiteX2071" y="connsiteY2071"/>
                  </a:cxn>
                  <a:cxn ang="0">
                    <a:pos x="connsiteX2072" y="connsiteY2072"/>
                  </a:cxn>
                  <a:cxn ang="0">
                    <a:pos x="connsiteX2073" y="connsiteY2073"/>
                  </a:cxn>
                  <a:cxn ang="0">
                    <a:pos x="connsiteX2074" y="connsiteY2074"/>
                  </a:cxn>
                  <a:cxn ang="0">
                    <a:pos x="connsiteX2075" y="connsiteY2075"/>
                  </a:cxn>
                  <a:cxn ang="0">
                    <a:pos x="connsiteX2076" y="connsiteY2076"/>
                  </a:cxn>
                  <a:cxn ang="0">
                    <a:pos x="connsiteX2077" y="connsiteY2077"/>
                  </a:cxn>
                  <a:cxn ang="0">
                    <a:pos x="connsiteX2078" y="connsiteY2078"/>
                  </a:cxn>
                  <a:cxn ang="0">
                    <a:pos x="connsiteX2079" y="connsiteY2079"/>
                  </a:cxn>
                  <a:cxn ang="0">
                    <a:pos x="connsiteX2080" y="connsiteY2080"/>
                  </a:cxn>
                  <a:cxn ang="0">
                    <a:pos x="connsiteX2081" y="connsiteY2081"/>
                  </a:cxn>
                  <a:cxn ang="0">
                    <a:pos x="connsiteX2082" y="connsiteY2082"/>
                  </a:cxn>
                  <a:cxn ang="0">
                    <a:pos x="connsiteX2083" y="connsiteY2083"/>
                  </a:cxn>
                  <a:cxn ang="0">
                    <a:pos x="connsiteX2084" y="connsiteY2084"/>
                  </a:cxn>
                  <a:cxn ang="0">
                    <a:pos x="connsiteX2085" y="connsiteY2085"/>
                  </a:cxn>
                  <a:cxn ang="0">
                    <a:pos x="connsiteX2086" y="connsiteY2086"/>
                  </a:cxn>
                  <a:cxn ang="0">
                    <a:pos x="connsiteX2087" y="connsiteY2087"/>
                  </a:cxn>
                  <a:cxn ang="0">
                    <a:pos x="connsiteX2088" y="connsiteY2088"/>
                  </a:cxn>
                  <a:cxn ang="0">
                    <a:pos x="connsiteX2089" y="connsiteY2089"/>
                  </a:cxn>
                  <a:cxn ang="0">
                    <a:pos x="connsiteX2090" y="connsiteY2090"/>
                  </a:cxn>
                  <a:cxn ang="0">
                    <a:pos x="connsiteX2091" y="connsiteY2091"/>
                  </a:cxn>
                  <a:cxn ang="0">
                    <a:pos x="connsiteX2092" y="connsiteY2092"/>
                  </a:cxn>
                  <a:cxn ang="0">
                    <a:pos x="connsiteX2093" y="connsiteY2093"/>
                  </a:cxn>
                  <a:cxn ang="0">
                    <a:pos x="connsiteX2094" y="connsiteY2094"/>
                  </a:cxn>
                  <a:cxn ang="0">
                    <a:pos x="connsiteX2095" y="connsiteY2095"/>
                  </a:cxn>
                  <a:cxn ang="0">
                    <a:pos x="connsiteX2096" y="connsiteY2096"/>
                  </a:cxn>
                  <a:cxn ang="0">
                    <a:pos x="connsiteX2097" y="connsiteY2097"/>
                  </a:cxn>
                  <a:cxn ang="0">
                    <a:pos x="connsiteX2098" y="connsiteY2098"/>
                  </a:cxn>
                  <a:cxn ang="0">
                    <a:pos x="connsiteX2099" y="connsiteY2099"/>
                  </a:cxn>
                  <a:cxn ang="0">
                    <a:pos x="connsiteX2100" y="connsiteY2100"/>
                  </a:cxn>
                  <a:cxn ang="0">
                    <a:pos x="connsiteX2101" y="connsiteY2101"/>
                  </a:cxn>
                  <a:cxn ang="0">
                    <a:pos x="connsiteX2102" y="connsiteY2102"/>
                  </a:cxn>
                  <a:cxn ang="0">
                    <a:pos x="connsiteX2103" y="connsiteY2103"/>
                  </a:cxn>
                  <a:cxn ang="0">
                    <a:pos x="connsiteX2104" y="connsiteY2104"/>
                  </a:cxn>
                  <a:cxn ang="0">
                    <a:pos x="connsiteX2105" y="connsiteY2105"/>
                  </a:cxn>
                  <a:cxn ang="0">
                    <a:pos x="connsiteX2106" y="connsiteY2106"/>
                  </a:cxn>
                  <a:cxn ang="0">
                    <a:pos x="connsiteX2107" y="connsiteY2107"/>
                  </a:cxn>
                  <a:cxn ang="0">
                    <a:pos x="connsiteX2108" y="connsiteY2108"/>
                  </a:cxn>
                  <a:cxn ang="0">
                    <a:pos x="connsiteX2109" y="connsiteY2109"/>
                  </a:cxn>
                  <a:cxn ang="0">
                    <a:pos x="connsiteX2110" y="connsiteY2110"/>
                  </a:cxn>
                  <a:cxn ang="0">
                    <a:pos x="connsiteX2111" y="connsiteY2111"/>
                  </a:cxn>
                  <a:cxn ang="0">
                    <a:pos x="connsiteX2112" y="connsiteY2112"/>
                  </a:cxn>
                  <a:cxn ang="0">
                    <a:pos x="connsiteX2113" y="connsiteY2113"/>
                  </a:cxn>
                  <a:cxn ang="0">
                    <a:pos x="connsiteX2114" y="connsiteY2114"/>
                  </a:cxn>
                  <a:cxn ang="0">
                    <a:pos x="connsiteX2115" y="connsiteY2115"/>
                  </a:cxn>
                  <a:cxn ang="0">
                    <a:pos x="connsiteX2116" y="connsiteY2116"/>
                  </a:cxn>
                  <a:cxn ang="0">
                    <a:pos x="connsiteX2117" y="connsiteY2117"/>
                  </a:cxn>
                  <a:cxn ang="0">
                    <a:pos x="connsiteX2118" y="connsiteY2118"/>
                  </a:cxn>
                  <a:cxn ang="0">
                    <a:pos x="connsiteX2119" y="connsiteY2119"/>
                  </a:cxn>
                  <a:cxn ang="0">
                    <a:pos x="connsiteX2120" y="connsiteY2120"/>
                  </a:cxn>
                  <a:cxn ang="0">
                    <a:pos x="connsiteX2121" y="connsiteY2121"/>
                  </a:cxn>
                  <a:cxn ang="0">
                    <a:pos x="connsiteX2122" y="connsiteY2122"/>
                  </a:cxn>
                  <a:cxn ang="0">
                    <a:pos x="connsiteX2123" y="connsiteY2123"/>
                  </a:cxn>
                  <a:cxn ang="0">
                    <a:pos x="connsiteX2124" y="connsiteY2124"/>
                  </a:cxn>
                  <a:cxn ang="0">
                    <a:pos x="connsiteX2125" y="connsiteY2125"/>
                  </a:cxn>
                  <a:cxn ang="0">
                    <a:pos x="connsiteX2126" y="connsiteY2126"/>
                  </a:cxn>
                  <a:cxn ang="0">
                    <a:pos x="connsiteX2127" y="connsiteY2127"/>
                  </a:cxn>
                  <a:cxn ang="0">
                    <a:pos x="connsiteX2128" y="connsiteY2128"/>
                  </a:cxn>
                  <a:cxn ang="0">
                    <a:pos x="connsiteX2129" y="connsiteY2129"/>
                  </a:cxn>
                  <a:cxn ang="0">
                    <a:pos x="connsiteX2130" y="connsiteY2130"/>
                  </a:cxn>
                  <a:cxn ang="0">
                    <a:pos x="connsiteX2131" y="connsiteY2131"/>
                  </a:cxn>
                  <a:cxn ang="0">
                    <a:pos x="connsiteX2132" y="connsiteY2132"/>
                  </a:cxn>
                  <a:cxn ang="0">
                    <a:pos x="connsiteX2133" y="connsiteY2133"/>
                  </a:cxn>
                  <a:cxn ang="0">
                    <a:pos x="connsiteX2134" y="connsiteY2134"/>
                  </a:cxn>
                  <a:cxn ang="0">
                    <a:pos x="connsiteX2135" y="connsiteY2135"/>
                  </a:cxn>
                  <a:cxn ang="0">
                    <a:pos x="connsiteX2136" y="connsiteY2136"/>
                  </a:cxn>
                  <a:cxn ang="0">
                    <a:pos x="connsiteX2137" y="connsiteY2137"/>
                  </a:cxn>
                  <a:cxn ang="0">
                    <a:pos x="connsiteX2138" y="connsiteY2138"/>
                  </a:cxn>
                  <a:cxn ang="0">
                    <a:pos x="connsiteX2139" y="connsiteY2139"/>
                  </a:cxn>
                  <a:cxn ang="0">
                    <a:pos x="connsiteX2140" y="connsiteY2140"/>
                  </a:cxn>
                  <a:cxn ang="0">
                    <a:pos x="connsiteX2141" y="connsiteY2141"/>
                  </a:cxn>
                  <a:cxn ang="0">
                    <a:pos x="connsiteX2142" y="connsiteY2142"/>
                  </a:cxn>
                  <a:cxn ang="0">
                    <a:pos x="connsiteX2143" y="connsiteY2143"/>
                  </a:cxn>
                  <a:cxn ang="0">
                    <a:pos x="connsiteX2144" y="connsiteY2144"/>
                  </a:cxn>
                  <a:cxn ang="0">
                    <a:pos x="connsiteX2145" y="connsiteY2145"/>
                  </a:cxn>
                  <a:cxn ang="0">
                    <a:pos x="connsiteX2146" y="connsiteY2146"/>
                  </a:cxn>
                  <a:cxn ang="0">
                    <a:pos x="connsiteX2147" y="connsiteY2147"/>
                  </a:cxn>
                  <a:cxn ang="0">
                    <a:pos x="connsiteX2148" y="connsiteY2148"/>
                  </a:cxn>
                  <a:cxn ang="0">
                    <a:pos x="connsiteX2149" y="connsiteY2149"/>
                  </a:cxn>
                  <a:cxn ang="0">
                    <a:pos x="connsiteX2150" y="connsiteY2150"/>
                  </a:cxn>
                  <a:cxn ang="0">
                    <a:pos x="connsiteX2151" y="connsiteY2151"/>
                  </a:cxn>
                  <a:cxn ang="0">
                    <a:pos x="connsiteX2152" y="connsiteY2152"/>
                  </a:cxn>
                  <a:cxn ang="0">
                    <a:pos x="connsiteX2153" y="connsiteY2153"/>
                  </a:cxn>
                  <a:cxn ang="0">
                    <a:pos x="connsiteX2154" y="connsiteY2154"/>
                  </a:cxn>
                  <a:cxn ang="0">
                    <a:pos x="connsiteX2155" y="connsiteY2155"/>
                  </a:cxn>
                  <a:cxn ang="0">
                    <a:pos x="connsiteX2156" y="connsiteY2156"/>
                  </a:cxn>
                  <a:cxn ang="0">
                    <a:pos x="connsiteX2157" y="connsiteY2157"/>
                  </a:cxn>
                  <a:cxn ang="0">
                    <a:pos x="connsiteX2158" y="connsiteY2158"/>
                  </a:cxn>
                  <a:cxn ang="0">
                    <a:pos x="connsiteX2159" y="connsiteY2159"/>
                  </a:cxn>
                  <a:cxn ang="0">
                    <a:pos x="connsiteX2160" y="connsiteY2160"/>
                  </a:cxn>
                  <a:cxn ang="0">
                    <a:pos x="connsiteX2161" y="connsiteY2161"/>
                  </a:cxn>
                  <a:cxn ang="0">
                    <a:pos x="connsiteX2162" y="connsiteY2162"/>
                  </a:cxn>
                  <a:cxn ang="0">
                    <a:pos x="connsiteX2163" y="connsiteY2163"/>
                  </a:cxn>
                  <a:cxn ang="0">
                    <a:pos x="connsiteX2164" y="connsiteY2164"/>
                  </a:cxn>
                  <a:cxn ang="0">
                    <a:pos x="connsiteX2165" y="connsiteY2165"/>
                  </a:cxn>
                  <a:cxn ang="0">
                    <a:pos x="connsiteX2166" y="connsiteY2166"/>
                  </a:cxn>
                  <a:cxn ang="0">
                    <a:pos x="connsiteX2167" y="connsiteY2167"/>
                  </a:cxn>
                  <a:cxn ang="0">
                    <a:pos x="connsiteX2168" y="connsiteY2168"/>
                  </a:cxn>
                  <a:cxn ang="0">
                    <a:pos x="connsiteX2169" y="connsiteY2169"/>
                  </a:cxn>
                  <a:cxn ang="0">
                    <a:pos x="connsiteX2170" y="connsiteY2170"/>
                  </a:cxn>
                  <a:cxn ang="0">
                    <a:pos x="connsiteX2171" y="connsiteY2171"/>
                  </a:cxn>
                  <a:cxn ang="0">
                    <a:pos x="connsiteX2172" y="connsiteY2172"/>
                  </a:cxn>
                  <a:cxn ang="0">
                    <a:pos x="connsiteX2173" y="connsiteY2173"/>
                  </a:cxn>
                  <a:cxn ang="0">
                    <a:pos x="connsiteX2174" y="connsiteY2174"/>
                  </a:cxn>
                  <a:cxn ang="0">
                    <a:pos x="connsiteX2175" y="connsiteY2175"/>
                  </a:cxn>
                  <a:cxn ang="0">
                    <a:pos x="connsiteX2176" y="connsiteY2176"/>
                  </a:cxn>
                  <a:cxn ang="0">
                    <a:pos x="connsiteX2177" y="connsiteY2177"/>
                  </a:cxn>
                  <a:cxn ang="0">
                    <a:pos x="connsiteX2178" y="connsiteY2178"/>
                  </a:cxn>
                  <a:cxn ang="0">
                    <a:pos x="connsiteX2179" y="connsiteY2179"/>
                  </a:cxn>
                  <a:cxn ang="0">
                    <a:pos x="connsiteX2180" y="connsiteY2180"/>
                  </a:cxn>
                  <a:cxn ang="0">
                    <a:pos x="connsiteX2181" y="connsiteY2181"/>
                  </a:cxn>
                  <a:cxn ang="0">
                    <a:pos x="connsiteX2182" y="connsiteY2182"/>
                  </a:cxn>
                  <a:cxn ang="0">
                    <a:pos x="connsiteX2183" y="connsiteY2183"/>
                  </a:cxn>
                  <a:cxn ang="0">
                    <a:pos x="connsiteX2184" y="connsiteY2184"/>
                  </a:cxn>
                  <a:cxn ang="0">
                    <a:pos x="connsiteX2185" y="connsiteY2185"/>
                  </a:cxn>
                  <a:cxn ang="0">
                    <a:pos x="connsiteX2186" y="connsiteY2186"/>
                  </a:cxn>
                  <a:cxn ang="0">
                    <a:pos x="connsiteX2187" y="connsiteY2187"/>
                  </a:cxn>
                  <a:cxn ang="0">
                    <a:pos x="connsiteX2188" y="connsiteY2188"/>
                  </a:cxn>
                  <a:cxn ang="0">
                    <a:pos x="connsiteX2189" y="connsiteY2189"/>
                  </a:cxn>
                  <a:cxn ang="0">
                    <a:pos x="connsiteX2190" y="connsiteY2190"/>
                  </a:cxn>
                  <a:cxn ang="0">
                    <a:pos x="connsiteX2191" y="connsiteY2191"/>
                  </a:cxn>
                  <a:cxn ang="0">
                    <a:pos x="connsiteX2192" y="connsiteY2192"/>
                  </a:cxn>
                  <a:cxn ang="0">
                    <a:pos x="connsiteX2193" y="connsiteY2193"/>
                  </a:cxn>
                  <a:cxn ang="0">
                    <a:pos x="connsiteX2194" y="connsiteY2194"/>
                  </a:cxn>
                  <a:cxn ang="0">
                    <a:pos x="connsiteX2195" y="connsiteY2195"/>
                  </a:cxn>
                  <a:cxn ang="0">
                    <a:pos x="connsiteX2196" y="connsiteY2196"/>
                  </a:cxn>
                  <a:cxn ang="0">
                    <a:pos x="connsiteX2197" y="connsiteY2197"/>
                  </a:cxn>
                  <a:cxn ang="0">
                    <a:pos x="connsiteX2198" y="connsiteY2198"/>
                  </a:cxn>
                  <a:cxn ang="0">
                    <a:pos x="connsiteX2199" y="connsiteY2199"/>
                  </a:cxn>
                  <a:cxn ang="0">
                    <a:pos x="connsiteX2200" y="connsiteY2200"/>
                  </a:cxn>
                  <a:cxn ang="0">
                    <a:pos x="connsiteX2201" y="connsiteY2201"/>
                  </a:cxn>
                  <a:cxn ang="0">
                    <a:pos x="connsiteX2202" y="connsiteY2202"/>
                  </a:cxn>
                  <a:cxn ang="0">
                    <a:pos x="connsiteX2203" y="connsiteY2203"/>
                  </a:cxn>
                  <a:cxn ang="0">
                    <a:pos x="connsiteX2204" y="connsiteY2204"/>
                  </a:cxn>
                  <a:cxn ang="0">
                    <a:pos x="connsiteX2205" y="connsiteY2205"/>
                  </a:cxn>
                  <a:cxn ang="0">
                    <a:pos x="connsiteX2206" y="connsiteY2206"/>
                  </a:cxn>
                  <a:cxn ang="0">
                    <a:pos x="connsiteX2207" y="connsiteY2207"/>
                  </a:cxn>
                  <a:cxn ang="0">
                    <a:pos x="connsiteX2208" y="connsiteY2208"/>
                  </a:cxn>
                  <a:cxn ang="0">
                    <a:pos x="connsiteX2209" y="connsiteY2209"/>
                  </a:cxn>
                  <a:cxn ang="0">
                    <a:pos x="connsiteX2210" y="connsiteY2210"/>
                  </a:cxn>
                  <a:cxn ang="0">
                    <a:pos x="connsiteX2211" y="connsiteY2211"/>
                  </a:cxn>
                  <a:cxn ang="0">
                    <a:pos x="connsiteX2212" y="connsiteY2212"/>
                  </a:cxn>
                  <a:cxn ang="0">
                    <a:pos x="connsiteX2213" y="connsiteY2213"/>
                  </a:cxn>
                  <a:cxn ang="0">
                    <a:pos x="connsiteX2214" y="connsiteY2214"/>
                  </a:cxn>
                  <a:cxn ang="0">
                    <a:pos x="connsiteX2215" y="connsiteY2215"/>
                  </a:cxn>
                  <a:cxn ang="0">
                    <a:pos x="connsiteX2216" y="connsiteY2216"/>
                  </a:cxn>
                  <a:cxn ang="0">
                    <a:pos x="connsiteX2217" y="connsiteY2217"/>
                  </a:cxn>
                  <a:cxn ang="0">
                    <a:pos x="connsiteX2218" y="connsiteY2218"/>
                  </a:cxn>
                  <a:cxn ang="0">
                    <a:pos x="connsiteX2219" y="connsiteY2219"/>
                  </a:cxn>
                  <a:cxn ang="0">
                    <a:pos x="connsiteX2220" y="connsiteY2220"/>
                  </a:cxn>
                  <a:cxn ang="0">
                    <a:pos x="connsiteX2221" y="connsiteY2221"/>
                  </a:cxn>
                  <a:cxn ang="0">
                    <a:pos x="connsiteX2222" y="connsiteY2222"/>
                  </a:cxn>
                  <a:cxn ang="0">
                    <a:pos x="connsiteX2223" y="connsiteY2223"/>
                  </a:cxn>
                  <a:cxn ang="0">
                    <a:pos x="connsiteX2224" y="connsiteY2224"/>
                  </a:cxn>
                  <a:cxn ang="0">
                    <a:pos x="connsiteX2225" y="connsiteY2225"/>
                  </a:cxn>
                  <a:cxn ang="0">
                    <a:pos x="connsiteX2226" y="connsiteY2226"/>
                  </a:cxn>
                  <a:cxn ang="0">
                    <a:pos x="connsiteX2227" y="connsiteY2227"/>
                  </a:cxn>
                  <a:cxn ang="0">
                    <a:pos x="connsiteX2228" y="connsiteY2228"/>
                  </a:cxn>
                  <a:cxn ang="0">
                    <a:pos x="connsiteX2229" y="connsiteY2229"/>
                  </a:cxn>
                  <a:cxn ang="0">
                    <a:pos x="connsiteX2230" y="connsiteY2230"/>
                  </a:cxn>
                  <a:cxn ang="0">
                    <a:pos x="connsiteX2231" y="connsiteY2231"/>
                  </a:cxn>
                  <a:cxn ang="0">
                    <a:pos x="connsiteX2232" y="connsiteY2232"/>
                  </a:cxn>
                  <a:cxn ang="0">
                    <a:pos x="connsiteX2233" y="connsiteY2233"/>
                  </a:cxn>
                  <a:cxn ang="0">
                    <a:pos x="connsiteX2234" y="connsiteY2234"/>
                  </a:cxn>
                  <a:cxn ang="0">
                    <a:pos x="connsiteX2235" y="connsiteY2235"/>
                  </a:cxn>
                  <a:cxn ang="0">
                    <a:pos x="connsiteX2236" y="connsiteY2236"/>
                  </a:cxn>
                  <a:cxn ang="0">
                    <a:pos x="connsiteX2237" y="connsiteY2237"/>
                  </a:cxn>
                  <a:cxn ang="0">
                    <a:pos x="connsiteX2238" y="connsiteY2238"/>
                  </a:cxn>
                  <a:cxn ang="0">
                    <a:pos x="connsiteX2239" y="connsiteY2239"/>
                  </a:cxn>
                  <a:cxn ang="0">
                    <a:pos x="connsiteX2240" y="connsiteY2240"/>
                  </a:cxn>
                  <a:cxn ang="0">
                    <a:pos x="connsiteX2241" y="connsiteY2241"/>
                  </a:cxn>
                  <a:cxn ang="0">
                    <a:pos x="connsiteX2242" y="connsiteY2242"/>
                  </a:cxn>
                  <a:cxn ang="0">
                    <a:pos x="connsiteX2243" y="connsiteY2243"/>
                  </a:cxn>
                  <a:cxn ang="0">
                    <a:pos x="connsiteX2244" y="connsiteY2244"/>
                  </a:cxn>
                  <a:cxn ang="0">
                    <a:pos x="connsiteX2245" y="connsiteY2245"/>
                  </a:cxn>
                  <a:cxn ang="0">
                    <a:pos x="connsiteX2246" y="connsiteY2246"/>
                  </a:cxn>
                  <a:cxn ang="0">
                    <a:pos x="connsiteX2247" y="connsiteY2247"/>
                  </a:cxn>
                  <a:cxn ang="0">
                    <a:pos x="connsiteX2248" y="connsiteY2248"/>
                  </a:cxn>
                  <a:cxn ang="0">
                    <a:pos x="connsiteX2249" y="connsiteY2249"/>
                  </a:cxn>
                  <a:cxn ang="0">
                    <a:pos x="connsiteX2250" y="connsiteY2250"/>
                  </a:cxn>
                  <a:cxn ang="0">
                    <a:pos x="connsiteX2251" y="connsiteY2251"/>
                  </a:cxn>
                  <a:cxn ang="0">
                    <a:pos x="connsiteX2252" y="connsiteY2252"/>
                  </a:cxn>
                  <a:cxn ang="0">
                    <a:pos x="connsiteX2253" y="connsiteY2253"/>
                  </a:cxn>
                  <a:cxn ang="0">
                    <a:pos x="connsiteX2254" y="connsiteY2254"/>
                  </a:cxn>
                  <a:cxn ang="0">
                    <a:pos x="connsiteX2255" y="connsiteY2255"/>
                  </a:cxn>
                  <a:cxn ang="0">
                    <a:pos x="connsiteX2256" y="connsiteY2256"/>
                  </a:cxn>
                  <a:cxn ang="0">
                    <a:pos x="connsiteX2257" y="connsiteY2257"/>
                  </a:cxn>
                  <a:cxn ang="0">
                    <a:pos x="connsiteX2258" y="connsiteY2258"/>
                  </a:cxn>
                  <a:cxn ang="0">
                    <a:pos x="connsiteX2259" y="connsiteY2259"/>
                  </a:cxn>
                  <a:cxn ang="0">
                    <a:pos x="connsiteX2260" y="connsiteY2260"/>
                  </a:cxn>
                  <a:cxn ang="0">
                    <a:pos x="connsiteX2261" y="connsiteY2261"/>
                  </a:cxn>
                  <a:cxn ang="0">
                    <a:pos x="connsiteX2262" y="connsiteY2262"/>
                  </a:cxn>
                  <a:cxn ang="0">
                    <a:pos x="connsiteX2263" y="connsiteY2263"/>
                  </a:cxn>
                  <a:cxn ang="0">
                    <a:pos x="connsiteX2264" y="connsiteY2264"/>
                  </a:cxn>
                  <a:cxn ang="0">
                    <a:pos x="connsiteX2265" y="connsiteY2265"/>
                  </a:cxn>
                  <a:cxn ang="0">
                    <a:pos x="connsiteX2266" y="connsiteY2266"/>
                  </a:cxn>
                  <a:cxn ang="0">
                    <a:pos x="connsiteX2267" y="connsiteY2267"/>
                  </a:cxn>
                  <a:cxn ang="0">
                    <a:pos x="connsiteX2268" y="connsiteY2268"/>
                  </a:cxn>
                  <a:cxn ang="0">
                    <a:pos x="connsiteX2269" y="connsiteY2269"/>
                  </a:cxn>
                  <a:cxn ang="0">
                    <a:pos x="connsiteX2270" y="connsiteY2270"/>
                  </a:cxn>
                  <a:cxn ang="0">
                    <a:pos x="connsiteX2271" y="connsiteY2271"/>
                  </a:cxn>
                  <a:cxn ang="0">
                    <a:pos x="connsiteX2272" y="connsiteY2272"/>
                  </a:cxn>
                  <a:cxn ang="0">
                    <a:pos x="connsiteX2273" y="connsiteY2273"/>
                  </a:cxn>
                  <a:cxn ang="0">
                    <a:pos x="connsiteX2274" y="connsiteY2274"/>
                  </a:cxn>
                  <a:cxn ang="0">
                    <a:pos x="connsiteX2275" y="connsiteY2275"/>
                  </a:cxn>
                  <a:cxn ang="0">
                    <a:pos x="connsiteX2276" y="connsiteY2276"/>
                  </a:cxn>
                  <a:cxn ang="0">
                    <a:pos x="connsiteX2277" y="connsiteY2277"/>
                  </a:cxn>
                  <a:cxn ang="0">
                    <a:pos x="connsiteX2278" y="connsiteY2278"/>
                  </a:cxn>
                  <a:cxn ang="0">
                    <a:pos x="connsiteX2279" y="connsiteY2279"/>
                  </a:cxn>
                  <a:cxn ang="0">
                    <a:pos x="connsiteX2280" y="connsiteY2280"/>
                  </a:cxn>
                  <a:cxn ang="0">
                    <a:pos x="connsiteX2281" y="connsiteY2281"/>
                  </a:cxn>
                  <a:cxn ang="0">
                    <a:pos x="connsiteX2282" y="connsiteY2282"/>
                  </a:cxn>
                  <a:cxn ang="0">
                    <a:pos x="connsiteX2283" y="connsiteY2283"/>
                  </a:cxn>
                  <a:cxn ang="0">
                    <a:pos x="connsiteX2284" y="connsiteY2284"/>
                  </a:cxn>
                  <a:cxn ang="0">
                    <a:pos x="connsiteX2285" y="connsiteY2285"/>
                  </a:cxn>
                  <a:cxn ang="0">
                    <a:pos x="connsiteX2286" y="connsiteY2286"/>
                  </a:cxn>
                  <a:cxn ang="0">
                    <a:pos x="connsiteX2287" y="connsiteY2287"/>
                  </a:cxn>
                  <a:cxn ang="0">
                    <a:pos x="connsiteX2288" y="connsiteY2288"/>
                  </a:cxn>
                  <a:cxn ang="0">
                    <a:pos x="connsiteX2289" y="connsiteY2289"/>
                  </a:cxn>
                  <a:cxn ang="0">
                    <a:pos x="connsiteX2290" y="connsiteY2290"/>
                  </a:cxn>
                  <a:cxn ang="0">
                    <a:pos x="connsiteX2291" y="connsiteY2291"/>
                  </a:cxn>
                  <a:cxn ang="0">
                    <a:pos x="connsiteX2292" y="connsiteY2292"/>
                  </a:cxn>
                  <a:cxn ang="0">
                    <a:pos x="connsiteX2293" y="connsiteY2293"/>
                  </a:cxn>
                  <a:cxn ang="0">
                    <a:pos x="connsiteX2294" y="connsiteY2294"/>
                  </a:cxn>
                  <a:cxn ang="0">
                    <a:pos x="connsiteX2295" y="connsiteY2295"/>
                  </a:cxn>
                  <a:cxn ang="0">
                    <a:pos x="connsiteX2296" y="connsiteY2296"/>
                  </a:cxn>
                  <a:cxn ang="0">
                    <a:pos x="connsiteX2297" y="connsiteY2297"/>
                  </a:cxn>
                  <a:cxn ang="0">
                    <a:pos x="connsiteX2298" y="connsiteY2298"/>
                  </a:cxn>
                  <a:cxn ang="0">
                    <a:pos x="connsiteX2299" y="connsiteY2299"/>
                  </a:cxn>
                  <a:cxn ang="0">
                    <a:pos x="connsiteX2300" y="connsiteY2300"/>
                  </a:cxn>
                  <a:cxn ang="0">
                    <a:pos x="connsiteX2301" y="connsiteY2301"/>
                  </a:cxn>
                  <a:cxn ang="0">
                    <a:pos x="connsiteX2302" y="connsiteY2302"/>
                  </a:cxn>
                  <a:cxn ang="0">
                    <a:pos x="connsiteX2303" y="connsiteY2303"/>
                  </a:cxn>
                  <a:cxn ang="0">
                    <a:pos x="connsiteX2304" y="connsiteY2304"/>
                  </a:cxn>
                  <a:cxn ang="0">
                    <a:pos x="connsiteX2305" y="connsiteY2305"/>
                  </a:cxn>
                  <a:cxn ang="0">
                    <a:pos x="connsiteX2306" y="connsiteY2306"/>
                  </a:cxn>
                  <a:cxn ang="0">
                    <a:pos x="connsiteX2307" y="connsiteY2307"/>
                  </a:cxn>
                  <a:cxn ang="0">
                    <a:pos x="connsiteX2308" y="connsiteY2308"/>
                  </a:cxn>
                  <a:cxn ang="0">
                    <a:pos x="connsiteX2309" y="connsiteY2309"/>
                  </a:cxn>
                  <a:cxn ang="0">
                    <a:pos x="connsiteX2310" y="connsiteY2310"/>
                  </a:cxn>
                  <a:cxn ang="0">
                    <a:pos x="connsiteX2311" y="connsiteY2311"/>
                  </a:cxn>
                  <a:cxn ang="0">
                    <a:pos x="connsiteX2312" y="connsiteY2312"/>
                  </a:cxn>
                  <a:cxn ang="0">
                    <a:pos x="connsiteX2313" y="connsiteY2313"/>
                  </a:cxn>
                  <a:cxn ang="0">
                    <a:pos x="connsiteX2314" y="connsiteY2314"/>
                  </a:cxn>
                  <a:cxn ang="0">
                    <a:pos x="connsiteX2315" y="connsiteY2315"/>
                  </a:cxn>
                  <a:cxn ang="0">
                    <a:pos x="connsiteX2316" y="connsiteY2316"/>
                  </a:cxn>
                  <a:cxn ang="0">
                    <a:pos x="connsiteX2317" y="connsiteY2317"/>
                  </a:cxn>
                  <a:cxn ang="0">
                    <a:pos x="connsiteX2318" y="connsiteY2318"/>
                  </a:cxn>
                  <a:cxn ang="0">
                    <a:pos x="connsiteX2319" y="connsiteY2319"/>
                  </a:cxn>
                  <a:cxn ang="0">
                    <a:pos x="connsiteX2320" y="connsiteY2320"/>
                  </a:cxn>
                  <a:cxn ang="0">
                    <a:pos x="connsiteX2321" y="connsiteY2321"/>
                  </a:cxn>
                  <a:cxn ang="0">
                    <a:pos x="connsiteX2322" y="connsiteY2322"/>
                  </a:cxn>
                  <a:cxn ang="0">
                    <a:pos x="connsiteX2323" y="connsiteY2323"/>
                  </a:cxn>
                  <a:cxn ang="0">
                    <a:pos x="connsiteX2324" y="connsiteY2324"/>
                  </a:cxn>
                  <a:cxn ang="0">
                    <a:pos x="connsiteX2325" y="connsiteY2325"/>
                  </a:cxn>
                  <a:cxn ang="0">
                    <a:pos x="connsiteX2326" y="connsiteY2326"/>
                  </a:cxn>
                  <a:cxn ang="0">
                    <a:pos x="connsiteX2327" y="connsiteY2327"/>
                  </a:cxn>
                  <a:cxn ang="0">
                    <a:pos x="connsiteX2328" y="connsiteY2328"/>
                  </a:cxn>
                  <a:cxn ang="0">
                    <a:pos x="connsiteX2329" y="connsiteY2329"/>
                  </a:cxn>
                  <a:cxn ang="0">
                    <a:pos x="connsiteX2330" y="connsiteY2330"/>
                  </a:cxn>
                  <a:cxn ang="0">
                    <a:pos x="connsiteX2331" y="connsiteY2331"/>
                  </a:cxn>
                  <a:cxn ang="0">
                    <a:pos x="connsiteX2332" y="connsiteY2332"/>
                  </a:cxn>
                  <a:cxn ang="0">
                    <a:pos x="connsiteX2333" y="connsiteY2333"/>
                  </a:cxn>
                  <a:cxn ang="0">
                    <a:pos x="connsiteX2334" y="connsiteY2334"/>
                  </a:cxn>
                  <a:cxn ang="0">
                    <a:pos x="connsiteX2335" y="connsiteY2335"/>
                  </a:cxn>
                  <a:cxn ang="0">
                    <a:pos x="connsiteX2336" y="connsiteY2336"/>
                  </a:cxn>
                  <a:cxn ang="0">
                    <a:pos x="connsiteX2337" y="connsiteY2337"/>
                  </a:cxn>
                  <a:cxn ang="0">
                    <a:pos x="connsiteX2338" y="connsiteY2338"/>
                  </a:cxn>
                  <a:cxn ang="0">
                    <a:pos x="connsiteX2339" y="connsiteY2339"/>
                  </a:cxn>
                  <a:cxn ang="0">
                    <a:pos x="connsiteX2340" y="connsiteY2340"/>
                  </a:cxn>
                  <a:cxn ang="0">
                    <a:pos x="connsiteX2341" y="connsiteY2341"/>
                  </a:cxn>
                  <a:cxn ang="0">
                    <a:pos x="connsiteX2342" y="connsiteY2342"/>
                  </a:cxn>
                  <a:cxn ang="0">
                    <a:pos x="connsiteX2343" y="connsiteY2343"/>
                  </a:cxn>
                  <a:cxn ang="0">
                    <a:pos x="connsiteX2344" y="connsiteY2344"/>
                  </a:cxn>
                  <a:cxn ang="0">
                    <a:pos x="connsiteX2345" y="connsiteY2345"/>
                  </a:cxn>
                  <a:cxn ang="0">
                    <a:pos x="connsiteX2346" y="connsiteY2346"/>
                  </a:cxn>
                  <a:cxn ang="0">
                    <a:pos x="connsiteX2347" y="connsiteY2347"/>
                  </a:cxn>
                  <a:cxn ang="0">
                    <a:pos x="connsiteX2348" y="connsiteY2348"/>
                  </a:cxn>
                  <a:cxn ang="0">
                    <a:pos x="connsiteX2349" y="connsiteY2349"/>
                  </a:cxn>
                  <a:cxn ang="0">
                    <a:pos x="connsiteX2350" y="connsiteY2350"/>
                  </a:cxn>
                  <a:cxn ang="0">
                    <a:pos x="connsiteX2351" y="connsiteY2351"/>
                  </a:cxn>
                  <a:cxn ang="0">
                    <a:pos x="connsiteX2352" y="connsiteY2352"/>
                  </a:cxn>
                  <a:cxn ang="0">
                    <a:pos x="connsiteX2353" y="connsiteY2353"/>
                  </a:cxn>
                  <a:cxn ang="0">
                    <a:pos x="connsiteX2354" y="connsiteY2354"/>
                  </a:cxn>
                  <a:cxn ang="0">
                    <a:pos x="connsiteX2355" y="connsiteY2355"/>
                  </a:cxn>
                  <a:cxn ang="0">
                    <a:pos x="connsiteX2356" y="connsiteY2356"/>
                  </a:cxn>
                  <a:cxn ang="0">
                    <a:pos x="connsiteX2357" y="connsiteY2357"/>
                  </a:cxn>
                  <a:cxn ang="0">
                    <a:pos x="connsiteX2358" y="connsiteY2358"/>
                  </a:cxn>
                  <a:cxn ang="0">
                    <a:pos x="connsiteX2359" y="connsiteY2359"/>
                  </a:cxn>
                  <a:cxn ang="0">
                    <a:pos x="connsiteX2360" y="connsiteY2360"/>
                  </a:cxn>
                  <a:cxn ang="0">
                    <a:pos x="connsiteX2361" y="connsiteY2361"/>
                  </a:cxn>
                  <a:cxn ang="0">
                    <a:pos x="connsiteX2362" y="connsiteY2362"/>
                  </a:cxn>
                  <a:cxn ang="0">
                    <a:pos x="connsiteX2363" y="connsiteY2363"/>
                  </a:cxn>
                  <a:cxn ang="0">
                    <a:pos x="connsiteX2364" y="connsiteY2364"/>
                  </a:cxn>
                  <a:cxn ang="0">
                    <a:pos x="connsiteX2365" y="connsiteY2365"/>
                  </a:cxn>
                  <a:cxn ang="0">
                    <a:pos x="connsiteX2366" y="connsiteY2366"/>
                  </a:cxn>
                  <a:cxn ang="0">
                    <a:pos x="connsiteX2367" y="connsiteY2367"/>
                  </a:cxn>
                  <a:cxn ang="0">
                    <a:pos x="connsiteX2368" y="connsiteY2368"/>
                  </a:cxn>
                  <a:cxn ang="0">
                    <a:pos x="connsiteX2369" y="connsiteY2369"/>
                  </a:cxn>
                  <a:cxn ang="0">
                    <a:pos x="connsiteX2370" y="connsiteY2370"/>
                  </a:cxn>
                  <a:cxn ang="0">
                    <a:pos x="connsiteX2371" y="connsiteY2371"/>
                  </a:cxn>
                  <a:cxn ang="0">
                    <a:pos x="connsiteX2372" y="connsiteY2372"/>
                  </a:cxn>
                  <a:cxn ang="0">
                    <a:pos x="connsiteX2373" y="connsiteY2373"/>
                  </a:cxn>
                  <a:cxn ang="0">
                    <a:pos x="connsiteX2374" y="connsiteY2374"/>
                  </a:cxn>
                  <a:cxn ang="0">
                    <a:pos x="connsiteX2375" y="connsiteY2375"/>
                  </a:cxn>
                </a:cxnLst>
                <a:rect l="l" t="t" r="r" b="b"/>
                <a:pathLst>
                  <a:path w="895350" h="742950">
                    <a:moveTo>
                      <a:pt x="893921" y="6858"/>
                    </a:moveTo>
                    <a:lnTo>
                      <a:pt x="893064" y="6858"/>
                    </a:lnTo>
                    <a:lnTo>
                      <a:pt x="892207" y="6858"/>
                    </a:lnTo>
                    <a:lnTo>
                      <a:pt x="891349" y="6858"/>
                    </a:lnTo>
                    <a:lnTo>
                      <a:pt x="889635" y="10287"/>
                    </a:lnTo>
                    <a:lnTo>
                      <a:pt x="888778" y="8572"/>
                    </a:lnTo>
                    <a:lnTo>
                      <a:pt x="887920" y="7715"/>
                    </a:lnTo>
                    <a:lnTo>
                      <a:pt x="887063" y="6858"/>
                    </a:lnTo>
                    <a:lnTo>
                      <a:pt x="887920" y="5143"/>
                    </a:lnTo>
                    <a:lnTo>
                      <a:pt x="888778" y="3429"/>
                    </a:lnTo>
                    <a:lnTo>
                      <a:pt x="888778" y="2572"/>
                    </a:lnTo>
                    <a:lnTo>
                      <a:pt x="889635" y="1714"/>
                    </a:lnTo>
                    <a:lnTo>
                      <a:pt x="890492" y="2572"/>
                    </a:lnTo>
                    <a:lnTo>
                      <a:pt x="892207" y="4286"/>
                    </a:lnTo>
                    <a:lnTo>
                      <a:pt x="893921" y="5143"/>
                    </a:lnTo>
                    <a:lnTo>
                      <a:pt x="893921" y="5143"/>
                    </a:lnTo>
                    <a:lnTo>
                      <a:pt x="893921" y="5143"/>
                    </a:lnTo>
                    <a:lnTo>
                      <a:pt x="893064" y="2572"/>
                    </a:lnTo>
                    <a:lnTo>
                      <a:pt x="893064" y="1714"/>
                    </a:lnTo>
                    <a:lnTo>
                      <a:pt x="892207" y="0"/>
                    </a:lnTo>
                    <a:lnTo>
                      <a:pt x="891349" y="0"/>
                    </a:lnTo>
                    <a:lnTo>
                      <a:pt x="889635" y="0"/>
                    </a:lnTo>
                    <a:lnTo>
                      <a:pt x="886206" y="0"/>
                    </a:lnTo>
                    <a:lnTo>
                      <a:pt x="884491" y="0"/>
                    </a:lnTo>
                    <a:lnTo>
                      <a:pt x="883634" y="0"/>
                    </a:lnTo>
                    <a:lnTo>
                      <a:pt x="882777" y="857"/>
                    </a:lnTo>
                    <a:lnTo>
                      <a:pt x="883634" y="1714"/>
                    </a:lnTo>
                    <a:lnTo>
                      <a:pt x="883634" y="2572"/>
                    </a:lnTo>
                    <a:lnTo>
                      <a:pt x="883634" y="2572"/>
                    </a:lnTo>
                    <a:lnTo>
                      <a:pt x="883634" y="4286"/>
                    </a:lnTo>
                    <a:lnTo>
                      <a:pt x="883634" y="5143"/>
                    </a:lnTo>
                    <a:lnTo>
                      <a:pt x="882777" y="6858"/>
                    </a:lnTo>
                    <a:lnTo>
                      <a:pt x="881920" y="7715"/>
                    </a:lnTo>
                    <a:lnTo>
                      <a:pt x="881062" y="7715"/>
                    </a:lnTo>
                    <a:lnTo>
                      <a:pt x="880205" y="7715"/>
                    </a:lnTo>
                    <a:lnTo>
                      <a:pt x="880205" y="6858"/>
                    </a:lnTo>
                    <a:lnTo>
                      <a:pt x="878491" y="6858"/>
                    </a:lnTo>
                    <a:lnTo>
                      <a:pt x="870014" y="11144"/>
                    </a:lnTo>
                    <a:lnTo>
                      <a:pt x="869156" y="12001"/>
                    </a:lnTo>
                    <a:lnTo>
                      <a:pt x="865727" y="14573"/>
                    </a:lnTo>
                    <a:lnTo>
                      <a:pt x="864013" y="15430"/>
                    </a:lnTo>
                    <a:lnTo>
                      <a:pt x="863156" y="15430"/>
                    </a:lnTo>
                    <a:lnTo>
                      <a:pt x="861441" y="14573"/>
                    </a:lnTo>
                    <a:lnTo>
                      <a:pt x="860584" y="14573"/>
                    </a:lnTo>
                    <a:lnTo>
                      <a:pt x="859727" y="15430"/>
                    </a:lnTo>
                    <a:lnTo>
                      <a:pt x="858869" y="15430"/>
                    </a:lnTo>
                    <a:lnTo>
                      <a:pt x="859727" y="16288"/>
                    </a:lnTo>
                    <a:lnTo>
                      <a:pt x="859727" y="18002"/>
                    </a:lnTo>
                    <a:lnTo>
                      <a:pt x="859727" y="18859"/>
                    </a:lnTo>
                    <a:lnTo>
                      <a:pt x="859727" y="18859"/>
                    </a:lnTo>
                    <a:lnTo>
                      <a:pt x="858869" y="20574"/>
                    </a:lnTo>
                    <a:lnTo>
                      <a:pt x="858869" y="21431"/>
                    </a:lnTo>
                    <a:lnTo>
                      <a:pt x="858869" y="21431"/>
                    </a:lnTo>
                    <a:lnTo>
                      <a:pt x="858869" y="22288"/>
                    </a:lnTo>
                    <a:lnTo>
                      <a:pt x="858869" y="23146"/>
                    </a:lnTo>
                    <a:lnTo>
                      <a:pt x="859727" y="23146"/>
                    </a:lnTo>
                    <a:lnTo>
                      <a:pt x="858869" y="24003"/>
                    </a:lnTo>
                    <a:lnTo>
                      <a:pt x="858869" y="24860"/>
                    </a:lnTo>
                    <a:lnTo>
                      <a:pt x="854583" y="29908"/>
                    </a:lnTo>
                    <a:lnTo>
                      <a:pt x="853726" y="29908"/>
                    </a:lnTo>
                    <a:lnTo>
                      <a:pt x="852869" y="29908"/>
                    </a:lnTo>
                    <a:lnTo>
                      <a:pt x="851154" y="29908"/>
                    </a:lnTo>
                    <a:lnTo>
                      <a:pt x="851154" y="29908"/>
                    </a:lnTo>
                    <a:lnTo>
                      <a:pt x="850297" y="30766"/>
                    </a:lnTo>
                    <a:lnTo>
                      <a:pt x="849440" y="34195"/>
                    </a:lnTo>
                    <a:lnTo>
                      <a:pt x="848582" y="35909"/>
                    </a:lnTo>
                    <a:lnTo>
                      <a:pt x="846011" y="38481"/>
                    </a:lnTo>
                    <a:lnTo>
                      <a:pt x="844296" y="40196"/>
                    </a:lnTo>
                    <a:lnTo>
                      <a:pt x="842582" y="41053"/>
                    </a:lnTo>
                    <a:lnTo>
                      <a:pt x="835819" y="41910"/>
                    </a:lnTo>
                    <a:lnTo>
                      <a:pt x="827341" y="43625"/>
                    </a:lnTo>
                    <a:lnTo>
                      <a:pt x="825627" y="43625"/>
                    </a:lnTo>
                    <a:lnTo>
                      <a:pt x="824770" y="43625"/>
                    </a:lnTo>
                    <a:lnTo>
                      <a:pt x="823055" y="42767"/>
                    </a:lnTo>
                    <a:lnTo>
                      <a:pt x="821341" y="41910"/>
                    </a:lnTo>
                    <a:lnTo>
                      <a:pt x="818769" y="41910"/>
                    </a:lnTo>
                    <a:lnTo>
                      <a:pt x="817912" y="41053"/>
                    </a:lnTo>
                    <a:lnTo>
                      <a:pt x="817054" y="40196"/>
                    </a:lnTo>
                    <a:lnTo>
                      <a:pt x="815340" y="40196"/>
                    </a:lnTo>
                    <a:lnTo>
                      <a:pt x="813625" y="40196"/>
                    </a:lnTo>
                    <a:lnTo>
                      <a:pt x="806863" y="41053"/>
                    </a:lnTo>
                    <a:lnTo>
                      <a:pt x="801815" y="41053"/>
                    </a:lnTo>
                    <a:lnTo>
                      <a:pt x="796766" y="41910"/>
                    </a:lnTo>
                    <a:lnTo>
                      <a:pt x="795909" y="41053"/>
                    </a:lnTo>
                    <a:lnTo>
                      <a:pt x="795052" y="40196"/>
                    </a:lnTo>
                    <a:lnTo>
                      <a:pt x="795052" y="40196"/>
                    </a:lnTo>
                    <a:lnTo>
                      <a:pt x="794195" y="40196"/>
                    </a:lnTo>
                    <a:lnTo>
                      <a:pt x="794195" y="39338"/>
                    </a:lnTo>
                    <a:lnTo>
                      <a:pt x="793337" y="37624"/>
                    </a:lnTo>
                    <a:lnTo>
                      <a:pt x="792480" y="36767"/>
                    </a:lnTo>
                    <a:lnTo>
                      <a:pt x="791623" y="35909"/>
                    </a:lnTo>
                    <a:lnTo>
                      <a:pt x="791623" y="35909"/>
                    </a:lnTo>
                    <a:lnTo>
                      <a:pt x="791623" y="35052"/>
                    </a:lnTo>
                    <a:lnTo>
                      <a:pt x="790765" y="33338"/>
                    </a:lnTo>
                    <a:lnTo>
                      <a:pt x="789908" y="29908"/>
                    </a:lnTo>
                    <a:lnTo>
                      <a:pt x="788194" y="29051"/>
                    </a:lnTo>
                    <a:lnTo>
                      <a:pt x="788194" y="28194"/>
                    </a:lnTo>
                    <a:lnTo>
                      <a:pt x="787336" y="23146"/>
                    </a:lnTo>
                    <a:lnTo>
                      <a:pt x="785622" y="18859"/>
                    </a:lnTo>
                    <a:lnTo>
                      <a:pt x="783050" y="18002"/>
                    </a:lnTo>
                    <a:lnTo>
                      <a:pt x="782193" y="18002"/>
                    </a:lnTo>
                    <a:lnTo>
                      <a:pt x="781336" y="18002"/>
                    </a:lnTo>
                    <a:lnTo>
                      <a:pt x="780478" y="18002"/>
                    </a:lnTo>
                    <a:lnTo>
                      <a:pt x="779621" y="18859"/>
                    </a:lnTo>
                    <a:lnTo>
                      <a:pt x="779621" y="18859"/>
                    </a:lnTo>
                    <a:lnTo>
                      <a:pt x="779621" y="19717"/>
                    </a:lnTo>
                    <a:lnTo>
                      <a:pt x="778764" y="19717"/>
                    </a:lnTo>
                    <a:lnTo>
                      <a:pt x="778764" y="20574"/>
                    </a:lnTo>
                    <a:lnTo>
                      <a:pt x="779621" y="22288"/>
                    </a:lnTo>
                    <a:lnTo>
                      <a:pt x="779621" y="23146"/>
                    </a:lnTo>
                    <a:lnTo>
                      <a:pt x="779621" y="24003"/>
                    </a:lnTo>
                    <a:lnTo>
                      <a:pt x="779621" y="24860"/>
                    </a:lnTo>
                    <a:lnTo>
                      <a:pt x="779621" y="26575"/>
                    </a:lnTo>
                    <a:lnTo>
                      <a:pt x="778764" y="27432"/>
                    </a:lnTo>
                    <a:lnTo>
                      <a:pt x="777907" y="27432"/>
                    </a:lnTo>
                    <a:lnTo>
                      <a:pt x="777907" y="26575"/>
                    </a:lnTo>
                    <a:lnTo>
                      <a:pt x="777049" y="24860"/>
                    </a:lnTo>
                    <a:lnTo>
                      <a:pt x="774478" y="18955"/>
                    </a:lnTo>
                    <a:lnTo>
                      <a:pt x="774478" y="17240"/>
                    </a:lnTo>
                    <a:lnTo>
                      <a:pt x="772763" y="14668"/>
                    </a:lnTo>
                    <a:lnTo>
                      <a:pt x="767715" y="9620"/>
                    </a:lnTo>
                    <a:lnTo>
                      <a:pt x="766858" y="8763"/>
                    </a:lnTo>
                    <a:lnTo>
                      <a:pt x="766000" y="5334"/>
                    </a:lnTo>
                    <a:lnTo>
                      <a:pt x="764286" y="3620"/>
                    </a:lnTo>
                    <a:lnTo>
                      <a:pt x="763429" y="3620"/>
                    </a:lnTo>
                    <a:lnTo>
                      <a:pt x="762571" y="3620"/>
                    </a:lnTo>
                    <a:lnTo>
                      <a:pt x="761714" y="5334"/>
                    </a:lnTo>
                    <a:lnTo>
                      <a:pt x="761714" y="6191"/>
                    </a:lnTo>
                    <a:lnTo>
                      <a:pt x="761714" y="7715"/>
                    </a:lnTo>
                    <a:lnTo>
                      <a:pt x="760857" y="9430"/>
                    </a:lnTo>
                    <a:lnTo>
                      <a:pt x="760000" y="10287"/>
                    </a:lnTo>
                    <a:lnTo>
                      <a:pt x="757428" y="11144"/>
                    </a:lnTo>
                    <a:lnTo>
                      <a:pt x="756571" y="12001"/>
                    </a:lnTo>
                    <a:lnTo>
                      <a:pt x="756571" y="12859"/>
                    </a:lnTo>
                    <a:lnTo>
                      <a:pt x="755714" y="15430"/>
                    </a:lnTo>
                    <a:lnTo>
                      <a:pt x="754856" y="17145"/>
                    </a:lnTo>
                    <a:lnTo>
                      <a:pt x="753999" y="17145"/>
                    </a:lnTo>
                    <a:lnTo>
                      <a:pt x="753142" y="18002"/>
                    </a:lnTo>
                    <a:lnTo>
                      <a:pt x="752285" y="18002"/>
                    </a:lnTo>
                    <a:lnTo>
                      <a:pt x="751427" y="17145"/>
                    </a:lnTo>
                    <a:lnTo>
                      <a:pt x="751427" y="13716"/>
                    </a:lnTo>
                    <a:lnTo>
                      <a:pt x="750570" y="12859"/>
                    </a:lnTo>
                    <a:lnTo>
                      <a:pt x="749713" y="11144"/>
                    </a:lnTo>
                    <a:lnTo>
                      <a:pt x="748856" y="10287"/>
                    </a:lnTo>
                    <a:lnTo>
                      <a:pt x="747998" y="10287"/>
                    </a:lnTo>
                    <a:lnTo>
                      <a:pt x="747141" y="10287"/>
                    </a:lnTo>
                    <a:lnTo>
                      <a:pt x="747141" y="11144"/>
                    </a:lnTo>
                    <a:lnTo>
                      <a:pt x="747998" y="15430"/>
                    </a:lnTo>
                    <a:lnTo>
                      <a:pt x="747998" y="16288"/>
                    </a:lnTo>
                    <a:lnTo>
                      <a:pt x="747998" y="17145"/>
                    </a:lnTo>
                    <a:lnTo>
                      <a:pt x="746284" y="18002"/>
                    </a:lnTo>
                    <a:lnTo>
                      <a:pt x="746284" y="18859"/>
                    </a:lnTo>
                    <a:lnTo>
                      <a:pt x="746284" y="18859"/>
                    </a:lnTo>
                    <a:lnTo>
                      <a:pt x="746284" y="18859"/>
                    </a:lnTo>
                    <a:lnTo>
                      <a:pt x="746284" y="19717"/>
                    </a:lnTo>
                    <a:lnTo>
                      <a:pt x="747141" y="20574"/>
                    </a:lnTo>
                    <a:lnTo>
                      <a:pt x="747141" y="21431"/>
                    </a:lnTo>
                    <a:lnTo>
                      <a:pt x="746284" y="22288"/>
                    </a:lnTo>
                    <a:lnTo>
                      <a:pt x="744569" y="23146"/>
                    </a:lnTo>
                    <a:lnTo>
                      <a:pt x="743712" y="23146"/>
                    </a:lnTo>
                    <a:lnTo>
                      <a:pt x="741140" y="21431"/>
                    </a:lnTo>
                    <a:lnTo>
                      <a:pt x="739426" y="20574"/>
                    </a:lnTo>
                    <a:lnTo>
                      <a:pt x="736854" y="19717"/>
                    </a:lnTo>
                    <a:lnTo>
                      <a:pt x="735997" y="18859"/>
                    </a:lnTo>
                    <a:lnTo>
                      <a:pt x="735140" y="18859"/>
                    </a:lnTo>
                    <a:lnTo>
                      <a:pt x="734282" y="18002"/>
                    </a:lnTo>
                    <a:lnTo>
                      <a:pt x="733425" y="18002"/>
                    </a:lnTo>
                    <a:lnTo>
                      <a:pt x="731711" y="18859"/>
                    </a:lnTo>
                    <a:lnTo>
                      <a:pt x="730853" y="18859"/>
                    </a:lnTo>
                    <a:lnTo>
                      <a:pt x="729139" y="19717"/>
                    </a:lnTo>
                    <a:lnTo>
                      <a:pt x="729139" y="20574"/>
                    </a:lnTo>
                    <a:lnTo>
                      <a:pt x="729139" y="21431"/>
                    </a:lnTo>
                    <a:lnTo>
                      <a:pt x="729996" y="22288"/>
                    </a:lnTo>
                    <a:lnTo>
                      <a:pt x="730853" y="22288"/>
                    </a:lnTo>
                    <a:lnTo>
                      <a:pt x="730853" y="23146"/>
                    </a:lnTo>
                    <a:lnTo>
                      <a:pt x="731711" y="24003"/>
                    </a:lnTo>
                    <a:lnTo>
                      <a:pt x="732568" y="26575"/>
                    </a:lnTo>
                    <a:lnTo>
                      <a:pt x="732568" y="27432"/>
                    </a:lnTo>
                    <a:lnTo>
                      <a:pt x="735140" y="30004"/>
                    </a:lnTo>
                    <a:lnTo>
                      <a:pt x="735140" y="30004"/>
                    </a:lnTo>
                    <a:lnTo>
                      <a:pt x="735997" y="30861"/>
                    </a:lnTo>
                    <a:lnTo>
                      <a:pt x="735997" y="30861"/>
                    </a:lnTo>
                    <a:lnTo>
                      <a:pt x="736854" y="30861"/>
                    </a:lnTo>
                    <a:lnTo>
                      <a:pt x="737711" y="30861"/>
                    </a:lnTo>
                    <a:lnTo>
                      <a:pt x="737711" y="30861"/>
                    </a:lnTo>
                    <a:lnTo>
                      <a:pt x="738569" y="32575"/>
                    </a:lnTo>
                    <a:lnTo>
                      <a:pt x="738569" y="32575"/>
                    </a:lnTo>
                    <a:lnTo>
                      <a:pt x="738569" y="33433"/>
                    </a:lnTo>
                    <a:lnTo>
                      <a:pt x="739426" y="33433"/>
                    </a:lnTo>
                    <a:lnTo>
                      <a:pt x="740283" y="34290"/>
                    </a:lnTo>
                    <a:lnTo>
                      <a:pt x="740283" y="35147"/>
                    </a:lnTo>
                    <a:lnTo>
                      <a:pt x="739426" y="36004"/>
                    </a:lnTo>
                    <a:lnTo>
                      <a:pt x="738569" y="36862"/>
                    </a:lnTo>
                    <a:lnTo>
                      <a:pt x="736854" y="37719"/>
                    </a:lnTo>
                    <a:lnTo>
                      <a:pt x="734282" y="38576"/>
                    </a:lnTo>
                    <a:lnTo>
                      <a:pt x="732568" y="39433"/>
                    </a:lnTo>
                    <a:lnTo>
                      <a:pt x="729139" y="42005"/>
                    </a:lnTo>
                    <a:lnTo>
                      <a:pt x="726567" y="44577"/>
                    </a:lnTo>
                    <a:lnTo>
                      <a:pt x="724853" y="46292"/>
                    </a:lnTo>
                    <a:lnTo>
                      <a:pt x="718090" y="48863"/>
                    </a:lnTo>
                    <a:lnTo>
                      <a:pt x="717232" y="48863"/>
                    </a:lnTo>
                    <a:lnTo>
                      <a:pt x="716375" y="48006"/>
                    </a:lnTo>
                    <a:lnTo>
                      <a:pt x="715518" y="47149"/>
                    </a:lnTo>
                    <a:lnTo>
                      <a:pt x="713803" y="46292"/>
                    </a:lnTo>
                    <a:lnTo>
                      <a:pt x="712946" y="46292"/>
                    </a:lnTo>
                    <a:lnTo>
                      <a:pt x="711232" y="46292"/>
                    </a:lnTo>
                    <a:lnTo>
                      <a:pt x="710374" y="47149"/>
                    </a:lnTo>
                    <a:lnTo>
                      <a:pt x="707803" y="48863"/>
                    </a:lnTo>
                    <a:lnTo>
                      <a:pt x="706945" y="50578"/>
                    </a:lnTo>
                    <a:lnTo>
                      <a:pt x="704374" y="54864"/>
                    </a:lnTo>
                    <a:lnTo>
                      <a:pt x="703516" y="56579"/>
                    </a:lnTo>
                    <a:lnTo>
                      <a:pt x="701802" y="58293"/>
                    </a:lnTo>
                    <a:lnTo>
                      <a:pt x="699230" y="60865"/>
                    </a:lnTo>
                    <a:lnTo>
                      <a:pt x="699230" y="61722"/>
                    </a:lnTo>
                    <a:lnTo>
                      <a:pt x="698373" y="62579"/>
                    </a:lnTo>
                    <a:lnTo>
                      <a:pt x="699230" y="63437"/>
                    </a:lnTo>
                    <a:lnTo>
                      <a:pt x="698373" y="64294"/>
                    </a:lnTo>
                    <a:lnTo>
                      <a:pt x="698373" y="65151"/>
                    </a:lnTo>
                    <a:lnTo>
                      <a:pt x="698373" y="66008"/>
                    </a:lnTo>
                    <a:lnTo>
                      <a:pt x="698373" y="66866"/>
                    </a:lnTo>
                    <a:lnTo>
                      <a:pt x="700087" y="69437"/>
                    </a:lnTo>
                    <a:lnTo>
                      <a:pt x="700945" y="72009"/>
                    </a:lnTo>
                    <a:lnTo>
                      <a:pt x="701802" y="72009"/>
                    </a:lnTo>
                    <a:lnTo>
                      <a:pt x="701802" y="72866"/>
                    </a:lnTo>
                    <a:lnTo>
                      <a:pt x="704374" y="72009"/>
                    </a:lnTo>
                    <a:lnTo>
                      <a:pt x="704374" y="72009"/>
                    </a:lnTo>
                    <a:lnTo>
                      <a:pt x="705231" y="72866"/>
                    </a:lnTo>
                    <a:lnTo>
                      <a:pt x="705231" y="72866"/>
                    </a:lnTo>
                    <a:lnTo>
                      <a:pt x="705231" y="74581"/>
                    </a:lnTo>
                    <a:lnTo>
                      <a:pt x="700183" y="81343"/>
                    </a:lnTo>
                    <a:lnTo>
                      <a:pt x="699325" y="82201"/>
                    </a:lnTo>
                    <a:lnTo>
                      <a:pt x="699325" y="83058"/>
                    </a:lnTo>
                    <a:lnTo>
                      <a:pt x="700183" y="83915"/>
                    </a:lnTo>
                    <a:lnTo>
                      <a:pt x="700183" y="84772"/>
                    </a:lnTo>
                    <a:lnTo>
                      <a:pt x="701040" y="85630"/>
                    </a:lnTo>
                    <a:lnTo>
                      <a:pt x="701040" y="87344"/>
                    </a:lnTo>
                    <a:lnTo>
                      <a:pt x="700183" y="89916"/>
                    </a:lnTo>
                    <a:lnTo>
                      <a:pt x="699325" y="90773"/>
                    </a:lnTo>
                    <a:lnTo>
                      <a:pt x="698468" y="91630"/>
                    </a:lnTo>
                    <a:lnTo>
                      <a:pt x="696754" y="91630"/>
                    </a:lnTo>
                    <a:lnTo>
                      <a:pt x="695896" y="91630"/>
                    </a:lnTo>
                    <a:lnTo>
                      <a:pt x="695039" y="91630"/>
                    </a:lnTo>
                    <a:lnTo>
                      <a:pt x="690753" y="94202"/>
                    </a:lnTo>
                    <a:lnTo>
                      <a:pt x="689896" y="94202"/>
                    </a:lnTo>
                    <a:lnTo>
                      <a:pt x="685610" y="94202"/>
                    </a:lnTo>
                    <a:lnTo>
                      <a:pt x="684752" y="94202"/>
                    </a:lnTo>
                    <a:lnTo>
                      <a:pt x="683895" y="93345"/>
                    </a:lnTo>
                    <a:lnTo>
                      <a:pt x="683038" y="92488"/>
                    </a:lnTo>
                    <a:lnTo>
                      <a:pt x="683038" y="91630"/>
                    </a:lnTo>
                    <a:lnTo>
                      <a:pt x="683895" y="89059"/>
                    </a:lnTo>
                    <a:lnTo>
                      <a:pt x="683038" y="88201"/>
                    </a:lnTo>
                    <a:lnTo>
                      <a:pt x="682181" y="88201"/>
                    </a:lnTo>
                    <a:lnTo>
                      <a:pt x="680466" y="88201"/>
                    </a:lnTo>
                    <a:lnTo>
                      <a:pt x="679609" y="87344"/>
                    </a:lnTo>
                    <a:lnTo>
                      <a:pt x="677894" y="86487"/>
                    </a:lnTo>
                    <a:lnTo>
                      <a:pt x="677037" y="85630"/>
                    </a:lnTo>
                    <a:lnTo>
                      <a:pt x="675323" y="85630"/>
                    </a:lnTo>
                    <a:lnTo>
                      <a:pt x="673608" y="85630"/>
                    </a:lnTo>
                    <a:lnTo>
                      <a:pt x="671894" y="86487"/>
                    </a:lnTo>
                    <a:lnTo>
                      <a:pt x="671894" y="87344"/>
                    </a:lnTo>
                    <a:lnTo>
                      <a:pt x="671894" y="88201"/>
                    </a:lnTo>
                    <a:lnTo>
                      <a:pt x="672751" y="90773"/>
                    </a:lnTo>
                    <a:lnTo>
                      <a:pt x="671894" y="92488"/>
                    </a:lnTo>
                    <a:lnTo>
                      <a:pt x="671894" y="93440"/>
                    </a:lnTo>
                    <a:lnTo>
                      <a:pt x="671036" y="95155"/>
                    </a:lnTo>
                    <a:lnTo>
                      <a:pt x="669322" y="96012"/>
                    </a:lnTo>
                    <a:lnTo>
                      <a:pt x="665893" y="96869"/>
                    </a:lnTo>
                    <a:lnTo>
                      <a:pt x="662464" y="99441"/>
                    </a:lnTo>
                    <a:lnTo>
                      <a:pt x="660749" y="100298"/>
                    </a:lnTo>
                    <a:lnTo>
                      <a:pt x="659035" y="101155"/>
                    </a:lnTo>
                    <a:lnTo>
                      <a:pt x="658178" y="102013"/>
                    </a:lnTo>
                    <a:lnTo>
                      <a:pt x="658178" y="102870"/>
                    </a:lnTo>
                    <a:lnTo>
                      <a:pt x="657320" y="106299"/>
                    </a:lnTo>
                    <a:lnTo>
                      <a:pt x="657320" y="107156"/>
                    </a:lnTo>
                    <a:lnTo>
                      <a:pt x="656463" y="108013"/>
                    </a:lnTo>
                    <a:lnTo>
                      <a:pt x="655606" y="108013"/>
                    </a:lnTo>
                    <a:lnTo>
                      <a:pt x="653891" y="107156"/>
                    </a:lnTo>
                    <a:lnTo>
                      <a:pt x="653034" y="107156"/>
                    </a:lnTo>
                    <a:lnTo>
                      <a:pt x="651320" y="107156"/>
                    </a:lnTo>
                    <a:lnTo>
                      <a:pt x="650462" y="107156"/>
                    </a:lnTo>
                    <a:lnTo>
                      <a:pt x="650462" y="106299"/>
                    </a:lnTo>
                    <a:lnTo>
                      <a:pt x="649605" y="105442"/>
                    </a:lnTo>
                    <a:lnTo>
                      <a:pt x="649605" y="104584"/>
                    </a:lnTo>
                    <a:lnTo>
                      <a:pt x="649605" y="103727"/>
                    </a:lnTo>
                    <a:lnTo>
                      <a:pt x="649605" y="102013"/>
                    </a:lnTo>
                    <a:lnTo>
                      <a:pt x="651320" y="98584"/>
                    </a:lnTo>
                    <a:lnTo>
                      <a:pt x="651320" y="97726"/>
                    </a:lnTo>
                    <a:lnTo>
                      <a:pt x="651320" y="96869"/>
                    </a:lnTo>
                    <a:lnTo>
                      <a:pt x="651320" y="96012"/>
                    </a:lnTo>
                    <a:lnTo>
                      <a:pt x="650462" y="95155"/>
                    </a:lnTo>
                    <a:lnTo>
                      <a:pt x="649605" y="94297"/>
                    </a:lnTo>
                    <a:lnTo>
                      <a:pt x="648748" y="93440"/>
                    </a:lnTo>
                    <a:lnTo>
                      <a:pt x="643699" y="88392"/>
                    </a:lnTo>
                    <a:lnTo>
                      <a:pt x="641985" y="86677"/>
                    </a:lnTo>
                    <a:lnTo>
                      <a:pt x="641985" y="85820"/>
                    </a:lnTo>
                    <a:lnTo>
                      <a:pt x="641985" y="84106"/>
                    </a:lnTo>
                    <a:lnTo>
                      <a:pt x="641985" y="82391"/>
                    </a:lnTo>
                    <a:lnTo>
                      <a:pt x="641985" y="81534"/>
                    </a:lnTo>
                    <a:lnTo>
                      <a:pt x="641985" y="80677"/>
                    </a:lnTo>
                    <a:lnTo>
                      <a:pt x="641128" y="79820"/>
                    </a:lnTo>
                    <a:lnTo>
                      <a:pt x="641128" y="78962"/>
                    </a:lnTo>
                    <a:lnTo>
                      <a:pt x="641128" y="78105"/>
                    </a:lnTo>
                    <a:lnTo>
                      <a:pt x="641128" y="77248"/>
                    </a:lnTo>
                    <a:lnTo>
                      <a:pt x="641128" y="76391"/>
                    </a:lnTo>
                    <a:lnTo>
                      <a:pt x="641128" y="75533"/>
                    </a:lnTo>
                    <a:lnTo>
                      <a:pt x="640270" y="75533"/>
                    </a:lnTo>
                    <a:lnTo>
                      <a:pt x="639413" y="75533"/>
                    </a:lnTo>
                    <a:lnTo>
                      <a:pt x="637699" y="75533"/>
                    </a:lnTo>
                    <a:lnTo>
                      <a:pt x="636841" y="74676"/>
                    </a:lnTo>
                    <a:lnTo>
                      <a:pt x="634270" y="73819"/>
                    </a:lnTo>
                    <a:lnTo>
                      <a:pt x="633412" y="74676"/>
                    </a:lnTo>
                    <a:lnTo>
                      <a:pt x="632555" y="75533"/>
                    </a:lnTo>
                    <a:lnTo>
                      <a:pt x="630841" y="78962"/>
                    </a:lnTo>
                    <a:lnTo>
                      <a:pt x="629983" y="80677"/>
                    </a:lnTo>
                    <a:lnTo>
                      <a:pt x="626554" y="84963"/>
                    </a:lnTo>
                    <a:lnTo>
                      <a:pt x="625697" y="85820"/>
                    </a:lnTo>
                    <a:lnTo>
                      <a:pt x="625697" y="86677"/>
                    </a:lnTo>
                    <a:lnTo>
                      <a:pt x="625697" y="88392"/>
                    </a:lnTo>
                    <a:lnTo>
                      <a:pt x="625697" y="90106"/>
                    </a:lnTo>
                    <a:lnTo>
                      <a:pt x="625697" y="91821"/>
                    </a:lnTo>
                    <a:lnTo>
                      <a:pt x="623983" y="96869"/>
                    </a:lnTo>
                    <a:lnTo>
                      <a:pt x="623983" y="97726"/>
                    </a:lnTo>
                    <a:lnTo>
                      <a:pt x="623983" y="97726"/>
                    </a:lnTo>
                    <a:lnTo>
                      <a:pt x="624840" y="99441"/>
                    </a:lnTo>
                    <a:lnTo>
                      <a:pt x="624840" y="101155"/>
                    </a:lnTo>
                    <a:lnTo>
                      <a:pt x="623983" y="102870"/>
                    </a:lnTo>
                    <a:lnTo>
                      <a:pt x="623983" y="103727"/>
                    </a:lnTo>
                    <a:lnTo>
                      <a:pt x="619696" y="109633"/>
                    </a:lnTo>
                    <a:lnTo>
                      <a:pt x="619696" y="111347"/>
                    </a:lnTo>
                    <a:lnTo>
                      <a:pt x="618839" y="112204"/>
                    </a:lnTo>
                    <a:lnTo>
                      <a:pt x="619696" y="113062"/>
                    </a:lnTo>
                    <a:lnTo>
                      <a:pt x="620554" y="113919"/>
                    </a:lnTo>
                    <a:lnTo>
                      <a:pt x="623983" y="116491"/>
                    </a:lnTo>
                    <a:lnTo>
                      <a:pt x="624840" y="117348"/>
                    </a:lnTo>
                    <a:lnTo>
                      <a:pt x="624840" y="118205"/>
                    </a:lnTo>
                    <a:lnTo>
                      <a:pt x="623983" y="119920"/>
                    </a:lnTo>
                    <a:lnTo>
                      <a:pt x="623125" y="120777"/>
                    </a:lnTo>
                    <a:lnTo>
                      <a:pt x="622268" y="120777"/>
                    </a:lnTo>
                    <a:lnTo>
                      <a:pt x="621411" y="121634"/>
                    </a:lnTo>
                    <a:lnTo>
                      <a:pt x="621411" y="123349"/>
                    </a:lnTo>
                    <a:lnTo>
                      <a:pt x="622268" y="125063"/>
                    </a:lnTo>
                    <a:lnTo>
                      <a:pt x="622268" y="126778"/>
                    </a:lnTo>
                    <a:lnTo>
                      <a:pt x="622268" y="128492"/>
                    </a:lnTo>
                    <a:lnTo>
                      <a:pt x="621411" y="129350"/>
                    </a:lnTo>
                    <a:lnTo>
                      <a:pt x="620554" y="130207"/>
                    </a:lnTo>
                    <a:lnTo>
                      <a:pt x="617125" y="130207"/>
                    </a:lnTo>
                    <a:lnTo>
                      <a:pt x="615410" y="130207"/>
                    </a:lnTo>
                    <a:lnTo>
                      <a:pt x="614553" y="131064"/>
                    </a:lnTo>
                    <a:lnTo>
                      <a:pt x="613696" y="132779"/>
                    </a:lnTo>
                    <a:lnTo>
                      <a:pt x="613696" y="134493"/>
                    </a:lnTo>
                    <a:lnTo>
                      <a:pt x="612839" y="135350"/>
                    </a:lnTo>
                    <a:lnTo>
                      <a:pt x="611124" y="136208"/>
                    </a:lnTo>
                    <a:lnTo>
                      <a:pt x="610267" y="135350"/>
                    </a:lnTo>
                    <a:lnTo>
                      <a:pt x="609410" y="135350"/>
                    </a:lnTo>
                    <a:lnTo>
                      <a:pt x="608552" y="135350"/>
                    </a:lnTo>
                    <a:lnTo>
                      <a:pt x="607695" y="135350"/>
                    </a:lnTo>
                    <a:lnTo>
                      <a:pt x="605981" y="135350"/>
                    </a:lnTo>
                    <a:lnTo>
                      <a:pt x="605123" y="135350"/>
                    </a:lnTo>
                    <a:lnTo>
                      <a:pt x="604266" y="135350"/>
                    </a:lnTo>
                    <a:lnTo>
                      <a:pt x="602552" y="132779"/>
                    </a:lnTo>
                    <a:lnTo>
                      <a:pt x="600837" y="131921"/>
                    </a:lnTo>
                    <a:lnTo>
                      <a:pt x="599123" y="130207"/>
                    </a:lnTo>
                    <a:lnTo>
                      <a:pt x="594836" y="129350"/>
                    </a:lnTo>
                    <a:lnTo>
                      <a:pt x="589788" y="130207"/>
                    </a:lnTo>
                    <a:lnTo>
                      <a:pt x="583882" y="133636"/>
                    </a:lnTo>
                    <a:lnTo>
                      <a:pt x="580453" y="134493"/>
                    </a:lnTo>
                    <a:lnTo>
                      <a:pt x="576167" y="135350"/>
                    </a:lnTo>
                    <a:lnTo>
                      <a:pt x="565118" y="142113"/>
                    </a:lnTo>
                    <a:lnTo>
                      <a:pt x="558356" y="145542"/>
                    </a:lnTo>
                    <a:lnTo>
                      <a:pt x="558356" y="145542"/>
                    </a:lnTo>
                    <a:lnTo>
                      <a:pt x="558356" y="148114"/>
                    </a:lnTo>
                    <a:lnTo>
                      <a:pt x="559213" y="148971"/>
                    </a:lnTo>
                    <a:lnTo>
                      <a:pt x="560927" y="149828"/>
                    </a:lnTo>
                    <a:lnTo>
                      <a:pt x="560927" y="150685"/>
                    </a:lnTo>
                    <a:lnTo>
                      <a:pt x="561785" y="152400"/>
                    </a:lnTo>
                    <a:lnTo>
                      <a:pt x="561785" y="153257"/>
                    </a:lnTo>
                    <a:lnTo>
                      <a:pt x="560927" y="153257"/>
                    </a:lnTo>
                    <a:lnTo>
                      <a:pt x="560927" y="154114"/>
                    </a:lnTo>
                    <a:lnTo>
                      <a:pt x="558356" y="154972"/>
                    </a:lnTo>
                    <a:lnTo>
                      <a:pt x="557498" y="155829"/>
                    </a:lnTo>
                    <a:lnTo>
                      <a:pt x="555784" y="155829"/>
                    </a:lnTo>
                    <a:lnTo>
                      <a:pt x="554927" y="155829"/>
                    </a:lnTo>
                    <a:lnTo>
                      <a:pt x="554069" y="156686"/>
                    </a:lnTo>
                    <a:lnTo>
                      <a:pt x="552355" y="157543"/>
                    </a:lnTo>
                    <a:lnTo>
                      <a:pt x="551498" y="158401"/>
                    </a:lnTo>
                    <a:lnTo>
                      <a:pt x="551498" y="160115"/>
                    </a:lnTo>
                    <a:lnTo>
                      <a:pt x="550640" y="160972"/>
                    </a:lnTo>
                    <a:lnTo>
                      <a:pt x="549783" y="161830"/>
                    </a:lnTo>
                    <a:lnTo>
                      <a:pt x="548926" y="161830"/>
                    </a:lnTo>
                    <a:lnTo>
                      <a:pt x="546354" y="162687"/>
                    </a:lnTo>
                    <a:lnTo>
                      <a:pt x="544640" y="162687"/>
                    </a:lnTo>
                    <a:lnTo>
                      <a:pt x="542925" y="162687"/>
                    </a:lnTo>
                    <a:lnTo>
                      <a:pt x="542068" y="162687"/>
                    </a:lnTo>
                    <a:lnTo>
                      <a:pt x="542068" y="164401"/>
                    </a:lnTo>
                    <a:lnTo>
                      <a:pt x="541211" y="165259"/>
                    </a:lnTo>
                    <a:lnTo>
                      <a:pt x="538639" y="166116"/>
                    </a:lnTo>
                    <a:lnTo>
                      <a:pt x="537782" y="166973"/>
                    </a:lnTo>
                    <a:lnTo>
                      <a:pt x="536924" y="167830"/>
                    </a:lnTo>
                    <a:lnTo>
                      <a:pt x="536924" y="168688"/>
                    </a:lnTo>
                    <a:lnTo>
                      <a:pt x="536924" y="169545"/>
                    </a:lnTo>
                    <a:lnTo>
                      <a:pt x="536924" y="171259"/>
                    </a:lnTo>
                    <a:lnTo>
                      <a:pt x="536924" y="172117"/>
                    </a:lnTo>
                    <a:lnTo>
                      <a:pt x="536067" y="172117"/>
                    </a:lnTo>
                    <a:lnTo>
                      <a:pt x="535210" y="173831"/>
                    </a:lnTo>
                    <a:lnTo>
                      <a:pt x="534353" y="175546"/>
                    </a:lnTo>
                    <a:lnTo>
                      <a:pt x="534353" y="176403"/>
                    </a:lnTo>
                    <a:lnTo>
                      <a:pt x="532638" y="178117"/>
                    </a:lnTo>
                    <a:lnTo>
                      <a:pt x="530924" y="178975"/>
                    </a:lnTo>
                    <a:lnTo>
                      <a:pt x="530066" y="180689"/>
                    </a:lnTo>
                    <a:lnTo>
                      <a:pt x="530066" y="181546"/>
                    </a:lnTo>
                    <a:lnTo>
                      <a:pt x="530066" y="181546"/>
                    </a:lnTo>
                    <a:lnTo>
                      <a:pt x="530066" y="182404"/>
                    </a:lnTo>
                    <a:lnTo>
                      <a:pt x="529209" y="182404"/>
                    </a:lnTo>
                    <a:lnTo>
                      <a:pt x="530066" y="183261"/>
                    </a:lnTo>
                    <a:lnTo>
                      <a:pt x="531781" y="184118"/>
                    </a:lnTo>
                    <a:lnTo>
                      <a:pt x="531781" y="184975"/>
                    </a:lnTo>
                    <a:lnTo>
                      <a:pt x="531781" y="184975"/>
                    </a:lnTo>
                    <a:lnTo>
                      <a:pt x="530924" y="185833"/>
                    </a:lnTo>
                    <a:lnTo>
                      <a:pt x="530924" y="186690"/>
                    </a:lnTo>
                    <a:lnTo>
                      <a:pt x="530066" y="187547"/>
                    </a:lnTo>
                    <a:lnTo>
                      <a:pt x="529209" y="188404"/>
                    </a:lnTo>
                    <a:lnTo>
                      <a:pt x="529209" y="189262"/>
                    </a:lnTo>
                    <a:lnTo>
                      <a:pt x="529209" y="191834"/>
                    </a:lnTo>
                    <a:lnTo>
                      <a:pt x="529209" y="192691"/>
                    </a:lnTo>
                    <a:lnTo>
                      <a:pt x="529209" y="194405"/>
                    </a:lnTo>
                    <a:lnTo>
                      <a:pt x="528352" y="196120"/>
                    </a:lnTo>
                    <a:lnTo>
                      <a:pt x="528352" y="196977"/>
                    </a:lnTo>
                    <a:lnTo>
                      <a:pt x="528352" y="197834"/>
                    </a:lnTo>
                    <a:lnTo>
                      <a:pt x="528352" y="198691"/>
                    </a:lnTo>
                    <a:lnTo>
                      <a:pt x="528352" y="198691"/>
                    </a:lnTo>
                    <a:lnTo>
                      <a:pt x="527495" y="201263"/>
                    </a:lnTo>
                    <a:lnTo>
                      <a:pt x="525780" y="202978"/>
                    </a:lnTo>
                    <a:lnTo>
                      <a:pt x="524065" y="204692"/>
                    </a:lnTo>
                    <a:lnTo>
                      <a:pt x="523208" y="204692"/>
                    </a:lnTo>
                    <a:lnTo>
                      <a:pt x="523208" y="205549"/>
                    </a:lnTo>
                    <a:lnTo>
                      <a:pt x="522351" y="207264"/>
                    </a:lnTo>
                    <a:lnTo>
                      <a:pt x="521494" y="208121"/>
                    </a:lnTo>
                    <a:lnTo>
                      <a:pt x="519779" y="208121"/>
                    </a:lnTo>
                    <a:lnTo>
                      <a:pt x="519779" y="208979"/>
                    </a:lnTo>
                    <a:lnTo>
                      <a:pt x="519779" y="208979"/>
                    </a:lnTo>
                    <a:lnTo>
                      <a:pt x="518922" y="208979"/>
                    </a:lnTo>
                    <a:lnTo>
                      <a:pt x="516350" y="209836"/>
                    </a:lnTo>
                    <a:lnTo>
                      <a:pt x="515493" y="209836"/>
                    </a:lnTo>
                    <a:lnTo>
                      <a:pt x="514636" y="209836"/>
                    </a:lnTo>
                    <a:lnTo>
                      <a:pt x="513778" y="209836"/>
                    </a:lnTo>
                    <a:lnTo>
                      <a:pt x="512064" y="208121"/>
                    </a:lnTo>
                    <a:lnTo>
                      <a:pt x="511207" y="207264"/>
                    </a:lnTo>
                    <a:lnTo>
                      <a:pt x="511207" y="206407"/>
                    </a:lnTo>
                    <a:lnTo>
                      <a:pt x="511207" y="206407"/>
                    </a:lnTo>
                    <a:lnTo>
                      <a:pt x="510349" y="205549"/>
                    </a:lnTo>
                    <a:lnTo>
                      <a:pt x="509492" y="205549"/>
                    </a:lnTo>
                    <a:lnTo>
                      <a:pt x="509492" y="206407"/>
                    </a:lnTo>
                    <a:lnTo>
                      <a:pt x="507778" y="208121"/>
                    </a:lnTo>
                    <a:lnTo>
                      <a:pt x="506920" y="209836"/>
                    </a:lnTo>
                    <a:lnTo>
                      <a:pt x="506920" y="210693"/>
                    </a:lnTo>
                    <a:lnTo>
                      <a:pt x="505206" y="212407"/>
                    </a:lnTo>
                    <a:lnTo>
                      <a:pt x="504349" y="213265"/>
                    </a:lnTo>
                    <a:lnTo>
                      <a:pt x="502634" y="214122"/>
                    </a:lnTo>
                    <a:lnTo>
                      <a:pt x="502634" y="214122"/>
                    </a:lnTo>
                    <a:lnTo>
                      <a:pt x="501777" y="214122"/>
                    </a:lnTo>
                    <a:lnTo>
                      <a:pt x="499205" y="214122"/>
                    </a:lnTo>
                    <a:lnTo>
                      <a:pt x="497491" y="214122"/>
                    </a:lnTo>
                    <a:lnTo>
                      <a:pt x="494062" y="213265"/>
                    </a:lnTo>
                    <a:lnTo>
                      <a:pt x="493204" y="214122"/>
                    </a:lnTo>
                    <a:lnTo>
                      <a:pt x="493204" y="214979"/>
                    </a:lnTo>
                    <a:lnTo>
                      <a:pt x="492347" y="215837"/>
                    </a:lnTo>
                    <a:lnTo>
                      <a:pt x="492347" y="216694"/>
                    </a:lnTo>
                    <a:lnTo>
                      <a:pt x="492347" y="220123"/>
                    </a:lnTo>
                    <a:lnTo>
                      <a:pt x="492347" y="220980"/>
                    </a:lnTo>
                    <a:lnTo>
                      <a:pt x="493204" y="221837"/>
                    </a:lnTo>
                    <a:lnTo>
                      <a:pt x="492347" y="223552"/>
                    </a:lnTo>
                    <a:lnTo>
                      <a:pt x="491490" y="224409"/>
                    </a:lnTo>
                    <a:lnTo>
                      <a:pt x="489775" y="224409"/>
                    </a:lnTo>
                    <a:lnTo>
                      <a:pt x="486346" y="225266"/>
                    </a:lnTo>
                    <a:lnTo>
                      <a:pt x="482918" y="226981"/>
                    </a:lnTo>
                    <a:lnTo>
                      <a:pt x="480346" y="227838"/>
                    </a:lnTo>
                    <a:lnTo>
                      <a:pt x="479489" y="226981"/>
                    </a:lnTo>
                    <a:lnTo>
                      <a:pt x="478631" y="226981"/>
                    </a:lnTo>
                    <a:lnTo>
                      <a:pt x="480822" y="226790"/>
                    </a:lnTo>
                    <a:lnTo>
                      <a:pt x="480822" y="226790"/>
                    </a:lnTo>
                    <a:lnTo>
                      <a:pt x="479965" y="227647"/>
                    </a:lnTo>
                    <a:lnTo>
                      <a:pt x="479965" y="227647"/>
                    </a:lnTo>
                    <a:lnTo>
                      <a:pt x="479107" y="228505"/>
                    </a:lnTo>
                    <a:lnTo>
                      <a:pt x="477393" y="229362"/>
                    </a:lnTo>
                    <a:lnTo>
                      <a:pt x="475678" y="229362"/>
                    </a:lnTo>
                    <a:lnTo>
                      <a:pt x="474821" y="229362"/>
                    </a:lnTo>
                    <a:lnTo>
                      <a:pt x="474821" y="229362"/>
                    </a:lnTo>
                    <a:lnTo>
                      <a:pt x="472249" y="229362"/>
                    </a:lnTo>
                    <a:lnTo>
                      <a:pt x="471392" y="228505"/>
                    </a:lnTo>
                    <a:lnTo>
                      <a:pt x="470535" y="227647"/>
                    </a:lnTo>
                    <a:lnTo>
                      <a:pt x="469678" y="226790"/>
                    </a:lnTo>
                    <a:lnTo>
                      <a:pt x="468820" y="226790"/>
                    </a:lnTo>
                    <a:lnTo>
                      <a:pt x="467106" y="226790"/>
                    </a:lnTo>
                    <a:lnTo>
                      <a:pt x="467106" y="226790"/>
                    </a:lnTo>
                    <a:lnTo>
                      <a:pt x="465391" y="226790"/>
                    </a:lnTo>
                    <a:lnTo>
                      <a:pt x="466249" y="227647"/>
                    </a:lnTo>
                    <a:lnTo>
                      <a:pt x="465391" y="229362"/>
                    </a:lnTo>
                    <a:lnTo>
                      <a:pt x="466249" y="229362"/>
                    </a:lnTo>
                    <a:lnTo>
                      <a:pt x="466249" y="230219"/>
                    </a:lnTo>
                    <a:lnTo>
                      <a:pt x="467106" y="230219"/>
                    </a:lnTo>
                    <a:lnTo>
                      <a:pt x="467106" y="231934"/>
                    </a:lnTo>
                    <a:lnTo>
                      <a:pt x="466249" y="232791"/>
                    </a:lnTo>
                    <a:lnTo>
                      <a:pt x="467106" y="233648"/>
                    </a:lnTo>
                    <a:lnTo>
                      <a:pt x="466249" y="233648"/>
                    </a:lnTo>
                    <a:lnTo>
                      <a:pt x="465391" y="233648"/>
                    </a:lnTo>
                    <a:lnTo>
                      <a:pt x="464534" y="233648"/>
                    </a:lnTo>
                    <a:lnTo>
                      <a:pt x="463677" y="233648"/>
                    </a:lnTo>
                    <a:lnTo>
                      <a:pt x="462820" y="233648"/>
                    </a:lnTo>
                    <a:lnTo>
                      <a:pt x="461962" y="233648"/>
                    </a:lnTo>
                    <a:lnTo>
                      <a:pt x="461105" y="236220"/>
                    </a:lnTo>
                    <a:lnTo>
                      <a:pt x="461105" y="236220"/>
                    </a:lnTo>
                    <a:lnTo>
                      <a:pt x="460248" y="237077"/>
                    </a:lnTo>
                    <a:lnTo>
                      <a:pt x="461105" y="239649"/>
                    </a:lnTo>
                    <a:lnTo>
                      <a:pt x="461105" y="240506"/>
                    </a:lnTo>
                    <a:lnTo>
                      <a:pt x="461105" y="241363"/>
                    </a:lnTo>
                    <a:lnTo>
                      <a:pt x="460248" y="242221"/>
                    </a:lnTo>
                    <a:lnTo>
                      <a:pt x="460248" y="244793"/>
                    </a:lnTo>
                    <a:lnTo>
                      <a:pt x="460248" y="245650"/>
                    </a:lnTo>
                    <a:lnTo>
                      <a:pt x="459391" y="245650"/>
                    </a:lnTo>
                    <a:lnTo>
                      <a:pt x="459391" y="246507"/>
                    </a:lnTo>
                    <a:lnTo>
                      <a:pt x="457676" y="247364"/>
                    </a:lnTo>
                    <a:lnTo>
                      <a:pt x="457676" y="246507"/>
                    </a:lnTo>
                    <a:lnTo>
                      <a:pt x="456819" y="245650"/>
                    </a:lnTo>
                    <a:lnTo>
                      <a:pt x="454247" y="245650"/>
                    </a:lnTo>
                    <a:lnTo>
                      <a:pt x="453390" y="245650"/>
                    </a:lnTo>
                    <a:lnTo>
                      <a:pt x="452533" y="244793"/>
                    </a:lnTo>
                    <a:lnTo>
                      <a:pt x="451675" y="244793"/>
                    </a:lnTo>
                    <a:lnTo>
                      <a:pt x="449961" y="244793"/>
                    </a:lnTo>
                    <a:lnTo>
                      <a:pt x="448246" y="243935"/>
                    </a:lnTo>
                    <a:lnTo>
                      <a:pt x="445675" y="243078"/>
                    </a:lnTo>
                    <a:lnTo>
                      <a:pt x="443960" y="243078"/>
                    </a:lnTo>
                    <a:lnTo>
                      <a:pt x="442246" y="242221"/>
                    </a:lnTo>
                    <a:lnTo>
                      <a:pt x="441389" y="242221"/>
                    </a:lnTo>
                    <a:lnTo>
                      <a:pt x="440531" y="243078"/>
                    </a:lnTo>
                    <a:lnTo>
                      <a:pt x="439674" y="243078"/>
                    </a:lnTo>
                    <a:lnTo>
                      <a:pt x="438817" y="243078"/>
                    </a:lnTo>
                    <a:lnTo>
                      <a:pt x="438817" y="243935"/>
                    </a:lnTo>
                    <a:lnTo>
                      <a:pt x="437102" y="243935"/>
                    </a:lnTo>
                    <a:lnTo>
                      <a:pt x="436245" y="243935"/>
                    </a:lnTo>
                    <a:lnTo>
                      <a:pt x="435388" y="243935"/>
                    </a:lnTo>
                    <a:lnTo>
                      <a:pt x="436245" y="243078"/>
                    </a:lnTo>
                    <a:lnTo>
                      <a:pt x="436245" y="242221"/>
                    </a:lnTo>
                    <a:lnTo>
                      <a:pt x="436245" y="241363"/>
                    </a:lnTo>
                    <a:lnTo>
                      <a:pt x="437960" y="240506"/>
                    </a:lnTo>
                    <a:lnTo>
                      <a:pt x="437960" y="240506"/>
                    </a:lnTo>
                    <a:lnTo>
                      <a:pt x="437102" y="239649"/>
                    </a:lnTo>
                    <a:lnTo>
                      <a:pt x="435388" y="238792"/>
                    </a:lnTo>
                    <a:lnTo>
                      <a:pt x="434531" y="238792"/>
                    </a:lnTo>
                    <a:lnTo>
                      <a:pt x="434531" y="237077"/>
                    </a:lnTo>
                    <a:lnTo>
                      <a:pt x="434531" y="237077"/>
                    </a:lnTo>
                    <a:lnTo>
                      <a:pt x="433673" y="237077"/>
                    </a:lnTo>
                    <a:lnTo>
                      <a:pt x="432816" y="237077"/>
                    </a:lnTo>
                    <a:lnTo>
                      <a:pt x="431959" y="237077"/>
                    </a:lnTo>
                    <a:lnTo>
                      <a:pt x="431102" y="236220"/>
                    </a:lnTo>
                    <a:lnTo>
                      <a:pt x="429387" y="235363"/>
                    </a:lnTo>
                    <a:lnTo>
                      <a:pt x="428530" y="234505"/>
                    </a:lnTo>
                    <a:lnTo>
                      <a:pt x="426815" y="234505"/>
                    </a:lnTo>
                    <a:lnTo>
                      <a:pt x="425958" y="236220"/>
                    </a:lnTo>
                    <a:lnTo>
                      <a:pt x="425101" y="236220"/>
                    </a:lnTo>
                    <a:lnTo>
                      <a:pt x="424244" y="236220"/>
                    </a:lnTo>
                    <a:lnTo>
                      <a:pt x="423386" y="237077"/>
                    </a:lnTo>
                    <a:lnTo>
                      <a:pt x="422529" y="237935"/>
                    </a:lnTo>
                    <a:lnTo>
                      <a:pt x="421672" y="237935"/>
                    </a:lnTo>
                    <a:lnTo>
                      <a:pt x="419957" y="237935"/>
                    </a:lnTo>
                    <a:lnTo>
                      <a:pt x="419957" y="238792"/>
                    </a:lnTo>
                    <a:lnTo>
                      <a:pt x="419957" y="239649"/>
                    </a:lnTo>
                    <a:lnTo>
                      <a:pt x="419100" y="240506"/>
                    </a:lnTo>
                    <a:lnTo>
                      <a:pt x="419100" y="240506"/>
                    </a:lnTo>
                    <a:lnTo>
                      <a:pt x="419100" y="242221"/>
                    </a:lnTo>
                    <a:lnTo>
                      <a:pt x="419100" y="243935"/>
                    </a:lnTo>
                    <a:lnTo>
                      <a:pt x="418243" y="244793"/>
                    </a:lnTo>
                    <a:lnTo>
                      <a:pt x="417386" y="245650"/>
                    </a:lnTo>
                    <a:lnTo>
                      <a:pt x="417386" y="245650"/>
                    </a:lnTo>
                    <a:lnTo>
                      <a:pt x="416528" y="245650"/>
                    </a:lnTo>
                    <a:lnTo>
                      <a:pt x="415671" y="245650"/>
                    </a:lnTo>
                    <a:lnTo>
                      <a:pt x="413957" y="248221"/>
                    </a:lnTo>
                    <a:lnTo>
                      <a:pt x="413099" y="248221"/>
                    </a:lnTo>
                    <a:lnTo>
                      <a:pt x="411385" y="247364"/>
                    </a:lnTo>
                    <a:lnTo>
                      <a:pt x="411385" y="247364"/>
                    </a:lnTo>
                    <a:lnTo>
                      <a:pt x="410528" y="245650"/>
                    </a:lnTo>
                    <a:lnTo>
                      <a:pt x="409670" y="243935"/>
                    </a:lnTo>
                    <a:lnTo>
                      <a:pt x="408813" y="243078"/>
                    </a:lnTo>
                    <a:lnTo>
                      <a:pt x="408813" y="243078"/>
                    </a:lnTo>
                    <a:lnTo>
                      <a:pt x="408813" y="242221"/>
                    </a:lnTo>
                    <a:lnTo>
                      <a:pt x="408813" y="241363"/>
                    </a:lnTo>
                    <a:lnTo>
                      <a:pt x="408813" y="241363"/>
                    </a:lnTo>
                    <a:lnTo>
                      <a:pt x="407956" y="241363"/>
                    </a:lnTo>
                    <a:lnTo>
                      <a:pt x="407098" y="243078"/>
                    </a:lnTo>
                    <a:lnTo>
                      <a:pt x="406241" y="243078"/>
                    </a:lnTo>
                    <a:lnTo>
                      <a:pt x="405384" y="243935"/>
                    </a:lnTo>
                    <a:lnTo>
                      <a:pt x="405384" y="243935"/>
                    </a:lnTo>
                    <a:lnTo>
                      <a:pt x="406241" y="244793"/>
                    </a:lnTo>
                    <a:lnTo>
                      <a:pt x="407098" y="246507"/>
                    </a:lnTo>
                    <a:lnTo>
                      <a:pt x="407098" y="247364"/>
                    </a:lnTo>
                    <a:lnTo>
                      <a:pt x="407098" y="247364"/>
                    </a:lnTo>
                    <a:lnTo>
                      <a:pt x="407098" y="248221"/>
                    </a:lnTo>
                    <a:lnTo>
                      <a:pt x="407956" y="249079"/>
                    </a:lnTo>
                    <a:lnTo>
                      <a:pt x="407956" y="249079"/>
                    </a:lnTo>
                    <a:lnTo>
                      <a:pt x="407956" y="249936"/>
                    </a:lnTo>
                    <a:lnTo>
                      <a:pt x="407098" y="249936"/>
                    </a:lnTo>
                    <a:lnTo>
                      <a:pt x="406241" y="250793"/>
                    </a:lnTo>
                    <a:lnTo>
                      <a:pt x="406241" y="250793"/>
                    </a:lnTo>
                    <a:lnTo>
                      <a:pt x="406241" y="251650"/>
                    </a:lnTo>
                    <a:lnTo>
                      <a:pt x="406241" y="252508"/>
                    </a:lnTo>
                    <a:lnTo>
                      <a:pt x="405384" y="253365"/>
                    </a:lnTo>
                    <a:lnTo>
                      <a:pt x="404527" y="254222"/>
                    </a:lnTo>
                    <a:lnTo>
                      <a:pt x="404527" y="254222"/>
                    </a:lnTo>
                    <a:lnTo>
                      <a:pt x="407098" y="255079"/>
                    </a:lnTo>
                    <a:lnTo>
                      <a:pt x="408813" y="255079"/>
                    </a:lnTo>
                    <a:lnTo>
                      <a:pt x="410528" y="255937"/>
                    </a:lnTo>
                    <a:lnTo>
                      <a:pt x="413957" y="256794"/>
                    </a:lnTo>
                    <a:lnTo>
                      <a:pt x="415671" y="257651"/>
                    </a:lnTo>
                    <a:lnTo>
                      <a:pt x="416528" y="258508"/>
                    </a:lnTo>
                    <a:lnTo>
                      <a:pt x="417386" y="258508"/>
                    </a:lnTo>
                    <a:lnTo>
                      <a:pt x="418243" y="259366"/>
                    </a:lnTo>
                    <a:lnTo>
                      <a:pt x="419100" y="260223"/>
                    </a:lnTo>
                    <a:lnTo>
                      <a:pt x="419100" y="258508"/>
                    </a:lnTo>
                    <a:lnTo>
                      <a:pt x="419100" y="257651"/>
                    </a:lnTo>
                    <a:lnTo>
                      <a:pt x="419100" y="256794"/>
                    </a:lnTo>
                    <a:lnTo>
                      <a:pt x="421672" y="256794"/>
                    </a:lnTo>
                    <a:lnTo>
                      <a:pt x="422529" y="257651"/>
                    </a:lnTo>
                    <a:lnTo>
                      <a:pt x="424244" y="255937"/>
                    </a:lnTo>
                    <a:lnTo>
                      <a:pt x="428530" y="258508"/>
                    </a:lnTo>
                    <a:lnTo>
                      <a:pt x="430244" y="258508"/>
                    </a:lnTo>
                    <a:lnTo>
                      <a:pt x="430244" y="260223"/>
                    </a:lnTo>
                    <a:lnTo>
                      <a:pt x="430244" y="260223"/>
                    </a:lnTo>
                    <a:lnTo>
                      <a:pt x="430244" y="261080"/>
                    </a:lnTo>
                    <a:lnTo>
                      <a:pt x="430244" y="261080"/>
                    </a:lnTo>
                    <a:lnTo>
                      <a:pt x="429387" y="261938"/>
                    </a:lnTo>
                    <a:lnTo>
                      <a:pt x="429387" y="261938"/>
                    </a:lnTo>
                    <a:lnTo>
                      <a:pt x="429387" y="262795"/>
                    </a:lnTo>
                    <a:lnTo>
                      <a:pt x="430244" y="263652"/>
                    </a:lnTo>
                    <a:lnTo>
                      <a:pt x="430244" y="264509"/>
                    </a:lnTo>
                    <a:lnTo>
                      <a:pt x="429387" y="265366"/>
                    </a:lnTo>
                    <a:lnTo>
                      <a:pt x="427673" y="265366"/>
                    </a:lnTo>
                    <a:lnTo>
                      <a:pt x="427673" y="267938"/>
                    </a:lnTo>
                    <a:lnTo>
                      <a:pt x="427673" y="268796"/>
                    </a:lnTo>
                    <a:lnTo>
                      <a:pt x="427673" y="269653"/>
                    </a:lnTo>
                    <a:lnTo>
                      <a:pt x="426815" y="270510"/>
                    </a:lnTo>
                    <a:lnTo>
                      <a:pt x="426815" y="271367"/>
                    </a:lnTo>
                    <a:lnTo>
                      <a:pt x="427673" y="271367"/>
                    </a:lnTo>
                    <a:lnTo>
                      <a:pt x="427673" y="271367"/>
                    </a:lnTo>
                    <a:lnTo>
                      <a:pt x="428530" y="272224"/>
                    </a:lnTo>
                    <a:lnTo>
                      <a:pt x="430244" y="273082"/>
                    </a:lnTo>
                    <a:lnTo>
                      <a:pt x="431102" y="273939"/>
                    </a:lnTo>
                    <a:lnTo>
                      <a:pt x="431102" y="274415"/>
                    </a:lnTo>
                    <a:lnTo>
                      <a:pt x="431959" y="274415"/>
                    </a:lnTo>
                    <a:lnTo>
                      <a:pt x="431102" y="275272"/>
                    </a:lnTo>
                    <a:lnTo>
                      <a:pt x="428530" y="276130"/>
                    </a:lnTo>
                    <a:lnTo>
                      <a:pt x="427673" y="277844"/>
                    </a:lnTo>
                    <a:lnTo>
                      <a:pt x="425958" y="276987"/>
                    </a:lnTo>
                    <a:lnTo>
                      <a:pt x="423386" y="276987"/>
                    </a:lnTo>
                    <a:lnTo>
                      <a:pt x="422529" y="276987"/>
                    </a:lnTo>
                    <a:lnTo>
                      <a:pt x="421672" y="276987"/>
                    </a:lnTo>
                    <a:lnTo>
                      <a:pt x="419100" y="276130"/>
                    </a:lnTo>
                    <a:lnTo>
                      <a:pt x="419100" y="275272"/>
                    </a:lnTo>
                    <a:lnTo>
                      <a:pt x="418243" y="275272"/>
                    </a:lnTo>
                    <a:lnTo>
                      <a:pt x="417386" y="274415"/>
                    </a:lnTo>
                    <a:lnTo>
                      <a:pt x="415671" y="274415"/>
                    </a:lnTo>
                    <a:lnTo>
                      <a:pt x="415671" y="272701"/>
                    </a:lnTo>
                    <a:lnTo>
                      <a:pt x="414814" y="271844"/>
                    </a:lnTo>
                    <a:lnTo>
                      <a:pt x="413957" y="270986"/>
                    </a:lnTo>
                    <a:lnTo>
                      <a:pt x="413099" y="270129"/>
                    </a:lnTo>
                    <a:lnTo>
                      <a:pt x="413099" y="270129"/>
                    </a:lnTo>
                    <a:lnTo>
                      <a:pt x="411385" y="270129"/>
                    </a:lnTo>
                    <a:lnTo>
                      <a:pt x="411385" y="269272"/>
                    </a:lnTo>
                    <a:lnTo>
                      <a:pt x="411385" y="268414"/>
                    </a:lnTo>
                    <a:lnTo>
                      <a:pt x="408813" y="267557"/>
                    </a:lnTo>
                    <a:lnTo>
                      <a:pt x="409670" y="269272"/>
                    </a:lnTo>
                    <a:lnTo>
                      <a:pt x="408813" y="269272"/>
                    </a:lnTo>
                    <a:lnTo>
                      <a:pt x="408813" y="270129"/>
                    </a:lnTo>
                    <a:lnTo>
                      <a:pt x="407098" y="270986"/>
                    </a:lnTo>
                    <a:lnTo>
                      <a:pt x="407098" y="271844"/>
                    </a:lnTo>
                    <a:lnTo>
                      <a:pt x="406241" y="271844"/>
                    </a:lnTo>
                    <a:lnTo>
                      <a:pt x="406241" y="271844"/>
                    </a:lnTo>
                    <a:lnTo>
                      <a:pt x="405384" y="270129"/>
                    </a:lnTo>
                    <a:lnTo>
                      <a:pt x="405384" y="268414"/>
                    </a:lnTo>
                    <a:lnTo>
                      <a:pt x="405384" y="267557"/>
                    </a:lnTo>
                    <a:lnTo>
                      <a:pt x="404527" y="266700"/>
                    </a:lnTo>
                    <a:lnTo>
                      <a:pt x="403669" y="266700"/>
                    </a:lnTo>
                    <a:lnTo>
                      <a:pt x="401955" y="266700"/>
                    </a:lnTo>
                    <a:lnTo>
                      <a:pt x="401955" y="265843"/>
                    </a:lnTo>
                    <a:lnTo>
                      <a:pt x="401098" y="264986"/>
                    </a:lnTo>
                    <a:lnTo>
                      <a:pt x="400240" y="264986"/>
                    </a:lnTo>
                    <a:lnTo>
                      <a:pt x="400240" y="264128"/>
                    </a:lnTo>
                    <a:lnTo>
                      <a:pt x="400240" y="263271"/>
                    </a:lnTo>
                    <a:lnTo>
                      <a:pt x="400240" y="262414"/>
                    </a:lnTo>
                    <a:lnTo>
                      <a:pt x="399383" y="259842"/>
                    </a:lnTo>
                    <a:lnTo>
                      <a:pt x="399383" y="259842"/>
                    </a:lnTo>
                    <a:lnTo>
                      <a:pt x="399383" y="258985"/>
                    </a:lnTo>
                    <a:lnTo>
                      <a:pt x="398526" y="257270"/>
                    </a:lnTo>
                    <a:lnTo>
                      <a:pt x="398526" y="255556"/>
                    </a:lnTo>
                    <a:lnTo>
                      <a:pt x="396811" y="252984"/>
                    </a:lnTo>
                    <a:lnTo>
                      <a:pt x="395097" y="250412"/>
                    </a:lnTo>
                    <a:lnTo>
                      <a:pt x="393382" y="248698"/>
                    </a:lnTo>
                    <a:lnTo>
                      <a:pt x="392525" y="248698"/>
                    </a:lnTo>
                    <a:lnTo>
                      <a:pt x="391668" y="249555"/>
                    </a:lnTo>
                    <a:lnTo>
                      <a:pt x="390811" y="249555"/>
                    </a:lnTo>
                    <a:lnTo>
                      <a:pt x="390811" y="249555"/>
                    </a:lnTo>
                    <a:lnTo>
                      <a:pt x="389096" y="247840"/>
                    </a:lnTo>
                    <a:lnTo>
                      <a:pt x="388239" y="247840"/>
                    </a:lnTo>
                    <a:lnTo>
                      <a:pt x="387382" y="248698"/>
                    </a:lnTo>
                    <a:lnTo>
                      <a:pt x="386524" y="247840"/>
                    </a:lnTo>
                    <a:lnTo>
                      <a:pt x="386524" y="246983"/>
                    </a:lnTo>
                    <a:lnTo>
                      <a:pt x="386524" y="245269"/>
                    </a:lnTo>
                    <a:lnTo>
                      <a:pt x="384810" y="244412"/>
                    </a:lnTo>
                    <a:lnTo>
                      <a:pt x="383095" y="246126"/>
                    </a:lnTo>
                    <a:lnTo>
                      <a:pt x="383095" y="246983"/>
                    </a:lnTo>
                    <a:lnTo>
                      <a:pt x="381381" y="248698"/>
                    </a:lnTo>
                    <a:lnTo>
                      <a:pt x="380524" y="249555"/>
                    </a:lnTo>
                    <a:lnTo>
                      <a:pt x="380524" y="250412"/>
                    </a:lnTo>
                    <a:lnTo>
                      <a:pt x="379666" y="252127"/>
                    </a:lnTo>
                    <a:lnTo>
                      <a:pt x="379857" y="252127"/>
                    </a:lnTo>
                    <a:lnTo>
                      <a:pt x="379000" y="251270"/>
                    </a:lnTo>
                    <a:lnTo>
                      <a:pt x="378143" y="252127"/>
                    </a:lnTo>
                    <a:lnTo>
                      <a:pt x="378143" y="252127"/>
                    </a:lnTo>
                    <a:lnTo>
                      <a:pt x="377285" y="252127"/>
                    </a:lnTo>
                    <a:lnTo>
                      <a:pt x="376428" y="252127"/>
                    </a:lnTo>
                    <a:lnTo>
                      <a:pt x="375571" y="251270"/>
                    </a:lnTo>
                    <a:lnTo>
                      <a:pt x="374714" y="252984"/>
                    </a:lnTo>
                    <a:lnTo>
                      <a:pt x="374714" y="254698"/>
                    </a:lnTo>
                    <a:lnTo>
                      <a:pt x="370427" y="253841"/>
                    </a:lnTo>
                    <a:lnTo>
                      <a:pt x="369570" y="257270"/>
                    </a:lnTo>
                    <a:lnTo>
                      <a:pt x="368713" y="258128"/>
                    </a:lnTo>
                    <a:lnTo>
                      <a:pt x="367856" y="258985"/>
                    </a:lnTo>
                    <a:lnTo>
                      <a:pt x="366998" y="260699"/>
                    </a:lnTo>
                    <a:lnTo>
                      <a:pt x="366141" y="262414"/>
                    </a:lnTo>
                    <a:lnTo>
                      <a:pt x="365284" y="264128"/>
                    </a:lnTo>
                    <a:lnTo>
                      <a:pt x="364427" y="265843"/>
                    </a:lnTo>
                    <a:lnTo>
                      <a:pt x="365284" y="265843"/>
                    </a:lnTo>
                    <a:lnTo>
                      <a:pt x="366998" y="267557"/>
                    </a:lnTo>
                    <a:lnTo>
                      <a:pt x="369570" y="267557"/>
                    </a:lnTo>
                    <a:lnTo>
                      <a:pt x="369570" y="267557"/>
                    </a:lnTo>
                    <a:lnTo>
                      <a:pt x="369570" y="268414"/>
                    </a:lnTo>
                    <a:lnTo>
                      <a:pt x="369570" y="269272"/>
                    </a:lnTo>
                    <a:lnTo>
                      <a:pt x="370427" y="270129"/>
                    </a:lnTo>
                    <a:lnTo>
                      <a:pt x="372999" y="271844"/>
                    </a:lnTo>
                    <a:lnTo>
                      <a:pt x="372999" y="272701"/>
                    </a:lnTo>
                    <a:lnTo>
                      <a:pt x="372142" y="275272"/>
                    </a:lnTo>
                    <a:lnTo>
                      <a:pt x="371285" y="276130"/>
                    </a:lnTo>
                    <a:lnTo>
                      <a:pt x="371285" y="279559"/>
                    </a:lnTo>
                    <a:lnTo>
                      <a:pt x="370427" y="280416"/>
                    </a:lnTo>
                    <a:lnTo>
                      <a:pt x="369570" y="281273"/>
                    </a:lnTo>
                    <a:lnTo>
                      <a:pt x="367856" y="282988"/>
                    </a:lnTo>
                    <a:lnTo>
                      <a:pt x="367856" y="283845"/>
                    </a:lnTo>
                    <a:lnTo>
                      <a:pt x="366141" y="284702"/>
                    </a:lnTo>
                    <a:lnTo>
                      <a:pt x="365284" y="285560"/>
                    </a:lnTo>
                    <a:lnTo>
                      <a:pt x="364427" y="285560"/>
                    </a:lnTo>
                    <a:lnTo>
                      <a:pt x="362712" y="289846"/>
                    </a:lnTo>
                    <a:lnTo>
                      <a:pt x="360998" y="291560"/>
                    </a:lnTo>
                    <a:lnTo>
                      <a:pt x="359283" y="292418"/>
                    </a:lnTo>
                    <a:lnTo>
                      <a:pt x="356711" y="293275"/>
                    </a:lnTo>
                    <a:lnTo>
                      <a:pt x="355854" y="292418"/>
                    </a:lnTo>
                    <a:lnTo>
                      <a:pt x="354997" y="292418"/>
                    </a:lnTo>
                    <a:lnTo>
                      <a:pt x="353282" y="290703"/>
                    </a:lnTo>
                    <a:lnTo>
                      <a:pt x="352425" y="287274"/>
                    </a:lnTo>
                    <a:lnTo>
                      <a:pt x="351568" y="286417"/>
                    </a:lnTo>
                    <a:lnTo>
                      <a:pt x="349853" y="284702"/>
                    </a:lnTo>
                    <a:lnTo>
                      <a:pt x="348139" y="285560"/>
                    </a:lnTo>
                    <a:lnTo>
                      <a:pt x="346424" y="285560"/>
                    </a:lnTo>
                    <a:lnTo>
                      <a:pt x="344710" y="285560"/>
                    </a:lnTo>
                    <a:lnTo>
                      <a:pt x="341281" y="282130"/>
                    </a:lnTo>
                    <a:lnTo>
                      <a:pt x="340423" y="281273"/>
                    </a:lnTo>
                    <a:lnTo>
                      <a:pt x="339566" y="282130"/>
                    </a:lnTo>
                    <a:lnTo>
                      <a:pt x="337852" y="282130"/>
                    </a:lnTo>
                    <a:lnTo>
                      <a:pt x="336137" y="284702"/>
                    </a:lnTo>
                    <a:lnTo>
                      <a:pt x="334423" y="285560"/>
                    </a:lnTo>
                    <a:lnTo>
                      <a:pt x="330136" y="285560"/>
                    </a:lnTo>
                    <a:lnTo>
                      <a:pt x="328422" y="286417"/>
                    </a:lnTo>
                    <a:lnTo>
                      <a:pt x="327565" y="288131"/>
                    </a:lnTo>
                    <a:lnTo>
                      <a:pt x="326707" y="288988"/>
                    </a:lnTo>
                    <a:lnTo>
                      <a:pt x="324993" y="288988"/>
                    </a:lnTo>
                    <a:lnTo>
                      <a:pt x="322421" y="288988"/>
                    </a:lnTo>
                    <a:lnTo>
                      <a:pt x="320707" y="288988"/>
                    </a:lnTo>
                    <a:lnTo>
                      <a:pt x="318992" y="290703"/>
                    </a:lnTo>
                    <a:lnTo>
                      <a:pt x="318135" y="291560"/>
                    </a:lnTo>
                    <a:lnTo>
                      <a:pt x="317278" y="292418"/>
                    </a:lnTo>
                    <a:lnTo>
                      <a:pt x="315563" y="292418"/>
                    </a:lnTo>
                    <a:lnTo>
                      <a:pt x="313849" y="293275"/>
                    </a:lnTo>
                    <a:lnTo>
                      <a:pt x="311277" y="292418"/>
                    </a:lnTo>
                    <a:lnTo>
                      <a:pt x="309562" y="293275"/>
                    </a:lnTo>
                    <a:lnTo>
                      <a:pt x="306133" y="294132"/>
                    </a:lnTo>
                    <a:lnTo>
                      <a:pt x="304419" y="295846"/>
                    </a:lnTo>
                    <a:lnTo>
                      <a:pt x="303562" y="297561"/>
                    </a:lnTo>
                    <a:lnTo>
                      <a:pt x="302704" y="298418"/>
                    </a:lnTo>
                    <a:lnTo>
                      <a:pt x="301847" y="298418"/>
                    </a:lnTo>
                    <a:lnTo>
                      <a:pt x="299275" y="298418"/>
                    </a:lnTo>
                    <a:lnTo>
                      <a:pt x="292513" y="298418"/>
                    </a:lnTo>
                    <a:lnTo>
                      <a:pt x="290798" y="299275"/>
                    </a:lnTo>
                    <a:lnTo>
                      <a:pt x="289941" y="299275"/>
                    </a:lnTo>
                    <a:lnTo>
                      <a:pt x="287369" y="300133"/>
                    </a:lnTo>
                    <a:lnTo>
                      <a:pt x="285655" y="300133"/>
                    </a:lnTo>
                    <a:lnTo>
                      <a:pt x="283940" y="300990"/>
                    </a:lnTo>
                    <a:lnTo>
                      <a:pt x="283083" y="302705"/>
                    </a:lnTo>
                    <a:lnTo>
                      <a:pt x="279654" y="306133"/>
                    </a:lnTo>
                    <a:lnTo>
                      <a:pt x="278797" y="306991"/>
                    </a:lnTo>
                    <a:lnTo>
                      <a:pt x="278797" y="308705"/>
                    </a:lnTo>
                    <a:lnTo>
                      <a:pt x="279654" y="310420"/>
                    </a:lnTo>
                    <a:lnTo>
                      <a:pt x="280511" y="311277"/>
                    </a:lnTo>
                    <a:lnTo>
                      <a:pt x="280511" y="312991"/>
                    </a:lnTo>
                    <a:lnTo>
                      <a:pt x="279654" y="313849"/>
                    </a:lnTo>
                    <a:lnTo>
                      <a:pt x="278797" y="315563"/>
                    </a:lnTo>
                    <a:lnTo>
                      <a:pt x="277940" y="317278"/>
                    </a:lnTo>
                    <a:lnTo>
                      <a:pt x="277940" y="320707"/>
                    </a:lnTo>
                    <a:lnTo>
                      <a:pt x="277940" y="322421"/>
                    </a:lnTo>
                    <a:lnTo>
                      <a:pt x="277940" y="324136"/>
                    </a:lnTo>
                    <a:lnTo>
                      <a:pt x="278797" y="324993"/>
                    </a:lnTo>
                    <a:lnTo>
                      <a:pt x="279654" y="326707"/>
                    </a:lnTo>
                    <a:lnTo>
                      <a:pt x="279654" y="330994"/>
                    </a:lnTo>
                    <a:lnTo>
                      <a:pt x="278797" y="336899"/>
                    </a:lnTo>
                    <a:lnTo>
                      <a:pt x="278797" y="337756"/>
                    </a:lnTo>
                    <a:lnTo>
                      <a:pt x="277082" y="339471"/>
                    </a:lnTo>
                    <a:lnTo>
                      <a:pt x="275368" y="340328"/>
                    </a:lnTo>
                    <a:lnTo>
                      <a:pt x="273653" y="340328"/>
                    </a:lnTo>
                    <a:lnTo>
                      <a:pt x="271939" y="340328"/>
                    </a:lnTo>
                    <a:lnTo>
                      <a:pt x="271082" y="339471"/>
                    </a:lnTo>
                    <a:lnTo>
                      <a:pt x="270224" y="339471"/>
                    </a:lnTo>
                    <a:lnTo>
                      <a:pt x="268510" y="338614"/>
                    </a:lnTo>
                    <a:lnTo>
                      <a:pt x="267653" y="338614"/>
                    </a:lnTo>
                    <a:lnTo>
                      <a:pt x="261747" y="338614"/>
                    </a:lnTo>
                    <a:lnTo>
                      <a:pt x="260032" y="337756"/>
                    </a:lnTo>
                    <a:lnTo>
                      <a:pt x="259175" y="337756"/>
                    </a:lnTo>
                    <a:lnTo>
                      <a:pt x="257461" y="337756"/>
                    </a:lnTo>
                    <a:lnTo>
                      <a:pt x="256603" y="337756"/>
                    </a:lnTo>
                    <a:lnTo>
                      <a:pt x="254889" y="337756"/>
                    </a:lnTo>
                    <a:lnTo>
                      <a:pt x="253174" y="339471"/>
                    </a:lnTo>
                    <a:lnTo>
                      <a:pt x="251460" y="340328"/>
                    </a:lnTo>
                    <a:lnTo>
                      <a:pt x="249745" y="340328"/>
                    </a:lnTo>
                    <a:lnTo>
                      <a:pt x="247174" y="341186"/>
                    </a:lnTo>
                    <a:lnTo>
                      <a:pt x="245459" y="342043"/>
                    </a:lnTo>
                    <a:lnTo>
                      <a:pt x="243745" y="343757"/>
                    </a:lnTo>
                    <a:lnTo>
                      <a:pt x="243745" y="344614"/>
                    </a:lnTo>
                    <a:lnTo>
                      <a:pt x="243745" y="347186"/>
                    </a:lnTo>
                    <a:lnTo>
                      <a:pt x="245459" y="350615"/>
                    </a:lnTo>
                    <a:lnTo>
                      <a:pt x="245459" y="351472"/>
                    </a:lnTo>
                    <a:lnTo>
                      <a:pt x="244602" y="352330"/>
                    </a:lnTo>
                    <a:lnTo>
                      <a:pt x="244602" y="353187"/>
                    </a:lnTo>
                    <a:lnTo>
                      <a:pt x="243745" y="354044"/>
                    </a:lnTo>
                    <a:lnTo>
                      <a:pt x="242888" y="354902"/>
                    </a:lnTo>
                    <a:lnTo>
                      <a:pt x="242030" y="354044"/>
                    </a:lnTo>
                    <a:lnTo>
                      <a:pt x="239459" y="353187"/>
                    </a:lnTo>
                    <a:lnTo>
                      <a:pt x="239459" y="351472"/>
                    </a:lnTo>
                    <a:lnTo>
                      <a:pt x="239459" y="350615"/>
                    </a:lnTo>
                    <a:lnTo>
                      <a:pt x="239459" y="348901"/>
                    </a:lnTo>
                    <a:lnTo>
                      <a:pt x="238601" y="348044"/>
                    </a:lnTo>
                    <a:lnTo>
                      <a:pt x="237744" y="347186"/>
                    </a:lnTo>
                    <a:lnTo>
                      <a:pt x="236887" y="347186"/>
                    </a:lnTo>
                    <a:lnTo>
                      <a:pt x="236029" y="348044"/>
                    </a:lnTo>
                    <a:lnTo>
                      <a:pt x="235172" y="348044"/>
                    </a:lnTo>
                    <a:lnTo>
                      <a:pt x="235172" y="349758"/>
                    </a:lnTo>
                    <a:lnTo>
                      <a:pt x="235172" y="350615"/>
                    </a:lnTo>
                    <a:lnTo>
                      <a:pt x="235172" y="352330"/>
                    </a:lnTo>
                    <a:lnTo>
                      <a:pt x="236029" y="353187"/>
                    </a:lnTo>
                    <a:lnTo>
                      <a:pt x="236029" y="354044"/>
                    </a:lnTo>
                    <a:lnTo>
                      <a:pt x="236029" y="354902"/>
                    </a:lnTo>
                    <a:lnTo>
                      <a:pt x="236029" y="355759"/>
                    </a:lnTo>
                    <a:lnTo>
                      <a:pt x="234315" y="358330"/>
                    </a:lnTo>
                    <a:lnTo>
                      <a:pt x="233458" y="360045"/>
                    </a:lnTo>
                    <a:lnTo>
                      <a:pt x="232600" y="360902"/>
                    </a:lnTo>
                    <a:lnTo>
                      <a:pt x="230886" y="361760"/>
                    </a:lnTo>
                    <a:lnTo>
                      <a:pt x="229171" y="363474"/>
                    </a:lnTo>
                    <a:lnTo>
                      <a:pt x="226600" y="363474"/>
                    </a:lnTo>
                    <a:lnTo>
                      <a:pt x="224885" y="363474"/>
                    </a:lnTo>
                    <a:lnTo>
                      <a:pt x="223171" y="363474"/>
                    </a:lnTo>
                    <a:lnTo>
                      <a:pt x="222313" y="362617"/>
                    </a:lnTo>
                    <a:lnTo>
                      <a:pt x="218884" y="360902"/>
                    </a:lnTo>
                    <a:lnTo>
                      <a:pt x="218027" y="360045"/>
                    </a:lnTo>
                    <a:lnTo>
                      <a:pt x="217170" y="359188"/>
                    </a:lnTo>
                    <a:lnTo>
                      <a:pt x="215455" y="357473"/>
                    </a:lnTo>
                    <a:lnTo>
                      <a:pt x="214598" y="356616"/>
                    </a:lnTo>
                    <a:lnTo>
                      <a:pt x="213741" y="354902"/>
                    </a:lnTo>
                    <a:lnTo>
                      <a:pt x="211169" y="354044"/>
                    </a:lnTo>
                    <a:lnTo>
                      <a:pt x="210312" y="354902"/>
                    </a:lnTo>
                    <a:lnTo>
                      <a:pt x="208597" y="355759"/>
                    </a:lnTo>
                    <a:lnTo>
                      <a:pt x="206883" y="357473"/>
                    </a:lnTo>
                    <a:lnTo>
                      <a:pt x="206026" y="358330"/>
                    </a:lnTo>
                    <a:lnTo>
                      <a:pt x="205169" y="359188"/>
                    </a:lnTo>
                    <a:lnTo>
                      <a:pt x="203454" y="359188"/>
                    </a:lnTo>
                    <a:lnTo>
                      <a:pt x="201740" y="358330"/>
                    </a:lnTo>
                    <a:lnTo>
                      <a:pt x="200882" y="358330"/>
                    </a:lnTo>
                    <a:lnTo>
                      <a:pt x="197453" y="357473"/>
                    </a:lnTo>
                    <a:lnTo>
                      <a:pt x="193167" y="356616"/>
                    </a:lnTo>
                    <a:lnTo>
                      <a:pt x="189738" y="355759"/>
                    </a:lnTo>
                    <a:lnTo>
                      <a:pt x="188023" y="356616"/>
                    </a:lnTo>
                    <a:lnTo>
                      <a:pt x="185452" y="357473"/>
                    </a:lnTo>
                    <a:lnTo>
                      <a:pt x="183737" y="359188"/>
                    </a:lnTo>
                    <a:lnTo>
                      <a:pt x="182023" y="360045"/>
                    </a:lnTo>
                    <a:lnTo>
                      <a:pt x="180308" y="360045"/>
                    </a:lnTo>
                    <a:lnTo>
                      <a:pt x="179451" y="360045"/>
                    </a:lnTo>
                    <a:lnTo>
                      <a:pt x="178594" y="361760"/>
                    </a:lnTo>
                    <a:lnTo>
                      <a:pt x="177736" y="362617"/>
                    </a:lnTo>
                    <a:lnTo>
                      <a:pt x="175165" y="362617"/>
                    </a:lnTo>
                    <a:lnTo>
                      <a:pt x="173450" y="361760"/>
                    </a:lnTo>
                    <a:lnTo>
                      <a:pt x="172593" y="361760"/>
                    </a:lnTo>
                    <a:lnTo>
                      <a:pt x="170878" y="362617"/>
                    </a:lnTo>
                    <a:lnTo>
                      <a:pt x="170878" y="362617"/>
                    </a:lnTo>
                    <a:lnTo>
                      <a:pt x="171736" y="365188"/>
                    </a:lnTo>
                    <a:lnTo>
                      <a:pt x="171736" y="366046"/>
                    </a:lnTo>
                    <a:lnTo>
                      <a:pt x="170878" y="368618"/>
                    </a:lnTo>
                    <a:lnTo>
                      <a:pt x="170878" y="369475"/>
                    </a:lnTo>
                    <a:lnTo>
                      <a:pt x="170021" y="369475"/>
                    </a:lnTo>
                    <a:lnTo>
                      <a:pt x="170021" y="370332"/>
                    </a:lnTo>
                    <a:lnTo>
                      <a:pt x="170021" y="372046"/>
                    </a:lnTo>
                    <a:lnTo>
                      <a:pt x="170021" y="372904"/>
                    </a:lnTo>
                    <a:lnTo>
                      <a:pt x="169164" y="373761"/>
                    </a:lnTo>
                    <a:lnTo>
                      <a:pt x="167449" y="374618"/>
                    </a:lnTo>
                    <a:lnTo>
                      <a:pt x="165735" y="375475"/>
                    </a:lnTo>
                    <a:lnTo>
                      <a:pt x="164020" y="376333"/>
                    </a:lnTo>
                    <a:lnTo>
                      <a:pt x="162306" y="377190"/>
                    </a:lnTo>
                    <a:lnTo>
                      <a:pt x="162306" y="378047"/>
                    </a:lnTo>
                    <a:lnTo>
                      <a:pt x="162306" y="378905"/>
                    </a:lnTo>
                    <a:lnTo>
                      <a:pt x="162306" y="379762"/>
                    </a:lnTo>
                    <a:lnTo>
                      <a:pt x="161449" y="380619"/>
                    </a:lnTo>
                    <a:lnTo>
                      <a:pt x="161449" y="381476"/>
                    </a:lnTo>
                    <a:lnTo>
                      <a:pt x="161449" y="382333"/>
                    </a:lnTo>
                    <a:lnTo>
                      <a:pt x="160592" y="383191"/>
                    </a:lnTo>
                    <a:lnTo>
                      <a:pt x="159734" y="383191"/>
                    </a:lnTo>
                    <a:lnTo>
                      <a:pt x="158877" y="383191"/>
                    </a:lnTo>
                    <a:lnTo>
                      <a:pt x="158020" y="383191"/>
                    </a:lnTo>
                    <a:lnTo>
                      <a:pt x="156305" y="383191"/>
                    </a:lnTo>
                    <a:lnTo>
                      <a:pt x="156305" y="384905"/>
                    </a:lnTo>
                    <a:lnTo>
                      <a:pt x="155448" y="385763"/>
                    </a:lnTo>
                    <a:lnTo>
                      <a:pt x="154591" y="385763"/>
                    </a:lnTo>
                    <a:lnTo>
                      <a:pt x="153734" y="385763"/>
                    </a:lnTo>
                    <a:lnTo>
                      <a:pt x="149447" y="384048"/>
                    </a:lnTo>
                    <a:lnTo>
                      <a:pt x="149447" y="383191"/>
                    </a:lnTo>
                    <a:lnTo>
                      <a:pt x="147733" y="380619"/>
                    </a:lnTo>
                    <a:lnTo>
                      <a:pt x="146875" y="380619"/>
                    </a:lnTo>
                    <a:lnTo>
                      <a:pt x="146875" y="378047"/>
                    </a:lnTo>
                    <a:lnTo>
                      <a:pt x="146018" y="377190"/>
                    </a:lnTo>
                    <a:lnTo>
                      <a:pt x="145161" y="377190"/>
                    </a:lnTo>
                    <a:lnTo>
                      <a:pt x="145161" y="377190"/>
                    </a:lnTo>
                    <a:lnTo>
                      <a:pt x="144304" y="378047"/>
                    </a:lnTo>
                    <a:lnTo>
                      <a:pt x="144304" y="378905"/>
                    </a:lnTo>
                    <a:lnTo>
                      <a:pt x="143446" y="380619"/>
                    </a:lnTo>
                    <a:lnTo>
                      <a:pt x="142589" y="382333"/>
                    </a:lnTo>
                    <a:lnTo>
                      <a:pt x="141732" y="381476"/>
                    </a:lnTo>
                    <a:lnTo>
                      <a:pt x="139160" y="380619"/>
                    </a:lnTo>
                    <a:lnTo>
                      <a:pt x="138303" y="379762"/>
                    </a:lnTo>
                    <a:lnTo>
                      <a:pt x="135731" y="380619"/>
                    </a:lnTo>
                    <a:lnTo>
                      <a:pt x="134017" y="379762"/>
                    </a:lnTo>
                    <a:lnTo>
                      <a:pt x="132302" y="378905"/>
                    </a:lnTo>
                    <a:lnTo>
                      <a:pt x="129730" y="378047"/>
                    </a:lnTo>
                    <a:lnTo>
                      <a:pt x="128873" y="378047"/>
                    </a:lnTo>
                    <a:lnTo>
                      <a:pt x="128016" y="378047"/>
                    </a:lnTo>
                    <a:lnTo>
                      <a:pt x="126301" y="379762"/>
                    </a:lnTo>
                    <a:lnTo>
                      <a:pt x="125444" y="380619"/>
                    </a:lnTo>
                    <a:lnTo>
                      <a:pt x="124587" y="380619"/>
                    </a:lnTo>
                    <a:lnTo>
                      <a:pt x="123730" y="380619"/>
                    </a:lnTo>
                    <a:lnTo>
                      <a:pt x="122872" y="380619"/>
                    </a:lnTo>
                    <a:lnTo>
                      <a:pt x="122015" y="380619"/>
                    </a:lnTo>
                    <a:lnTo>
                      <a:pt x="121158" y="381476"/>
                    </a:lnTo>
                    <a:lnTo>
                      <a:pt x="120301" y="381476"/>
                    </a:lnTo>
                    <a:lnTo>
                      <a:pt x="118586" y="381476"/>
                    </a:lnTo>
                    <a:lnTo>
                      <a:pt x="117729" y="380619"/>
                    </a:lnTo>
                    <a:lnTo>
                      <a:pt x="116872" y="380619"/>
                    </a:lnTo>
                    <a:lnTo>
                      <a:pt x="115157" y="379762"/>
                    </a:lnTo>
                    <a:lnTo>
                      <a:pt x="114300" y="379762"/>
                    </a:lnTo>
                    <a:lnTo>
                      <a:pt x="113443" y="379762"/>
                    </a:lnTo>
                    <a:lnTo>
                      <a:pt x="112586" y="379762"/>
                    </a:lnTo>
                    <a:lnTo>
                      <a:pt x="111728" y="378905"/>
                    </a:lnTo>
                    <a:lnTo>
                      <a:pt x="110871" y="378905"/>
                    </a:lnTo>
                    <a:lnTo>
                      <a:pt x="110014" y="378905"/>
                    </a:lnTo>
                    <a:lnTo>
                      <a:pt x="109156" y="379762"/>
                    </a:lnTo>
                    <a:lnTo>
                      <a:pt x="108299" y="380619"/>
                    </a:lnTo>
                    <a:lnTo>
                      <a:pt x="107442" y="380619"/>
                    </a:lnTo>
                    <a:lnTo>
                      <a:pt x="104013" y="379762"/>
                    </a:lnTo>
                    <a:lnTo>
                      <a:pt x="103156" y="379762"/>
                    </a:lnTo>
                    <a:lnTo>
                      <a:pt x="102298" y="378905"/>
                    </a:lnTo>
                    <a:lnTo>
                      <a:pt x="101441" y="378047"/>
                    </a:lnTo>
                    <a:lnTo>
                      <a:pt x="100584" y="377190"/>
                    </a:lnTo>
                    <a:lnTo>
                      <a:pt x="99727" y="377190"/>
                    </a:lnTo>
                    <a:lnTo>
                      <a:pt x="99727" y="376333"/>
                    </a:lnTo>
                    <a:lnTo>
                      <a:pt x="98869" y="376333"/>
                    </a:lnTo>
                    <a:lnTo>
                      <a:pt x="98012" y="376333"/>
                    </a:lnTo>
                    <a:lnTo>
                      <a:pt x="96298" y="376333"/>
                    </a:lnTo>
                    <a:lnTo>
                      <a:pt x="95440" y="376333"/>
                    </a:lnTo>
                    <a:lnTo>
                      <a:pt x="92869" y="376333"/>
                    </a:lnTo>
                    <a:lnTo>
                      <a:pt x="90297" y="375475"/>
                    </a:lnTo>
                    <a:lnTo>
                      <a:pt x="85249" y="373761"/>
                    </a:lnTo>
                    <a:lnTo>
                      <a:pt x="80963" y="371189"/>
                    </a:lnTo>
                    <a:lnTo>
                      <a:pt x="79248" y="371189"/>
                    </a:lnTo>
                    <a:lnTo>
                      <a:pt x="78391" y="371189"/>
                    </a:lnTo>
                    <a:lnTo>
                      <a:pt x="65627" y="370332"/>
                    </a:lnTo>
                    <a:lnTo>
                      <a:pt x="60579" y="370332"/>
                    </a:lnTo>
                    <a:lnTo>
                      <a:pt x="58865" y="369475"/>
                    </a:lnTo>
                    <a:lnTo>
                      <a:pt x="57150" y="368618"/>
                    </a:lnTo>
                    <a:lnTo>
                      <a:pt x="56293" y="368618"/>
                    </a:lnTo>
                    <a:lnTo>
                      <a:pt x="49530" y="369475"/>
                    </a:lnTo>
                    <a:lnTo>
                      <a:pt x="46958" y="370332"/>
                    </a:lnTo>
                    <a:lnTo>
                      <a:pt x="39338" y="374618"/>
                    </a:lnTo>
                    <a:lnTo>
                      <a:pt x="35052" y="380524"/>
                    </a:lnTo>
                    <a:lnTo>
                      <a:pt x="35052" y="382238"/>
                    </a:lnTo>
                    <a:lnTo>
                      <a:pt x="35052" y="383096"/>
                    </a:lnTo>
                    <a:lnTo>
                      <a:pt x="35052" y="385667"/>
                    </a:lnTo>
                    <a:lnTo>
                      <a:pt x="34195" y="390715"/>
                    </a:lnTo>
                    <a:lnTo>
                      <a:pt x="34195" y="393287"/>
                    </a:lnTo>
                    <a:lnTo>
                      <a:pt x="35052" y="395002"/>
                    </a:lnTo>
                    <a:lnTo>
                      <a:pt x="35052" y="395002"/>
                    </a:lnTo>
                    <a:lnTo>
                      <a:pt x="35909" y="395002"/>
                    </a:lnTo>
                    <a:lnTo>
                      <a:pt x="36767" y="395859"/>
                    </a:lnTo>
                    <a:lnTo>
                      <a:pt x="36767" y="395859"/>
                    </a:lnTo>
                    <a:lnTo>
                      <a:pt x="38481" y="398431"/>
                    </a:lnTo>
                    <a:lnTo>
                      <a:pt x="40195" y="401860"/>
                    </a:lnTo>
                    <a:lnTo>
                      <a:pt x="41053" y="404431"/>
                    </a:lnTo>
                    <a:lnTo>
                      <a:pt x="40195" y="405289"/>
                    </a:lnTo>
                    <a:lnTo>
                      <a:pt x="40195" y="405289"/>
                    </a:lnTo>
                    <a:lnTo>
                      <a:pt x="38481" y="405289"/>
                    </a:lnTo>
                    <a:lnTo>
                      <a:pt x="37624" y="405289"/>
                    </a:lnTo>
                    <a:lnTo>
                      <a:pt x="36767" y="404431"/>
                    </a:lnTo>
                    <a:lnTo>
                      <a:pt x="35909" y="404431"/>
                    </a:lnTo>
                    <a:lnTo>
                      <a:pt x="34195" y="405289"/>
                    </a:lnTo>
                    <a:lnTo>
                      <a:pt x="33338" y="405289"/>
                    </a:lnTo>
                    <a:lnTo>
                      <a:pt x="32480" y="407003"/>
                    </a:lnTo>
                    <a:lnTo>
                      <a:pt x="31623" y="407861"/>
                    </a:lnTo>
                    <a:lnTo>
                      <a:pt x="31623" y="408718"/>
                    </a:lnTo>
                    <a:lnTo>
                      <a:pt x="30766" y="409575"/>
                    </a:lnTo>
                    <a:lnTo>
                      <a:pt x="30766" y="410432"/>
                    </a:lnTo>
                    <a:lnTo>
                      <a:pt x="32480" y="415480"/>
                    </a:lnTo>
                    <a:lnTo>
                      <a:pt x="32480" y="420529"/>
                    </a:lnTo>
                    <a:lnTo>
                      <a:pt x="31623" y="421386"/>
                    </a:lnTo>
                    <a:lnTo>
                      <a:pt x="31623" y="422243"/>
                    </a:lnTo>
                    <a:lnTo>
                      <a:pt x="31623" y="423100"/>
                    </a:lnTo>
                    <a:lnTo>
                      <a:pt x="30766" y="422243"/>
                    </a:lnTo>
                    <a:lnTo>
                      <a:pt x="29051" y="420529"/>
                    </a:lnTo>
                    <a:lnTo>
                      <a:pt x="28194" y="420529"/>
                    </a:lnTo>
                    <a:lnTo>
                      <a:pt x="27337" y="421386"/>
                    </a:lnTo>
                    <a:lnTo>
                      <a:pt x="27337" y="422243"/>
                    </a:lnTo>
                    <a:lnTo>
                      <a:pt x="27337" y="423100"/>
                    </a:lnTo>
                    <a:lnTo>
                      <a:pt x="28194" y="423100"/>
                    </a:lnTo>
                    <a:lnTo>
                      <a:pt x="29051" y="425672"/>
                    </a:lnTo>
                    <a:lnTo>
                      <a:pt x="29908" y="427387"/>
                    </a:lnTo>
                    <a:lnTo>
                      <a:pt x="29908" y="428244"/>
                    </a:lnTo>
                    <a:lnTo>
                      <a:pt x="30766" y="429101"/>
                    </a:lnTo>
                    <a:lnTo>
                      <a:pt x="31623" y="429958"/>
                    </a:lnTo>
                    <a:lnTo>
                      <a:pt x="31623" y="430816"/>
                    </a:lnTo>
                    <a:lnTo>
                      <a:pt x="32480" y="432530"/>
                    </a:lnTo>
                    <a:lnTo>
                      <a:pt x="33338" y="438436"/>
                    </a:lnTo>
                    <a:lnTo>
                      <a:pt x="34195" y="440150"/>
                    </a:lnTo>
                    <a:lnTo>
                      <a:pt x="35052" y="441007"/>
                    </a:lnTo>
                    <a:lnTo>
                      <a:pt x="35909" y="441007"/>
                    </a:lnTo>
                    <a:lnTo>
                      <a:pt x="39338" y="442722"/>
                    </a:lnTo>
                    <a:lnTo>
                      <a:pt x="41053" y="442722"/>
                    </a:lnTo>
                    <a:lnTo>
                      <a:pt x="41910" y="443579"/>
                    </a:lnTo>
                    <a:lnTo>
                      <a:pt x="42767" y="445294"/>
                    </a:lnTo>
                    <a:lnTo>
                      <a:pt x="43624" y="452914"/>
                    </a:lnTo>
                    <a:lnTo>
                      <a:pt x="45339" y="457962"/>
                    </a:lnTo>
                    <a:lnTo>
                      <a:pt x="46196" y="460534"/>
                    </a:lnTo>
                    <a:lnTo>
                      <a:pt x="46196" y="463105"/>
                    </a:lnTo>
                    <a:lnTo>
                      <a:pt x="46196" y="463963"/>
                    </a:lnTo>
                    <a:lnTo>
                      <a:pt x="45339" y="464820"/>
                    </a:lnTo>
                    <a:lnTo>
                      <a:pt x="45339" y="466535"/>
                    </a:lnTo>
                    <a:lnTo>
                      <a:pt x="44482" y="467392"/>
                    </a:lnTo>
                    <a:lnTo>
                      <a:pt x="43624" y="468249"/>
                    </a:lnTo>
                    <a:lnTo>
                      <a:pt x="42767" y="469106"/>
                    </a:lnTo>
                    <a:lnTo>
                      <a:pt x="42767" y="470821"/>
                    </a:lnTo>
                    <a:lnTo>
                      <a:pt x="41910" y="473393"/>
                    </a:lnTo>
                    <a:lnTo>
                      <a:pt x="41053" y="475107"/>
                    </a:lnTo>
                    <a:lnTo>
                      <a:pt x="40195" y="475964"/>
                    </a:lnTo>
                    <a:lnTo>
                      <a:pt x="37624" y="478536"/>
                    </a:lnTo>
                    <a:lnTo>
                      <a:pt x="36767" y="479393"/>
                    </a:lnTo>
                    <a:lnTo>
                      <a:pt x="35909" y="480250"/>
                    </a:lnTo>
                    <a:lnTo>
                      <a:pt x="35052" y="480250"/>
                    </a:lnTo>
                    <a:lnTo>
                      <a:pt x="34195" y="479393"/>
                    </a:lnTo>
                    <a:lnTo>
                      <a:pt x="33338" y="479393"/>
                    </a:lnTo>
                    <a:lnTo>
                      <a:pt x="33338" y="478536"/>
                    </a:lnTo>
                    <a:lnTo>
                      <a:pt x="32480" y="477679"/>
                    </a:lnTo>
                    <a:lnTo>
                      <a:pt x="31623" y="476821"/>
                    </a:lnTo>
                    <a:lnTo>
                      <a:pt x="30766" y="476821"/>
                    </a:lnTo>
                    <a:lnTo>
                      <a:pt x="30766" y="476821"/>
                    </a:lnTo>
                    <a:lnTo>
                      <a:pt x="29051" y="476821"/>
                    </a:lnTo>
                    <a:lnTo>
                      <a:pt x="28194" y="476821"/>
                    </a:lnTo>
                    <a:lnTo>
                      <a:pt x="26479" y="477679"/>
                    </a:lnTo>
                    <a:lnTo>
                      <a:pt x="25622" y="477679"/>
                    </a:lnTo>
                    <a:lnTo>
                      <a:pt x="23908" y="477679"/>
                    </a:lnTo>
                    <a:lnTo>
                      <a:pt x="22193" y="476821"/>
                    </a:lnTo>
                    <a:lnTo>
                      <a:pt x="20479" y="475964"/>
                    </a:lnTo>
                    <a:lnTo>
                      <a:pt x="17907" y="475964"/>
                    </a:lnTo>
                    <a:lnTo>
                      <a:pt x="16192" y="475964"/>
                    </a:lnTo>
                    <a:lnTo>
                      <a:pt x="6001" y="470059"/>
                    </a:lnTo>
                    <a:lnTo>
                      <a:pt x="5144" y="470059"/>
                    </a:lnTo>
                    <a:lnTo>
                      <a:pt x="2572" y="473488"/>
                    </a:lnTo>
                    <a:lnTo>
                      <a:pt x="2572" y="476060"/>
                    </a:lnTo>
                    <a:lnTo>
                      <a:pt x="2572" y="477774"/>
                    </a:lnTo>
                    <a:lnTo>
                      <a:pt x="2572" y="478631"/>
                    </a:lnTo>
                    <a:lnTo>
                      <a:pt x="2572" y="478631"/>
                    </a:lnTo>
                    <a:lnTo>
                      <a:pt x="1715" y="479488"/>
                    </a:lnTo>
                    <a:lnTo>
                      <a:pt x="857" y="480346"/>
                    </a:lnTo>
                    <a:lnTo>
                      <a:pt x="0" y="482060"/>
                    </a:lnTo>
                    <a:lnTo>
                      <a:pt x="0" y="482060"/>
                    </a:lnTo>
                    <a:lnTo>
                      <a:pt x="0" y="482918"/>
                    </a:lnTo>
                    <a:lnTo>
                      <a:pt x="857" y="482918"/>
                    </a:lnTo>
                    <a:lnTo>
                      <a:pt x="4286" y="483775"/>
                    </a:lnTo>
                    <a:lnTo>
                      <a:pt x="5144" y="483775"/>
                    </a:lnTo>
                    <a:lnTo>
                      <a:pt x="6858" y="485489"/>
                    </a:lnTo>
                    <a:lnTo>
                      <a:pt x="7715" y="485489"/>
                    </a:lnTo>
                    <a:lnTo>
                      <a:pt x="8572" y="485489"/>
                    </a:lnTo>
                    <a:lnTo>
                      <a:pt x="9430" y="486346"/>
                    </a:lnTo>
                    <a:lnTo>
                      <a:pt x="10287" y="486346"/>
                    </a:lnTo>
                    <a:lnTo>
                      <a:pt x="11144" y="488061"/>
                    </a:lnTo>
                    <a:lnTo>
                      <a:pt x="11144" y="488918"/>
                    </a:lnTo>
                    <a:lnTo>
                      <a:pt x="11144" y="489775"/>
                    </a:lnTo>
                    <a:lnTo>
                      <a:pt x="11144" y="492347"/>
                    </a:lnTo>
                    <a:lnTo>
                      <a:pt x="11144" y="494062"/>
                    </a:lnTo>
                    <a:lnTo>
                      <a:pt x="10287" y="496633"/>
                    </a:lnTo>
                    <a:lnTo>
                      <a:pt x="8572" y="504254"/>
                    </a:lnTo>
                    <a:lnTo>
                      <a:pt x="8572" y="504254"/>
                    </a:lnTo>
                    <a:lnTo>
                      <a:pt x="8572" y="505111"/>
                    </a:lnTo>
                    <a:lnTo>
                      <a:pt x="7715" y="505111"/>
                    </a:lnTo>
                    <a:lnTo>
                      <a:pt x="5144" y="505968"/>
                    </a:lnTo>
                    <a:lnTo>
                      <a:pt x="5144" y="506825"/>
                    </a:lnTo>
                    <a:lnTo>
                      <a:pt x="5144" y="507682"/>
                    </a:lnTo>
                    <a:lnTo>
                      <a:pt x="5144" y="511112"/>
                    </a:lnTo>
                    <a:lnTo>
                      <a:pt x="5144" y="512826"/>
                    </a:lnTo>
                    <a:lnTo>
                      <a:pt x="5144" y="514540"/>
                    </a:lnTo>
                    <a:lnTo>
                      <a:pt x="4286" y="516255"/>
                    </a:lnTo>
                    <a:lnTo>
                      <a:pt x="2572" y="518827"/>
                    </a:lnTo>
                    <a:lnTo>
                      <a:pt x="1715" y="521398"/>
                    </a:lnTo>
                    <a:lnTo>
                      <a:pt x="1715" y="523113"/>
                    </a:lnTo>
                    <a:lnTo>
                      <a:pt x="2572" y="524828"/>
                    </a:lnTo>
                    <a:lnTo>
                      <a:pt x="3429" y="529876"/>
                    </a:lnTo>
                    <a:lnTo>
                      <a:pt x="4286" y="530733"/>
                    </a:lnTo>
                    <a:lnTo>
                      <a:pt x="5144" y="531590"/>
                    </a:lnTo>
                    <a:lnTo>
                      <a:pt x="6858" y="532447"/>
                    </a:lnTo>
                    <a:lnTo>
                      <a:pt x="6858" y="532447"/>
                    </a:lnTo>
                    <a:lnTo>
                      <a:pt x="7715" y="533305"/>
                    </a:lnTo>
                    <a:lnTo>
                      <a:pt x="8572" y="534162"/>
                    </a:lnTo>
                    <a:lnTo>
                      <a:pt x="9430" y="535019"/>
                    </a:lnTo>
                    <a:lnTo>
                      <a:pt x="10287" y="537591"/>
                    </a:lnTo>
                    <a:lnTo>
                      <a:pt x="11144" y="539305"/>
                    </a:lnTo>
                    <a:lnTo>
                      <a:pt x="12001" y="540163"/>
                    </a:lnTo>
                    <a:lnTo>
                      <a:pt x="12001" y="540163"/>
                    </a:lnTo>
                    <a:lnTo>
                      <a:pt x="12859" y="540163"/>
                    </a:lnTo>
                    <a:lnTo>
                      <a:pt x="13716" y="540163"/>
                    </a:lnTo>
                    <a:lnTo>
                      <a:pt x="15430" y="539305"/>
                    </a:lnTo>
                    <a:lnTo>
                      <a:pt x="16288" y="539305"/>
                    </a:lnTo>
                    <a:lnTo>
                      <a:pt x="17145" y="539305"/>
                    </a:lnTo>
                    <a:lnTo>
                      <a:pt x="18859" y="539305"/>
                    </a:lnTo>
                    <a:lnTo>
                      <a:pt x="21431" y="539305"/>
                    </a:lnTo>
                    <a:lnTo>
                      <a:pt x="22288" y="540163"/>
                    </a:lnTo>
                    <a:lnTo>
                      <a:pt x="22288" y="540163"/>
                    </a:lnTo>
                    <a:lnTo>
                      <a:pt x="23146" y="541877"/>
                    </a:lnTo>
                    <a:lnTo>
                      <a:pt x="23146" y="542735"/>
                    </a:lnTo>
                    <a:lnTo>
                      <a:pt x="23146" y="543592"/>
                    </a:lnTo>
                    <a:lnTo>
                      <a:pt x="23146" y="544449"/>
                    </a:lnTo>
                    <a:lnTo>
                      <a:pt x="22288" y="545306"/>
                    </a:lnTo>
                    <a:lnTo>
                      <a:pt x="21431" y="546163"/>
                    </a:lnTo>
                    <a:lnTo>
                      <a:pt x="21431" y="547878"/>
                    </a:lnTo>
                    <a:lnTo>
                      <a:pt x="20574" y="547878"/>
                    </a:lnTo>
                    <a:lnTo>
                      <a:pt x="20574" y="548735"/>
                    </a:lnTo>
                    <a:lnTo>
                      <a:pt x="19717" y="548735"/>
                    </a:lnTo>
                    <a:lnTo>
                      <a:pt x="18859" y="548735"/>
                    </a:lnTo>
                    <a:lnTo>
                      <a:pt x="18002" y="548735"/>
                    </a:lnTo>
                    <a:lnTo>
                      <a:pt x="18002" y="548735"/>
                    </a:lnTo>
                    <a:lnTo>
                      <a:pt x="17145" y="548735"/>
                    </a:lnTo>
                    <a:lnTo>
                      <a:pt x="16288" y="548735"/>
                    </a:lnTo>
                    <a:lnTo>
                      <a:pt x="16288" y="549593"/>
                    </a:lnTo>
                    <a:lnTo>
                      <a:pt x="15430" y="550450"/>
                    </a:lnTo>
                    <a:lnTo>
                      <a:pt x="15430" y="551307"/>
                    </a:lnTo>
                    <a:lnTo>
                      <a:pt x="15430" y="553022"/>
                    </a:lnTo>
                    <a:lnTo>
                      <a:pt x="15430" y="553879"/>
                    </a:lnTo>
                    <a:lnTo>
                      <a:pt x="16288" y="555593"/>
                    </a:lnTo>
                    <a:lnTo>
                      <a:pt x="16288" y="556450"/>
                    </a:lnTo>
                    <a:lnTo>
                      <a:pt x="17145" y="557308"/>
                    </a:lnTo>
                    <a:lnTo>
                      <a:pt x="18002" y="558165"/>
                    </a:lnTo>
                    <a:lnTo>
                      <a:pt x="21431" y="559880"/>
                    </a:lnTo>
                    <a:lnTo>
                      <a:pt x="22288" y="560737"/>
                    </a:lnTo>
                    <a:lnTo>
                      <a:pt x="22288" y="560737"/>
                    </a:lnTo>
                    <a:lnTo>
                      <a:pt x="22288" y="561594"/>
                    </a:lnTo>
                    <a:lnTo>
                      <a:pt x="21431" y="562451"/>
                    </a:lnTo>
                    <a:lnTo>
                      <a:pt x="21431" y="563308"/>
                    </a:lnTo>
                    <a:lnTo>
                      <a:pt x="20574" y="564166"/>
                    </a:lnTo>
                    <a:lnTo>
                      <a:pt x="21431" y="565880"/>
                    </a:lnTo>
                    <a:lnTo>
                      <a:pt x="27337" y="566738"/>
                    </a:lnTo>
                    <a:lnTo>
                      <a:pt x="30766" y="567595"/>
                    </a:lnTo>
                    <a:lnTo>
                      <a:pt x="34195" y="567595"/>
                    </a:lnTo>
                    <a:lnTo>
                      <a:pt x="36767" y="568452"/>
                    </a:lnTo>
                    <a:lnTo>
                      <a:pt x="38481" y="568452"/>
                    </a:lnTo>
                    <a:lnTo>
                      <a:pt x="39338" y="568452"/>
                    </a:lnTo>
                    <a:lnTo>
                      <a:pt x="40195" y="567595"/>
                    </a:lnTo>
                    <a:lnTo>
                      <a:pt x="40195" y="567595"/>
                    </a:lnTo>
                    <a:lnTo>
                      <a:pt x="40195" y="566738"/>
                    </a:lnTo>
                    <a:lnTo>
                      <a:pt x="40195" y="563308"/>
                    </a:lnTo>
                    <a:lnTo>
                      <a:pt x="40195" y="562451"/>
                    </a:lnTo>
                    <a:lnTo>
                      <a:pt x="41053" y="561594"/>
                    </a:lnTo>
                    <a:lnTo>
                      <a:pt x="41910" y="559880"/>
                    </a:lnTo>
                    <a:lnTo>
                      <a:pt x="43624" y="557308"/>
                    </a:lnTo>
                    <a:lnTo>
                      <a:pt x="45339" y="556450"/>
                    </a:lnTo>
                    <a:lnTo>
                      <a:pt x="46196" y="555593"/>
                    </a:lnTo>
                    <a:lnTo>
                      <a:pt x="47053" y="555593"/>
                    </a:lnTo>
                    <a:lnTo>
                      <a:pt x="48768" y="557308"/>
                    </a:lnTo>
                    <a:lnTo>
                      <a:pt x="50482" y="557308"/>
                    </a:lnTo>
                    <a:lnTo>
                      <a:pt x="52197" y="557308"/>
                    </a:lnTo>
                    <a:lnTo>
                      <a:pt x="53911" y="557308"/>
                    </a:lnTo>
                    <a:lnTo>
                      <a:pt x="57340" y="557308"/>
                    </a:lnTo>
                    <a:lnTo>
                      <a:pt x="59055" y="556450"/>
                    </a:lnTo>
                    <a:lnTo>
                      <a:pt x="59912" y="556450"/>
                    </a:lnTo>
                    <a:lnTo>
                      <a:pt x="60769" y="557308"/>
                    </a:lnTo>
                    <a:lnTo>
                      <a:pt x="60769" y="558165"/>
                    </a:lnTo>
                    <a:lnTo>
                      <a:pt x="60769" y="559022"/>
                    </a:lnTo>
                    <a:lnTo>
                      <a:pt x="60769" y="559880"/>
                    </a:lnTo>
                    <a:lnTo>
                      <a:pt x="60769" y="560737"/>
                    </a:lnTo>
                    <a:lnTo>
                      <a:pt x="62484" y="561594"/>
                    </a:lnTo>
                    <a:lnTo>
                      <a:pt x="65056" y="562451"/>
                    </a:lnTo>
                    <a:lnTo>
                      <a:pt x="66770" y="562451"/>
                    </a:lnTo>
                    <a:lnTo>
                      <a:pt x="67627" y="563308"/>
                    </a:lnTo>
                    <a:lnTo>
                      <a:pt x="69342" y="565880"/>
                    </a:lnTo>
                    <a:lnTo>
                      <a:pt x="71056" y="566738"/>
                    </a:lnTo>
                    <a:lnTo>
                      <a:pt x="71914" y="567595"/>
                    </a:lnTo>
                    <a:lnTo>
                      <a:pt x="73628" y="567595"/>
                    </a:lnTo>
                    <a:lnTo>
                      <a:pt x="74486" y="567595"/>
                    </a:lnTo>
                    <a:lnTo>
                      <a:pt x="74486" y="565880"/>
                    </a:lnTo>
                    <a:lnTo>
                      <a:pt x="74486" y="565023"/>
                    </a:lnTo>
                    <a:lnTo>
                      <a:pt x="71914" y="562451"/>
                    </a:lnTo>
                    <a:lnTo>
                      <a:pt x="71914" y="561594"/>
                    </a:lnTo>
                    <a:lnTo>
                      <a:pt x="71056" y="560737"/>
                    </a:lnTo>
                    <a:lnTo>
                      <a:pt x="71056" y="559022"/>
                    </a:lnTo>
                    <a:lnTo>
                      <a:pt x="71056" y="558165"/>
                    </a:lnTo>
                    <a:lnTo>
                      <a:pt x="71914" y="557308"/>
                    </a:lnTo>
                    <a:lnTo>
                      <a:pt x="72771" y="556450"/>
                    </a:lnTo>
                    <a:lnTo>
                      <a:pt x="73628" y="556450"/>
                    </a:lnTo>
                    <a:lnTo>
                      <a:pt x="74486" y="556450"/>
                    </a:lnTo>
                    <a:lnTo>
                      <a:pt x="76200" y="557308"/>
                    </a:lnTo>
                    <a:lnTo>
                      <a:pt x="77057" y="558165"/>
                    </a:lnTo>
                    <a:lnTo>
                      <a:pt x="77057" y="558165"/>
                    </a:lnTo>
                    <a:lnTo>
                      <a:pt x="77915" y="559022"/>
                    </a:lnTo>
                    <a:lnTo>
                      <a:pt x="77915" y="559880"/>
                    </a:lnTo>
                    <a:lnTo>
                      <a:pt x="77915" y="560737"/>
                    </a:lnTo>
                    <a:lnTo>
                      <a:pt x="77915" y="560737"/>
                    </a:lnTo>
                    <a:lnTo>
                      <a:pt x="78772" y="561594"/>
                    </a:lnTo>
                    <a:lnTo>
                      <a:pt x="81344" y="561594"/>
                    </a:lnTo>
                    <a:lnTo>
                      <a:pt x="83058" y="562451"/>
                    </a:lnTo>
                    <a:lnTo>
                      <a:pt x="83058" y="562451"/>
                    </a:lnTo>
                    <a:lnTo>
                      <a:pt x="83058" y="563308"/>
                    </a:lnTo>
                    <a:lnTo>
                      <a:pt x="84582" y="563975"/>
                    </a:lnTo>
                    <a:lnTo>
                      <a:pt x="84582" y="564832"/>
                    </a:lnTo>
                    <a:lnTo>
                      <a:pt x="84582" y="565690"/>
                    </a:lnTo>
                    <a:lnTo>
                      <a:pt x="84582" y="566547"/>
                    </a:lnTo>
                    <a:lnTo>
                      <a:pt x="85439" y="569976"/>
                    </a:lnTo>
                    <a:lnTo>
                      <a:pt x="85439" y="570833"/>
                    </a:lnTo>
                    <a:lnTo>
                      <a:pt x="85439" y="571690"/>
                    </a:lnTo>
                    <a:lnTo>
                      <a:pt x="85439" y="571690"/>
                    </a:lnTo>
                    <a:lnTo>
                      <a:pt x="84582" y="572548"/>
                    </a:lnTo>
                    <a:lnTo>
                      <a:pt x="83725" y="573405"/>
                    </a:lnTo>
                    <a:lnTo>
                      <a:pt x="82867" y="573405"/>
                    </a:lnTo>
                    <a:lnTo>
                      <a:pt x="77819" y="573405"/>
                    </a:lnTo>
                    <a:lnTo>
                      <a:pt x="76105" y="574262"/>
                    </a:lnTo>
                    <a:lnTo>
                      <a:pt x="75247" y="574262"/>
                    </a:lnTo>
                    <a:lnTo>
                      <a:pt x="74390" y="574262"/>
                    </a:lnTo>
                    <a:lnTo>
                      <a:pt x="72676" y="576834"/>
                    </a:lnTo>
                    <a:lnTo>
                      <a:pt x="70961" y="578548"/>
                    </a:lnTo>
                    <a:lnTo>
                      <a:pt x="70104" y="578548"/>
                    </a:lnTo>
                    <a:lnTo>
                      <a:pt x="70104" y="579215"/>
                    </a:lnTo>
                    <a:lnTo>
                      <a:pt x="70961" y="579215"/>
                    </a:lnTo>
                    <a:lnTo>
                      <a:pt x="71819" y="579215"/>
                    </a:lnTo>
                    <a:lnTo>
                      <a:pt x="72676" y="580072"/>
                    </a:lnTo>
                    <a:lnTo>
                      <a:pt x="73533" y="580072"/>
                    </a:lnTo>
                    <a:lnTo>
                      <a:pt x="74390" y="580930"/>
                    </a:lnTo>
                    <a:lnTo>
                      <a:pt x="73533" y="581787"/>
                    </a:lnTo>
                    <a:lnTo>
                      <a:pt x="73533" y="582644"/>
                    </a:lnTo>
                    <a:lnTo>
                      <a:pt x="70961" y="586073"/>
                    </a:lnTo>
                    <a:lnTo>
                      <a:pt x="70104" y="586930"/>
                    </a:lnTo>
                    <a:lnTo>
                      <a:pt x="70104" y="586930"/>
                    </a:lnTo>
                    <a:lnTo>
                      <a:pt x="70961" y="587788"/>
                    </a:lnTo>
                    <a:lnTo>
                      <a:pt x="70961" y="588645"/>
                    </a:lnTo>
                    <a:lnTo>
                      <a:pt x="72676" y="590360"/>
                    </a:lnTo>
                    <a:lnTo>
                      <a:pt x="72676" y="590360"/>
                    </a:lnTo>
                    <a:lnTo>
                      <a:pt x="72676" y="592931"/>
                    </a:lnTo>
                    <a:lnTo>
                      <a:pt x="73533" y="593788"/>
                    </a:lnTo>
                    <a:lnTo>
                      <a:pt x="73533" y="593788"/>
                    </a:lnTo>
                    <a:lnTo>
                      <a:pt x="74390" y="594646"/>
                    </a:lnTo>
                    <a:lnTo>
                      <a:pt x="75247" y="595503"/>
                    </a:lnTo>
                    <a:lnTo>
                      <a:pt x="76105" y="595503"/>
                    </a:lnTo>
                    <a:lnTo>
                      <a:pt x="76962" y="596360"/>
                    </a:lnTo>
                    <a:lnTo>
                      <a:pt x="76962" y="597218"/>
                    </a:lnTo>
                    <a:lnTo>
                      <a:pt x="76962" y="599789"/>
                    </a:lnTo>
                    <a:lnTo>
                      <a:pt x="76105" y="599789"/>
                    </a:lnTo>
                    <a:lnTo>
                      <a:pt x="76962" y="600647"/>
                    </a:lnTo>
                    <a:lnTo>
                      <a:pt x="78676" y="603218"/>
                    </a:lnTo>
                    <a:lnTo>
                      <a:pt x="78676" y="604075"/>
                    </a:lnTo>
                    <a:lnTo>
                      <a:pt x="78676" y="604933"/>
                    </a:lnTo>
                    <a:lnTo>
                      <a:pt x="77819" y="605790"/>
                    </a:lnTo>
                    <a:lnTo>
                      <a:pt x="76962" y="605790"/>
                    </a:lnTo>
                    <a:lnTo>
                      <a:pt x="76105" y="605790"/>
                    </a:lnTo>
                    <a:lnTo>
                      <a:pt x="73533" y="604075"/>
                    </a:lnTo>
                    <a:lnTo>
                      <a:pt x="71819" y="604075"/>
                    </a:lnTo>
                    <a:lnTo>
                      <a:pt x="70961" y="604075"/>
                    </a:lnTo>
                    <a:lnTo>
                      <a:pt x="70104" y="603218"/>
                    </a:lnTo>
                    <a:lnTo>
                      <a:pt x="70961" y="602361"/>
                    </a:lnTo>
                    <a:lnTo>
                      <a:pt x="70961" y="601504"/>
                    </a:lnTo>
                    <a:lnTo>
                      <a:pt x="70961" y="599789"/>
                    </a:lnTo>
                    <a:lnTo>
                      <a:pt x="70104" y="598932"/>
                    </a:lnTo>
                    <a:lnTo>
                      <a:pt x="68390" y="596360"/>
                    </a:lnTo>
                    <a:lnTo>
                      <a:pt x="66675" y="592931"/>
                    </a:lnTo>
                    <a:lnTo>
                      <a:pt x="66675" y="592074"/>
                    </a:lnTo>
                    <a:lnTo>
                      <a:pt x="65818" y="592074"/>
                    </a:lnTo>
                    <a:lnTo>
                      <a:pt x="65818" y="591217"/>
                    </a:lnTo>
                    <a:lnTo>
                      <a:pt x="64103" y="591217"/>
                    </a:lnTo>
                    <a:lnTo>
                      <a:pt x="63246" y="591217"/>
                    </a:lnTo>
                    <a:lnTo>
                      <a:pt x="62389" y="591217"/>
                    </a:lnTo>
                    <a:lnTo>
                      <a:pt x="61531" y="590360"/>
                    </a:lnTo>
                    <a:lnTo>
                      <a:pt x="60674" y="590360"/>
                    </a:lnTo>
                    <a:lnTo>
                      <a:pt x="53911" y="592074"/>
                    </a:lnTo>
                    <a:lnTo>
                      <a:pt x="52197" y="592074"/>
                    </a:lnTo>
                    <a:lnTo>
                      <a:pt x="49625" y="592074"/>
                    </a:lnTo>
                    <a:lnTo>
                      <a:pt x="47911" y="592931"/>
                    </a:lnTo>
                    <a:lnTo>
                      <a:pt x="46196" y="592931"/>
                    </a:lnTo>
                    <a:lnTo>
                      <a:pt x="45339" y="592074"/>
                    </a:lnTo>
                    <a:lnTo>
                      <a:pt x="44482" y="591217"/>
                    </a:lnTo>
                    <a:lnTo>
                      <a:pt x="43624" y="589502"/>
                    </a:lnTo>
                    <a:lnTo>
                      <a:pt x="42767" y="589502"/>
                    </a:lnTo>
                    <a:lnTo>
                      <a:pt x="41910" y="588645"/>
                    </a:lnTo>
                    <a:lnTo>
                      <a:pt x="41053" y="588645"/>
                    </a:lnTo>
                    <a:lnTo>
                      <a:pt x="37624" y="587788"/>
                    </a:lnTo>
                    <a:lnTo>
                      <a:pt x="35909" y="586930"/>
                    </a:lnTo>
                    <a:lnTo>
                      <a:pt x="34195" y="586930"/>
                    </a:lnTo>
                    <a:lnTo>
                      <a:pt x="33338" y="586073"/>
                    </a:lnTo>
                    <a:lnTo>
                      <a:pt x="33338" y="585216"/>
                    </a:lnTo>
                    <a:lnTo>
                      <a:pt x="32480" y="584359"/>
                    </a:lnTo>
                    <a:lnTo>
                      <a:pt x="32480" y="583502"/>
                    </a:lnTo>
                    <a:lnTo>
                      <a:pt x="31623" y="580930"/>
                    </a:lnTo>
                    <a:lnTo>
                      <a:pt x="30766" y="575024"/>
                    </a:lnTo>
                    <a:lnTo>
                      <a:pt x="30766" y="574167"/>
                    </a:lnTo>
                    <a:lnTo>
                      <a:pt x="29908" y="573310"/>
                    </a:lnTo>
                    <a:lnTo>
                      <a:pt x="29908" y="573310"/>
                    </a:lnTo>
                    <a:lnTo>
                      <a:pt x="29051" y="574167"/>
                    </a:lnTo>
                    <a:lnTo>
                      <a:pt x="29051" y="574167"/>
                    </a:lnTo>
                    <a:lnTo>
                      <a:pt x="28194" y="574167"/>
                    </a:lnTo>
                    <a:lnTo>
                      <a:pt x="27337" y="573310"/>
                    </a:lnTo>
                    <a:lnTo>
                      <a:pt x="26479" y="572453"/>
                    </a:lnTo>
                    <a:lnTo>
                      <a:pt x="25622" y="571595"/>
                    </a:lnTo>
                    <a:lnTo>
                      <a:pt x="24765" y="571595"/>
                    </a:lnTo>
                    <a:lnTo>
                      <a:pt x="24765" y="571595"/>
                    </a:lnTo>
                    <a:lnTo>
                      <a:pt x="23908" y="572453"/>
                    </a:lnTo>
                    <a:lnTo>
                      <a:pt x="23050" y="572453"/>
                    </a:lnTo>
                    <a:lnTo>
                      <a:pt x="22193" y="574167"/>
                    </a:lnTo>
                    <a:lnTo>
                      <a:pt x="22193" y="574167"/>
                    </a:lnTo>
                    <a:lnTo>
                      <a:pt x="20479" y="574167"/>
                    </a:lnTo>
                    <a:lnTo>
                      <a:pt x="19621" y="575024"/>
                    </a:lnTo>
                    <a:lnTo>
                      <a:pt x="18764" y="575881"/>
                    </a:lnTo>
                    <a:lnTo>
                      <a:pt x="18764" y="576739"/>
                    </a:lnTo>
                    <a:lnTo>
                      <a:pt x="19621" y="577596"/>
                    </a:lnTo>
                    <a:lnTo>
                      <a:pt x="26384" y="583502"/>
                    </a:lnTo>
                    <a:lnTo>
                      <a:pt x="27242" y="585216"/>
                    </a:lnTo>
                    <a:lnTo>
                      <a:pt x="27242" y="586073"/>
                    </a:lnTo>
                    <a:lnTo>
                      <a:pt x="27242" y="586930"/>
                    </a:lnTo>
                    <a:lnTo>
                      <a:pt x="26384" y="587788"/>
                    </a:lnTo>
                    <a:lnTo>
                      <a:pt x="26384" y="588645"/>
                    </a:lnTo>
                    <a:lnTo>
                      <a:pt x="26384" y="590360"/>
                    </a:lnTo>
                    <a:lnTo>
                      <a:pt x="26384" y="592074"/>
                    </a:lnTo>
                    <a:lnTo>
                      <a:pt x="27242" y="592931"/>
                    </a:lnTo>
                    <a:lnTo>
                      <a:pt x="28099" y="592931"/>
                    </a:lnTo>
                    <a:lnTo>
                      <a:pt x="28099" y="593788"/>
                    </a:lnTo>
                    <a:lnTo>
                      <a:pt x="29813" y="595503"/>
                    </a:lnTo>
                    <a:lnTo>
                      <a:pt x="30670" y="598075"/>
                    </a:lnTo>
                    <a:lnTo>
                      <a:pt x="31528" y="598932"/>
                    </a:lnTo>
                    <a:lnTo>
                      <a:pt x="34099" y="601504"/>
                    </a:lnTo>
                    <a:lnTo>
                      <a:pt x="34099" y="601504"/>
                    </a:lnTo>
                    <a:lnTo>
                      <a:pt x="34957" y="603218"/>
                    </a:lnTo>
                    <a:lnTo>
                      <a:pt x="34957" y="604075"/>
                    </a:lnTo>
                    <a:lnTo>
                      <a:pt x="34099" y="604933"/>
                    </a:lnTo>
                    <a:lnTo>
                      <a:pt x="34099" y="604933"/>
                    </a:lnTo>
                    <a:lnTo>
                      <a:pt x="33242" y="605790"/>
                    </a:lnTo>
                    <a:lnTo>
                      <a:pt x="33242" y="605790"/>
                    </a:lnTo>
                    <a:lnTo>
                      <a:pt x="32385" y="606647"/>
                    </a:lnTo>
                    <a:lnTo>
                      <a:pt x="32385" y="607505"/>
                    </a:lnTo>
                    <a:lnTo>
                      <a:pt x="32385" y="608362"/>
                    </a:lnTo>
                    <a:lnTo>
                      <a:pt x="31528" y="609219"/>
                    </a:lnTo>
                    <a:lnTo>
                      <a:pt x="31528" y="609219"/>
                    </a:lnTo>
                    <a:lnTo>
                      <a:pt x="29813" y="611791"/>
                    </a:lnTo>
                    <a:lnTo>
                      <a:pt x="28956" y="612648"/>
                    </a:lnTo>
                    <a:lnTo>
                      <a:pt x="28956" y="613505"/>
                    </a:lnTo>
                    <a:lnTo>
                      <a:pt x="28956" y="615220"/>
                    </a:lnTo>
                    <a:lnTo>
                      <a:pt x="28956" y="617791"/>
                    </a:lnTo>
                    <a:lnTo>
                      <a:pt x="29813" y="619506"/>
                    </a:lnTo>
                    <a:lnTo>
                      <a:pt x="30670" y="621221"/>
                    </a:lnTo>
                    <a:lnTo>
                      <a:pt x="30670" y="621221"/>
                    </a:lnTo>
                    <a:lnTo>
                      <a:pt x="31528" y="621221"/>
                    </a:lnTo>
                    <a:lnTo>
                      <a:pt x="32385" y="620363"/>
                    </a:lnTo>
                    <a:lnTo>
                      <a:pt x="32385" y="619506"/>
                    </a:lnTo>
                    <a:lnTo>
                      <a:pt x="32385" y="618649"/>
                    </a:lnTo>
                    <a:lnTo>
                      <a:pt x="32385" y="618649"/>
                    </a:lnTo>
                    <a:lnTo>
                      <a:pt x="33242" y="618649"/>
                    </a:lnTo>
                    <a:lnTo>
                      <a:pt x="33242" y="618649"/>
                    </a:lnTo>
                    <a:lnTo>
                      <a:pt x="34099" y="618649"/>
                    </a:lnTo>
                    <a:lnTo>
                      <a:pt x="34099" y="618649"/>
                    </a:lnTo>
                    <a:lnTo>
                      <a:pt x="34957" y="619506"/>
                    </a:lnTo>
                    <a:lnTo>
                      <a:pt x="35814" y="621221"/>
                    </a:lnTo>
                    <a:lnTo>
                      <a:pt x="37528" y="622078"/>
                    </a:lnTo>
                    <a:lnTo>
                      <a:pt x="38386" y="622078"/>
                    </a:lnTo>
                    <a:lnTo>
                      <a:pt x="39243" y="622078"/>
                    </a:lnTo>
                    <a:lnTo>
                      <a:pt x="39243" y="621221"/>
                    </a:lnTo>
                    <a:lnTo>
                      <a:pt x="40100" y="620363"/>
                    </a:lnTo>
                    <a:lnTo>
                      <a:pt x="40100" y="619506"/>
                    </a:lnTo>
                    <a:lnTo>
                      <a:pt x="40957" y="619506"/>
                    </a:lnTo>
                    <a:lnTo>
                      <a:pt x="41815" y="619506"/>
                    </a:lnTo>
                    <a:lnTo>
                      <a:pt x="43529" y="620363"/>
                    </a:lnTo>
                    <a:lnTo>
                      <a:pt x="44386" y="620363"/>
                    </a:lnTo>
                    <a:lnTo>
                      <a:pt x="46101" y="620363"/>
                    </a:lnTo>
                    <a:lnTo>
                      <a:pt x="46958" y="620363"/>
                    </a:lnTo>
                    <a:lnTo>
                      <a:pt x="47815" y="619506"/>
                    </a:lnTo>
                    <a:lnTo>
                      <a:pt x="48673" y="618649"/>
                    </a:lnTo>
                    <a:lnTo>
                      <a:pt x="48673" y="617791"/>
                    </a:lnTo>
                    <a:lnTo>
                      <a:pt x="47815" y="616077"/>
                    </a:lnTo>
                    <a:lnTo>
                      <a:pt x="47815" y="615220"/>
                    </a:lnTo>
                    <a:lnTo>
                      <a:pt x="47815" y="614363"/>
                    </a:lnTo>
                    <a:lnTo>
                      <a:pt x="47815" y="612648"/>
                    </a:lnTo>
                    <a:lnTo>
                      <a:pt x="47815" y="611791"/>
                    </a:lnTo>
                    <a:lnTo>
                      <a:pt x="46958" y="611791"/>
                    </a:lnTo>
                    <a:lnTo>
                      <a:pt x="46101" y="610933"/>
                    </a:lnTo>
                    <a:lnTo>
                      <a:pt x="45244" y="610076"/>
                    </a:lnTo>
                    <a:lnTo>
                      <a:pt x="44386" y="610076"/>
                    </a:lnTo>
                    <a:lnTo>
                      <a:pt x="44386" y="609219"/>
                    </a:lnTo>
                    <a:lnTo>
                      <a:pt x="45244" y="609219"/>
                    </a:lnTo>
                    <a:lnTo>
                      <a:pt x="46958" y="608362"/>
                    </a:lnTo>
                    <a:lnTo>
                      <a:pt x="47815" y="608362"/>
                    </a:lnTo>
                    <a:lnTo>
                      <a:pt x="47815" y="607505"/>
                    </a:lnTo>
                    <a:lnTo>
                      <a:pt x="47815" y="607505"/>
                    </a:lnTo>
                    <a:lnTo>
                      <a:pt x="47815" y="606647"/>
                    </a:lnTo>
                    <a:lnTo>
                      <a:pt x="47815" y="605790"/>
                    </a:lnTo>
                    <a:lnTo>
                      <a:pt x="47815" y="605790"/>
                    </a:lnTo>
                    <a:lnTo>
                      <a:pt x="47815" y="604933"/>
                    </a:lnTo>
                    <a:lnTo>
                      <a:pt x="48673" y="604933"/>
                    </a:lnTo>
                    <a:lnTo>
                      <a:pt x="48673" y="604075"/>
                    </a:lnTo>
                    <a:lnTo>
                      <a:pt x="49530" y="603218"/>
                    </a:lnTo>
                    <a:lnTo>
                      <a:pt x="49530" y="603218"/>
                    </a:lnTo>
                    <a:lnTo>
                      <a:pt x="50387" y="604075"/>
                    </a:lnTo>
                    <a:lnTo>
                      <a:pt x="50387" y="604075"/>
                    </a:lnTo>
                    <a:lnTo>
                      <a:pt x="50387" y="604933"/>
                    </a:lnTo>
                    <a:lnTo>
                      <a:pt x="50387" y="605790"/>
                    </a:lnTo>
                    <a:lnTo>
                      <a:pt x="51244" y="606647"/>
                    </a:lnTo>
                    <a:lnTo>
                      <a:pt x="51244" y="607505"/>
                    </a:lnTo>
                    <a:lnTo>
                      <a:pt x="52102" y="607505"/>
                    </a:lnTo>
                    <a:lnTo>
                      <a:pt x="53816" y="605790"/>
                    </a:lnTo>
                    <a:lnTo>
                      <a:pt x="54673" y="605790"/>
                    </a:lnTo>
                    <a:lnTo>
                      <a:pt x="55531" y="605790"/>
                    </a:lnTo>
                    <a:lnTo>
                      <a:pt x="56388" y="605790"/>
                    </a:lnTo>
                    <a:lnTo>
                      <a:pt x="58102" y="608362"/>
                    </a:lnTo>
                    <a:lnTo>
                      <a:pt x="59817" y="608362"/>
                    </a:lnTo>
                    <a:lnTo>
                      <a:pt x="61531" y="608362"/>
                    </a:lnTo>
                    <a:lnTo>
                      <a:pt x="62389" y="608362"/>
                    </a:lnTo>
                    <a:lnTo>
                      <a:pt x="63246" y="609219"/>
                    </a:lnTo>
                    <a:lnTo>
                      <a:pt x="64960" y="610076"/>
                    </a:lnTo>
                    <a:lnTo>
                      <a:pt x="65818" y="610076"/>
                    </a:lnTo>
                    <a:lnTo>
                      <a:pt x="67532" y="610076"/>
                    </a:lnTo>
                    <a:lnTo>
                      <a:pt x="68390" y="610076"/>
                    </a:lnTo>
                    <a:lnTo>
                      <a:pt x="69247" y="610076"/>
                    </a:lnTo>
                    <a:lnTo>
                      <a:pt x="70961" y="610933"/>
                    </a:lnTo>
                    <a:lnTo>
                      <a:pt x="73533" y="610933"/>
                    </a:lnTo>
                    <a:lnTo>
                      <a:pt x="76105" y="610933"/>
                    </a:lnTo>
                    <a:lnTo>
                      <a:pt x="76962" y="610933"/>
                    </a:lnTo>
                    <a:lnTo>
                      <a:pt x="77819" y="611791"/>
                    </a:lnTo>
                    <a:lnTo>
                      <a:pt x="77819" y="612648"/>
                    </a:lnTo>
                    <a:lnTo>
                      <a:pt x="78676" y="613505"/>
                    </a:lnTo>
                    <a:lnTo>
                      <a:pt x="78676" y="614363"/>
                    </a:lnTo>
                    <a:lnTo>
                      <a:pt x="80391" y="615220"/>
                    </a:lnTo>
                    <a:lnTo>
                      <a:pt x="81248" y="616077"/>
                    </a:lnTo>
                    <a:lnTo>
                      <a:pt x="81248" y="617791"/>
                    </a:lnTo>
                    <a:lnTo>
                      <a:pt x="82105" y="618649"/>
                    </a:lnTo>
                    <a:lnTo>
                      <a:pt x="82963" y="621221"/>
                    </a:lnTo>
                    <a:lnTo>
                      <a:pt x="82963" y="622078"/>
                    </a:lnTo>
                    <a:lnTo>
                      <a:pt x="82963" y="625507"/>
                    </a:lnTo>
                    <a:lnTo>
                      <a:pt x="82963" y="626840"/>
                    </a:lnTo>
                    <a:lnTo>
                      <a:pt x="83820" y="626840"/>
                    </a:lnTo>
                    <a:lnTo>
                      <a:pt x="84582" y="626840"/>
                    </a:lnTo>
                    <a:lnTo>
                      <a:pt x="85439" y="626840"/>
                    </a:lnTo>
                    <a:lnTo>
                      <a:pt x="85439" y="626840"/>
                    </a:lnTo>
                    <a:lnTo>
                      <a:pt x="88011" y="626840"/>
                    </a:lnTo>
                    <a:lnTo>
                      <a:pt x="88868" y="626840"/>
                    </a:lnTo>
                    <a:lnTo>
                      <a:pt x="89725" y="626840"/>
                    </a:lnTo>
                    <a:lnTo>
                      <a:pt x="92297" y="624269"/>
                    </a:lnTo>
                    <a:lnTo>
                      <a:pt x="94869" y="622554"/>
                    </a:lnTo>
                    <a:lnTo>
                      <a:pt x="96583" y="622554"/>
                    </a:lnTo>
                    <a:lnTo>
                      <a:pt x="98298" y="622554"/>
                    </a:lnTo>
                    <a:lnTo>
                      <a:pt x="100013" y="622554"/>
                    </a:lnTo>
                    <a:lnTo>
                      <a:pt x="100013" y="622554"/>
                    </a:lnTo>
                    <a:lnTo>
                      <a:pt x="100013" y="620839"/>
                    </a:lnTo>
                    <a:lnTo>
                      <a:pt x="100013" y="619982"/>
                    </a:lnTo>
                    <a:lnTo>
                      <a:pt x="100013" y="619125"/>
                    </a:lnTo>
                    <a:lnTo>
                      <a:pt x="100870" y="619125"/>
                    </a:lnTo>
                    <a:lnTo>
                      <a:pt x="100870" y="618268"/>
                    </a:lnTo>
                    <a:lnTo>
                      <a:pt x="102584" y="618268"/>
                    </a:lnTo>
                    <a:lnTo>
                      <a:pt x="103442" y="617411"/>
                    </a:lnTo>
                    <a:lnTo>
                      <a:pt x="105156" y="617411"/>
                    </a:lnTo>
                    <a:lnTo>
                      <a:pt x="106013" y="618268"/>
                    </a:lnTo>
                    <a:lnTo>
                      <a:pt x="106870" y="619125"/>
                    </a:lnTo>
                    <a:lnTo>
                      <a:pt x="106870" y="619125"/>
                    </a:lnTo>
                    <a:lnTo>
                      <a:pt x="107728" y="619982"/>
                    </a:lnTo>
                    <a:lnTo>
                      <a:pt x="108585" y="619982"/>
                    </a:lnTo>
                    <a:lnTo>
                      <a:pt x="108585" y="619125"/>
                    </a:lnTo>
                    <a:lnTo>
                      <a:pt x="109442" y="618268"/>
                    </a:lnTo>
                    <a:lnTo>
                      <a:pt x="110299" y="616553"/>
                    </a:lnTo>
                    <a:lnTo>
                      <a:pt x="110299" y="615696"/>
                    </a:lnTo>
                    <a:lnTo>
                      <a:pt x="111157" y="614839"/>
                    </a:lnTo>
                    <a:lnTo>
                      <a:pt x="112014" y="613981"/>
                    </a:lnTo>
                    <a:lnTo>
                      <a:pt x="113728" y="613981"/>
                    </a:lnTo>
                    <a:lnTo>
                      <a:pt x="114586" y="613124"/>
                    </a:lnTo>
                    <a:lnTo>
                      <a:pt x="115443" y="613124"/>
                    </a:lnTo>
                    <a:lnTo>
                      <a:pt x="117157" y="611410"/>
                    </a:lnTo>
                    <a:lnTo>
                      <a:pt x="118015" y="610553"/>
                    </a:lnTo>
                    <a:lnTo>
                      <a:pt x="120586" y="608838"/>
                    </a:lnTo>
                    <a:lnTo>
                      <a:pt x="121444" y="607981"/>
                    </a:lnTo>
                    <a:lnTo>
                      <a:pt x="121444" y="607123"/>
                    </a:lnTo>
                    <a:lnTo>
                      <a:pt x="122301" y="607123"/>
                    </a:lnTo>
                    <a:lnTo>
                      <a:pt x="122301" y="606266"/>
                    </a:lnTo>
                    <a:lnTo>
                      <a:pt x="121444" y="605409"/>
                    </a:lnTo>
                    <a:lnTo>
                      <a:pt x="120586" y="604552"/>
                    </a:lnTo>
                    <a:lnTo>
                      <a:pt x="120586" y="603695"/>
                    </a:lnTo>
                    <a:lnTo>
                      <a:pt x="119729" y="602837"/>
                    </a:lnTo>
                    <a:lnTo>
                      <a:pt x="119729" y="601980"/>
                    </a:lnTo>
                    <a:lnTo>
                      <a:pt x="119729" y="601123"/>
                    </a:lnTo>
                    <a:lnTo>
                      <a:pt x="120586" y="600265"/>
                    </a:lnTo>
                    <a:lnTo>
                      <a:pt x="121444" y="600265"/>
                    </a:lnTo>
                    <a:lnTo>
                      <a:pt x="122301" y="599408"/>
                    </a:lnTo>
                    <a:lnTo>
                      <a:pt x="123158" y="599408"/>
                    </a:lnTo>
                    <a:lnTo>
                      <a:pt x="124873" y="600265"/>
                    </a:lnTo>
                    <a:lnTo>
                      <a:pt x="127444" y="600265"/>
                    </a:lnTo>
                    <a:lnTo>
                      <a:pt x="128302" y="600265"/>
                    </a:lnTo>
                    <a:lnTo>
                      <a:pt x="128302" y="601123"/>
                    </a:lnTo>
                    <a:lnTo>
                      <a:pt x="129159" y="601123"/>
                    </a:lnTo>
                    <a:lnTo>
                      <a:pt x="130016" y="601980"/>
                    </a:lnTo>
                    <a:lnTo>
                      <a:pt x="131731" y="601980"/>
                    </a:lnTo>
                    <a:lnTo>
                      <a:pt x="132588" y="601980"/>
                    </a:lnTo>
                    <a:lnTo>
                      <a:pt x="133445" y="601123"/>
                    </a:lnTo>
                    <a:lnTo>
                      <a:pt x="134302" y="600265"/>
                    </a:lnTo>
                    <a:lnTo>
                      <a:pt x="134302" y="599408"/>
                    </a:lnTo>
                    <a:lnTo>
                      <a:pt x="135160" y="598551"/>
                    </a:lnTo>
                    <a:lnTo>
                      <a:pt x="136017" y="597694"/>
                    </a:lnTo>
                    <a:lnTo>
                      <a:pt x="136874" y="596837"/>
                    </a:lnTo>
                    <a:lnTo>
                      <a:pt x="137731" y="596837"/>
                    </a:lnTo>
                    <a:lnTo>
                      <a:pt x="138589" y="596837"/>
                    </a:lnTo>
                    <a:lnTo>
                      <a:pt x="138589" y="597694"/>
                    </a:lnTo>
                    <a:lnTo>
                      <a:pt x="138589" y="597694"/>
                    </a:lnTo>
                    <a:lnTo>
                      <a:pt x="138589" y="598551"/>
                    </a:lnTo>
                    <a:lnTo>
                      <a:pt x="138589" y="601980"/>
                    </a:lnTo>
                    <a:lnTo>
                      <a:pt x="138589" y="601980"/>
                    </a:lnTo>
                    <a:lnTo>
                      <a:pt x="138589" y="602837"/>
                    </a:lnTo>
                    <a:lnTo>
                      <a:pt x="137731" y="602837"/>
                    </a:lnTo>
                    <a:lnTo>
                      <a:pt x="136017" y="605409"/>
                    </a:lnTo>
                    <a:lnTo>
                      <a:pt x="135160" y="605409"/>
                    </a:lnTo>
                    <a:lnTo>
                      <a:pt x="135160" y="606266"/>
                    </a:lnTo>
                    <a:lnTo>
                      <a:pt x="135160" y="607123"/>
                    </a:lnTo>
                    <a:lnTo>
                      <a:pt x="135160" y="609695"/>
                    </a:lnTo>
                    <a:lnTo>
                      <a:pt x="136017" y="611410"/>
                    </a:lnTo>
                    <a:lnTo>
                      <a:pt x="136017" y="611410"/>
                    </a:lnTo>
                    <a:lnTo>
                      <a:pt x="136017" y="612267"/>
                    </a:lnTo>
                    <a:lnTo>
                      <a:pt x="136874" y="612267"/>
                    </a:lnTo>
                    <a:lnTo>
                      <a:pt x="137731" y="611410"/>
                    </a:lnTo>
                    <a:lnTo>
                      <a:pt x="139446" y="608838"/>
                    </a:lnTo>
                    <a:lnTo>
                      <a:pt x="141161" y="607981"/>
                    </a:lnTo>
                    <a:lnTo>
                      <a:pt x="142018" y="607123"/>
                    </a:lnTo>
                    <a:lnTo>
                      <a:pt x="143732" y="607981"/>
                    </a:lnTo>
                    <a:lnTo>
                      <a:pt x="144590" y="607981"/>
                    </a:lnTo>
                    <a:lnTo>
                      <a:pt x="145447" y="607981"/>
                    </a:lnTo>
                    <a:lnTo>
                      <a:pt x="145447" y="607981"/>
                    </a:lnTo>
                    <a:lnTo>
                      <a:pt x="148876" y="606266"/>
                    </a:lnTo>
                    <a:lnTo>
                      <a:pt x="153924" y="608838"/>
                    </a:lnTo>
                    <a:lnTo>
                      <a:pt x="155638" y="612267"/>
                    </a:lnTo>
                    <a:lnTo>
                      <a:pt x="155638" y="614839"/>
                    </a:lnTo>
                    <a:lnTo>
                      <a:pt x="156496" y="615696"/>
                    </a:lnTo>
                    <a:lnTo>
                      <a:pt x="155638" y="617411"/>
                    </a:lnTo>
                    <a:lnTo>
                      <a:pt x="154781" y="619982"/>
                    </a:lnTo>
                    <a:lnTo>
                      <a:pt x="154781" y="620839"/>
                    </a:lnTo>
                    <a:lnTo>
                      <a:pt x="154781" y="621697"/>
                    </a:lnTo>
                    <a:lnTo>
                      <a:pt x="155638" y="623411"/>
                    </a:lnTo>
                    <a:lnTo>
                      <a:pt x="156496" y="625126"/>
                    </a:lnTo>
                    <a:lnTo>
                      <a:pt x="157353" y="625983"/>
                    </a:lnTo>
                    <a:lnTo>
                      <a:pt x="156496" y="626840"/>
                    </a:lnTo>
                    <a:lnTo>
                      <a:pt x="156496" y="627697"/>
                    </a:lnTo>
                    <a:lnTo>
                      <a:pt x="155638" y="627697"/>
                    </a:lnTo>
                    <a:lnTo>
                      <a:pt x="154781" y="627697"/>
                    </a:lnTo>
                    <a:lnTo>
                      <a:pt x="153067" y="627697"/>
                    </a:lnTo>
                    <a:lnTo>
                      <a:pt x="152209" y="627697"/>
                    </a:lnTo>
                    <a:lnTo>
                      <a:pt x="151352" y="627697"/>
                    </a:lnTo>
                    <a:lnTo>
                      <a:pt x="151352" y="629412"/>
                    </a:lnTo>
                    <a:lnTo>
                      <a:pt x="152209" y="630269"/>
                    </a:lnTo>
                    <a:lnTo>
                      <a:pt x="153067" y="631984"/>
                    </a:lnTo>
                    <a:lnTo>
                      <a:pt x="153924" y="631984"/>
                    </a:lnTo>
                    <a:lnTo>
                      <a:pt x="154781" y="631984"/>
                    </a:lnTo>
                    <a:lnTo>
                      <a:pt x="156496" y="631984"/>
                    </a:lnTo>
                    <a:lnTo>
                      <a:pt x="157353" y="631127"/>
                    </a:lnTo>
                    <a:lnTo>
                      <a:pt x="158210" y="631127"/>
                    </a:lnTo>
                    <a:lnTo>
                      <a:pt x="159067" y="631984"/>
                    </a:lnTo>
                    <a:lnTo>
                      <a:pt x="159925" y="631984"/>
                    </a:lnTo>
                    <a:lnTo>
                      <a:pt x="164211" y="637032"/>
                    </a:lnTo>
                    <a:lnTo>
                      <a:pt x="165068" y="637889"/>
                    </a:lnTo>
                    <a:lnTo>
                      <a:pt x="165925" y="638747"/>
                    </a:lnTo>
                    <a:lnTo>
                      <a:pt x="165925" y="638747"/>
                    </a:lnTo>
                    <a:lnTo>
                      <a:pt x="167640" y="638747"/>
                    </a:lnTo>
                    <a:lnTo>
                      <a:pt x="168497" y="638747"/>
                    </a:lnTo>
                    <a:lnTo>
                      <a:pt x="171069" y="639604"/>
                    </a:lnTo>
                    <a:lnTo>
                      <a:pt x="173641" y="640461"/>
                    </a:lnTo>
                    <a:lnTo>
                      <a:pt x="174498" y="640461"/>
                    </a:lnTo>
                    <a:lnTo>
                      <a:pt x="175355" y="640461"/>
                    </a:lnTo>
                    <a:lnTo>
                      <a:pt x="176213" y="639604"/>
                    </a:lnTo>
                    <a:lnTo>
                      <a:pt x="177927" y="638747"/>
                    </a:lnTo>
                    <a:lnTo>
                      <a:pt x="178784" y="638747"/>
                    </a:lnTo>
                    <a:lnTo>
                      <a:pt x="178784" y="638747"/>
                    </a:lnTo>
                    <a:lnTo>
                      <a:pt x="179642" y="638747"/>
                    </a:lnTo>
                    <a:lnTo>
                      <a:pt x="181356" y="639604"/>
                    </a:lnTo>
                    <a:lnTo>
                      <a:pt x="182213" y="639604"/>
                    </a:lnTo>
                    <a:lnTo>
                      <a:pt x="182213" y="639604"/>
                    </a:lnTo>
                    <a:lnTo>
                      <a:pt x="183070" y="639604"/>
                    </a:lnTo>
                    <a:lnTo>
                      <a:pt x="184785" y="639604"/>
                    </a:lnTo>
                    <a:lnTo>
                      <a:pt x="185642" y="639604"/>
                    </a:lnTo>
                    <a:lnTo>
                      <a:pt x="186499" y="639604"/>
                    </a:lnTo>
                    <a:lnTo>
                      <a:pt x="186499" y="640461"/>
                    </a:lnTo>
                    <a:lnTo>
                      <a:pt x="187357" y="640461"/>
                    </a:lnTo>
                    <a:lnTo>
                      <a:pt x="186499" y="642175"/>
                    </a:lnTo>
                    <a:lnTo>
                      <a:pt x="185642" y="643890"/>
                    </a:lnTo>
                    <a:lnTo>
                      <a:pt x="185642" y="645605"/>
                    </a:lnTo>
                    <a:lnTo>
                      <a:pt x="185642" y="646462"/>
                    </a:lnTo>
                    <a:lnTo>
                      <a:pt x="186499" y="649891"/>
                    </a:lnTo>
                    <a:lnTo>
                      <a:pt x="186499" y="649891"/>
                    </a:lnTo>
                    <a:lnTo>
                      <a:pt x="185642" y="651605"/>
                    </a:lnTo>
                    <a:lnTo>
                      <a:pt x="185642" y="652463"/>
                    </a:lnTo>
                    <a:lnTo>
                      <a:pt x="185642" y="653320"/>
                    </a:lnTo>
                    <a:lnTo>
                      <a:pt x="185642" y="655034"/>
                    </a:lnTo>
                    <a:lnTo>
                      <a:pt x="185642" y="659321"/>
                    </a:lnTo>
                    <a:lnTo>
                      <a:pt x="185642" y="660178"/>
                    </a:lnTo>
                    <a:lnTo>
                      <a:pt x="185642" y="661035"/>
                    </a:lnTo>
                    <a:lnTo>
                      <a:pt x="184785" y="661035"/>
                    </a:lnTo>
                    <a:lnTo>
                      <a:pt x="184785" y="661892"/>
                    </a:lnTo>
                    <a:lnTo>
                      <a:pt x="183928" y="662749"/>
                    </a:lnTo>
                    <a:lnTo>
                      <a:pt x="183928" y="663607"/>
                    </a:lnTo>
                    <a:lnTo>
                      <a:pt x="184785" y="665321"/>
                    </a:lnTo>
                    <a:lnTo>
                      <a:pt x="185642" y="665321"/>
                    </a:lnTo>
                    <a:lnTo>
                      <a:pt x="185642" y="666179"/>
                    </a:lnTo>
                    <a:lnTo>
                      <a:pt x="186499" y="667036"/>
                    </a:lnTo>
                    <a:lnTo>
                      <a:pt x="187357" y="668750"/>
                    </a:lnTo>
                    <a:lnTo>
                      <a:pt x="187357" y="670465"/>
                    </a:lnTo>
                    <a:lnTo>
                      <a:pt x="188214" y="670465"/>
                    </a:lnTo>
                    <a:lnTo>
                      <a:pt x="189071" y="670465"/>
                    </a:lnTo>
                    <a:lnTo>
                      <a:pt x="190786" y="669607"/>
                    </a:lnTo>
                    <a:lnTo>
                      <a:pt x="191643" y="669607"/>
                    </a:lnTo>
                    <a:lnTo>
                      <a:pt x="192500" y="669607"/>
                    </a:lnTo>
                    <a:lnTo>
                      <a:pt x="193357" y="670465"/>
                    </a:lnTo>
                    <a:lnTo>
                      <a:pt x="194215" y="670465"/>
                    </a:lnTo>
                    <a:lnTo>
                      <a:pt x="194215" y="671322"/>
                    </a:lnTo>
                    <a:lnTo>
                      <a:pt x="195072" y="671322"/>
                    </a:lnTo>
                    <a:lnTo>
                      <a:pt x="195929" y="671322"/>
                    </a:lnTo>
                    <a:lnTo>
                      <a:pt x="196786" y="671322"/>
                    </a:lnTo>
                    <a:lnTo>
                      <a:pt x="196786" y="671322"/>
                    </a:lnTo>
                    <a:lnTo>
                      <a:pt x="201835" y="674751"/>
                    </a:lnTo>
                    <a:lnTo>
                      <a:pt x="201835" y="674751"/>
                    </a:lnTo>
                    <a:lnTo>
                      <a:pt x="202692" y="674751"/>
                    </a:lnTo>
                    <a:lnTo>
                      <a:pt x="203549" y="674751"/>
                    </a:lnTo>
                    <a:lnTo>
                      <a:pt x="204406" y="674751"/>
                    </a:lnTo>
                    <a:lnTo>
                      <a:pt x="205264" y="674751"/>
                    </a:lnTo>
                    <a:lnTo>
                      <a:pt x="205264" y="673894"/>
                    </a:lnTo>
                    <a:lnTo>
                      <a:pt x="206978" y="672179"/>
                    </a:lnTo>
                    <a:lnTo>
                      <a:pt x="207836" y="673037"/>
                    </a:lnTo>
                    <a:lnTo>
                      <a:pt x="207836" y="673037"/>
                    </a:lnTo>
                    <a:lnTo>
                      <a:pt x="207836" y="673894"/>
                    </a:lnTo>
                    <a:lnTo>
                      <a:pt x="208693" y="675608"/>
                    </a:lnTo>
                    <a:lnTo>
                      <a:pt x="208693" y="676465"/>
                    </a:lnTo>
                    <a:lnTo>
                      <a:pt x="208693" y="678180"/>
                    </a:lnTo>
                    <a:lnTo>
                      <a:pt x="207836" y="679895"/>
                    </a:lnTo>
                    <a:lnTo>
                      <a:pt x="207836" y="680752"/>
                    </a:lnTo>
                    <a:lnTo>
                      <a:pt x="207836" y="681609"/>
                    </a:lnTo>
                    <a:lnTo>
                      <a:pt x="207836" y="682466"/>
                    </a:lnTo>
                    <a:lnTo>
                      <a:pt x="207836" y="682466"/>
                    </a:lnTo>
                    <a:lnTo>
                      <a:pt x="207836" y="683323"/>
                    </a:lnTo>
                    <a:lnTo>
                      <a:pt x="206978" y="685895"/>
                    </a:lnTo>
                    <a:lnTo>
                      <a:pt x="206978" y="686753"/>
                    </a:lnTo>
                    <a:lnTo>
                      <a:pt x="206121" y="688467"/>
                    </a:lnTo>
                    <a:lnTo>
                      <a:pt x="204406" y="690181"/>
                    </a:lnTo>
                    <a:lnTo>
                      <a:pt x="203549" y="691039"/>
                    </a:lnTo>
                    <a:lnTo>
                      <a:pt x="203549" y="692753"/>
                    </a:lnTo>
                    <a:lnTo>
                      <a:pt x="203549" y="695325"/>
                    </a:lnTo>
                    <a:lnTo>
                      <a:pt x="202692" y="697039"/>
                    </a:lnTo>
                    <a:lnTo>
                      <a:pt x="202692" y="697897"/>
                    </a:lnTo>
                    <a:lnTo>
                      <a:pt x="200977" y="699611"/>
                    </a:lnTo>
                    <a:lnTo>
                      <a:pt x="200120" y="699611"/>
                    </a:lnTo>
                    <a:lnTo>
                      <a:pt x="198406" y="701326"/>
                    </a:lnTo>
                    <a:lnTo>
                      <a:pt x="197548" y="701326"/>
                    </a:lnTo>
                    <a:lnTo>
                      <a:pt x="197548" y="702183"/>
                    </a:lnTo>
                    <a:lnTo>
                      <a:pt x="196691" y="703040"/>
                    </a:lnTo>
                    <a:lnTo>
                      <a:pt x="195834" y="706469"/>
                    </a:lnTo>
                    <a:lnTo>
                      <a:pt x="195834" y="707327"/>
                    </a:lnTo>
                    <a:lnTo>
                      <a:pt x="195834" y="707327"/>
                    </a:lnTo>
                    <a:lnTo>
                      <a:pt x="194119" y="709041"/>
                    </a:lnTo>
                    <a:lnTo>
                      <a:pt x="191548" y="712470"/>
                    </a:lnTo>
                    <a:lnTo>
                      <a:pt x="190690" y="714185"/>
                    </a:lnTo>
                    <a:lnTo>
                      <a:pt x="190690" y="715042"/>
                    </a:lnTo>
                    <a:lnTo>
                      <a:pt x="191548" y="715042"/>
                    </a:lnTo>
                    <a:lnTo>
                      <a:pt x="192405" y="715899"/>
                    </a:lnTo>
                    <a:lnTo>
                      <a:pt x="194119" y="715899"/>
                    </a:lnTo>
                    <a:lnTo>
                      <a:pt x="194977" y="716756"/>
                    </a:lnTo>
                    <a:lnTo>
                      <a:pt x="196691" y="719328"/>
                    </a:lnTo>
                    <a:lnTo>
                      <a:pt x="197548" y="721043"/>
                    </a:lnTo>
                    <a:lnTo>
                      <a:pt x="197548" y="721900"/>
                    </a:lnTo>
                    <a:lnTo>
                      <a:pt x="196691" y="722757"/>
                    </a:lnTo>
                    <a:lnTo>
                      <a:pt x="195834" y="722757"/>
                    </a:lnTo>
                    <a:lnTo>
                      <a:pt x="194119" y="721900"/>
                    </a:lnTo>
                    <a:lnTo>
                      <a:pt x="187357" y="716852"/>
                    </a:lnTo>
                    <a:lnTo>
                      <a:pt x="186499" y="716852"/>
                    </a:lnTo>
                    <a:lnTo>
                      <a:pt x="185642" y="716852"/>
                    </a:lnTo>
                    <a:lnTo>
                      <a:pt x="185642" y="715994"/>
                    </a:lnTo>
                    <a:lnTo>
                      <a:pt x="184785" y="716852"/>
                    </a:lnTo>
                    <a:lnTo>
                      <a:pt x="183928" y="716852"/>
                    </a:lnTo>
                    <a:lnTo>
                      <a:pt x="183070" y="717709"/>
                    </a:lnTo>
                    <a:lnTo>
                      <a:pt x="183070" y="718566"/>
                    </a:lnTo>
                    <a:lnTo>
                      <a:pt x="183070" y="721138"/>
                    </a:lnTo>
                    <a:lnTo>
                      <a:pt x="183070" y="721995"/>
                    </a:lnTo>
                    <a:lnTo>
                      <a:pt x="183070" y="721995"/>
                    </a:lnTo>
                    <a:lnTo>
                      <a:pt x="181356" y="722852"/>
                    </a:lnTo>
                    <a:lnTo>
                      <a:pt x="180499" y="722852"/>
                    </a:lnTo>
                    <a:lnTo>
                      <a:pt x="179642" y="723710"/>
                    </a:lnTo>
                    <a:lnTo>
                      <a:pt x="178784" y="723710"/>
                    </a:lnTo>
                    <a:lnTo>
                      <a:pt x="178784" y="723710"/>
                    </a:lnTo>
                    <a:lnTo>
                      <a:pt x="177927" y="724567"/>
                    </a:lnTo>
                    <a:lnTo>
                      <a:pt x="177070" y="724567"/>
                    </a:lnTo>
                    <a:lnTo>
                      <a:pt x="177070" y="724567"/>
                    </a:lnTo>
                    <a:lnTo>
                      <a:pt x="177070" y="724567"/>
                    </a:lnTo>
                    <a:lnTo>
                      <a:pt x="176213" y="723710"/>
                    </a:lnTo>
                    <a:lnTo>
                      <a:pt x="175355" y="723710"/>
                    </a:lnTo>
                    <a:lnTo>
                      <a:pt x="174498" y="723710"/>
                    </a:lnTo>
                    <a:lnTo>
                      <a:pt x="173641" y="723710"/>
                    </a:lnTo>
                    <a:lnTo>
                      <a:pt x="172784" y="723710"/>
                    </a:lnTo>
                    <a:lnTo>
                      <a:pt x="172784" y="723710"/>
                    </a:lnTo>
                    <a:lnTo>
                      <a:pt x="171926" y="724567"/>
                    </a:lnTo>
                    <a:lnTo>
                      <a:pt x="171926" y="724567"/>
                    </a:lnTo>
                    <a:lnTo>
                      <a:pt x="171926" y="726281"/>
                    </a:lnTo>
                    <a:lnTo>
                      <a:pt x="172784" y="729710"/>
                    </a:lnTo>
                    <a:lnTo>
                      <a:pt x="172784" y="730568"/>
                    </a:lnTo>
                    <a:lnTo>
                      <a:pt x="172784" y="732282"/>
                    </a:lnTo>
                    <a:lnTo>
                      <a:pt x="171926" y="733139"/>
                    </a:lnTo>
                    <a:lnTo>
                      <a:pt x="171069" y="734854"/>
                    </a:lnTo>
                    <a:lnTo>
                      <a:pt x="176117" y="741616"/>
                    </a:lnTo>
                    <a:lnTo>
                      <a:pt x="178689" y="744188"/>
                    </a:lnTo>
                    <a:lnTo>
                      <a:pt x="184594" y="747617"/>
                    </a:lnTo>
                    <a:lnTo>
                      <a:pt x="187166" y="748474"/>
                    </a:lnTo>
                    <a:lnTo>
                      <a:pt x="188023" y="749332"/>
                    </a:lnTo>
                    <a:lnTo>
                      <a:pt x="189738" y="749332"/>
                    </a:lnTo>
                    <a:lnTo>
                      <a:pt x="192310" y="748474"/>
                    </a:lnTo>
                    <a:lnTo>
                      <a:pt x="192310" y="748474"/>
                    </a:lnTo>
                    <a:lnTo>
                      <a:pt x="194024" y="748474"/>
                    </a:lnTo>
                    <a:lnTo>
                      <a:pt x="194881" y="747617"/>
                    </a:lnTo>
                    <a:lnTo>
                      <a:pt x="199930" y="742569"/>
                    </a:lnTo>
                    <a:lnTo>
                      <a:pt x="199930" y="740855"/>
                    </a:lnTo>
                    <a:lnTo>
                      <a:pt x="200787" y="739140"/>
                    </a:lnTo>
                    <a:lnTo>
                      <a:pt x="199930" y="737425"/>
                    </a:lnTo>
                    <a:lnTo>
                      <a:pt x="200787" y="736568"/>
                    </a:lnTo>
                    <a:lnTo>
                      <a:pt x="200787" y="736568"/>
                    </a:lnTo>
                    <a:lnTo>
                      <a:pt x="200787" y="735711"/>
                    </a:lnTo>
                    <a:lnTo>
                      <a:pt x="201644" y="736568"/>
                    </a:lnTo>
                    <a:lnTo>
                      <a:pt x="202501" y="737425"/>
                    </a:lnTo>
                    <a:lnTo>
                      <a:pt x="203359" y="737425"/>
                    </a:lnTo>
                    <a:lnTo>
                      <a:pt x="204216" y="737425"/>
                    </a:lnTo>
                    <a:lnTo>
                      <a:pt x="208502" y="733997"/>
                    </a:lnTo>
                    <a:lnTo>
                      <a:pt x="209359" y="733139"/>
                    </a:lnTo>
                    <a:lnTo>
                      <a:pt x="210217" y="732282"/>
                    </a:lnTo>
                    <a:lnTo>
                      <a:pt x="212788" y="724662"/>
                    </a:lnTo>
                    <a:lnTo>
                      <a:pt x="215360" y="717042"/>
                    </a:lnTo>
                    <a:lnTo>
                      <a:pt x="216217" y="714470"/>
                    </a:lnTo>
                    <a:lnTo>
                      <a:pt x="216217" y="712565"/>
                    </a:lnTo>
                    <a:lnTo>
                      <a:pt x="216217" y="709136"/>
                    </a:lnTo>
                    <a:lnTo>
                      <a:pt x="216217" y="708279"/>
                    </a:lnTo>
                    <a:lnTo>
                      <a:pt x="217075" y="707422"/>
                    </a:lnTo>
                    <a:lnTo>
                      <a:pt x="217932" y="705707"/>
                    </a:lnTo>
                    <a:lnTo>
                      <a:pt x="218789" y="704850"/>
                    </a:lnTo>
                    <a:lnTo>
                      <a:pt x="219646" y="703993"/>
                    </a:lnTo>
                    <a:lnTo>
                      <a:pt x="221361" y="703993"/>
                    </a:lnTo>
                    <a:lnTo>
                      <a:pt x="223075" y="703993"/>
                    </a:lnTo>
                    <a:lnTo>
                      <a:pt x="223933" y="703136"/>
                    </a:lnTo>
                    <a:lnTo>
                      <a:pt x="223933" y="702278"/>
                    </a:lnTo>
                    <a:lnTo>
                      <a:pt x="224790" y="700564"/>
                    </a:lnTo>
                    <a:lnTo>
                      <a:pt x="225647" y="699706"/>
                    </a:lnTo>
                    <a:lnTo>
                      <a:pt x="227362" y="698849"/>
                    </a:lnTo>
                    <a:lnTo>
                      <a:pt x="231648" y="698849"/>
                    </a:lnTo>
                    <a:lnTo>
                      <a:pt x="234220" y="697992"/>
                    </a:lnTo>
                    <a:lnTo>
                      <a:pt x="235934" y="697135"/>
                    </a:lnTo>
                    <a:lnTo>
                      <a:pt x="240982" y="697135"/>
                    </a:lnTo>
                    <a:lnTo>
                      <a:pt x="241840" y="697992"/>
                    </a:lnTo>
                    <a:lnTo>
                      <a:pt x="242697" y="698849"/>
                    </a:lnTo>
                    <a:lnTo>
                      <a:pt x="242697" y="700564"/>
                    </a:lnTo>
                    <a:lnTo>
                      <a:pt x="243554" y="701421"/>
                    </a:lnTo>
                    <a:lnTo>
                      <a:pt x="244411" y="702278"/>
                    </a:lnTo>
                    <a:lnTo>
                      <a:pt x="245269" y="701421"/>
                    </a:lnTo>
                    <a:lnTo>
                      <a:pt x="246983" y="700564"/>
                    </a:lnTo>
                    <a:lnTo>
                      <a:pt x="247840" y="699706"/>
                    </a:lnTo>
                    <a:lnTo>
                      <a:pt x="248698" y="698849"/>
                    </a:lnTo>
                    <a:lnTo>
                      <a:pt x="248698" y="697992"/>
                    </a:lnTo>
                    <a:lnTo>
                      <a:pt x="248698" y="696278"/>
                    </a:lnTo>
                    <a:lnTo>
                      <a:pt x="249555" y="695420"/>
                    </a:lnTo>
                    <a:lnTo>
                      <a:pt x="250412" y="695420"/>
                    </a:lnTo>
                    <a:lnTo>
                      <a:pt x="252127" y="695420"/>
                    </a:lnTo>
                    <a:lnTo>
                      <a:pt x="254698" y="696278"/>
                    </a:lnTo>
                    <a:lnTo>
                      <a:pt x="255556" y="696278"/>
                    </a:lnTo>
                    <a:lnTo>
                      <a:pt x="256413" y="696278"/>
                    </a:lnTo>
                    <a:lnTo>
                      <a:pt x="256413" y="697135"/>
                    </a:lnTo>
                    <a:lnTo>
                      <a:pt x="257270" y="697135"/>
                    </a:lnTo>
                    <a:lnTo>
                      <a:pt x="257270" y="698849"/>
                    </a:lnTo>
                    <a:lnTo>
                      <a:pt x="258127" y="699706"/>
                    </a:lnTo>
                    <a:lnTo>
                      <a:pt x="258985" y="700564"/>
                    </a:lnTo>
                    <a:lnTo>
                      <a:pt x="261556" y="700564"/>
                    </a:lnTo>
                    <a:lnTo>
                      <a:pt x="262414" y="700564"/>
                    </a:lnTo>
                    <a:lnTo>
                      <a:pt x="264128" y="701421"/>
                    </a:lnTo>
                    <a:lnTo>
                      <a:pt x="264986" y="702278"/>
                    </a:lnTo>
                    <a:lnTo>
                      <a:pt x="266700" y="702278"/>
                    </a:lnTo>
                    <a:lnTo>
                      <a:pt x="269272" y="701421"/>
                    </a:lnTo>
                    <a:lnTo>
                      <a:pt x="273558" y="701421"/>
                    </a:lnTo>
                    <a:lnTo>
                      <a:pt x="274415" y="701421"/>
                    </a:lnTo>
                    <a:lnTo>
                      <a:pt x="276130" y="700564"/>
                    </a:lnTo>
                    <a:lnTo>
                      <a:pt x="276130" y="699706"/>
                    </a:lnTo>
                    <a:lnTo>
                      <a:pt x="279559" y="696278"/>
                    </a:lnTo>
                    <a:lnTo>
                      <a:pt x="282988" y="690372"/>
                    </a:lnTo>
                    <a:lnTo>
                      <a:pt x="284702" y="689515"/>
                    </a:lnTo>
                    <a:lnTo>
                      <a:pt x="285560" y="688657"/>
                    </a:lnTo>
                    <a:lnTo>
                      <a:pt x="287274" y="689515"/>
                    </a:lnTo>
                    <a:lnTo>
                      <a:pt x="288989" y="690372"/>
                    </a:lnTo>
                    <a:lnTo>
                      <a:pt x="289846" y="691229"/>
                    </a:lnTo>
                    <a:lnTo>
                      <a:pt x="290703" y="691229"/>
                    </a:lnTo>
                    <a:lnTo>
                      <a:pt x="291560" y="691229"/>
                    </a:lnTo>
                    <a:lnTo>
                      <a:pt x="293275" y="689515"/>
                    </a:lnTo>
                    <a:lnTo>
                      <a:pt x="295846" y="686943"/>
                    </a:lnTo>
                    <a:lnTo>
                      <a:pt x="297561" y="685229"/>
                    </a:lnTo>
                    <a:lnTo>
                      <a:pt x="298418" y="683514"/>
                    </a:lnTo>
                    <a:lnTo>
                      <a:pt x="299275" y="682657"/>
                    </a:lnTo>
                    <a:lnTo>
                      <a:pt x="303562" y="680942"/>
                    </a:lnTo>
                    <a:lnTo>
                      <a:pt x="304419" y="680085"/>
                    </a:lnTo>
                    <a:lnTo>
                      <a:pt x="304419" y="678371"/>
                    </a:lnTo>
                    <a:lnTo>
                      <a:pt x="303562" y="677513"/>
                    </a:lnTo>
                    <a:lnTo>
                      <a:pt x="303562" y="676656"/>
                    </a:lnTo>
                    <a:lnTo>
                      <a:pt x="303562" y="675799"/>
                    </a:lnTo>
                    <a:lnTo>
                      <a:pt x="305276" y="673227"/>
                    </a:lnTo>
                    <a:lnTo>
                      <a:pt x="305276" y="672370"/>
                    </a:lnTo>
                    <a:lnTo>
                      <a:pt x="305276" y="670655"/>
                    </a:lnTo>
                    <a:lnTo>
                      <a:pt x="306133" y="669798"/>
                    </a:lnTo>
                    <a:lnTo>
                      <a:pt x="306133" y="668941"/>
                    </a:lnTo>
                    <a:lnTo>
                      <a:pt x="306991" y="668941"/>
                    </a:lnTo>
                    <a:lnTo>
                      <a:pt x="308705" y="668083"/>
                    </a:lnTo>
                    <a:lnTo>
                      <a:pt x="311277" y="667226"/>
                    </a:lnTo>
                    <a:lnTo>
                      <a:pt x="312991" y="667226"/>
                    </a:lnTo>
                    <a:lnTo>
                      <a:pt x="314706" y="668083"/>
                    </a:lnTo>
                    <a:lnTo>
                      <a:pt x="316420" y="668941"/>
                    </a:lnTo>
                    <a:lnTo>
                      <a:pt x="317278" y="669798"/>
                    </a:lnTo>
                    <a:lnTo>
                      <a:pt x="318992" y="671513"/>
                    </a:lnTo>
                    <a:lnTo>
                      <a:pt x="319849" y="672370"/>
                    </a:lnTo>
                    <a:lnTo>
                      <a:pt x="320707" y="674084"/>
                    </a:lnTo>
                    <a:lnTo>
                      <a:pt x="321564" y="674084"/>
                    </a:lnTo>
                    <a:lnTo>
                      <a:pt x="323278" y="674941"/>
                    </a:lnTo>
                    <a:lnTo>
                      <a:pt x="330898" y="673227"/>
                    </a:lnTo>
                    <a:lnTo>
                      <a:pt x="332613" y="673227"/>
                    </a:lnTo>
                    <a:lnTo>
                      <a:pt x="333470" y="674084"/>
                    </a:lnTo>
                    <a:lnTo>
                      <a:pt x="333470" y="675799"/>
                    </a:lnTo>
                    <a:lnTo>
                      <a:pt x="333470" y="676656"/>
                    </a:lnTo>
                    <a:lnTo>
                      <a:pt x="333470" y="677513"/>
                    </a:lnTo>
                    <a:lnTo>
                      <a:pt x="333470" y="678371"/>
                    </a:lnTo>
                    <a:lnTo>
                      <a:pt x="334328" y="679228"/>
                    </a:lnTo>
                    <a:lnTo>
                      <a:pt x="336899" y="680942"/>
                    </a:lnTo>
                    <a:lnTo>
                      <a:pt x="338614" y="680942"/>
                    </a:lnTo>
                    <a:lnTo>
                      <a:pt x="341186" y="680942"/>
                    </a:lnTo>
                    <a:lnTo>
                      <a:pt x="342043" y="680942"/>
                    </a:lnTo>
                    <a:lnTo>
                      <a:pt x="342900" y="680942"/>
                    </a:lnTo>
                    <a:lnTo>
                      <a:pt x="343757" y="680942"/>
                    </a:lnTo>
                    <a:lnTo>
                      <a:pt x="344615" y="679228"/>
                    </a:lnTo>
                    <a:lnTo>
                      <a:pt x="344615" y="678371"/>
                    </a:lnTo>
                    <a:lnTo>
                      <a:pt x="344615" y="678371"/>
                    </a:lnTo>
                    <a:lnTo>
                      <a:pt x="343757" y="677513"/>
                    </a:lnTo>
                    <a:lnTo>
                      <a:pt x="342900" y="676656"/>
                    </a:lnTo>
                    <a:lnTo>
                      <a:pt x="342043" y="676656"/>
                    </a:lnTo>
                    <a:lnTo>
                      <a:pt x="341186" y="675799"/>
                    </a:lnTo>
                    <a:lnTo>
                      <a:pt x="341186" y="675799"/>
                    </a:lnTo>
                    <a:lnTo>
                      <a:pt x="340328" y="674941"/>
                    </a:lnTo>
                    <a:lnTo>
                      <a:pt x="340328" y="674084"/>
                    </a:lnTo>
                    <a:lnTo>
                      <a:pt x="341186" y="672370"/>
                    </a:lnTo>
                    <a:lnTo>
                      <a:pt x="342043" y="672370"/>
                    </a:lnTo>
                    <a:lnTo>
                      <a:pt x="342900" y="672370"/>
                    </a:lnTo>
                    <a:lnTo>
                      <a:pt x="343757" y="672370"/>
                    </a:lnTo>
                    <a:lnTo>
                      <a:pt x="345472" y="673227"/>
                    </a:lnTo>
                    <a:lnTo>
                      <a:pt x="348044" y="672370"/>
                    </a:lnTo>
                    <a:lnTo>
                      <a:pt x="353949" y="669798"/>
                    </a:lnTo>
                    <a:lnTo>
                      <a:pt x="363283" y="664750"/>
                    </a:lnTo>
                    <a:lnTo>
                      <a:pt x="364141" y="663035"/>
                    </a:lnTo>
                    <a:lnTo>
                      <a:pt x="364141" y="662178"/>
                    </a:lnTo>
                    <a:lnTo>
                      <a:pt x="364141" y="661321"/>
                    </a:lnTo>
                    <a:lnTo>
                      <a:pt x="363283" y="660463"/>
                    </a:lnTo>
                    <a:lnTo>
                      <a:pt x="363283" y="659606"/>
                    </a:lnTo>
                    <a:lnTo>
                      <a:pt x="363283" y="658749"/>
                    </a:lnTo>
                    <a:lnTo>
                      <a:pt x="364141" y="657892"/>
                    </a:lnTo>
                    <a:lnTo>
                      <a:pt x="365855" y="656177"/>
                    </a:lnTo>
                    <a:lnTo>
                      <a:pt x="367570" y="654463"/>
                    </a:lnTo>
                    <a:lnTo>
                      <a:pt x="370141" y="653605"/>
                    </a:lnTo>
                    <a:lnTo>
                      <a:pt x="372713" y="652748"/>
                    </a:lnTo>
                    <a:lnTo>
                      <a:pt x="373570" y="651891"/>
                    </a:lnTo>
                    <a:lnTo>
                      <a:pt x="373570" y="651034"/>
                    </a:lnTo>
                    <a:lnTo>
                      <a:pt x="373570" y="650177"/>
                    </a:lnTo>
                    <a:lnTo>
                      <a:pt x="373570" y="649319"/>
                    </a:lnTo>
                    <a:lnTo>
                      <a:pt x="373570" y="649319"/>
                    </a:lnTo>
                    <a:lnTo>
                      <a:pt x="372713" y="648462"/>
                    </a:lnTo>
                    <a:lnTo>
                      <a:pt x="371856" y="647605"/>
                    </a:lnTo>
                    <a:lnTo>
                      <a:pt x="370999" y="646747"/>
                    </a:lnTo>
                    <a:lnTo>
                      <a:pt x="370999" y="646747"/>
                    </a:lnTo>
                    <a:lnTo>
                      <a:pt x="370999" y="645890"/>
                    </a:lnTo>
                    <a:lnTo>
                      <a:pt x="371856" y="645033"/>
                    </a:lnTo>
                    <a:lnTo>
                      <a:pt x="372713" y="645033"/>
                    </a:lnTo>
                    <a:lnTo>
                      <a:pt x="373570" y="645033"/>
                    </a:lnTo>
                    <a:lnTo>
                      <a:pt x="375285" y="646747"/>
                    </a:lnTo>
                    <a:lnTo>
                      <a:pt x="377857" y="647605"/>
                    </a:lnTo>
                    <a:lnTo>
                      <a:pt x="380428" y="647605"/>
                    </a:lnTo>
                    <a:lnTo>
                      <a:pt x="380428" y="648462"/>
                    </a:lnTo>
                    <a:lnTo>
                      <a:pt x="380428" y="649319"/>
                    </a:lnTo>
                    <a:lnTo>
                      <a:pt x="380428" y="650177"/>
                    </a:lnTo>
                    <a:lnTo>
                      <a:pt x="379571" y="651034"/>
                    </a:lnTo>
                    <a:lnTo>
                      <a:pt x="379571" y="651891"/>
                    </a:lnTo>
                    <a:lnTo>
                      <a:pt x="378714" y="651891"/>
                    </a:lnTo>
                    <a:lnTo>
                      <a:pt x="378714" y="652748"/>
                    </a:lnTo>
                    <a:lnTo>
                      <a:pt x="378714" y="653605"/>
                    </a:lnTo>
                    <a:lnTo>
                      <a:pt x="379571" y="653605"/>
                    </a:lnTo>
                    <a:lnTo>
                      <a:pt x="380428" y="654463"/>
                    </a:lnTo>
                    <a:lnTo>
                      <a:pt x="383000" y="653605"/>
                    </a:lnTo>
                    <a:lnTo>
                      <a:pt x="384715" y="653605"/>
                    </a:lnTo>
                    <a:lnTo>
                      <a:pt x="390620" y="655320"/>
                    </a:lnTo>
                    <a:lnTo>
                      <a:pt x="393192" y="655320"/>
                    </a:lnTo>
                    <a:lnTo>
                      <a:pt x="396621" y="653605"/>
                    </a:lnTo>
                    <a:lnTo>
                      <a:pt x="396621" y="652748"/>
                    </a:lnTo>
                    <a:lnTo>
                      <a:pt x="396621" y="652748"/>
                    </a:lnTo>
                    <a:lnTo>
                      <a:pt x="396621" y="652748"/>
                    </a:lnTo>
                    <a:lnTo>
                      <a:pt x="395764" y="652748"/>
                    </a:lnTo>
                    <a:lnTo>
                      <a:pt x="394907" y="652748"/>
                    </a:lnTo>
                    <a:lnTo>
                      <a:pt x="394049" y="651891"/>
                    </a:lnTo>
                    <a:lnTo>
                      <a:pt x="393192" y="651034"/>
                    </a:lnTo>
                    <a:lnTo>
                      <a:pt x="392335" y="651034"/>
                    </a:lnTo>
                    <a:lnTo>
                      <a:pt x="387286" y="651034"/>
                    </a:lnTo>
                    <a:lnTo>
                      <a:pt x="384715" y="650177"/>
                    </a:lnTo>
                    <a:lnTo>
                      <a:pt x="383000" y="649319"/>
                    </a:lnTo>
                    <a:lnTo>
                      <a:pt x="381286" y="649319"/>
                    </a:lnTo>
                    <a:lnTo>
                      <a:pt x="380428" y="647605"/>
                    </a:lnTo>
                    <a:lnTo>
                      <a:pt x="379571" y="645033"/>
                    </a:lnTo>
                    <a:lnTo>
                      <a:pt x="375285" y="640747"/>
                    </a:lnTo>
                    <a:lnTo>
                      <a:pt x="374428" y="638175"/>
                    </a:lnTo>
                    <a:lnTo>
                      <a:pt x="373570" y="635603"/>
                    </a:lnTo>
                    <a:lnTo>
                      <a:pt x="376142" y="632174"/>
                    </a:lnTo>
                    <a:lnTo>
                      <a:pt x="377857" y="631317"/>
                    </a:lnTo>
                    <a:lnTo>
                      <a:pt x="378714" y="629603"/>
                    </a:lnTo>
                    <a:lnTo>
                      <a:pt x="378714" y="627031"/>
                    </a:lnTo>
                    <a:lnTo>
                      <a:pt x="379571" y="627888"/>
                    </a:lnTo>
                    <a:lnTo>
                      <a:pt x="380428" y="628745"/>
                    </a:lnTo>
                    <a:lnTo>
                      <a:pt x="381286" y="629603"/>
                    </a:lnTo>
                    <a:lnTo>
                      <a:pt x="381286" y="630460"/>
                    </a:lnTo>
                    <a:lnTo>
                      <a:pt x="381286" y="633031"/>
                    </a:lnTo>
                    <a:lnTo>
                      <a:pt x="381286" y="634746"/>
                    </a:lnTo>
                    <a:lnTo>
                      <a:pt x="383000" y="635603"/>
                    </a:lnTo>
                    <a:lnTo>
                      <a:pt x="383857" y="632174"/>
                    </a:lnTo>
                    <a:lnTo>
                      <a:pt x="383857" y="622840"/>
                    </a:lnTo>
                    <a:lnTo>
                      <a:pt x="384715" y="624554"/>
                    </a:lnTo>
                    <a:lnTo>
                      <a:pt x="388144" y="628840"/>
                    </a:lnTo>
                    <a:lnTo>
                      <a:pt x="389858" y="633127"/>
                    </a:lnTo>
                    <a:lnTo>
                      <a:pt x="394907" y="639032"/>
                    </a:lnTo>
                    <a:lnTo>
                      <a:pt x="399193" y="647510"/>
                    </a:lnTo>
                    <a:lnTo>
                      <a:pt x="399193" y="647510"/>
                    </a:lnTo>
                    <a:lnTo>
                      <a:pt x="400050" y="646652"/>
                    </a:lnTo>
                    <a:lnTo>
                      <a:pt x="400050" y="645795"/>
                    </a:lnTo>
                    <a:lnTo>
                      <a:pt x="400050" y="645795"/>
                    </a:lnTo>
                    <a:lnTo>
                      <a:pt x="396621" y="639032"/>
                    </a:lnTo>
                    <a:lnTo>
                      <a:pt x="394049" y="631412"/>
                    </a:lnTo>
                    <a:lnTo>
                      <a:pt x="393192" y="628840"/>
                    </a:lnTo>
                    <a:lnTo>
                      <a:pt x="392335" y="627126"/>
                    </a:lnTo>
                    <a:lnTo>
                      <a:pt x="393192" y="624554"/>
                    </a:lnTo>
                    <a:lnTo>
                      <a:pt x="394907" y="620268"/>
                    </a:lnTo>
                    <a:lnTo>
                      <a:pt x="395764" y="615220"/>
                    </a:lnTo>
                    <a:lnTo>
                      <a:pt x="394049" y="610933"/>
                    </a:lnTo>
                    <a:lnTo>
                      <a:pt x="386429" y="593979"/>
                    </a:lnTo>
                    <a:lnTo>
                      <a:pt x="384715" y="589693"/>
                    </a:lnTo>
                    <a:lnTo>
                      <a:pt x="382143" y="575215"/>
                    </a:lnTo>
                    <a:lnTo>
                      <a:pt x="381286" y="570166"/>
                    </a:lnTo>
                    <a:lnTo>
                      <a:pt x="383000" y="566738"/>
                    </a:lnTo>
                    <a:lnTo>
                      <a:pt x="381286" y="565023"/>
                    </a:lnTo>
                    <a:lnTo>
                      <a:pt x="379571" y="565880"/>
                    </a:lnTo>
                    <a:lnTo>
                      <a:pt x="377857" y="567595"/>
                    </a:lnTo>
                    <a:lnTo>
                      <a:pt x="376142" y="569309"/>
                    </a:lnTo>
                    <a:lnTo>
                      <a:pt x="373570" y="570166"/>
                    </a:lnTo>
                    <a:lnTo>
                      <a:pt x="372713" y="569309"/>
                    </a:lnTo>
                    <a:lnTo>
                      <a:pt x="374428" y="567595"/>
                    </a:lnTo>
                    <a:lnTo>
                      <a:pt x="375285" y="566738"/>
                    </a:lnTo>
                    <a:lnTo>
                      <a:pt x="376142" y="565880"/>
                    </a:lnTo>
                    <a:lnTo>
                      <a:pt x="377857" y="564166"/>
                    </a:lnTo>
                    <a:lnTo>
                      <a:pt x="378714" y="563308"/>
                    </a:lnTo>
                    <a:lnTo>
                      <a:pt x="379857" y="563308"/>
                    </a:lnTo>
                    <a:lnTo>
                      <a:pt x="380714" y="561594"/>
                    </a:lnTo>
                    <a:lnTo>
                      <a:pt x="383286" y="555688"/>
                    </a:lnTo>
                    <a:lnTo>
                      <a:pt x="385000" y="553117"/>
                    </a:lnTo>
                    <a:lnTo>
                      <a:pt x="385858" y="548069"/>
                    </a:lnTo>
                    <a:lnTo>
                      <a:pt x="385000" y="538734"/>
                    </a:lnTo>
                    <a:lnTo>
                      <a:pt x="386715" y="532829"/>
                    </a:lnTo>
                    <a:lnTo>
                      <a:pt x="386715" y="530257"/>
                    </a:lnTo>
                    <a:lnTo>
                      <a:pt x="387572" y="529399"/>
                    </a:lnTo>
                    <a:lnTo>
                      <a:pt x="387572" y="528542"/>
                    </a:lnTo>
                    <a:lnTo>
                      <a:pt x="387572" y="528542"/>
                    </a:lnTo>
                    <a:lnTo>
                      <a:pt x="386715" y="527685"/>
                    </a:lnTo>
                    <a:lnTo>
                      <a:pt x="385858" y="527685"/>
                    </a:lnTo>
                    <a:lnTo>
                      <a:pt x="383286" y="527685"/>
                    </a:lnTo>
                    <a:lnTo>
                      <a:pt x="382429" y="528542"/>
                    </a:lnTo>
                    <a:lnTo>
                      <a:pt x="381571" y="527685"/>
                    </a:lnTo>
                    <a:lnTo>
                      <a:pt x="383286" y="526828"/>
                    </a:lnTo>
                    <a:lnTo>
                      <a:pt x="384143" y="525971"/>
                    </a:lnTo>
                    <a:lnTo>
                      <a:pt x="385000" y="525113"/>
                    </a:lnTo>
                    <a:lnTo>
                      <a:pt x="385858" y="523399"/>
                    </a:lnTo>
                    <a:lnTo>
                      <a:pt x="385000" y="522541"/>
                    </a:lnTo>
                    <a:lnTo>
                      <a:pt x="384143" y="520827"/>
                    </a:lnTo>
                    <a:lnTo>
                      <a:pt x="383286" y="516541"/>
                    </a:lnTo>
                    <a:lnTo>
                      <a:pt x="382429" y="515683"/>
                    </a:lnTo>
                    <a:lnTo>
                      <a:pt x="379857" y="513969"/>
                    </a:lnTo>
                    <a:lnTo>
                      <a:pt x="379000" y="513112"/>
                    </a:lnTo>
                    <a:lnTo>
                      <a:pt x="378143" y="512255"/>
                    </a:lnTo>
                    <a:lnTo>
                      <a:pt x="378143" y="511397"/>
                    </a:lnTo>
                    <a:lnTo>
                      <a:pt x="377285" y="505492"/>
                    </a:lnTo>
                    <a:lnTo>
                      <a:pt x="373856" y="487680"/>
                    </a:lnTo>
                    <a:lnTo>
                      <a:pt x="373856" y="485108"/>
                    </a:lnTo>
                    <a:lnTo>
                      <a:pt x="372142" y="481679"/>
                    </a:lnTo>
                    <a:lnTo>
                      <a:pt x="371285" y="476631"/>
                    </a:lnTo>
                    <a:lnTo>
                      <a:pt x="371285" y="468154"/>
                    </a:lnTo>
                    <a:lnTo>
                      <a:pt x="374714" y="455390"/>
                    </a:lnTo>
                    <a:lnTo>
                      <a:pt x="376428" y="444341"/>
                    </a:lnTo>
                    <a:lnTo>
                      <a:pt x="375571" y="443484"/>
                    </a:lnTo>
                    <a:lnTo>
                      <a:pt x="379000" y="435864"/>
                    </a:lnTo>
                    <a:lnTo>
                      <a:pt x="379857" y="434149"/>
                    </a:lnTo>
                    <a:lnTo>
                      <a:pt x="381571" y="432435"/>
                    </a:lnTo>
                    <a:lnTo>
                      <a:pt x="385000" y="428149"/>
                    </a:lnTo>
                    <a:lnTo>
                      <a:pt x="385858" y="427291"/>
                    </a:lnTo>
                    <a:lnTo>
                      <a:pt x="388429" y="423005"/>
                    </a:lnTo>
                    <a:lnTo>
                      <a:pt x="389287" y="421291"/>
                    </a:lnTo>
                    <a:lnTo>
                      <a:pt x="387572" y="421291"/>
                    </a:lnTo>
                    <a:lnTo>
                      <a:pt x="388429" y="419576"/>
                    </a:lnTo>
                    <a:lnTo>
                      <a:pt x="390144" y="416147"/>
                    </a:lnTo>
                    <a:lnTo>
                      <a:pt x="390144" y="413575"/>
                    </a:lnTo>
                    <a:lnTo>
                      <a:pt x="395192" y="401669"/>
                    </a:lnTo>
                    <a:lnTo>
                      <a:pt x="396907" y="398240"/>
                    </a:lnTo>
                    <a:lnTo>
                      <a:pt x="405384" y="389763"/>
                    </a:lnTo>
                    <a:lnTo>
                      <a:pt x="409670" y="387191"/>
                    </a:lnTo>
                    <a:lnTo>
                      <a:pt x="413957" y="386334"/>
                    </a:lnTo>
                    <a:lnTo>
                      <a:pt x="414814" y="385477"/>
                    </a:lnTo>
                    <a:lnTo>
                      <a:pt x="417386" y="383762"/>
                    </a:lnTo>
                    <a:lnTo>
                      <a:pt x="418243" y="382905"/>
                    </a:lnTo>
                    <a:lnTo>
                      <a:pt x="418243" y="382905"/>
                    </a:lnTo>
                    <a:lnTo>
                      <a:pt x="419100" y="382905"/>
                    </a:lnTo>
                    <a:lnTo>
                      <a:pt x="419957" y="382048"/>
                    </a:lnTo>
                    <a:lnTo>
                      <a:pt x="424244" y="380333"/>
                    </a:lnTo>
                    <a:lnTo>
                      <a:pt x="425958" y="378619"/>
                    </a:lnTo>
                    <a:lnTo>
                      <a:pt x="427673" y="377762"/>
                    </a:lnTo>
                    <a:lnTo>
                      <a:pt x="428530" y="377762"/>
                    </a:lnTo>
                    <a:lnTo>
                      <a:pt x="429387" y="378619"/>
                    </a:lnTo>
                    <a:lnTo>
                      <a:pt x="431102" y="378619"/>
                    </a:lnTo>
                    <a:lnTo>
                      <a:pt x="432816" y="377762"/>
                    </a:lnTo>
                    <a:lnTo>
                      <a:pt x="434531" y="376904"/>
                    </a:lnTo>
                    <a:lnTo>
                      <a:pt x="439579" y="376904"/>
                    </a:lnTo>
                    <a:lnTo>
                      <a:pt x="438721" y="376047"/>
                    </a:lnTo>
                    <a:lnTo>
                      <a:pt x="439579" y="375190"/>
                    </a:lnTo>
                    <a:lnTo>
                      <a:pt x="440436" y="374332"/>
                    </a:lnTo>
                    <a:lnTo>
                      <a:pt x="441293" y="374332"/>
                    </a:lnTo>
                    <a:lnTo>
                      <a:pt x="441293" y="375190"/>
                    </a:lnTo>
                    <a:lnTo>
                      <a:pt x="442150" y="375190"/>
                    </a:lnTo>
                    <a:lnTo>
                      <a:pt x="447199" y="376047"/>
                    </a:lnTo>
                    <a:lnTo>
                      <a:pt x="449770" y="376047"/>
                    </a:lnTo>
                    <a:lnTo>
                      <a:pt x="452342" y="376904"/>
                    </a:lnTo>
                    <a:lnTo>
                      <a:pt x="454914" y="381953"/>
                    </a:lnTo>
                    <a:lnTo>
                      <a:pt x="455771" y="386239"/>
                    </a:lnTo>
                    <a:lnTo>
                      <a:pt x="454914" y="396430"/>
                    </a:lnTo>
                    <a:lnTo>
                      <a:pt x="456628" y="394716"/>
                    </a:lnTo>
                    <a:lnTo>
                      <a:pt x="458343" y="393002"/>
                    </a:lnTo>
                    <a:lnTo>
                      <a:pt x="460915" y="384524"/>
                    </a:lnTo>
                    <a:lnTo>
                      <a:pt x="464344" y="376047"/>
                    </a:lnTo>
                    <a:lnTo>
                      <a:pt x="465201" y="370999"/>
                    </a:lnTo>
                    <a:lnTo>
                      <a:pt x="464344" y="366713"/>
                    </a:lnTo>
                    <a:lnTo>
                      <a:pt x="462629" y="361664"/>
                    </a:lnTo>
                    <a:lnTo>
                      <a:pt x="463486" y="362521"/>
                    </a:lnTo>
                    <a:lnTo>
                      <a:pt x="464344" y="363379"/>
                    </a:lnTo>
                    <a:lnTo>
                      <a:pt x="464344" y="363379"/>
                    </a:lnTo>
                    <a:lnTo>
                      <a:pt x="465201" y="362521"/>
                    </a:lnTo>
                    <a:lnTo>
                      <a:pt x="465201" y="361664"/>
                    </a:lnTo>
                    <a:lnTo>
                      <a:pt x="465201" y="360807"/>
                    </a:lnTo>
                    <a:lnTo>
                      <a:pt x="466058" y="364236"/>
                    </a:lnTo>
                    <a:lnTo>
                      <a:pt x="466915" y="365950"/>
                    </a:lnTo>
                    <a:lnTo>
                      <a:pt x="466915" y="367665"/>
                    </a:lnTo>
                    <a:lnTo>
                      <a:pt x="466058" y="376142"/>
                    </a:lnTo>
                    <a:lnTo>
                      <a:pt x="466058" y="378714"/>
                    </a:lnTo>
                    <a:lnTo>
                      <a:pt x="466915" y="381286"/>
                    </a:lnTo>
                    <a:lnTo>
                      <a:pt x="468630" y="382143"/>
                    </a:lnTo>
                    <a:lnTo>
                      <a:pt x="470344" y="383000"/>
                    </a:lnTo>
                    <a:lnTo>
                      <a:pt x="471202" y="383857"/>
                    </a:lnTo>
                    <a:lnTo>
                      <a:pt x="474631" y="386429"/>
                    </a:lnTo>
                    <a:lnTo>
                      <a:pt x="475488" y="388144"/>
                    </a:lnTo>
                    <a:lnTo>
                      <a:pt x="476345" y="389001"/>
                    </a:lnTo>
                    <a:lnTo>
                      <a:pt x="477203" y="389858"/>
                    </a:lnTo>
                    <a:lnTo>
                      <a:pt x="478060" y="389858"/>
                    </a:lnTo>
                    <a:lnTo>
                      <a:pt x="478917" y="389001"/>
                    </a:lnTo>
                    <a:lnTo>
                      <a:pt x="478917" y="388144"/>
                    </a:lnTo>
                    <a:lnTo>
                      <a:pt x="478060" y="385572"/>
                    </a:lnTo>
                    <a:lnTo>
                      <a:pt x="478060" y="384715"/>
                    </a:lnTo>
                    <a:lnTo>
                      <a:pt x="477203" y="383857"/>
                    </a:lnTo>
                    <a:lnTo>
                      <a:pt x="476345" y="383000"/>
                    </a:lnTo>
                    <a:lnTo>
                      <a:pt x="476345" y="381286"/>
                    </a:lnTo>
                    <a:lnTo>
                      <a:pt x="479774" y="377857"/>
                    </a:lnTo>
                    <a:lnTo>
                      <a:pt x="481489" y="376142"/>
                    </a:lnTo>
                    <a:lnTo>
                      <a:pt x="486537" y="372713"/>
                    </a:lnTo>
                    <a:lnTo>
                      <a:pt x="491585" y="367665"/>
                    </a:lnTo>
                    <a:lnTo>
                      <a:pt x="493300" y="367665"/>
                    </a:lnTo>
                    <a:lnTo>
                      <a:pt x="494157" y="365950"/>
                    </a:lnTo>
                    <a:lnTo>
                      <a:pt x="494157" y="360045"/>
                    </a:lnTo>
                    <a:lnTo>
                      <a:pt x="495014" y="357473"/>
                    </a:lnTo>
                    <a:lnTo>
                      <a:pt x="496729" y="354044"/>
                    </a:lnTo>
                    <a:lnTo>
                      <a:pt x="497586" y="348139"/>
                    </a:lnTo>
                    <a:lnTo>
                      <a:pt x="501015" y="341376"/>
                    </a:lnTo>
                    <a:lnTo>
                      <a:pt x="502729" y="336328"/>
                    </a:lnTo>
                    <a:lnTo>
                      <a:pt x="505301" y="332899"/>
                    </a:lnTo>
                    <a:lnTo>
                      <a:pt x="505301" y="331184"/>
                    </a:lnTo>
                    <a:lnTo>
                      <a:pt x="505301" y="329470"/>
                    </a:lnTo>
                    <a:lnTo>
                      <a:pt x="504444" y="328613"/>
                    </a:lnTo>
                    <a:lnTo>
                      <a:pt x="504444" y="326898"/>
                    </a:lnTo>
                    <a:lnTo>
                      <a:pt x="505301" y="326041"/>
                    </a:lnTo>
                    <a:lnTo>
                      <a:pt x="512064" y="321755"/>
                    </a:lnTo>
                    <a:lnTo>
                      <a:pt x="513778" y="321755"/>
                    </a:lnTo>
                    <a:lnTo>
                      <a:pt x="515493" y="320897"/>
                    </a:lnTo>
                    <a:lnTo>
                      <a:pt x="516350" y="320897"/>
                    </a:lnTo>
                    <a:lnTo>
                      <a:pt x="518922" y="321755"/>
                    </a:lnTo>
                    <a:lnTo>
                      <a:pt x="519779" y="320897"/>
                    </a:lnTo>
                    <a:lnTo>
                      <a:pt x="521494" y="320040"/>
                    </a:lnTo>
                    <a:lnTo>
                      <a:pt x="522351" y="320040"/>
                    </a:lnTo>
                    <a:lnTo>
                      <a:pt x="524065" y="320897"/>
                    </a:lnTo>
                    <a:lnTo>
                      <a:pt x="524065" y="321755"/>
                    </a:lnTo>
                    <a:lnTo>
                      <a:pt x="524065" y="322612"/>
                    </a:lnTo>
                    <a:lnTo>
                      <a:pt x="524065" y="323469"/>
                    </a:lnTo>
                    <a:lnTo>
                      <a:pt x="523208" y="325183"/>
                    </a:lnTo>
                    <a:lnTo>
                      <a:pt x="529971" y="322612"/>
                    </a:lnTo>
                    <a:lnTo>
                      <a:pt x="531686" y="322612"/>
                    </a:lnTo>
                    <a:lnTo>
                      <a:pt x="535972" y="323469"/>
                    </a:lnTo>
                    <a:lnTo>
                      <a:pt x="537686" y="323469"/>
                    </a:lnTo>
                    <a:lnTo>
                      <a:pt x="536829" y="320897"/>
                    </a:lnTo>
                    <a:lnTo>
                      <a:pt x="538544" y="320897"/>
                    </a:lnTo>
                    <a:lnTo>
                      <a:pt x="540258" y="321755"/>
                    </a:lnTo>
                    <a:lnTo>
                      <a:pt x="541115" y="322612"/>
                    </a:lnTo>
                    <a:lnTo>
                      <a:pt x="540258" y="324326"/>
                    </a:lnTo>
                    <a:lnTo>
                      <a:pt x="541973" y="325183"/>
                    </a:lnTo>
                    <a:lnTo>
                      <a:pt x="546259" y="325183"/>
                    </a:lnTo>
                    <a:lnTo>
                      <a:pt x="547973" y="326041"/>
                    </a:lnTo>
                    <a:lnTo>
                      <a:pt x="549688" y="325183"/>
                    </a:lnTo>
                    <a:lnTo>
                      <a:pt x="552260" y="326898"/>
                    </a:lnTo>
                    <a:lnTo>
                      <a:pt x="553974" y="327755"/>
                    </a:lnTo>
                    <a:lnTo>
                      <a:pt x="555689" y="328613"/>
                    </a:lnTo>
                    <a:lnTo>
                      <a:pt x="556546" y="328613"/>
                    </a:lnTo>
                    <a:lnTo>
                      <a:pt x="561594" y="326898"/>
                    </a:lnTo>
                    <a:lnTo>
                      <a:pt x="564166" y="325183"/>
                    </a:lnTo>
                    <a:lnTo>
                      <a:pt x="572643" y="320897"/>
                    </a:lnTo>
                    <a:lnTo>
                      <a:pt x="574357" y="320040"/>
                    </a:lnTo>
                    <a:lnTo>
                      <a:pt x="576929" y="320040"/>
                    </a:lnTo>
                    <a:lnTo>
                      <a:pt x="581215" y="319183"/>
                    </a:lnTo>
                    <a:lnTo>
                      <a:pt x="582073" y="319183"/>
                    </a:lnTo>
                    <a:lnTo>
                      <a:pt x="582930" y="317468"/>
                    </a:lnTo>
                    <a:lnTo>
                      <a:pt x="584645" y="316611"/>
                    </a:lnTo>
                    <a:lnTo>
                      <a:pt x="586359" y="317468"/>
                    </a:lnTo>
                    <a:lnTo>
                      <a:pt x="587216" y="316611"/>
                    </a:lnTo>
                    <a:lnTo>
                      <a:pt x="588931" y="315754"/>
                    </a:lnTo>
                    <a:lnTo>
                      <a:pt x="590645" y="314039"/>
                    </a:lnTo>
                    <a:lnTo>
                      <a:pt x="592360" y="312325"/>
                    </a:lnTo>
                    <a:lnTo>
                      <a:pt x="595789" y="313182"/>
                    </a:lnTo>
                    <a:lnTo>
                      <a:pt x="598361" y="311468"/>
                    </a:lnTo>
                    <a:lnTo>
                      <a:pt x="601790" y="308896"/>
                    </a:lnTo>
                    <a:lnTo>
                      <a:pt x="606838" y="306324"/>
                    </a:lnTo>
                    <a:lnTo>
                      <a:pt x="608552" y="306324"/>
                    </a:lnTo>
                    <a:lnTo>
                      <a:pt x="610267" y="305467"/>
                    </a:lnTo>
                    <a:lnTo>
                      <a:pt x="617029" y="298704"/>
                    </a:lnTo>
                    <a:lnTo>
                      <a:pt x="622078" y="296989"/>
                    </a:lnTo>
                    <a:lnTo>
                      <a:pt x="620363" y="296132"/>
                    </a:lnTo>
                    <a:lnTo>
                      <a:pt x="619506" y="294418"/>
                    </a:lnTo>
                    <a:lnTo>
                      <a:pt x="619506" y="292703"/>
                    </a:lnTo>
                    <a:lnTo>
                      <a:pt x="619506" y="291846"/>
                    </a:lnTo>
                    <a:lnTo>
                      <a:pt x="620363" y="291846"/>
                    </a:lnTo>
                    <a:lnTo>
                      <a:pt x="621220" y="293561"/>
                    </a:lnTo>
                    <a:lnTo>
                      <a:pt x="622078" y="294418"/>
                    </a:lnTo>
                    <a:lnTo>
                      <a:pt x="622935" y="294418"/>
                    </a:lnTo>
                    <a:lnTo>
                      <a:pt x="622935" y="293561"/>
                    </a:lnTo>
                    <a:lnTo>
                      <a:pt x="622935" y="292703"/>
                    </a:lnTo>
                    <a:lnTo>
                      <a:pt x="622935" y="291846"/>
                    </a:lnTo>
                    <a:lnTo>
                      <a:pt x="625507" y="285940"/>
                    </a:lnTo>
                    <a:lnTo>
                      <a:pt x="626364" y="282512"/>
                    </a:lnTo>
                    <a:lnTo>
                      <a:pt x="627221" y="276606"/>
                    </a:lnTo>
                    <a:lnTo>
                      <a:pt x="628936" y="270700"/>
                    </a:lnTo>
                    <a:lnTo>
                      <a:pt x="628936" y="265652"/>
                    </a:lnTo>
                    <a:lnTo>
                      <a:pt x="628936" y="259747"/>
                    </a:lnTo>
                    <a:lnTo>
                      <a:pt x="628078" y="256318"/>
                    </a:lnTo>
                    <a:lnTo>
                      <a:pt x="626364" y="253746"/>
                    </a:lnTo>
                    <a:lnTo>
                      <a:pt x="628078" y="258032"/>
                    </a:lnTo>
                    <a:lnTo>
                      <a:pt x="628078" y="261461"/>
                    </a:lnTo>
                    <a:lnTo>
                      <a:pt x="628078" y="265747"/>
                    </a:lnTo>
                    <a:lnTo>
                      <a:pt x="627221" y="267462"/>
                    </a:lnTo>
                    <a:lnTo>
                      <a:pt x="625507" y="265747"/>
                    </a:lnTo>
                    <a:lnTo>
                      <a:pt x="624649" y="266605"/>
                    </a:lnTo>
                    <a:lnTo>
                      <a:pt x="624649" y="266605"/>
                    </a:lnTo>
                    <a:lnTo>
                      <a:pt x="623792" y="266605"/>
                    </a:lnTo>
                    <a:lnTo>
                      <a:pt x="622935" y="266605"/>
                    </a:lnTo>
                    <a:lnTo>
                      <a:pt x="622078" y="266605"/>
                    </a:lnTo>
                    <a:lnTo>
                      <a:pt x="622078" y="265747"/>
                    </a:lnTo>
                    <a:lnTo>
                      <a:pt x="621220" y="265747"/>
                    </a:lnTo>
                    <a:lnTo>
                      <a:pt x="617791" y="264890"/>
                    </a:lnTo>
                    <a:lnTo>
                      <a:pt x="616077" y="262319"/>
                    </a:lnTo>
                    <a:lnTo>
                      <a:pt x="616077" y="259747"/>
                    </a:lnTo>
                    <a:lnTo>
                      <a:pt x="616077" y="257175"/>
                    </a:lnTo>
                    <a:lnTo>
                      <a:pt x="620363" y="249555"/>
                    </a:lnTo>
                    <a:lnTo>
                      <a:pt x="621220" y="245269"/>
                    </a:lnTo>
                    <a:lnTo>
                      <a:pt x="622935" y="243554"/>
                    </a:lnTo>
                    <a:lnTo>
                      <a:pt x="626364" y="240982"/>
                    </a:lnTo>
                    <a:lnTo>
                      <a:pt x="628936" y="235934"/>
                    </a:lnTo>
                    <a:lnTo>
                      <a:pt x="630650" y="234220"/>
                    </a:lnTo>
                    <a:lnTo>
                      <a:pt x="634936" y="232505"/>
                    </a:lnTo>
                    <a:lnTo>
                      <a:pt x="636651" y="231648"/>
                    </a:lnTo>
                    <a:lnTo>
                      <a:pt x="638365" y="228219"/>
                    </a:lnTo>
                    <a:lnTo>
                      <a:pt x="640937" y="225647"/>
                    </a:lnTo>
                    <a:lnTo>
                      <a:pt x="668083" y="208693"/>
                    </a:lnTo>
                    <a:lnTo>
                      <a:pt x="672370" y="207836"/>
                    </a:lnTo>
                    <a:lnTo>
                      <a:pt x="676656" y="205264"/>
                    </a:lnTo>
                    <a:lnTo>
                      <a:pt x="680942" y="203549"/>
                    </a:lnTo>
                    <a:lnTo>
                      <a:pt x="682657" y="202692"/>
                    </a:lnTo>
                    <a:lnTo>
                      <a:pt x="684371" y="200978"/>
                    </a:lnTo>
                    <a:lnTo>
                      <a:pt x="686086" y="200120"/>
                    </a:lnTo>
                    <a:lnTo>
                      <a:pt x="686943" y="201835"/>
                    </a:lnTo>
                    <a:lnTo>
                      <a:pt x="687800" y="201835"/>
                    </a:lnTo>
                    <a:lnTo>
                      <a:pt x="692849" y="197548"/>
                    </a:lnTo>
                    <a:lnTo>
                      <a:pt x="693706" y="197548"/>
                    </a:lnTo>
                    <a:lnTo>
                      <a:pt x="695420" y="196691"/>
                    </a:lnTo>
                    <a:lnTo>
                      <a:pt x="696278" y="196691"/>
                    </a:lnTo>
                    <a:lnTo>
                      <a:pt x="698849" y="194120"/>
                    </a:lnTo>
                    <a:lnTo>
                      <a:pt x="701421" y="192405"/>
                    </a:lnTo>
                    <a:lnTo>
                      <a:pt x="704850" y="190691"/>
                    </a:lnTo>
                    <a:lnTo>
                      <a:pt x="709136" y="188119"/>
                    </a:lnTo>
                    <a:lnTo>
                      <a:pt x="718471" y="184690"/>
                    </a:lnTo>
                    <a:lnTo>
                      <a:pt x="721043" y="182118"/>
                    </a:lnTo>
                    <a:lnTo>
                      <a:pt x="721900" y="181261"/>
                    </a:lnTo>
                    <a:lnTo>
                      <a:pt x="723614" y="181261"/>
                    </a:lnTo>
                    <a:lnTo>
                      <a:pt x="725329" y="180404"/>
                    </a:lnTo>
                    <a:lnTo>
                      <a:pt x="725329" y="178689"/>
                    </a:lnTo>
                    <a:lnTo>
                      <a:pt x="722757" y="175260"/>
                    </a:lnTo>
                    <a:lnTo>
                      <a:pt x="727043" y="175260"/>
                    </a:lnTo>
                    <a:lnTo>
                      <a:pt x="727900" y="175260"/>
                    </a:lnTo>
                    <a:lnTo>
                      <a:pt x="728758" y="173546"/>
                    </a:lnTo>
                    <a:lnTo>
                      <a:pt x="731329" y="172688"/>
                    </a:lnTo>
                    <a:lnTo>
                      <a:pt x="732187" y="171831"/>
                    </a:lnTo>
                    <a:lnTo>
                      <a:pt x="732187" y="170974"/>
                    </a:lnTo>
                    <a:lnTo>
                      <a:pt x="731329" y="170117"/>
                    </a:lnTo>
                    <a:lnTo>
                      <a:pt x="729615" y="169259"/>
                    </a:lnTo>
                    <a:lnTo>
                      <a:pt x="727043" y="168402"/>
                    </a:lnTo>
                    <a:lnTo>
                      <a:pt x="726186" y="166688"/>
                    </a:lnTo>
                    <a:lnTo>
                      <a:pt x="727043" y="165830"/>
                    </a:lnTo>
                    <a:lnTo>
                      <a:pt x="728758" y="165830"/>
                    </a:lnTo>
                    <a:lnTo>
                      <a:pt x="729615" y="166688"/>
                    </a:lnTo>
                    <a:lnTo>
                      <a:pt x="730472" y="167545"/>
                    </a:lnTo>
                    <a:lnTo>
                      <a:pt x="730472" y="167545"/>
                    </a:lnTo>
                    <a:lnTo>
                      <a:pt x="730472" y="168402"/>
                    </a:lnTo>
                    <a:lnTo>
                      <a:pt x="731329" y="168402"/>
                    </a:lnTo>
                    <a:lnTo>
                      <a:pt x="731329" y="168402"/>
                    </a:lnTo>
                    <a:lnTo>
                      <a:pt x="731329" y="169259"/>
                    </a:lnTo>
                    <a:lnTo>
                      <a:pt x="732187" y="169259"/>
                    </a:lnTo>
                    <a:lnTo>
                      <a:pt x="733044" y="168402"/>
                    </a:lnTo>
                    <a:lnTo>
                      <a:pt x="733901" y="167545"/>
                    </a:lnTo>
                    <a:lnTo>
                      <a:pt x="734758" y="167545"/>
                    </a:lnTo>
                    <a:lnTo>
                      <a:pt x="737330" y="165830"/>
                    </a:lnTo>
                    <a:lnTo>
                      <a:pt x="744093" y="158210"/>
                    </a:lnTo>
                    <a:lnTo>
                      <a:pt x="745807" y="155638"/>
                    </a:lnTo>
                    <a:lnTo>
                      <a:pt x="746665" y="152209"/>
                    </a:lnTo>
                    <a:lnTo>
                      <a:pt x="747522" y="149638"/>
                    </a:lnTo>
                    <a:lnTo>
                      <a:pt x="749236" y="148780"/>
                    </a:lnTo>
                    <a:lnTo>
                      <a:pt x="749236" y="146209"/>
                    </a:lnTo>
                    <a:lnTo>
                      <a:pt x="749236" y="143637"/>
                    </a:lnTo>
                    <a:lnTo>
                      <a:pt x="749236" y="141922"/>
                    </a:lnTo>
                    <a:lnTo>
                      <a:pt x="750951" y="143637"/>
                    </a:lnTo>
                    <a:lnTo>
                      <a:pt x="750951" y="144494"/>
                    </a:lnTo>
                    <a:lnTo>
                      <a:pt x="751808" y="144494"/>
                    </a:lnTo>
                    <a:lnTo>
                      <a:pt x="753523" y="142780"/>
                    </a:lnTo>
                    <a:lnTo>
                      <a:pt x="757809" y="139351"/>
                    </a:lnTo>
                    <a:lnTo>
                      <a:pt x="758666" y="138493"/>
                    </a:lnTo>
                    <a:lnTo>
                      <a:pt x="759524" y="137636"/>
                    </a:lnTo>
                    <a:lnTo>
                      <a:pt x="761238" y="135922"/>
                    </a:lnTo>
                    <a:lnTo>
                      <a:pt x="761238" y="135922"/>
                    </a:lnTo>
                    <a:lnTo>
                      <a:pt x="762095" y="135064"/>
                    </a:lnTo>
                    <a:lnTo>
                      <a:pt x="762953" y="131635"/>
                    </a:lnTo>
                    <a:lnTo>
                      <a:pt x="763810" y="130778"/>
                    </a:lnTo>
                    <a:lnTo>
                      <a:pt x="767239" y="127349"/>
                    </a:lnTo>
                    <a:lnTo>
                      <a:pt x="785050" y="116300"/>
                    </a:lnTo>
                    <a:lnTo>
                      <a:pt x="818960" y="101060"/>
                    </a:lnTo>
                    <a:lnTo>
                      <a:pt x="822389" y="98488"/>
                    </a:lnTo>
                    <a:lnTo>
                      <a:pt x="824103" y="94202"/>
                    </a:lnTo>
                    <a:lnTo>
                      <a:pt x="824960" y="93345"/>
                    </a:lnTo>
                    <a:lnTo>
                      <a:pt x="824960" y="93440"/>
                    </a:lnTo>
                    <a:lnTo>
                      <a:pt x="825818" y="92583"/>
                    </a:lnTo>
                    <a:lnTo>
                      <a:pt x="825818" y="90868"/>
                    </a:lnTo>
                    <a:lnTo>
                      <a:pt x="827532" y="90011"/>
                    </a:lnTo>
                    <a:lnTo>
                      <a:pt x="829246" y="88297"/>
                    </a:lnTo>
                    <a:lnTo>
                      <a:pt x="830961" y="85725"/>
                    </a:lnTo>
                    <a:lnTo>
                      <a:pt x="836009" y="83153"/>
                    </a:lnTo>
                    <a:lnTo>
                      <a:pt x="836866" y="81439"/>
                    </a:lnTo>
                    <a:lnTo>
                      <a:pt x="841915" y="75533"/>
                    </a:lnTo>
                    <a:lnTo>
                      <a:pt x="846963" y="72104"/>
                    </a:lnTo>
                    <a:lnTo>
                      <a:pt x="848678" y="70390"/>
                    </a:lnTo>
                    <a:lnTo>
                      <a:pt x="846106" y="72104"/>
                    </a:lnTo>
                    <a:lnTo>
                      <a:pt x="842677" y="74676"/>
                    </a:lnTo>
                    <a:lnTo>
                      <a:pt x="840105" y="76391"/>
                    </a:lnTo>
                    <a:lnTo>
                      <a:pt x="837533" y="76391"/>
                    </a:lnTo>
                    <a:lnTo>
                      <a:pt x="835819" y="75533"/>
                    </a:lnTo>
                    <a:lnTo>
                      <a:pt x="837533" y="73819"/>
                    </a:lnTo>
                    <a:lnTo>
                      <a:pt x="837533" y="73819"/>
                    </a:lnTo>
                    <a:lnTo>
                      <a:pt x="840105" y="73819"/>
                    </a:lnTo>
                    <a:lnTo>
                      <a:pt x="840962" y="73819"/>
                    </a:lnTo>
                    <a:lnTo>
                      <a:pt x="841820" y="72962"/>
                    </a:lnTo>
                    <a:lnTo>
                      <a:pt x="843534" y="71247"/>
                    </a:lnTo>
                    <a:lnTo>
                      <a:pt x="844391" y="71247"/>
                    </a:lnTo>
                    <a:lnTo>
                      <a:pt x="846963" y="70390"/>
                    </a:lnTo>
                    <a:lnTo>
                      <a:pt x="848678" y="68675"/>
                    </a:lnTo>
                    <a:lnTo>
                      <a:pt x="851249" y="64389"/>
                    </a:lnTo>
                    <a:lnTo>
                      <a:pt x="857155" y="60960"/>
                    </a:lnTo>
                    <a:lnTo>
                      <a:pt x="858012" y="59246"/>
                    </a:lnTo>
                    <a:lnTo>
                      <a:pt x="858869" y="57531"/>
                    </a:lnTo>
                    <a:lnTo>
                      <a:pt x="859727" y="55817"/>
                    </a:lnTo>
                    <a:lnTo>
                      <a:pt x="869918" y="44767"/>
                    </a:lnTo>
                    <a:lnTo>
                      <a:pt x="870775" y="42196"/>
                    </a:lnTo>
                    <a:lnTo>
                      <a:pt x="880110" y="27718"/>
                    </a:lnTo>
                    <a:lnTo>
                      <a:pt x="883539" y="26860"/>
                    </a:lnTo>
                    <a:lnTo>
                      <a:pt x="885253" y="24289"/>
                    </a:lnTo>
                    <a:lnTo>
                      <a:pt x="887825" y="20860"/>
                    </a:lnTo>
                    <a:lnTo>
                      <a:pt x="892111" y="14954"/>
                    </a:lnTo>
                    <a:lnTo>
                      <a:pt x="892969" y="11525"/>
                    </a:lnTo>
                    <a:lnTo>
                      <a:pt x="896398" y="7239"/>
                    </a:lnTo>
                    <a:lnTo>
                      <a:pt x="896398" y="6858"/>
                    </a:lnTo>
                    <a:lnTo>
                      <a:pt x="893921" y="6858"/>
                    </a:lnTo>
                    <a:lnTo>
                      <a:pt x="893921" y="6858"/>
                    </a:lnTo>
                    <a:lnTo>
                      <a:pt x="893921" y="6858"/>
                    </a:lnTo>
                    <a:close/>
                    <a:moveTo>
                      <a:pt x="615696" y="282893"/>
                    </a:moveTo>
                    <a:lnTo>
                      <a:pt x="616553" y="282035"/>
                    </a:lnTo>
                    <a:lnTo>
                      <a:pt x="617411" y="282035"/>
                    </a:lnTo>
                    <a:lnTo>
                      <a:pt x="618268" y="280321"/>
                    </a:lnTo>
                    <a:lnTo>
                      <a:pt x="619125" y="280321"/>
                    </a:lnTo>
                    <a:lnTo>
                      <a:pt x="619125" y="280321"/>
                    </a:lnTo>
                    <a:lnTo>
                      <a:pt x="619982" y="280321"/>
                    </a:lnTo>
                    <a:lnTo>
                      <a:pt x="619982" y="281178"/>
                    </a:lnTo>
                    <a:lnTo>
                      <a:pt x="619982" y="282893"/>
                    </a:lnTo>
                    <a:lnTo>
                      <a:pt x="619125" y="283750"/>
                    </a:lnTo>
                    <a:lnTo>
                      <a:pt x="618268" y="283750"/>
                    </a:lnTo>
                    <a:lnTo>
                      <a:pt x="616553" y="283750"/>
                    </a:lnTo>
                    <a:lnTo>
                      <a:pt x="616553" y="283750"/>
                    </a:lnTo>
                    <a:lnTo>
                      <a:pt x="616553" y="284607"/>
                    </a:lnTo>
                    <a:lnTo>
                      <a:pt x="618268" y="284607"/>
                    </a:lnTo>
                    <a:lnTo>
                      <a:pt x="616553" y="285464"/>
                    </a:lnTo>
                    <a:lnTo>
                      <a:pt x="615696" y="285464"/>
                    </a:lnTo>
                    <a:lnTo>
                      <a:pt x="613982" y="285464"/>
                    </a:lnTo>
                    <a:lnTo>
                      <a:pt x="611410" y="284607"/>
                    </a:lnTo>
                    <a:lnTo>
                      <a:pt x="608838" y="283750"/>
                    </a:lnTo>
                    <a:lnTo>
                      <a:pt x="607981" y="283750"/>
                    </a:lnTo>
                    <a:lnTo>
                      <a:pt x="606266" y="282893"/>
                    </a:lnTo>
                    <a:lnTo>
                      <a:pt x="606266" y="282035"/>
                    </a:lnTo>
                    <a:lnTo>
                      <a:pt x="607124" y="282035"/>
                    </a:lnTo>
                    <a:lnTo>
                      <a:pt x="607981" y="281178"/>
                    </a:lnTo>
                    <a:lnTo>
                      <a:pt x="608838" y="280321"/>
                    </a:lnTo>
                    <a:lnTo>
                      <a:pt x="609695" y="279463"/>
                    </a:lnTo>
                    <a:lnTo>
                      <a:pt x="610553" y="279463"/>
                    </a:lnTo>
                    <a:lnTo>
                      <a:pt x="611410" y="278606"/>
                    </a:lnTo>
                    <a:lnTo>
                      <a:pt x="610553" y="281178"/>
                    </a:lnTo>
                    <a:lnTo>
                      <a:pt x="610553" y="282035"/>
                    </a:lnTo>
                    <a:lnTo>
                      <a:pt x="612267" y="282893"/>
                    </a:lnTo>
                    <a:lnTo>
                      <a:pt x="615696" y="282893"/>
                    </a:lnTo>
                    <a:lnTo>
                      <a:pt x="615696" y="282893"/>
                    </a:lnTo>
                    <a:lnTo>
                      <a:pt x="615696" y="282893"/>
                    </a:lnTo>
                    <a:close/>
                    <a:moveTo>
                      <a:pt x="473202" y="388144"/>
                    </a:moveTo>
                    <a:lnTo>
                      <a:pt x="469773" y="385572"/>
                    </a:lnTo>
                    <a:lnTo>
                      <a:pt x="463868" y="382143"/>
                    </a:lnTo>
                    <a:lnTo>
                      <a:pt x="463010" y="383000"/>
                    </a:lnTo>
                    <a:lnTo>
                      <a:pt x="462153" y="386429"/>
                    </a:lnTo>
                    <a:lnTo>
                      <a:pt x="467201" y="393192"/>
                    </a:lnTo>
                    <a:lnTo>
                      <a:pt x="469773" y="394906"/>
                    </a:lnTo>
                    <a:lnTo>
                      <a:pt x="469773" y="394906"/>
                    </a:lnTo>
                    <a:lnTo>
                      <a:pt x="473202" y="393192"/>
                    </a:lnTo>
                    <a:lnTo>
                      <a:pt x="474916" y="392335"/>
                    </a:lnTo>
                    <a:lnTo>
                      <a:pt x="474916" y="391478"/>
                    </a:lnTo>
                    <a:lnTo>
                      <a:pt x="474059" y="389763"/>
                    </a:lnTo>
                    <a:lnTo>
                      <a:pt x="473202" y="388144"/>
                    </a:lnTo>
                    <a:lnTo>
                      <a:pt x="473202" y="388144"/>
                    </a:lnTo>
                    <a:lnTo>
                      <a:pt x="473202" y="388144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54" name="Freeform: Shape 158">
                <a:extLst>
                  <a:ext uri="{FF2B5EF4-FFF2-40B4-BE49-F238E27FC236}">
                    <a16:creationId xmlns:a16="http://schemas.microsoft.com/office/drawing/2014/main" id="{DED89980-DA62-4FDE-A9D5-54DF66266E7C}"/>
                  </a:ext>
                </a:extLst>
              </p:cNvPr>
              <p:cNvSpPr/>
              <p:nvPr/>
            </p:nvSpPr>
            <p:spPr>
              <a:xfrm>
                <a:off x="4929092" y="4693063"/>
                <a:ext cx="161925" cy="381000"/>
              </a:xfrm>
              <a:custGeom>
                <a:avLst/>
                <a:gdLst>
                  <a:gd name="connsiteX0" fmla="*/ 99441 w 161925"/>
                  <a:gd name="connsiteY0" fmla="*/ 379476 h 381000"/>
                  <a:gd name="connsiteX1" fmla="*/ 99441 w 161925"/>
                  <a:gd name="connsiteY1" fmla="*/ 379476 h 381000"/>
                  <a:gd name="connsiteX2" fmla="*/ 98584 w 161925"/>
                  <a:gd name="connsiteY2" fmla="*/ 379476 h 381000"/>
                  <a:gd name="connsiteX3" fmla="*/ 98584 w 161925"/>
                  <a:gd name="connsiteY3" fmla="*/ 381191 h 381000"/>
                  <a:gd name="connsiteX4" fmla="*/ 97726 w 161925"/>
                  <a:gd name="connsiteY4" fmla="*/ 382905 h 381000"/>
                  <a:gd name="connsiteX5" fmla="*/ 96012 w 161925"/>
                  <a:gd name="connsiteY5" fmla="*/ 384620 h 381000"/>
                  <a:gd name="connsiteX6" fmla="*/ 93440 w 161925"/>
                  <a:gd name="connsiteY6" fmla="*/ 385477 h 381000"/>
                  <a:gd name="connsiteX7" fmla="*/ 93440 w 161925"/>
                  <a:gd name="connsiteY7" fmla="*/ 385477 h 381000"/>
                  <a:gd name="connsiteX8" fmla="*/ 93440 w 161925"/>
                  <a:gd name="connsiteY8" fmla="*/ 383762 h 381000"/>
                  <a:gd name="connsiteX9" fmla="*/ 93440 w 161925"/>
                  <a:gd name="connsiteY9" fmla="*/ 383762 h 381000"/>
                  <a:gd name="connsiteX10" fmla="*/ 92583 w 161925"/>
                  <a:gd name="connsiteY10" fmla="*/ 383762 h 381000"/>
                  <a:gd name="connsiteX11" fmla="*/ 92583 w 161925"/>
                  <a:gd name="connsiteY11" fmla="*/ 386334 h 381000"/>
                  <a:gd name="connsiteX12" fmla="*/ 94297 w 161925"/>
                  <a:gd name="connsiteY12" fmla="*/ 387191 h 381000"/>
                  <a:gd name="connsiteX13" fmla="*/ 95155 w 161925"/>
                  <a:gd name="connsiteY13" fmla="*/ 386334 h 381000"/>
                  <a:gd name="connsiteX14" fmla="*/ 96869 w 161925"/>
                  <a:gd name="connsiteY14" fmla="*/ 385477 h 381000"/>
                  <a:gd name="connsiteX15" fmla="*/ 97726 w 161925"/>
                  <a:gd name="connsiteY15" fmla="*/ 384620 h 381000"/>
                  <a:gd name="connsiteX16" fmla="*/ 99441 w 161925"/>
                  <a:gd name="connsiteY16" fmla="*/ 380333 h 381000"/>
                  <a:gd name="connsiteX17" fmla="*/ 99441 w 161925"/>
                  <a:gd name="connsiteY17" fmla="*/ 380333 h 381000"/>
                  <a:gd name="connsiteX18" fmla="*/ 99441 w 161925"/>
                  <a:gd name="connsiteY18" fmla="*/ 379476 h 381000"/>
                  <a:gd name="connsiteX19" fmla="*/ 99441 w 161925"/>
                  <a:gd name="connsiteY19" fmla="*/ 379476 h 381000"/>
                  <a:gd name="connsiteX20" fmla="*/ 99441 w 161925"/>
                  <a:gd name="connsiteY20" fmla="*/ 379476 h 381000"/>
                  <a:gd name="connsiteX21" fmla="*/ 99441 w 161925"/>
                  <a:gd name="connsiteY21" fmla="*/ 379476 h 381000"/>
                  <a:gd name="connsiteX22" fmla="*/ 160877 w 161925"/>
                  <a:gd name="connsiteY22" fmla="*/ 179927 h 381000"/>
                  <a:gd name="connsiteX23" fmla="*/ 160877 w 161925"/>
                  <a:gd name="connsiteY23" fmla="*/ 179927 h 381000"/>
                  <a:gd name="connsiteX24" fmla="*/ 160020 w 161925"/>
                  <a:gd name="connsiteY24" fmla="*/ 180785 h 381000"/>
                  <a:gd name="connsiteX25" fmla="*/ 160020 w 161925"/>
                  <a:gd name="connsiteY25" fmla="*/ 181642 h 381000"/>
                  <a:gd name="connsiteX26" fmla="*/ 160020 w 161925"/>
                  <a:gd name="connsiteY26" fmla="*/ 183356 h 381000"/>
                  <a:gd name="connsiteX27" fmla="*/ 160020 w 161925"/>
                  <a:gd name="connsiteY27" fmla="*/ 183356 h 381000"/>
                  <a:gd name="connsiteX28" fmla="*/ 160020 w 161925"/>
                  <a:gd name="connsiteY28" fmla="*/ 184213 h 381000"/>
                  <a:gd name="connsiteX29" fmla="*/ 160020 w 161925"/>
                  <a:gd name="connsiteY29" fmla="*/ 183356 h 381000"/>
                  <a:gd name="connsiteX30" fmla="*/ 160877 w 161925"/>
                  <a:gd name="connsiteY30" fmla="*/ 182499 h 381000"/>
                  <a:gd name="connsiteX31" fmla="*/ 160877 w 161925"/>
                  <a:gd name="connsiteY31" fmla="*/ 181642 h 381000"/>
                  <a:gd name="connsiteX32" fmla="*/ 161735 w 161925"/>
                  <a:gd name="connsiteY32" fmla="*/ 180785 h 381000"/>
                  <a:gd name="connsiteX33" fmla="*/ 160877 w 161925"/>
                  <a:gd name="connsiteY33" fmla="*/ 179927 h 381000"/>
                  <a:gd name="connsiteX34" fmla="*/ 160877 w 161925"/>
                  <a:gd name="connsiteY34" fmla="*/ 179927 h 381000"/>
                  <a:gd name="connsiteX35" fmla="*/ 160877 w 161925"/>
                  <a:gd name="connsiteY35" fmla="*/ 179927 h 381000"/>
                  <a:gd name="connsiteX36" fmla="*/ 160877 w 161925"/>
                  <a:gd name="connsiteY36" fmla="*/ 179927 h 381000"/>
                  <a:gd name="connsiteX37" fmla="*/ 162592 w 161925"/>
                  <a:gd name="connsiteY37" fmla="*/ 174784 h 381000"/>
                  <a:gd name="connsiteX38" fmla="*/ 162592 w 161925"/>
                  <a:gd name="connsiteY38" fmla="*/ 174784 h 381000"/>
                  <a:gd name="connsiteX39" fmla="*/ 162592 w 161925"/>
                  <a:gd name="connsiteY39" fmla="*/ 174784 h 381000"/>
                  <a:gd name="connsiteX40" fmla="*/ 162592 w 161925"/>
                  <a:gd name="connsiteY40" fmla="*/ 174784 h 381000"/>
                  <a:gd name="connsiteX41" fmla="*/ 162592 w 161925"/>
                  <a:gd name="connsiteY41" fmla="*/ 174784 h 381000"/>
                  <a:gd name="connsiteX42" fmla="*/ 162592 w 161925"/>
                  <a:gd name="connsiteY42" fmla="*/ 174784 h 381000"/>
                  <a:gd name="connsiteX43" fmla="*/ 163449 w 161925"/>
                  <a:gd name="connsiteY43" fmla="*/ 174784 h 381000"/>
                  <a:gd name="connsiteX44" fmla="*/ 163449 w 161925"/>
                  <a:gd name="connsiteY44" fmla="*/ 174784 h 381000"/>
                  <a:gd name="connsiteX45" fmla="*/ 162592 w 161925"/>
                  <a:gd name="connsiteY45" fmla="*/ 174784 h 381000"/>
                  <a:gd name="connsiteX46" fmla="*/ 162592 w 161925"/>
                  <a:gd name="connsiteY46" fmla="*/ 174784 h 381000"/>
                  <a:gd name="connsiteX47" fmla="*/ 162592 w 161925"/>
                  <a:gd name="connsiteY47" fmla="*/ 174784 h 381000"/>
                  <a:gd name="connsiteX48" fmla="*/ 162592 w 161925"/>
                  <a:gd name="connsiteY48" fmla="*/ 174784 h 381000"/>
                  <a:gd name="connsiteX49" fmla="*/ 52197 w 161925"/>
                  <a:gd name="connsiteY49" fmla="*/ 126206 h 381000"/>
                  <a:gd name="connsiteX50" fmla="*/ 49625 w 161925"/>
                  <a:gd name="connsiteY50" fmla="*/ 127921 h 381000"/>
                  <a:gd name="connsiteX51" fmla="*/ 49625 w 161925"/>
                  <a:gd name="connsiteY51" fmla="*/ 127921 h 381000"/>
                  <a:gd name="connsiteX52" fmla="*/ 49625 w 161925"/>
                  <a:gd name="connsiteY52" fmla="*/ 127921 h 381000"/>
                  <a:gd name="connsiteX53" fmla="*/ 50482 w 161925"/>
                  <a:gd name="connsiteY53" fmla="*/ 127921 h 381000"/>
                  <a:gd name="connsiteX54" fmla="*/ 50482 w 161925"/>
                  <a:gd name="connsiteY54" fmla="*/ 127921 h 381000"/>
                  <a:gd name="connsiteX55" fmla="*/ 52197 w 161925"/>
                  <a:gd name="connsiteY55" fmla="*/ 127063 h 381000"/>
                  <a:gd name="connsiteX56" fmla="*/ 52197 w 161925"/>
                  <a:gd name="connsiteY56" fmla="*/ 127063 h 381000"/>
                  <a:gd name="connsiteX57" fmla="*/ 52197 w 161925"/>
                  <a:gd name="connsiteY57" fmla="*/ 127063 h 381000"/>
                  <a:gd name="connsiteX58" fmla="*/ 52197 w 161925"/>
                  <a:gd name="connsiteY58" fmla="*/ 126206 h 381000"/>
                  <a:gd name="connsiteX59" fmla="*/ 52197 w 161925"/>
                  <a:gd name="connsiteY59" fmla="*/ 126206 h 381000"/>
                  <a:gd name="connsiteX60" fmla="*/ 52197 w 161925"/>
                  <a:gd name="connsiteY60" fmla="*/ 126206 h 381000"/>
                  <a:gd name="connsiteX61" fmla="*/ 52197 w 161925"/>
                  <a:gd name="connsiteY61" fmla="*/ 126206 h 381000"/>
                  <a:gd name="connsiteX62" fmla="*/ 52197 w 161925"/>
                  <a:gd name="connsiteY62" fmla="*/ 126206 h 381000"/>
                  <a:gd name="connsiteX63" fmla="*/ 52197 w 161925"/>
                  <a:gd name="connsiteY63" fmla="*/ 126206 h 381000"/>
                  <a:gd name="connsiteX64" fmla="*/ 40386 w 161925"/>
                  <a:gd name="connsiteY64" fmla="*/ 103156 h 381000"/>
                  <a:gd name="connsiteX65" fmla="*/ 40386 w 161925"/>
                  <a:gd name="connsiteY65" fmla="*/ 103156 h 381000"/>
                  <a:gd name="connsiteX66" fmla="*/ 40386 w 161925"/>
                  <a:gd name="connsiteY66" fmla="*/ 104013 h 381000"/>
                  <a:gd name="connsiteX67" fmla="*/ 41243 w 161925"/>
                  <a:gd name="connsiteY67" fmla="*/ 103156 h 381000"/>
                  <a:gd name="connsiteX68" fmla="*/ 41243 w 161925"/>
                  <a:gd name="connsiteY68" fmla="*/ 103156 h 381000"/>
                  <a:gd name="connsiteX69" fmla="*/ 40386 w 161925"/>
                  <a:gd name="connsiteY69" fmla="*/ 103156 h 381000"/>
                  <a:gd name="connsiteX70" fmla="*/ 40386 w 161925"/>
                  <a:gd name="connsiteY70" fmla="*/ 103156 h 381000"/>
                  <a:gd name="connsiteX71" fmla="*/ 40386 w 161925"/>
                  <a:gd name="connsiteY71" fmla="*/ 103156 h 381000"/>
                  <a:gd name="connsiteX72" fmla="*/ 40386 w 161925"/>
                  <a:gd name="connsiteY72" fmla="*/ 103156 h 381000"/>
                  <a:gd name="connsiteX73" fmla="*/ 165068 w 161925"/>
                  <a:gd name="connsiteY73" fmla="*/ 97155 h 381000"/>
                  <a:gd name="connsiteX74" fmla="*/ 164211 w 161925"/>
                  <a:gd name="connsiteY74" fmla="*/ 97155 h 381000"/>
                  <a:gd name="connsiteX75" fmla="*/ 164211 w 161925"/>
                  <a:gd name="connsiteY75" fmla="*/ 97155 h 381000"/>
                  <a:gd name="connsiteX76" fmla="*/ 164211 w 161925"/>
                  <a:gd name="connsiteY76" fmla="*/ 98012 h 381000"/>
                  <a:gd name="connsiteX77" fmla="*/ 164211 w 161925"/>
                  <a:gd name="connsiteY77" fmla="*/ 98012 h 381000"/>
                  <a:gd name="connsiteX78" fmla="*/ 164211 w 161925"/>
                  <a:gd name="connsiteY78" fmla="*/ 98012 h 381000"/>
                  <a:gd name="connsiteX79" fmla="*/ 165068 w 161925"/>
                  <a:gd name="connsiteY79" fmla="*/ 97155 h 381000"/>
                  <a:gd name="connsiteX80" fmla="*/ 165068 w 161925"/>
                  <a:gd name="connsiteY80" fmla="*/ 97155 h 381000"/>
                  <a:gd name="connsiteX81" fmla="*/ 165068 w 161925"/>
                  <a:gd name="connsiteY81" fmla="*/ 97155 h 381000"/>
                  <a:gd name="connsiteX82" fmla="*/ 165068 w 161925"/>
                  <a:gd name="connsiteY82" fmla="*/ 97155 h 381000"/>
                  <a:gd name="connsiteX83" fmla="*/ 1714 w 161925"/>
                  <a:gd name="connsiteY83" fmla="*/ 93821 h 381000"/>
                  <a:gd name="connsiteX84" fmla="*/ 857 w 161925"/>
                  <a:gd name="connsiteY84" fmla="*/ 93821 h 381000"/>
                  <a:gd name="connsiteX85" fmla="*/ 0 w 161925"/>
                  <a:gd name="connsiteY85" fmla="*/ 95536 h 381000"/>
                  <a:gd name="connsiteX86" fmla="*/ 0 w 161925"/>
                  <a:gd name="connsiteY86" fmla="*/ 97250 h 381000"/>
                  <a:gd name="connsiteX87" fmla="*/ 0 w 161925"/>
                  <a:gd name="connsiteY87" fmla="*/ 99822 h 381000"/>
                  <a:gd name="connsiteX88" fmla="*/ 1714 w 161925"/>
                  <a:gd name="connsiteY88" fmla="*/ 96393 h 381000"/>
                  <a:gd name="connsiteX89" fmla="*/ 2572 w 161925"/>
                  <a:gd name="connsiteY89" fmla="*/ 93821 h 381000"/>
                  <a:gd name="connsiteX90" fmla="*/ 2572 w 161925"/>
                  <a:gd name="connsiteY90" fmla="*/ 92107 h 381000"/>
                  <a:gd name="connsiteX91" fmla="*/ 1714 w 161925"/>
                  <a:gd name="connsiteY91" fmla="*/ 92964 h 381000"/>
                  <a:gd name="connsiteX92" fmla="*/ 1714 w 161925"/>
                  <a:gd name="connsiteY92" fmla="*/ 93821 h 381000"/>
                  <a:gd name="connsiteX93" fmla="*/ 1714 w 161925"/>
                  <a:gd name="connsiteY93" fmla="*/ 93821 h 381000"/>
                  <a:gd name="connsiteX94" fmla="*/ 1714 w 161925"/>
                  <a:gd name="connsiteY94" fmla="*/ 93821 h 381000"/>
                  <a:gd name="connsiteX95" fmla="*/ 62293 w 161925"/>
                  <a:gd name="connsiteY95" fmla="*/ 64770 h 381000"/>
                  <a:gd name="connsiteX96" fmla="*/ 61436 w 161925"/>
                  <a:gd name="connsiteY96" fmla="*/ 65627 h 381000"/>
                  <a:gd name="connsiteX97" fmla="*/ 61436 w 161925"/>
                  <a:gd name="connsiteY97" fmla="*/ 65627 h 381000"/>
                  <a:gd name="connsiteX98" fmla="*/ 62293 w 161925"/>
                  <a:gd name="connsiteY98" fmla="*/ 65627 h 381000"/>
                  <a:gd name="connsiteX99" fmla="*/ 62293 w 161925"/>
                  <a:gd name="connsiteY99" fmla="*/ 65627 h 381000"/>
                  <a:gd name="connsiteX100" fmla="*/ 62293 w 161925"/>
                  <a:gd name="connsiteY100" fmla="*/ 65627 h 381000"/>
                  <a:gd name="connsiteX101" fmla="*/ 63151 w 161925"/>
                  <a:gd name="connsiteY101" fmla="*/ 64770 h 381000"/>
                  <a:gd name="connsiteX102" fmla="*/ 62293 w 161925"/>
                  <a:gd name="connsiteY102" fmla="*/ 64770 h 381000"/>
                  <a:gd name="connsiteX103" fmla="*/ 62293 w 161925"/>
                  <a:gd name="connsiteY103" fmla="*/ 64770 h 381000"/>
                  <a:gd name="connsiteX104" fmla="*/ 62293 w 161925"/>
                  <a:gd name="connsiteY104" fmla="*/ 64770 h 381000"/>
                  <a:gd name="connsiteX105" fmla="*/ 62293 w 161925"/>
                  <a:gd name="connsiteY105" fmla="*/ 64770 h 381000"/>
                  <a:gd name="connsiteX106" fmla="*/ 65722 w 161925"/>
                  <a:gd name="connsiteY106" fmla="*/ 52864 h 381000"/>
                  <a:gd name="connsiteX107" fmla="*/ 64865 w 161925"/>
                  <a:gd name="connsiteY107" fmla="*/ 55436 h 381000"/>
                  <a:gd name="connsiteX108" fmla="*/ 64865 w 161925"/>
                  <a:gd name="connsiteY108" fmla="*/ 55436 h 381000"/>
                  <a:gd name="connsiteX109" fmla="*/ 64865 w 161925"/>
                  <a:gd name="connsiteY109" fmla="*/ 55436 h 381000"/>
                  <a:gd name="connsiteX110" fmla="*/ 65722 w 161925"/>
                  <a:gd name="connsiteY110" fmla="*/ 57150 h 381000"/>
                  <a:gd name="connsiteX111" fmla="*/ 65722 w 161925"/>
                  <a:gd name="connsiteY111" fmla="*/ 57150 h 381000"/>
                  <a:gd name="connsiteX112" fmla="*/ 66580 w 161925"/>
                  <a:gd name="connsiteY112" fmla="*/ 53721 h 381000"/>
                  <a:gd name="connsiteX113" fmla="*/ 67437 w 161925"/>
                  <a:gd name="connsiteY113" fmla="*/ 52007 h 381000"/>
                  <a:gd name="connsiteX114" fmla="*/ 67437 w 161925"/>
                  <a:gd name="connsiteY114" fmla="*/ 50292 h 381000"/>
                  <a:gd name="connsiteX115" fmla="*/ 67437 w 161925"/>
                  <a:gd name="connsiteY115" fmla="*/ 50292 h 381000"/>
                  <a:gd name="connsiteX116" fmla="*/ 68294 w 161925"/>
                  <a:gd name="connsiteY116" fmla="*/ 49435 h 381000"/>
                  <a:gd name="connsiteX117" fmla="*/ 68294 w 161925"/>
                  <a:gd name="connsiteY117" fmla="*/ 49435 h 381000"/>
                  <a:gd name="connsiteX118" fmla="*/ 68294 w 161925"/>
                  <a:gd name="connsiteY118" fmla="*/ 48578 h 381000"/>
                  <a:gd name="connsiteX119" fmla="*/ 67437 w 161925"/>
                  <a:gd name="connsiteY119" fmla="*/ 48578 h 381000"/>
                  <a:gd name="connsiteX120" fmla="*/ 65722 w 161925"/>
                  <a:gd name="connsiteY120" fmla="*/ 52864 h 381000"/>
                  <a:gd name="connsiteX121" fmla="*/ 65722 w 161925"/>
                  <a:gd name="connsiteY121" fmla="*/ 52864 h 381000"/>
                  <a:gd name="connsiteX122" fmla="*/ 65722 w 161925"/>
                  <a:gd name="connsiteY122" fmla="*/ 52864 h 381000"/>
                  <a:gd name="connsiteX123" fmla="*/ 90964 w 161925"/>
                  <a:gd name="connsiteY123" fmla="*/ 22193 h 381000"/>
                  <a:gd name="connsiteX124" fmla="*/ 90964 w 161925"/>
                  <a:gd name="connsiteY124" fmla="*/ 23051 h 381000"/>
                  <a:gd name="connsiteX125" fmla="*/ 90964 w 161925"/>
                  <a:gd name="connsiteY125" fmla="*/ 23908 h 381000"/>
                  <a:gd name="connsiteX126" fmla="*/ 90964 w 161925"/>
                  <a:gd name="connsiteY126" fmla="*/ 23908 h 381000"/>
                  <a:gd name="connsiteX127" fmla="*/ 91821 w 161925"/>
                  <a:gd name="connsiteY127" fmla="*/ 23051 h 381000"/>
                  <a:gd name="connsiteX128" fmla="*/ 91821 w 161925"/>
                  <a:gd name="connsiteY128" fmla="*/ 21336 h 381000"/>
                  <a:gd name="connsiteX129" fmla="*/ 90964 w 161925"/>
                  <a:gd name="connsiteY129" fmla="*/ 21336 h 381000"/>
                  <a:gd name="connsiteX130" fmla="*/ 90964 w 161925"/>
                  <a:gd name="connsiteY130" fmla="*/ 22193 h 381000"/>
                  <a:gd name="connsiteX131" fmla="*/ 90964 w 161925"/>
                  <a:gd name="connsiteY131" fmla="*/ 22193 h 381000"/>
                  <a:gd name="connsiteX132" fmla="*/ 90964 w 161925"/>
                  <a:gd name="connsiteY132" fmla="*/ 22193 h 381000"/>
                  <a:gd name="connsiteX133" fmla="*/ 58102 w 161925"/>
                  <a:gd name="connsiteY133" fmla="*/ 0 h 381000"/>
                  <a:gd name="connsiteX134" fmla="*/ 57245 w 161925"/>
                  <a:gd name="connsiteY134" fmla="*/ 857 h 381000"/>
                  <a:gd name="connsiteX135" fmla="*/ 57245 w 161925"/>
                  <a:gd name="connsiteY135" fmla="*/ 857 h 381000"/>
                  <a:gd name="connsiteX136" fmla="*/ 58102 w 161925"/>
                  <a:gd name="connsiteY136" fmla="*/ 857 h 381000"/>
                  <a:gd name="connsiteX137" fmla="*/ 58102 w 161925"/>
                  <a:gd name="connsiteY137" fmla="*/ 857 h 381000"/>
                  <a:gd name="connsiteX138" fmla="*/ 58960 w 161925"/>
                  <a:gd name="connsiteY138" fmla="*/ 0 h 381000"/>
                  <a:gd name="connsiteX139" fmla="*/ 58960 w 161925"/>
                  <a:gd name="connsiteY139" fmla="*/ 0 h 381000"/>
                  <a:gd name="connsiteX140" fmla="*/ 58102 w 161925"/>
                  <a:gd name="connsiteY140" fmla="*/ 0 h 381000"/>
                  <a:gd name="connsiteX141" fmla="*/ 58102 w 161925"/>
                  <a:gd name="connsiteY141" fmla="*/ 0 h 381000"/>
                  <a:gd name="connsiteX142" fmla="*/ 58102 w 161925"/>
                  <a:gd name="connsiteY142" fmla="*/ 0 h 381000"/>
                  <a:gd name="connsiteX143" fmla="*/ 58102 w 161925"/>
                  <a:gd name="connsiteY143" fmla="*/ 0 h 38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</a:cxnLst>
                <a:rect l="l" t="t" r="r" b="b"/>
                <a:pathLst>
                  <a:path w="161925" h="381000">
                    <a:moveTo>
                      <a:pt x="99441" y="379476"/>
                    </a:moveTo>
                    <a:lnTo>
                      <a:pt x="99441" y="379476"/>
                    </a:lnTo>
                    <a:lnTo>
                      <a:pt x="98584" y="379476"/>
                    </a:lnTo>
                    <a:lnTo>
                      <a:pt x="98584" y="381191"/>
                    </a:lnTo>
                    <a:lnTo>
                      <a:pt x="97726" y="382905"/>
                    </a:lnTo>
                    <a:lnTo>
                      <a:pt x="96012" y="384620"/>
                    </a:lnTo>
                    <a:lnTo>
                      <a:pt x="93440" y="385477"/>
                    </a:lnTo>
                    <a:lnTo>
                      <a:pt x="93440" y="385477"/>
                    </a:lnTo>
                    <a:lnTo>
                      <a:pt x="93440" y="383762"/>
                    </a:lnTo>
                    <a:lnTo>
                      <a:pt x="93440" y="383762"/>
                    </a:lnTo>
                    <a:lnTo>
                      <a:pt x="92583" y="383762"/>
                    </a:lnTo>
                    <a:lnTo>
                      <a:pt x="92583" y="386334"/>
                    </a:lnTo>
                    <a:lnTo>
                      <a:pt x="94297" y="387191"/>
                    </a:lnTo>
                    <a:lnTo>
                      <a:pt x="95155" y="386334"/>
                    </a:lnTo>
                    <a:lnTo>
                      <a:pt x="96869" y="385477"/>
                    </a:lnTo>
                    <a:lnTo>
                      <a:pt x="97726" y="384620"/>
                    </a:lnTo>
                    <a:lnTo>
                      <a:pt x="99441" y="380333"/>
                    </a:lnTo>
                    <a:lnTo>
                      <a:pt x="99441" y="380333"/>
                    </a:lnTo>
                    <a:lnTo>
                      <a:pt x="99441" y="379476"/>
                    </a:lnTo>
                    <a:lnTo>
                      <a:pt x="99441" y="379476"/>
                    </a:lnTo>
                    <a:lnTo>
                      <a:pt x="99441" y="379476"/>
                    </a:lnTo>
                    <a:lnTo>
                      <a:pt x="99441" y="379476"/>
                    </a:lnTo>
                    <a:close/>
                    <a:moveTo>
                      <a:pt x="160877" y="179927"/>
                    </a:moveTo>
                    <a:lnTo>
                      <a:pt x="160877" y="179927"/>
                    </a:lnTo>
                    <a:lnTo>
                      <a:pt x="160020" y="180785"/>
                    </a:lnTo>
                    <a:lnTo>
                      <a:pt x="160020" y="181642"/>
                    </a:lnTo>
                    <a:lnTo>
                      <a:pt x="160020" y="183356"/>
                    </a:lnTo>
                    <a:lnTo>
                      <a:pt x="160020" y="183356"/>
                    </a:lnTo>
                    <a:lnTo>
                      <a:pt x="160020" y="184213"/>
                    </a:lnTo>
                    <a:lnTo>
                      <a:pt x="160020" y="183356"/>
                    </a:lnTo>
                    <a:lnTo>
                      <a:pt x="160877" y="182499"/>
                    </a:lnTo>
                    <a:lnTo>
                      <a:pt x="160877" y="181642"/>
                    </a:lnTo>
                    <a:lnTo>
                      <a:pt x="161735" y="180785"/>
                    </a:lnTo>
                    <a:lnTo>
                      <a:pt x="160877" y="179927"/>
                    </a:lnTo>
                    <a:lnTo>
                      <a:pt x="160877" y="179927"/>
                    </a:lnTo>
                    <a:lnTo>
                      <a:pt x="160877" y="179927"/>
                    </a:lnTo>
                    <a:lnTo>
                      <a:pt x="160877" y="179927"/>
                    </a:lnTo>
                    <a:close/>
                    <a:moveTo>
                      <a:pt x="162592" y="174784"/>
                    </a:moveTo>
                    <a:lnTo>
                      <a:pt x="162592" y="174784"/>
                    </a:lnTo>
                    <a:lnTo>
                      <a:pt x="162592" y="174784"/>
                    </a:lnTo>
                    <a:lnTo>
                      <a:pt x="162592" y="174784"/>
                    </a:lnTo>
                    <a:lnTo>
                      <a:pt x="162592" y="174784"/>
                    </a:lnTo>
                    <a:lnTo>
                      <a:pt x="162592" y="174784"/>
                    </a:lnTo>
                    <a:lnTo>
                      <a:pt x="163449" y="174784"/>
                    </a:lnTo>
                    <a:lnTo>
                      <a:pt x="163449" y="174784"/>
                    </a:lnTo>
                    <a:lnTo>
                      <a:pt x="162592" y="174784"/>
                    </a:lnTo>
                    <a:lnTo>
                      <a:pt x="162592" y="174784"/>
                    </a:lnTo>
                    <a:lnTo>
                      <a:pt x="162592" y="174784"/>
                    </a:lnTo>
                    <a:lnTo>
                      <a:pt x="162592" y="174784"/>
                    </a:lnTo>
                    <a:close/>
                    <a:moveTo>
                      <a:pt x="52197" y="126206"/>
                    </a:moveTo>
                    <a:lnTo>
                      <a:pt x="49625" y="127921"/>
                    </a:lnTo>
                    <a:lnTo>
                      <a:pt x="49625" y="127921"/>
                    </a:lnTo>
                    <a:lnTo>
                      <a:pt x="49625" y="127921"/>
                    </a:lnTo>
                    <a:lnTo>
                      <a:pt x="50482" y="127921"/>
                    </a:lnTo>
                    <a:lnTo>
                      <a:pt x="50482" y="127921"/>
                    </a:lnTo>
                    <a:lnTo>
                      <a:pt x="52197" y="127063"/>
                    </a:lnTo>
                    <a:lnTo>
                      <a:pt x="52197" y="127063"/>
                    </a:lnTo>
                    <a:lnTo>
                      <a:pt x="52197" y="127063"/>
                    </a:lnTo>
                    <a:lnTo>
                      <a:pt x="52197" y="126206"/>
                    </a:lnTo>
                    <a:lnTo>
                      <a:pt x="52197" y="126206"/>
                    </a:lnTo>
                    <a:lnTo>
                      <a:pt x="52197" y="126206"/>
                    </a:lnTo>
                    <a:lnTo>
                      <a:pt x="52197" y="126206"/>
                    </a:lnTo>
                    <a:lnTo>
                      <a:pt x="52197" y="126206"/>
                    </a:lnTo>
                    <a:lnTo>
                      <a:pt x="52197" y="126206"/>
                    </a:lnTo>
                    <a:close/>
                    <a:moveTo>
                      <a:pt x="40386" y="103156"/>
                    </a:moveTo>
                    <a:lnTo>
                      <a:pt x="40386" y="103156"/>
                    </a:lnTo>
                    <a:lnTo>
                      <a:pt x="40386" y="104013"/>
                    </a:lnTo>
                    <a:lnTo>
                      <a:pt x="41243" y="103156"/>
                    </a:lnTo>
                    <a:lnTo>
                      <a:pt x="41243" y="103156"/>
                    </a:lnTo>
                    <a:lnTo>
                      <a:pt x="40386" y="103156"/>
                    </a:lnTo>
                    <a:lnTo>
                      <a:pt x="40386" y="103156"/>
                    </a:lnTo>
                    <a:lnTo>
                      <a:pt x="40386" y="103156"/>
                    </a:lnTo>
                    <a:lnTo>
                      <a:pt x="40386" y="103156"/>
                    </a:lnTo>
                    <a:close/>
                    <a:moveTo>
                      <a:pt x="165068" y="97155"/>
                    </a:moveTo>
                    <a:lnTo>
                      <a:pt x="164211" y="97155"/>
                    </a:lnTo>
                    <a:lnTo>
                      <a:pt x="164211" y="97155"/>
                    </a:lnTo>
                    <a:lnTo>
                      <a:pt x="164211" y="98012"/>
                    </a:lnTo>
                    <a:lnTo>
                      <a:pt x="164211" y="98012"/>
                    </a:lnTo>
                    <a:lnTo>
                      <a:pt x="164211" y="98012"/>
                    </a:lnTo>
                    <a:lnTo>
                      <a:pt x="165068" y="97155"/>
                    </a:lnTo>
                    <a:lnTo>
                      <a:pt x="165068" y="97155"/>
                    </a:lnTo>
                    <a:lnTo>
                      <a:pt x="165068" y="97155"/>
                    </a:lnTo>
                    <a:lnTo>
                      <a:pt x="165068" y="97155"/>
                    </a:lnTo>
                    <a:close/>
                    <a:moveTo>
                      <a:pt x="1714" y="93821"/>
                    </a:moveTo>
                    <a:lnTo>
                      <a:pt x="857" y="93821"/>
                    </a:lnTo>
                    <a:lnTo>
                      <a:pt x="0" y="95536"/>
                    </a:lnTo>
                    <a:lnTo>
                      <a:pt x="0" y="97250"/>
                    </a:lnTo>
                    <a:lnTo>
                      <a:pt x="0" y="99822"/>
                    </a:lnTo>
                    <a:lnTo>
                      <a:pt x="1714" y="96393"/>
                    </a:lnTo>
                    <a:lnTo>
                      <a:pt x="2572" y="93821"/>
                    </a:lnTo>
                    <a:lnTo>
                      <a:pt x="2572" y="92107"/>
                    </a:lnTo>
                    <a:lnTo>
                      <a:pt x="1714" y="92964"/>
                    </a:lnTo>
                    <a:lnTo>
                      <a:pt x="1714" y="93821"/>
                    </a:lnTo>
                    <a:lnTo>
                      <a:pt x="1714" y="93821"/>
                    </a:lnTo>
                    <a:lnTo>
                      <a:pt x="1714" y="93821"/>
                    </a:lnTo>
                    <a:close/>
                    <a:moveTo>
                      <a:pt x="62293" y="64770"/>
                    </a:moveTo>
                    <a:lnTo>
                      <a:pt x="61436" y="65627"/>
                    </a:lnTo>
                    <a:lnTo>
                      <a:pt x="61436" y="65627"/>
                    </a:lnTo>
                    <a:lnTo>
                      <a:pt x="62293" y="65627"/>
                    </a:lnTo>
                    <a:lnTo>
                      <a:pt x="62293" y="65627"/>
                    </a:lnTo>
                    <a:lnTo>
                      <a:pt x="62293" y="65627"/>
                    </a:lnTo>
                    <a:lnTo>
                      <a:pt x="63151" y="64770"/>
                    </a:lnTo>
                    <a:lnTo>
                      <a:pt x="62293" y="64770"/>
                    </a:lnTo>
                    <a:lnTo>
                      <a:pt x="62293" y="64770"/>
                    </a:lnTo>
                    <a:lnTo>
                      <a:pt x="62293" y="64770"/>
                    </a:lnTo>
                    <a:lnTo>
                      <a:pt x="62293" y="64770"/>
                    </a:lnTo>
                    <a:close/>
                    <a:moveTo>
                      <a:pt x="65722" y="52864"/>
                    </a:moveTo>
                    <a:lnTo>
                      <a:pt x="64865" y="55436"/>
                    </a:lnTo>
                    <a:lnTo>
                      <a:pt x="64865" y="55436"/>
                    </a:lnTo>
                    <a:lnTo>
                      <a:pt x="64865" y="55436"/>
                    </a:lnTo>
                    <a:lnTo>
                      <a:pt x="65722" y="57150"/>
                    </a:lnTo>
                    <a:lnTo>
                      <a:pt x="65722" y="57150"/>
                    </a:lnTo>
                    <a:lnTo>
                      <a:pt x="66580" y="53721"/>
                    </a:lnTo>
                    <a:lnTo>
                      <a:pt x="67437" y="52007"/>
                    </a:lnTo>
                    <a:lnTo>
                      <a:pt x="67437" y="50292"/>
                    </a:lnTo>
                    <a:lnTo>
                      <a:pt x="67437" y="50292"/>
                    </a:lnTo>
                    <a:lnTo>
                      <a:pt x="68294" y="49435"/>
                    </a:lnTo>
                    <a:lnTo>
                      <a:pt x="68294" y="49435"/>
                    </a:lnTo>
                    <a:lnTo>
                      <a:pt x="68294" y="48578"/>
                    </a:lnTo>
                    <a:lnTo>
                      <a:pt x="67437" y="48578"/>
                    </a:lnTo>
                    <a:lnTo>
                      <a:pt x="65722" y="52864"/>
                    </a:lnTo>
                    <a:lnTo>
                      <a:pt x="65722" y="52864"/>
                    </a:lnTo>
                    <a:lnTo>
                      <a:pt x="65722" y="52864"/>
                    </a:lnTo>
                    <a:close/>
                    <a:moveTo>
                      <a:pt x="90964" y="22193"/>
                    </a:moveTo>
                    <a:lnTo>
                      <a:pt x="90964" y="23051"/>
                    </a:lnTo>
                    <a:lnTo>
                      <a:pt x="90964" y="23908"/>
                    </a:lnTo>
                    <a:lnTo>
                      <a:pt x="90964" y="23908"/>
                    </a:lnTo>
                    <a:lnTo>
                      <a:pt x="91821" y="23051"/>
                    </a:lnTo>
                    <a:lnTo>
                      <a:pt x="91821" y="21336"/>
                    </a:lnTo>
                    <a:lnTo>
                      <a:pt x="90964" y="21336"/>
                    </a:lnTo>
                    <a:lnTo>
                      <a:pt x="90964" y="22193"/>
                    </a:lnTo>
                    <a:lnTo>
                      <a:pt x="90964" y="22193"/>
                    </a:lnTo>
                    <a:lnTo>
                      <a:pt x="90964" y="22193"/>
                    </a:lnTo>
                    <a:close/>
                    <a:moveTo>
                      <a:pt x="58102" y="0"/>
                    </a:moveTo>
                    <a:lnTo>
                      <a:pt x="57245" y="857"/>
                    </a:lnTo>
                    <a:lnTo>
                      <a:pt x="57245" y="857"/>
                    </a:lnTo>
                    <a:lnTo>
                      <a:pt x="58102" y="857"/>
                    </a:lnTo>
                    <a:lnTo>
                      <a:pt x="58102" y="857"/>
                    </a:lnTo>
                    <a:lnTo>
                      <a:pt x="58960" y="0"/>
                    </a:lnTo>
                    <a:lnTo>
                      <a:pt x="58960" y="0"/>
                    </a:lnTo>
                    <a:lnTo>
                      <a:pt x="58102" y="0"/>
                    </a:lnTo>
                    <a:lnTo>
                      <a:pt x="58102" y="0"/>
                    </a:lnTo>
                    <a:lnTo>
                      <a:pt x="58102" y="0"/>
                    </a:lnTo>
                    <a:lnTo>
                      <a:pt x="58102" y="0"/>
                    </a:lnTo>
                    <a:close/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55" name="Freeform: Shape 159">
                <a:extLst>
                  <a:ext uri="{FF2B5EF4-FFF2-40B4-BE49-F238E27FC236}">
                    <a16:creationId xmlns:a16="http://schemas.microsoft.com/office/drawing/2014/main" id="{A0ED051B-64CC-4931-82DF-6B08D4837BE8}"/>
                  </a:ext>
                </a:extLst>
              </p:cNvPr>
              <p:cNvSpPr/>
              <p:nvPr/>
            </p:nvSpPr>
            <p:spPr>
              <a:xfrm>
                <a:off x="5007292" y="3705606"/>
                <a:ext cx="28575" cy="28575"/>
              </a:xfrm>
              <a:custGeom>
                <a:avLst/>
                <a:gdLst>
                  <a:gd name="connsiteX0" fmla="*/ 30385 w 28575"/>
                  <a:gd name="connsiteY0" fmla="*/ 19431 h 28575"/>
                  <a:gd name="connsiteX1" fmla="*/ 29623 w 28575"/>
                  <a:gd name="connsiteY1" fmla="*/ 18574 h 28575"/>
                  <a:gd name="connsiteX2" fmla="*/ 28766 w 28575"/>
                  <a:gd name="connsiteY2" fmla="*/ 17812 h 28575"/>
                  <a:gd name="connsiteX3" fmla="*/ 24670 w 28575"/>
                  <a:gd name="connsiteY3" fmla="*/ 16955 h 28575"/>
                  <a:gd name="connsiteX4" fmla="*/ 23813 w 28575"/>
                  <a:gd name="connsiteY4" fmla="*/ 16955 h 28575"/>
                  <a:gd name="connsiteX5" fmla="*/ 23813 w 28575"/>
                  <a:gd name="connsiteY5" fmla="*/ 17812 h 28575"/>
                  <a:gd name="connsiteX6" fmla="*/ 23050 w 28575"/>
                  <a:gd name="connsiteY6" fmla="*/ 18574 h 28575"/>
                  <a:gd name="connsiteX7" fmla="*/ 23050 w 28575"/>
                  <a:gd name="connsiteY7" fmla="*/ 19431 h 28575"/>
                  <a:gd name="connsiteX8" fmla="*/ 23050 w 28575"/>
                  <a:gd name="connsiteY8" fmla="*/ 20193 h 28575"/>
                  <a:gd name="connsiteX9" fmla="*/ 23050 w 28575"/>
                  <a:gd name="connsiteY9" fmla="*/ 21050 h 28575"/>
                  <a:gd name="connsiteX10" fmla="*/ 22193 w 28575"/>
                  <a:gd name="connsiteY10" fmla="*/ 21812 h 28575"/>
                  <a:gd name="connsiteX11" fmla="*/ 21336 w 28575"/>
                  <a:gd name="connsiteY11" fmla="*/ 21812 h 28575"/>
                  <a:gd name="connsiteX12" fmla="*/ 18955 w 28575"/>
                  <a:gd name="connsiteY12" fmla="*/ 21812 h 28575"/>
                  <a:gd name="connsiteX13" fmla="*/ 17240 w 28575"/>
                  <a:gd name="connsiteY13" fmla="*/ 21812 h 28575"/>
                  <a:gd name="connsiteX14" fmla="*/ 16478 w 28575"/>
                  <a:gd name="connsiteY14" fmla="*/ 21050 h 28575"/>
                  <a:gd name="connsiteX15" fmla="*/ 16478 w 28575"/>
                  <a:gd name="connsiteY15" fmla="*/ 20193 h 28575"/>
                  <a:gd name="connsiteX16" fmla="*/ 15621 w 28575"/>
                  <a:gd name="connsiteY16" fmla="*/ 16193 h 28575"/>
                  <a:gd name="connsiteX17" fmla="*/ 15621 w 28575"/>
                  <a:gd name="connsiteY17" fmla="*/ 15335 h 28575"/>
                  <a:gd name="connsiteX18" fmla="*/ 15621 w 28575"/>
                  <a:gd name="connsiteY18" fmla="*/ 14573 h 28575"/>
                  <a:gd name="connsiteX19" fmla="*/ 15621 w 28575"/>
                  <a:gd name="connsiteY19" fmla="*/ 13716 h 28575"/>
                  <a:gd name="connsiteX20" fmla="*/ 15621 w 28575"/>
                  <a:gd name="connsiteY20" fmla="*/ 13716 h 28575"/>
                  <a:gd name="connsiteX21" fmla="*/ 16478 w 28575"/>
                  <a:gd name="connsiteY21" fmla="*/ 12954 h 28575"/>
                  <a:gd name="connsiteX22" fmla="*/ 16478 w 28575"/>
                  <a:gd name="connsiteY22" fmla="*/ 12954 h 28575"/>
                  <a:gd name="connsiteX23" fmla="*/ 23813 w 28575"/>
                  <a:gd name="connsiteY23" fmla="*/ 8858 h 28575"/>
                  <a:gd name="connsiteX24" fmla="*/ 24670 w 28575"/>
                  <a:gd name="connsiteY24" fmla="*/ 8096 h 28575"/>
                  <a:gd name="connsiteX25" fmla="*/ 24670 w 28575"/>
                  <a:gd name="connsiteY25" fmla="*/ 7239 h 28575"/>
                  <a:gd name="connsiteX26" fmla="*/ 24670 w 28575"/>
                  <a:gd name="connsiteY26" fmla="*/ 6477 h 28575"/>
                  <a:gd name="connsiteX27" fmla="*/ 24670 w 28575"/>
                  <a:gd name="connsiteY27" fmla="*/ 5620 h 28575"/>
                  <a:gd name="connsiteX28" fmla="*/ 24670 w 28575"/>
                  <a:gd name="connsiteY28" fmla="*/ 5620 h 28575"/>
                  <a:gd name="connsiteX29" fmla="*/ 23813 w 28575"/>
                  <a:gd name="connsiteY29" fmla="*/ 5620 h 28575"/>
                  <a:gd name="connsiteX30" fmla="*/ 22193 w 28575"/>
                  <a:gd name="connsiteY30" fmla="*/ 5620 h 28575"/>
                  <a:gd name="connsiteX31" fmla="*/ 21336 w 28575"/>
                  <a:gd name="connsiteY31" fmla="*/ 5620 h 28575"/>
                  <a:gd name="connsiteX32" fmla="*/ 20574 w 28575"/>
                  <a:gd name="connsiteY32" fmla="*/ 5620 h 28575"/>
                  <a:gd name="connsiteX33" fmla="*/ 19717 w 28575"/>
                  <a:gd name="connsiteY33" fmla="*/ 4858 h 28575"/>
                  <a:gd name="connsiteX34" fmla="*/ 19717 w 28575"/>
                  <a:gd name="connsiteY34" fmla="*/ 4001 h 28575"/>
                  <a:gd name="connsiteX35" fmla="*/ 19717 w 28575"/>
                  <a:gd name="connsiteY35" fmla="*/ 3239 h 28575"/>
                  <a:gd name="connsiteX36" fmla="*/ 19717 w 28575"/>
                  <a:gd name="connsiteY36" fmla="*/ 2381 h 28575"/>
                  <a:gd name="connsiteX37" fmla="*/ 19717 w 28575"/>
                  <a:gd name="connsiteY37" fmla="*/ 762 h 28575"/>
                  <a:gd name="connsiteX38" fmla="*/ 19717 w 28575"/>
                  <a:gd name="connsiteY38" fmla="*/ 0 h 28575"/>
                  <a:gd name="connsiteX39" fmla="*/ 18955 w 28575"/>
                  <a:gd name="connsiteY39" fmla="*/ 0 h 28575"/>
                  <a:gd name="connsiteX40" fmla="*/ 18097 w 28575"/>
                  <a:gd name="connsiteY40" fmla="*/ 0 h 28575"/>
                  <a:gd name="connsiteX41" fmla="*/ 17240 w 28575"/>
                  <a:gd name="connsiteY41" fmla="*/ 762 h 28575"/>
                  <a:gd name="connsiteX42" fmla="*/ 14002 w 28575"/>
                  <a:gd name="connsiteY42" fmla="*/ 3239 h 28575"/>
                  <a:gd name="connsiteX43" fmla="*/ 11525 w 28575"/>
                  <a:gd name="connsiteY43" fmla="*/ 4858 h 28575"/>
                  <a:gd name="connsiteX44" fmla="*/ 10668 w 28575"/>
                  <a:gd name="connsiteY44" fmla="*/ 4858 h 28575"/>
                  <a:gd name="connsiteX45" fmla="*/ 9906 w 28575"/>
                  <a:gd name="connsiteY45" fmla="*/ 4858 h 28575"/>
                  <a:gd name="connsiteX46" fmla="*/ 9049 w 28575"/>
                  <a:gd name="connsiteY46" fmla="*/ 4001 h 28575"/>
                  <a:gd name="connsiteX47" fmla="*/ 8192 w 28575"/>
                  <a:gd name="connsiteY47" fmla="*/ 4001 h 28575"/>
                  <a:gd name="connsiteX48" fmla="*/ 8192 w 28575"/>
                  <a:gd name="connsiteY48" fmla="*/ 4858 h 28575"/>
                  <a:gd name="connsiteX49" fmla="*/ 7429 w 28575"/>
                  <a:gd name="connsiteY49" fmla="*/ 5620 h 28575"/>
                  <a:gd name="connsiteX50" fmla="*/ 5715 w 28575"/>
                  <a:gd name="connsiteY50" fmla="*/ 8858 h 28575"/>
                  <a:gd name="connsiteX51" fmla="*/ 5715 w 28575"/>
                  <a:gd name="connsiteY51" fmla="*/ 8858 h 28575"/>
                  <a:gd name="connsiteX52" fmla="*/ 4953 w 28575"/>
                  <a:gd name="connsiteY52" fmla="*/ 8858 h 28575"/>
                  <a:gd name="connsiteX53" fmla="*/ 4096 w 28575"/>
                  <a:gd name="connsiteY53" fmla="*/ 8858 h 28575"/>
                  <a:gd name="connsiteX54" fmla="*/ 2476 w 28575"/>
                  <a:gd name="connsiteY54" fmla="*/ 8858 h 28575"/>
                  <a:gd name="connsiteX55" fmla="*/ 1619 w 28575"/>
                  <a:gd name="connsiteY55" fmla="*/ 8858 h 28575"/>
                  <a:gd name="connsiteX56" fmla="*/ 857 w 28575"/>
                  <a:gd name="connsiteY56" fmla="*/ 8858 h 28575"/>
                  <a:gd name="connsiteX57" fmla="*/ 0 w 28575"/>
                  <a:gd name="connsiteY57" fmla="*/ 9716 h 28575"/>
                  <a:gd name="connsiteX58" fmla="*/ 0 w 28575"/>
                  <a:gd name="connsiteY58" fmla="*/ 10478 h 28575"/>
                  <a:gd name="connsiteX59" fmla="*/ 0 w 28575"/>
                  <a:gd name="connsiteY59" fmla="*/ 10478 h 28575"/>
                  <a:gd name="connsiteX60" fmla="*/ 0 w 28575"/>
                  <a:gd name="connsiteY60" fmla="*/ 11335 h 28575"/>
                  <a:gd name="connsiteX61" fmla="*/ 0 w 28575"/>
                  <a:gd name="connsiteY61" fmla="*/ 12097 h 28575"/>
                  <a:gd name="connsiteX62" fmla="*/ 857 w 28575"/>
                  <a:gd name="connsiteY62" fmla="*/ 12954 h 28575"/>
                  <a:gd name="connsiteX63" fmla="*/ 1619 w 28575"/>
                  <a:gd name="connsiteY63" fmla="*/ 12954 h 28575"/>
                  <a:gd name="connsiteX64" fmla="*/ 3334 w 28575"/>
                  <a:gd name="connsiteY64" fmla="*/ 14573 h 28575"/>
                  <a:gd name="connsiteX65" fmla="*/ 4096 w 28575"/>
                  <a:gd name="connsiteY65" fmla="*/ 15335 h 28575"/>
                  <a:gd name="connsiteX66" fmla="*/ 4953 w 28575"/>
                  <a:gd name="connsiteY66" fmla="*/ 16193 h 28575"/>
                  <a:gd name="connsiteX67" fmla="*/ 4953 w 28575"/>
                  <a:gd name="connsiteY67" fmla="*/ 16955 h 28575"/>
                  <a:gd name="connsiteX68" fmla="*/ 5715 w 28575"/>
                  <a:gd name="connsiteY68" fmla="*/ 17812 h 28575"/>
                  <a:gd name="connsiteX69" fmla="*/ 5715 w 28575"/>
                  <a:gd name="connsiteY69" fmla="*/ 21812 h 28575"/>
                  <a:gd name="connsiteX70" fmla="*/ 5715 w 28575"/>
                  <a:gd name="connsiteY70" fmla="*/ 23432 h 28575"/>
                  <a:gd name="connsiteX71" fmla="*/ 9049 w 28575"/>
                  <a:gd name="connsiteY71" fmla="*/ 27527 h 28575"/>
                  <a:gd name="connsiteX72" fmla="*/ 9906 w 28575"/>
                  <a:gd name="connsiteY72" fmla="*/ 30766 h 28575"/>
                  <a:gd name="connsiteX73" fmla="*/ 10668 w 28575"/>
                  <a:gd name="connsiteY73" fmla="*/ 32385 h 28575"/>
                  <a:gd name="connsiteX74" fmla="*/ 11525 w 28575"/>
                  <a:gd name="connsiteY74" fmla="*/ 33147 h 28575"/>
                  <a:gd name="connsiteX75" fmla="*/ 12287 w 28575"/>
                  <a:gd name="connsiteY75" fmla="*/ 33147 h 28575"/>
                  <a:gd name="connsiteX76" fmla="*/ 12287 w 28575"/>
                  <a:gd name="connsiteY76" fmla="*/ 33147 h 28575"/>
                  <a:gd name="connsiteX77" fmla="*/ 13145 w 28575"/>
                  <a:gd name="connsiteY77" fmla="*/ 32385 h 28575"/>
                  <a:gd name="connsiteX78" fmla="*/ 14764 w 28575"/>
                  <a:gd name="connsiteY78" fmla="*/ 31528 h 28575"/>
                  <a:gd name="connsiteX79" fmla="*/ 15621 w 28575"/>
                  <a:gd name="connsiteY79" fmla="*/ 30766 h 28575"/>
                  <a:gd name="connsiteX80" fmla="*/ 16478 w 28575"/>
                  <a:gd name="connsiteY80" fmla="*/ 31528 h 28575"/>
                  <a:gd name="connsiteX81" fmla="*/ 17240 w 28575"/>
                  <a:gd name="connsiteY81" fmla="*/ 31528 h 28575"/>
                  <a:gd name="connsiteX82" fmla="*/ 18097 w 28575"/>
                  <a:gd name="connsiteY82" fmla="*/ 32385 h 28575"/>
                  <a:gd name="connsiteX83" fmla="*/ 18955 w 28575"/>
                  <a:gd name="connsiteY83" fmla="*/ 33147 h 28575"/>
                  <a:gd name="connsiteX84" fmla="*/ 18955 w 28575"/>
                  <a:gd name="connsiteY84" fmla="*/ 33147 h 28575"/>
                  <a:gd name="connsiteX85" fmla="*/ 19717 w 28575"/>
                  <a:gd name="connsiteY85" fmla="*/ 32385 h 28575"/>
                  <a:gd name="connsiteX86" fmla="*/ 21336 w 28575"/>
                  <a:gd name="connsiteY86" fmla="*/ 31528 h 28575"/>
                  <a:gd name="connsiteX87" fmla="*/ 21336 w 28575"/>
                  <a:gd name="connsiteY87" fmla="*/ 31528 h 28575"/>
                  <a:gd name="connsiteX88" fmla="*/ 23050 w 28575"/>
                  <a:gd name="connsiteY88" fmla="*/ 31528 h 28575"/>
                  <a:gd name="connsiteX89" fmla="*/ 23813 w 28575"/>
                  <a:gd name="connsiteY89" fmla="*/ 31528 h 28575"/>
                  <a:gd name="connsiteX90" fmla="*/ 24670 w 28575"/>
                  <a:gd name="connsiteY90" fmla="*/ 32385 h 28575"/>
                  <a:gd name="connsiteX91" fmla="*/ 24670 w 28575"/>
                  <a:gd name="connsiteY91" fmla="*/ 33147 h 28575"/>
                  <a:gd name="connsiteX92" fmla="*/ 26289 w 28575"/>
                  <a:gd name="connsiteY92" fmla="*/ 34766 h 28575"/>
                  <a:gd name="connsiteX93" fmla="*/ 27146 w 28575"/>
                  <a:gd name="connsiteY93" fmla="*/ 34766 h 28575"/>
                  <a:gd name="connsiteX94" fmla="*/ 27908 w 28575"/>
                  <a:gd name="connsiteY94" fmla="*/ 34004 h 28575"/>
                  <a:gd name="connsiteX95" fmla="*/ 27908 w 28575"/>
                  <a:gd name="connsiteY95" fmla="*/ 34004 h 28575"/>
                  <a:gd name="connsiteX96" fmla="*/ 28766 w 28575"/>
                  <a:gd name="connsiteY96" fmla="*/ 32385 h 28575"/>
                  <a:gd name="connsiteX97" fmla="*/ 29623 w 28575"/>
                  <a:gd name="connsiteY97" fmla="*/ 30766 h 28575"/>
                  <a:gd name="connsiteX98" fmla="*/ 29623 w 28575"/>
                  <a:gd name="connsiteY98" fmla="*/ 28289 h 28575"/>
                  <a:gd name="connsiteX99" fmla="*/ 29623 w 28575"/>
                  <a:gd name="connsiteY99" fmla="*/ 24289 h 28575"/>
                  <a:gd name="connsiteX100" fmla="*/ 30385 w 28575"/>
                  <a:gd name="connsiteY100" fmla="*/ 19431 h 28575"/>
                  <a:gd name="connsiteX101" fmla="*/ 30385 w 28575"/>
                  <a:gd name="connsiteY101" fmla="*/ 1943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28575" h="28575">
                    <a:moveTo>
                      <a:pt x="30385" y="19431"/>
                    </a:moveTo>
                    <a:lnTo>
                      <a:pt x="29623" y="18574"/>
                    </a:lnTo>
                    <a:lnTo>
                      <a:pt x="28766" y="17812"/>
                    </a:lnTo>
                    <a:lnTo>
                      <a:pt x="24670" y="16955"/>
                    </a:lnTo>
                    <a:lnTo>
                      <a:pt x="23813" y="16955"/>
                    </a:lnTo>
                    <a:lnTo>
                      <a:pt x="23813" y="17812"/>
                    </a:lnTo>
                    <a:lnTo>
                      <a:pt x="23050" y="18574"/>
                    </a:lnTo>
                    <a:lnTo>
                      <a:pt x="23050" y="19431"/>
                    </a:lnTo>
                    <a:lnTo>
                      <a:pt x="23050" y="20193"/>
                    </a:lnTo>
                    <a:lnTo>
                      <a:pt x="23050" y="21050"/>
                    </a:lnTo>
                    <a:lnTo>
                      <a:pt x="22193" y="21812"/>
                    </a:lnTo>
                    <a:lnTo>
                      <a:pt x="21336" y="21812"/>
                    </a:lnTo>
                    <a:lnTo>
                      <a:pt x="18955" y="21812"/>
                    </a:lnTo>
                    <a:lnTo>
                      <a:pt x="17240" y="21812"/>
                    </a:lnTo>
                    <a:lnTo>
                      <a:pt x="16478" y="21050"/>
                    </a:lnTo>
                    <a:lnTo>
                      <a:pt x="16478" y="20193"/>
                    </a:lnTo>
                    <a:lnTo>
                      <a:pt x="15621" y="16193"/>
                    </a:lnTo>
                    <a:lnTo>
                      <a:pt x="15621" y="15335"/>
                    </a:lnTo>
                    <a:lnTo>
                      <a:pt x="15621" y="14573"/>
                    </a:lnTo>
                    <a:lnTo>
                      <a:pt x="15621" y="13716"/>
                    </a:lnTo>
                    <a:lnTo>
                      <a:pt x="15621" y="13716"/>
                    </a:lnTo>
                    <a:lnTo>
                      <a:pt x="16478" y="12954"/>
                    </a:lnTo>
                    <a:lnTo>
                      <a:pt x="16478" y="12954"/>
                    </a:lnTo>
                    <a:lnTo>
                      <a:pt x="23813" y="8858"/>
                    </a:lnTo>
                    <a:lnTo>
                      <a:pt x="24670" y="8096"/>
                    </a:lnTo>
                    <a:lnTo>
                      <a:pt x="24670" y="7239"/>
                    </a:lnTo>
                    <a:lnTo>
                      <a:pt x="24670" y="6477"/>
                    </a:lnTo>
                    <a:lnTo>
                      <a:pt x="24670" y="5620"/>
                    </a:lnTo>
                    <a:lnTo>
                      <a:pt x="24670" y="5620"/>
                    </a:lnTo>
                    <a:lnTo>
                      <a:pt x="23813" y="5620"/>
                    </a:lnTo>
                    <a:lnTo>
                      <a:pt x="22193" y="5620"/>
                    </a:lnTo>
                    <a:lnTo>
                      <a:pt x="21336" y="5620"/>
                    </a:lnTo>
                    <a:lnTo>
                      <a:pt x="20574" y="5620"/>
                    </a:lnTo>
                    <a:lnTo>
                      <a:pt x="19717" y="4858"/>
                    </a:lnTo>
                    <a:lnTo>
                      <a:pt x="19717" y="4001"/>
                    </a:lnTo>
                    <a:lnTo>
                      <a:pt x="19717" y="3239"/>
                    </a:lnTo>
                    <a:lnTo>
                      <a:pt x="19717" y="2381"/>
                    </a:lnTo>
                    <a:lnTo>
                      <a:pt x="19717" y="762"/>
                    </a:lnTo>
                    <a:lnTo>
                      <a:pt x="19717" y="0"/>
                    </a:lnTo>
                    <a:lnTo>
                      <a:pt x="18955" y="0"/>
                    </a:lnTo>
                    <a:lnTo>
                      <a:pt x="18097" y="0"/>
                    </a:lnTo>
                    <a:lnTo>
                      <a:pt x="17240" y="762"/>
                    </a:lnTo>
                    <a:lnTo>
                      <a:pt x="14002" y="3239"/>
                    </a:lnTo>
                    <a:lnTo>
                      <a:pt x="11525" y="4858"/>
                    </a:lnTo>
                    <a:lnTo>
                      <a:pt x="10668" y="4858"/>
                    </a:lnTo>
                    <a:lnTo>
                      <a:pt x="9906" y="4858"/>
                    </a:lnTo>
                    <a:lnTo>
                      <a:pt x="9049" y="4001"/>
                    </a:lnTo>
                    <a:lnTo>
                      <a:pt x="8192" y="4001"/>
                    </a:lnTo>
                    <a:lnTo>
                      <a:pt x="8192" y="4858"/>
                    </a:lnTo>
                    <a:lnTo>
                      <a:pt x="7429" y="5620"/>
                    </a:lnTo>
                    <a:lnTo>
                      <a:pt x="5715" y="8858"/>
                    </a:lnTo>
                    <a:lnTo>
                      <a:pt x="5715" y="8858"/>
                    </a:lnTo>
                    <a:lnTo>
                      <a:pt x="4953" y="8858"/>
                    </a:lnTo>
                    <a:lnTo>
                      <a:pt x="4096" y="8858"/>
                    </a:lnTo>
                    <a:lnTo>
                      <a:pt x="2476" y="8858"/>
                    </a:lnTo>
                    <a:lnTo>
                      <a:pt x="1619" y="8858"/>
                    </a:lnTo>
                    <a:lnTo>
                      <a:pt x="857" y="8858"/>
                    </a:lnTo>
                    <a:lnTo>
                      <a:pt x="0" y="9716"/>
                    </a:lnTo>
                    <a:lnTo>
                      <a:pt x="0" y="10478"/>
                    </a:lnTo>
                    <a:lnTo>
                      <a:pt x="0" y="10478"/>
                    </a:lnTo>
                    <a:lnTo>
                      <a:pt x="0" y="11335"/>
                    </a:lnTo>
                    <a:lnTo>
                      <a:pt x="0" y="12097"/>
                    </a:lnTo>
                    <a:lnTo>
                      <a:pt x="857" y="12954"/>
                    </a:lnTo>
                    <a:lnTo>
                      <a:pt x="1619" y="12954"/>
                    </a:lnTo>
                    <a:lnTo>
                      <a:pt x="3334" y="14573"/>
                    </a:lnTo>
                    <a:lnTo>
                      <a:pt x="4096" y="15335"/>
                    </a:lnTo>
                    <a:lnTo>
                      <a:pt x="4953" y="16193"/>
                    </a:lnTo>
                    <a:lnTo>
                      <a:pt x="4953" y="16955"/>
                    </a:lnTo>
                    <a:lnTo>
                      <a:pt x="5715" y="17812"/>
                    </a:lnTo>
                    <a:lnTo>
                      <a:pt x="5715" y="21812"/>
                    </a:lnTo>
                    <a:lnTo>
                      <a:pt x="5715" y="23432"/>
                    </a:lnTo>
                    <a:lnTo>
                      <a:pt x="9049" y="27527"/>
                    </a:lnTo>
                    <a:lnTo>
                      <a:pt x="9906" y="30766"/>
                    </a:lnTo>
                    <a:lnTo>
                      <a:pt x="10668" y="32385"/>
                    </a:lnTo>
                    <a:lnTo>
                      <a:pt x="11525" y="33147"/>
                    </a:lnTo>
                    <a:lnTo>
                      <a:pt x="12287" y="33147"/>
                    </a:lnTo>
                    <a:lnTo>
                      <a:pt x="12287" y="33147"/>
                    </a:lnTo>
                    <a:lnTo>
                      <a:pt x="13145" y="32385"/>
                    </a:lnTo>
                    <a:lnTo>
                      <a:pt x="14764" y="31528"/>
                    </a:lnTo>
                    <a:lnTo>
                      <a:pt x="15621" y="30766"/>
                    </a:lnTo>
                    <a:lnTo>
                      <a:pt x="16478" y="31528"/>
                    </a:lnTo>
                    <a:lnTo>
                      <a:pt x="17240" y="31528"/>
                    </a:lnTo>
                    <a:lnTo>
                      <a:pt x="18097" y="32385"/>
                    </a:lnTo>
                    <a:lnTo>
                      <a:pt x="18955" y="33147"/>
                    </a:lnTo>
                    <a:lnTo>
                      <a:pt x="18955" y="33147"/>
                    </a:lnTo>
                    <a:lnTo>
                      <a:pt x="19717" y="32385"/>
                    </a:lnTo>
                    <a:lnTo>
                      <a:pt x="21336" y="31528"/>
                    </a:lnTo>
                    <a:lnTo>
                      <a:pt x="21336" y="31528"/>
                    </a:lnTo>
                    <a:lnTo>
                      <a:pt x="23050" y="31528"/>
                    </a:lnTo>
                    <a:lnTo>
                      <a:pt x="23813" y="31528"/>
                    </a:lnTo>
                    <a:lnTo>
                      <a:pt x="24670" y="32385"/>
                    </a:lnTo>
                    <a:lnTo>
                      <a:pt x="24670" y="33147"/>
                    </a:lnTo>
                    <a:lnTo>
                      <a:pt x="26289" y="34766"/>
                    </a:lnTo>
                    <a:lnTo>
                      <a:pt x="27146" y="34766"/>
                    </a:lnTo>
                    <a:lnTo>
                      <a:pt x="27908" y="34004"/>
                    </a:lnTo>
                    <a:lnTo>
                      <a:pt x="27908" y="34004"/>
                    </a:lnTo>
                    <a:lnTo>
                      <a:pt x="28766" y="32385"/>
                    </a:lnTo>
                    <a:lnTo>
                      <a:pt x="29623" y="30766"/>
                    </a:lnTo>
                    <a:lnTo>
                      <a:pt x="29623" y="28289"/>
                    </a:lnTo>
                    <a:lnTo>
                      <a:pt x="29623" y="24289"/>
                    </a:lnTo>
                    <a:lnTo>
                      <a:pt x="30385" y="19431"/>
                    </a:lnTo>
                    <a:lnTo>
                      <a:pt x="30385" y="19431"/>
                    </a:lnTo>
                    <a:close/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56" name="Freeform: Shape 160">
                <a:extLst>
                  <a:ext uri="{FF2B5EF4-FFF2-40B4-BE49-F238E27FC236}">
                    <a16:creationId xmlns:a16="http://schemas.microsoft.com/office/drawing/2014/main" id="{146CF048-ED57-487B-AF41-DB3A0AE87F9A}"/>
                  </a:ext>
                </a:extLst>
              </p:cNvPr>
              <p:cNvSpPr/>
              <p:nvPr/>
            </p:nvSpPr>
            <p:spPr>
              <a:xfrm>
                <a:off x="7136510" y="4484179"/>
                <a:ext cx="228600" cy="771525"/>
              </a:xfrm>
              <a:custGeom>
                <a:avLst/>
                <a:gdLst>
                  <a:gd name="connsiteX0" fmla="*/ 189357 w 228600"/>
                  <a:gd name="connsiteY0" fmla="*/ 743903 h 771525"/>
                  <a:gd name="connsiteX1" fmla="*/ 188500 w 228600"/>
                  <a:gd name="connsiteY1" fmla="*/ 743045 h 771525"/>
                  <a:gd name="connsiteX2" fmla="*/ 187643 w 228600"/>
                  <a:gd name="connsiteY2" fmla="*/ 739616 h 771525"/>
                  <a:gd name="connsiteX3" fmla="*/ 185928 w 228600"/>
                  <a:gd name="connsiteY3" fmla="*/ 736187 h 771525"/>
                  <a:gd name="connsiteX4" fmla="*/ 185071 w 228600"/>
                  <a:gd name="connsiteY4" fmla="*/ 734473 h 771525"/>
                  <a:gd name="connsiteX5" fmla="*/ 185071 w 228600"/>
                  <a:gd name="connsiteY5" fmla="*/ 730282 h 771525"/>
                  <a:gd name="connsiteX6" fmla="*/ 184213 w 228600"/>
                  <a:gd name="connsiteY6" fmla="*/ 728567 h 771525"/>
                  <a:gd name="connsiteX7" fmla="*/ 183356 w 228600"/>
                  <a:gd name="connsiteY7" fmla="*/ 726853 h 771525"/>
                  <a:gd name="connsiteX8" fmla="*/ 183356 w 228600"/>
                  <a:gd name="connsiteY8" fmla="*/ 724281 h 771525"/>
                  <a:gd name="connsiteX9" fmla="*/ 182499 w 228600"/>
                  <a:gd name="connsiteY9" fmla="*/ 722567 h 771525"/>
                  <a:gd name="connsiteX10" fmla="*/ 179070 w 228600"/>
                  <a:gd name="connsiteY10" fmla="*/ 719995 h 771525"/>
                  <a:gd name="connsiteX11" fmla="*/ 177355 w 228600"/>
                  <a:gd name="connsiteY11" fmla="*/ 719995 h 771525"/>
                  <a:gd name="connsiteX12" fmla="*/ 175641 w 228600"/>
                  <a:gd name="connsiteY12" fmla="*/ 720852 h 771525"/>
                  <a:gd name="connsiteX13" fmla="*/ 173069 w 228600"/>
                  <a:gd name="connsiteY13" fmla="*/ 722567 h 771525"/>
                  <a:gd name="connsiteX14" fmla="*/ 172212 w 228600"/>
                  <a:gd name="connsiteY14" fmla="*/ 722567 h 771525"/>
                  <a:gd name="connsiteX15" fmla="*/ 169640 w 228600"/>
                  <a:gd name="connsiteY15" fmla="*/ 723424 h 771525"/>
                  <a:gd name="connsiteX16" fmla="*/ 168783 w 228600"/>
                  <a:gd name="connsiteY16" fmla="*/ 724281 h 771525"/>
                  <a:gd name="connsiteX17" fmla="*/ 167926 w 228600"/>
                  <a:gd name="connsiteY17" fmla="*/ 724281 h 771525"/>
                  <a:gd name="connsiteX18" fmla="*/ 167926 w 228600"/>
                  <a:gd name="connsiteY18" fmla="*/ 725138 h 771525"/>
                  <a:gd name="connsiteX19" fmla="*/ 167069 w 228600"/>
                  <a:gd name="connsiteY19" fmla="*/ 725996 h 771525"/>
                  <a:gd name="connsiteX20" fmla="*/ 165354 w 228600"/>
                  <a:gd name="connsiteY20" fmla="*/ 725996 h 771525"/>
                  <a:gd name="connsiteX21" fmla="*/ 162782 w 228600"/>
                  <a:gd name="connsiteY21" fmla="*/ 725996 h 771525"/>
                  <a:gd name="connsiteX22" fmla="*/ 161925 w 228600"/>
                  <a:gd name="connsiteY22" fmla="*/ 726853 h 771525"/>
                  <a:gd name="connsiteX23" fmla="*/ 159353 w 228600"/>
                  <a:gd name="connsiteY23" fmla="*/ 731901 h 771525"/>
                  <a:gd name="connsiteX24" fmla="*/ 159353 w 228600"/>
                  <a:gd name="connsiteY24" fmla="*/ 733615 h 771525"/>
                  <a:gd name="connsiteX25" fmla="*/ 159353 w 228600"/>
                  <a:gd name="connsiteY25" fmla="*/ 745522 h 771525"/>
                  <a:gd name="connsiteX26" fmla="*/ 161068 w 228600"/>
                  <a:gd name="connsiteY26" fmla="*/ 743807 h 771525"/>
                  <a:gd name="connsiteX27" fmla="*/ 162782 w 228600"/>
                  <a:gd name="connsiteY27" fmla="*/ 744664 h 771525"/>
                  <a:gd name="connsiteX28" fmla="*/ 165354 w 228600"/>
                  <a:gd name="connsiteY28" fmla="*/ 745522 h 771525"/>
                  <a:gd name="connsiteX29" fmla="*/ 167069 w 228600"/>
                  <a:gd name="connsiteY29" fmla="*/ 747236 h 771525"/>
                  <a:gd name="connsiteX30" fmla="*/ 167926 w 228600"/>
                  <a:gd name="connsiteY30" fmla="*/ 749808 h 771525"/>
                  <a:gd name="connsiteX31" fmla="*/ 168783 w 228600"/>
                  <a:gd name="connsiteY31" fmla="*/ 753237 h 771525"/>
                  <a:gd name="connsiteX32" fmla="*/ 170498 w 228600"/>
                  <a:gd name="connsiteY32" fmla="*/ 754952 h 771525"/>
                  <a:gd name="connsiteX33" fmla="*/ 172212 w 228600"/>
                  <a:gd name="connsiteY33" fmla="*/ 754952 h 771525"/>
                  <a:gd name="connsiteX34" fmla="*/ 172212 w 228600"/>
                  <a:gd name="connsiteY34" fmla="*/ 756666 h 771525"/>
                  <a:gd name="connsiteX35" fmla="*/ 172212 w 228600"/>
                  <a:gd name="connsiteY35" fmla="*/ 757523 h 771525"/>
                  <a:gd name="connsiteX36" fmla="*/ 172212 w 228600"/>
                  <a:gd name="connsiteY36" fmla="*/ 758380 h 771525"/>
                  <a:gd name="connsiteX37" fmla="*/ 173927 w 228600"/>
                  <a:gd name="connsiteY37" fmla="*/ 759238 h 771525"/>
                  <a:gd name="connsiteX38" fmla="*/ 173069 w 228600"/>
                  <a:gd name="connsiteY38" fmla="*/ 760095 h 771525"/>
                  <a:gd name="connsiteX39" fmla="*/ 173069 w 228600"/>
                  <a:gd name="connsiteY39" fmla="*/ 760952 h 771525"/>
                  <a:gd name="connsiteX40" fmla="*/ 173927 w 228600"/>
                  <a:gd name="connsiteY40" fmla="*/ 762667 h 771525"/>
                  <a:gd name="connsiteX41" fmla="*/ 175641 w 228600"/>
                  <a:gd name="connsiteY41" fmla="*/ 763524 h 771525"/>
                  <a:gd name="connsiteX42" fmla="*/ 173927 w 228600"/>
                  <a:gd name="connsiteY42" fmla="*/ 765238 h 771525"/>
                  <a:gd name="connsiteX43" fmla="*/ 174784 w 228600"/>
                  <a:gd name="connsiteY43" fmla="*/ 766096 h 771525"/>
                  <a:gd name="connsiteX44" fmla="*/ 176498 w 228600"/>
                  <a:gd name="connsiteY44" fmla="*/ 766953 h 771525"/>
                  <a:gd name="connsiteX45" fmla="*/ 177355 w 228600"/>
                  <a:gd name="connsiteY45" fmla="*/ 767810 h 771525"/>
                  <a:gd name="connsiteX46" fmla="*/ 177355 w 228600"/>
                  <a:gd name="connsiteY46" fmla="*/ 770382 h 771525"/>
                  <a:gd name="connsiteX47" fmla="*/ 177355 w 228600"/>
                  <a:gd name="connsiteY47" fmla="*/ 772097 h 771525"/>
                  <a:gd name="connsiteX48" fmla="*/ 177355 w 228600"/>
                  <a:gd name="connsiteY48" fmla="*/ 773811 h 771525"/>
                  <a:gd name="connsiteX49" fmla="*/ 179927 w 228600"/>
                  <a:gd name="connsiteY49" fmla="*/ 774668 h 771525"/>
                  <a:gd name="connsiteX50" fmla="*/ 181642 w 228600"/>
                  <a:gd name="connsiteY50" fmla="*/ 770477 h 771525"/>
                  <a:gd name="connsiteX51" fmla="*/ 182499 w 228600"/>
                  <a:gd name="connsiteY51" fmla="*/ 768763 h 771525"/>
                  <a:gd name="connsiteX52" fmla="*/ 184213 w 228600"/>
                  <a:gd name="connsiteY52" fmla="*/ 768763 h 771525"/>
                  <a:gd name="connsiteX53" fmla="*/ 185071 w 228600"/>
                  <a:gd name="connsiteY53" fmla="*/ 768763 h 771525"/>
                  <a:gd name="connsiteX54" fmla="*/ 185928 w 228600"/>
                  <a:gd name="connsiteY54" fmla="*/ 768763 h 771525"/>
                  <a:gd name="connsiteX55" fmla="*/ 186785 w 228600"/>
                  <a:gd name="connsiteY55" fmla="*/ 768763 h 771525"/>
                  <a:gd name="connsiteX56" fmla="*/ 187643 w 228600"/>
                  <a:gd name="connsiteY56" fmla="*/ 767905 h 771525"/>
                  <a:gd name="connsiteX57" fmla="*/ 187643 w 228600"/>
                  <a:gd name="connsiteY57" fmla="*/ 767048 h 771525"/>
                  <a:gd name="connsiteX58" fmla="*/ 186785 w 228600"/>
                  <a:gd name="connsiteY58" fmla="*/ 766191 h 771525"/>
                  <a:gd name="connsiteX59" fmla="*/ 186785 w 228600"/>
                  <a:gd name="connsiteY59" fmla="*/ 765334 h 771525"/>
                  <a:gd name="connsiteX60" fmla="*/ 185928 w 228600"/>
                  <a:gd name="connsiteY60" fmla="*/ 764477 h 771525"/>
                  <a:gd name="connsiteX61" fmla="*/ 186785 w 228600"/>
                  <a:gd name="connsiteY61" fmla="*/ 760286 h 771525"/>
                  <a:gd name="connsiteX62" fmla="*/ 189357 w 228600"/>
                  <a:gd name="connsiteY62" fmla="*/ 754380 h 771525"/>
                  <a:gd name="connsiteX63" fmla="*/ 190214 w 228600"/>
                  <a:gd name="connsiteY63" fmla="*/ 751808 h 771525"/>
                  <a:gd name="connsiteX64" fmla="*/ 190214 w 228600"/>
                  <a:gd name="connsiteY64" fmla="*/ 745903 h 771525"/>
                  <a:gd name="connsiteX65" fmla="*/ 189357 w 228600"/>
                  <a:gd name="connsiteY65" fmla="*/ 743903 h 771525"/>
                  <a:gd name="connsiteX66" fmla="*/ 189357 w 228600"/>
                  <a:gd name="connsiteY66" fmla="*/ 743903 h 771525"/>
                  <a:gd name="connsiteX67" fmla="*/ 189357 w 228600"/>
                  <a:gd name="connsiteY67" fmla="*/ 743903 h 771525"/>
                  <a:gd name="connsiteX68" fmla="*/ 164592 w 228600"/>
                  <a:gd name="connsiteY68" fmla="*/ 711708 h 771525"/>
                  <a:gd name="connsiteX69" fmla="*/ 166307 w 228600"/>
                  <a:gd name="connsiteY69" fmla="*/ 710851 h 771525"/>
                  <a:gd name="connsiteX70" fmla="*/ 168021 w 228600"/>
                  <a:gd name="connsiteY70" fmla="*/ 709136 h 771525"/>
                  <a:gd name="connsiteX71" fmla="*/ 168878 w 228600"/>
                  <a:gd name="connsiteY71" fmla="*/ 707422 h 771525"/>
                  <a:gd name="connsiteX72" fmla="*/ 168021 w 228600"/>
                  <a:gd name="connsiteY72" fmla="*/ 705707 h 771525"/>
                  <a:gd name="connsiteX73" fmla="*/ 167164 w 228600"/>
                  <a:gd name="connsiteY73" fmla="*/ 703993 h 771525"/>
                  <a:gd name="connsiteX74" fmla="*/ 166307 w 228600"/>
                  <a:gd name="connsiteY74" fmla="*/ 703136 h 771525"/>
                  <a:gd name="connsiteX75" fmla="*/ 164592 w 228600"/>
                  <a:gd name="connsiteY75" fmla="*/ 702278 h 771525"/>
                  <a:gd name="connsiteX76" fmla="*/ 164592 w 228600"/>
                  <a:gd name="connsiteY76" fmla="*/ 700564 h 771525"/>
                  <a:gd name="connsiteX77" fmla="*/ 164592 w 228600"/>
                  <a:gd name="connsiteY77" fmla="*/ 697135 h 771525"/>
                  <a:gd name="connsiteX78" fmla="*/ 162878 w 228600"/>
                  <a:gd name="connsiteY78" fmla="*/ 699706 h 771525"/>
                  <a:gd name="connsiteX79" fmla="*/ 162020 w 228600"/>
                  <a:gd name="connsiteY79" fmla="*/ 702278 h 771525"/>
                  <a:gd name="connsiteX80" fmla="*/ 161163 w 228600"/>
                  <a:gd name="connsiteY80" fmla="*/ 703993 h 771525"/>
                  <a:gd name="connsiteX81" fmla="*/ 157734 w 228600"/>
                  <a:gd name="connsiteY81" fmla="*/ 704850 h 771525"/>
                  <a:gd name="connsiteX82" fmla="*/ 156020 w 228600"/>
                  <a:gd name="connsiteY82" fmla="*/ 705707 h 771525"/>
                  <a:gd name="connsiteX83" fmla="*/ 155162 w 228600"/>
                  <a:gd name="connsiteY83" fmla="*/ 708279 h 771525"/>
                  <a:gd name="connsiteX84" fmla="*/ 154305 w 228600"/>
                  <a:gd name="connsiteY84" fmla="*/ 709994 h 771525"/>
                  <a:gd name="connsiteX85" fmla="*/ 152591 w 228600"/>
                  <a:gd name="connsiteY85" fmla="*/ 711708 h 771525"/>
                  <a:gd name="connsiteX86" fmla="*/ 155162 w 228600"/>
                  <a:gd name="connsiteY86" fmla="*/ 714280 h 771525"/>
                  <a:gd name="connsiteX87" fmla="*/ 155162 w 228600"/>
                  <a:gd name="connsiteY87" fmla="*/ 715137 h 771525"/>
                  <a:gd name="connsiteX88" fmla="*/ 156020 w 228600"/>
                  <a:gd name="connsiteY88" fmla="*/ 715994 h 771525"/>
                  <a:gd name="connsiteX89" fmla="*/ 156020 w 228600"/>
                  <a:gd name="connsiteY89" fmla="*/ 716852 h 771525"/>
                  <a:gd name="connsiteX90" fmla="*/ 156020 w 228600"/>
                  <a:gd name="connsiteY90" fmla="*/ 717709 h 771525"/>
                  <a:gd name="connsiteX91" fmla="*/ 156877 w 228600"/>
                  <a:gd name="connsiteY91" fmla="*/ 718566 h 771525"/>
                  <a:gd name="connsiteX92" fmla="*/ 158591 w 228600"/>
                  <a:gd name="connsiteY92" fmla="*/ 718566 h 771525"/>
                  <a:gd name="connsiteX93" fmla="*/ 162878 w 228600"/>
                  <a:gd name="connsiteY93" fmla="*/ 713518 h 771525"/>
                  <a:gd name="connsiteX94" fmla="*/ 164592 w 228600"/>
                  <a:gd name="connsiteY94" fmla="*/ 711708 h 771525"/>
                  <a:gd name="connsiteX95" fmla="*/ 164592 w 228600"/>
                  <a:gd name="connsiteY95" fmla="*/ 711708 h 771525"/>
                  <a:gd name="connsiteX96" fmla="*/ 164592 w 228600"/>
                  <a:gd name="connsiteY96" fmla="*/ 711708 h 771525"/>
                  <a:gd name="connsiteX97" fmla="*/ 135636 w 228600"/>
                  <a:gd name="connsiteY97" fmla="*/ 640556 h 771525"/>
                  <a:gd name="connsiteX98" fmla="*/ 134779 w 228600"/>
                  <a:gd name="connsiteY98" fmla="*/ 640556 h 771525"/>
                  <a:gd name="connsiteX99" fmla="*/ 134779 w 228600"/>
                  <a:gd name="connsiteY99" fmla="*/ 640556 h 771525"/>
                  <a:gd name="connsiteX100" fmla="*/ 131350 w 228600"/>
                  <a:gd name="connsiteY100" fmla="*/ 639699 h 771525"/>
                  <a:gd name="connsiteX101" fmla="*/ 131350 w 228600"/>
                  <a:gd name="connsiteY101" fmla="*/ 638842 h 771525"/>
                  <a:gd name="connsiteX102" fmla="*/ 131350 w 228600"/>
                  <a:gd name="connsiteY102" fmla="*/ 636270 h 771525"/>
                  <a:gd name="connsiteX103" fmla="*/ 131350 w 228600"/>
                  <a:gd name="connsiteY103" fmla="*/ 635413 h 771525"/>
                  <a:gd name="connsiteX104" fmla="*/ 130493 w 228600"/>
                  <a:gd name="connsiteY104" fmla="*/ 634555 h 771525"/>
                  <a:gd name="connsiteX105" fmla="*/ 127921 w 228600"/>
                  <a:gd name="connsiteY105" fmla="*/ 633698 h 771525"/>
                  <a:gd name="connsiteX106" fmla="*/ 125349 w 228600"/>
                  <a:gd name="connsiteY106" fmla="*/ 634555 h 771525"/>
                  <a:gd name="connsiteX107" fmla="*/ 122777 w 228600"/>
                  <a:gd name="connsiteY107" fmla="*/ 635413 h 771525"/>
                  <a:gd name="connsiteX108" fmla="*/ 121920 w 228600"/>
                  <a:gd name="connsiteY108" fmla="*/ 637127 h 771525"/>
                  <a:gd name="connsiteX109" fmla="*/ 121063 w 228600"/>
                  <a:gd name="connsiteY109" fmla="*/ 641318 h 771525"/>
                  <a:gd name="connsiteX110" fmla="*/ 121063 w 228600"/>
                  <a:gd name="connsiteY110" fmla="*/ 642176 h 771525"/>
                  <a:gd name="connsiteX111" fmla="*/ 121920 w 228600"/>
                  <a:gd name="connsiteY111" fmla="*/ 643890 h 771525"/>
                  <a:gd name="connsiteX112" fmla="*/ 122777 w 228600"/>
                  <a:gd name="connsiteY112" fmla="*/ 643890 h 771525"/>
                  <a:gd name="connsiteX113" fmla="*/ 124492 w 228600"/>
                  <a:gd name="connsiteY113" fmla="*/ 643890 h 771525"/>
                  <a:gd name="connsiteX114" fmla="*/ 125349 w 228600"/>
                  <a:gd name="connsiteY114" fmla="*/ 643033 h 771525"/>
                  <a:gd name="connsiteX115" fmla="*/ 126206 w 228600"/>
                  <a:gd name="connsiteY115" fmla="*/ 643890 h 771525"/>
                  <a:gd name="connsiteX116" fmla="*/ 125349 w 228600"/>
                  <a:gd name="connsiteY116" fmla="*/ 645605 h 771525"/>
                  <a:gd name="connsiteX117" fmla="*/ 125349 w 228600"/>
                  <a:gd name="connsiteY117" fmla="*/ 646462 h 771525"/>
                  <a:gd name="connsiteX118" fmla="*/ 125349 w 228600"/>
                  <a:gd name="connsiteY118" fmla="*/ 648176 h 771525"/>
                  <a:gd name="connsiteX119" fmla="*/ 126206 w 228600"/>
                  <a:gd name="connsiteY119" fmla="*/ 649034 h 771525"/>
                  <a:gd name="connsiteX120" fmla="*/ 127921 w 228600"/>
                  <a:gd name="connsiteY120" fmla="*/ 649034 h 771525"/>
                  <a:gd name="connsiteX121" fmla="*/ 128778 w 228600"/>
                  <a:gd name="connsiteY121" fmla="*/ 649034 h 771525"/>
                  <a:gd name="connsiteX122" fmla="*/ 130493 w 228600"/>
                  <a:gd name="connsiteY122" fmla="*/ 648176 h 771525"/>
                  <a:gd name="connsiteX123" fmla="*/ 131350 w 228600"/>
                  <a:gd name="connsiteY123" fmla="*/ 648176 h 771525"/>
                  <a:gd name="connsiteX124" fmla="*/ 133064 w 228600"/>
                  <a:gd name="connsiteY124" fmla="*/ 648176 h 771525"/>
                  <a:gd name="connsiteX125" fmla="*/ 133921 w 228600"/>
                  <a:gd name="connsiteY125" fmla="*/ 648176 h 771525"/>
                  <a:gd name="connsiteX126" fmla="*/ 135636 w 228600"/>
                  <a:gd name="connsiteY126" fmla="*/ 649034 h 771525"/>
                  <a:gd name="connsiteX127" fmla="*/ 137351 w 228600"/>
                  <a:gd name="connsiteY127" fmla="*/ 649891 h 771525"/>
                  <a:gd name="connsiteX128" fmla="*/ 137351 w 228600"/>
                  <a:gd name="connsiteY128" fmla="*/ 650748 h 771525"/>
                  <a:gd name="connsiteX129" fmla="*/ 138208 w 228600"/>
                  <a:gd name="connsiteY129" fmla="*/ 649034 h 771525"/>
                  <a:gd name="connsiteX130" fmla="*/ 138208 w 228600"/>
                  <a:gd name="connsiteY130" fmla="*/ 647319 h 771525"/>
                  <a:gd name="connsiteX131" fmla="*/ 138208 w 228600"/>
                  <a:gd name="connsiteY131" fmla="*/ 645605 h 771525"/>
                  <a:gd name="connsiteX132" fmla="*/ 135636 w 228600"/>
                  <a:gd name="connsiteY132" fmla="*/ 640556 h 771525"/>
                  <a:gd name="connsiteX133" fmla="*/ 135636 w 228600"/>
                  <a:gd name="connsiteY133" fmla="*/ 640556 h 771525"/>
                  <a:gd name="connsiteX134" fmla="*/ 135636 w 228600"/>
                  <a:gd name="connsiteY134" fmla="*/ 640556 h 771525"/>
                  <a:gd name="connsiteX135" fmla="*/ 150114 w 228600"/>
                  <a:gd name="connsiteY135" fmla="*/ 636270 h 771525"/>
                  <a:gd name="connsiteX136" fmla="*/ 149257 w 228600"/>
                  <a:gd name="connsiteY136" fmla="*/ 634555 h 771525"/>
                  <a:gd name="connsiteX137" fmla="*/ 148400 w 228600"/>
                  <a:gd name="connsiteY137" fmla="*/ 633698 h 771525"/>
                  <a:gd name="connsiteX138" fmla="*/ 147542 w 228600"/>
                  <a:gd name="connsiteY138" fmla="*/ 633698 h 771525"/>
                  <a:gd name="connsiteX139" fmla="*/ 146685 w 228600"/>
                  <a:gd name="connsiteY139" fmla="*/ 636270 h 771525"/>
                  <a:gd name="connsiteX140" fmla="*/ 144971 w 228600"/>
                  <a:gd name="connsiteY140" fmla="*/ 635413 h 771525"/>
                  <a:gd name="connsiteX141" fmla="*/ 144113 w 228600"/>
                  <a:gd name="connsiteY141" fmla="*/ 636270 h 771525"/>
                  <a:gd name="connsiteX142" fmla="*/ 144113 w 228600"/>
                  <a:gd name="connsiteY142" fmla="*/ 637985 h 771525"/>
                  <a:gd name="connsiteX143" fmla="*/ 144971 w 228600"/>
                  <a:gd name="connsiteY143" fmla="*/ 639699 h 771525"/>
                  <a:gd name="connsiteX144" fmla="*/ 150971 w 228600"/>
                  <a:gd name="connsiteY144" fmla="*/ 643890 h 771525"/>
                  <a:gd name="connsiteX145" fmla="*/ 150971 w 228600"/>
                  <a:gd name="connsiteY145" fmla="*/ 639699 h 771525"/>
                  <a:gd name="connsiteX146" fmla="*/ 150114 w 228600"/>
                  <a:gd name="connsiteY146" fmla="*/ 637127 h 771525"/>
                  <a:gd name="connsiteX147" fmla="*/ 150114 w 228600"/>
                  <a:gd name="connsiteY147" fmla="*/ 636270 h 771525"/>
                  <a:gd name="connsiteX148" fmla="*/ 150114 w 228600"/>
                  <a:gd name="connsiteY148" fmla="*/ 636270 h 771525"/>
                  <a:gd name="connsiteX149" fmla="*/ 150114 w 228600"/>
                  <a:gd name="connsiteY149" fmla="*/ 636270 h 771525"/>
                  <a:gd name="connsiteX150" fmla="*/ 144113 w 228600"/>
                  <a:gd name="connsiteY150" fmla="*/ 632936 h 771525"/>
                  <a:gd name="connsiteX151" fmla="*/ 145828 w 228600"/>
                  <a:gd name="connsiteY151" fmla="*/ 632079 h 771525"/>
                  <a:gd name="connsiteX152" fmla="*/ 146685 w 228600"/>
                  <a:gd name="connsiteY152" fmla="*/ 632079 h 771525"/>
                  <a:gd name="connsiteX153" fmla="*/ 146685 w 228600"/>
                  <a:gd name="connsiteY153" fmla="*/ 630364 h 771525"/>
                  <a:gd name="connsiteX154" fmla="*/ 146685 w 228600"/>
                  <a:gd name="connsiteY154" fmla="*/ 629507 h 771525"/>
                  <a:gd name="connsiteX155" fmla="*/ 145828 w 228600"/>
                  <a:gd name="connsiteY155" fmla="*/ 625316 h 771525"/>
                  <a:gd name="connsiteX156" fmla="*/ 143256 w 228600"/>
                  <a:gd name="connsiteY156" fmla="*/ 621887 h 771525"/>
                  <a:gd name="connsiteX157" fmla="*/ 143256 w 228600"/>
                  <a:gd name="connsiteY157" fmla="*/ 619315 h 771525"/>
                  <a:gd name="connsiteX158" fmla="*/ 144113 w 228600"/>
                  <a:gd name="connsiteY158" fmla="*/ 617601 h 771525"/>
                  <a:gd name="connsiteX159" fmla="*/ 144971 w 228600"/>
                  <a:gd name="connsiteY159" fmla="*/ 615887 h 771525"/>
                  <a:gd name="connsiteX160" fmla="*/ 145828 w 228600"/>
                  <a:gd name="connsiteY160" fmla="*/ 614172 h 771525"/>
                  <a:gd name="connsiteX161" fmla="*/ 145828 w 228600"/>
                  <a:gd name="connsiteY161" fmla="*/ 612457 h 771525"/>
                  <a:gd name="connsiteX162" fmla="*/ 144971 w 228600"/>
                  <a:gd name="connsiteY162" fmla="*/ 610743 h 771525"/>
                  <a:gd name="connsiteX163" fmla="*/ 143256 w 228600"/>
                  <a:gd name="connsiteY163" fmla="*/ 610743 h 771525"/>
                  <a:gd name="connsiteX164" fmla="*/ 140684 w 228600"/>
                  <a:gd name="connsiteY164" fmla="*/ 611600 h 771525"/>
                  <a:gd name="connsiteX165" fmla="*/ 139827 w 228600"/>
                  <a:gd name="connsiteY165" fmla="*/ 612457 h 771525"/>
                  <a:gd name="connsiteX166" fmla="*/ 139827 w 228600"/>
                  <a:gd name="connsiteY166" fmla="*/ 613315 h 771525"/>
                  <a:gd name="connsiteX167" fmla="*/ 138970 w 228600"/>
                  <a:gd name="connsiteY167" fmla="*/ 615029 h 771525"/>
                  <a:gd name="connsiteX168" fmla="*/ 137255 w 228600"/>
                  <a:gd name="connsiteY168" fmla="*/ 616744 h 771525"/>
                  <a:gd name="connsiteX169" fmla="*/ 136398 w 228600"/>
                  <a:gd name="connsiteY169" fmla="*/ 617601 h 771525"/>
                  <a:gd name="connsiteX170" fmla="*/ 136398 w 228600"/>
                  <a:gd name="connsiteY170" fmla="*/ 618458 h 771525"/>
                  <a:gd name="connsiteX171" fmla="*/ 138113 w 228600"/>
                  <a:gd name="connsiteY171" fmla="*/ 626078 h 771525"/>
                  <a:gd name="connsiteX172" fmla="*/ 138970 w 228600"/>
                  <a:gd name="connsiteY172" fmla="*/ 627793 h 771525"/>
                  <a:gd name="connsiteX173" fmla="*/ 140684 w 228600"/>
                  <a:gd name="connsiteY173" fmla="*/ 628650 h 771525"/>
                  <a:gd name="connsiteX174" fmla="*/ 141542 w 228600"/>
                  <a:gd name="connsiteY174" fmla="*/ 628650 h 771525"/>
                  <a:gd name="connsiteX175" fmla="*/ 142399 w 228600"/>
                  <a:gd name="connsiteY175" fmla="*/ 626936 h 771525"/>
                  <a:gd name="connsiteX176" fmla="*/ 144113 w 228600"/>
                  <a:gd name="connsiteY176" fmla="*/ 627793 h 771525"/>
                  <a:gd name="connsiteX177" fmla="*/ 144971 w 228600"/>
                  <a:gd name="connsiteY177" fmla="*/ 628650 h 771525"/>
                  <a:gd name="connsiteX178" fmla="*/ 144113 w 228600"/>
                  <a:gd name="connsiteY178" fmla="*/ 629507 h 771525"/>
                  <a:gd name="connsiteX179" fmla="*/ 143256 w 228600"/>
                  <a:gd name="connsiteY179" fmla="*/ 628650 h 771525"/>
                  <a:gd name="connsiteX180" fmla="*/ 142399 w 228600"/>
                  <a:gd name="connsiteY180" fmla="*/ 628650 h 771525"/>
                  <a:gd name="connsiteX181" fmla="*/ 142399 w 228600"/>
                  <a:gd name="connsiteY181" fmla="*/ 630364 h 771525"/>
                  <a:gd name="connsiteX182" fmla="*/ 141542 w 228600"/>
                  <a:gd name="connsiteY182" fmla="*/ 631222 h 771525"/>
                  <a:gd name="connsiteX183" fmla="*/ 140684 w 228600"/>
                  <a:gd name="connsiteY183" fmla="*/ 631222 h 771525"/>
                  <a:gd name="connsiteX184" fmla="*/ 139827 w 228600"/>
                  <a:gd name="connsiteY184" fmla="*/ 632936 h 771525"/>
                  <a:gd name="connsiteX185" fmla="*/ 140684 w 228600"/>
                  <a:gd name="connsiteY185" fmla="*/ 635508 h 771525"/>
                  <a:gd name="connsiteX186" fmla="*/ 140684 w 228600"/>
                  <a:gd name="connsiteY186" fmla="*/ 637222 h 771525"/>
                  <a:gd name="connsiteX187" fmla="*/ 142399 w 228600"/>
                  <a:gd name="connsiteY187" fmla="*/ 636365 h 771525"/>
                  <a:gd name="connsiteX188" fmla="*/ 143256 w 228600"/>
                  <a:gd name="connsiteY188" fmla="*/ 633794 h 771525"/>
                  <a:gd name="connsiteX189" fmla="*/ 144113 w 228600"/>
                  <a:gd name="connsiteY189" fmla="*/ 632936 h 771525"/>
                  <a:gd name="connsiteX190" fmla="*/ 144113 w 228600"/>
                  <a:gd name="connsiteY190" fmla="*/ 632936 h 771525"/>
                  <a:gd name="connsiteX191" fmla="*/ 144113 w 228600"/>
                  <a:gd name="connsiteY191" fmla="*/ 632936 h 771525"/>
                  <a:gd name="connsiteX192" fmla="*/ 144113 w 228600"/>
                  <a:gd name="connsiteY192" fmla="*/ 632936 h 771525"/>
                  <a:gd name="connsiteX193" fmla="*/ 104870 w 228600"/>
                  <a:gd name="connsiteY193" fmla="*/ 610838 h 771525"/>
                  <a:gd name="connsiteX194" fmla="*/ 102299 w 228600"/>
                  <a:gd name="connsiteY194" fmla="*/ 609124 h 771525"/>
                  <a:gd name="connsiteX195" fmla="*/ 99727 w 228600"/>
                  <a:gd name="connsiteY195" fmla="*/ 607409 h 771525"/>
                  <a:gd name="connsiteX196" fmla="*/ 98870 w 228600"/>
                  <a:gd name="connsiteY196" fmla="*/ 604838 h 771525"/>
                  <a:gd name="connsiteX197" fmla="*/ 98012 w 228600"/>
                  <a:gd name="connsiteY197" fmla="*/ 602266 h 771525"/>
                  <a:gd name="connsiteX198" fmla="*/ 98012 w 228600"/>
                  <a:gd name="connsiteY198" fmla="*/ 597218 h 771525"/>
                  <a:gd name="connsiteX199" fmla="*/ 98012 w 228600"/>
                  <a:gd name="connsiteY199" fmla="*/ 596360 h 771525"/>
                  <a:gd name="connsiteX200" fmla="*/ 96298 w 228600"/>
                  <a:gd name="connsiteY200" fmla="*/ 596360 h 771525"/>
                  <a:gd name="connsiteX201" fmla="*/ 94583 w 228600"/>
                  <a:gd name="connsiteY201" fmla="*/ 597218 h 771525"/>
                  <a:gd name="connsiteX202" fmla="*/ 94583 w 228600"/>
                  <a:gd name="connsiteY202" fmla="*/ 598075 h 771525"/>
                  <a:gd name="connsiteX203" fmla="*/ 93726 w 228600"/>
                  <a:gd name="connsiteY203" fmla="*/ 599789 h 771525"/>
                  <a:gd name="connsiteX204" fmla="*/ 93726 w 228600"/>
                  <a:gd name="connsiteY204" fmla="*/ 603218 h 771525"/>
                  <a:gd name="connsiteX205" fmla="*/ 94583 w 228600"/>
                  <a:gd name="connsiteY205" fmla="*/ 605790 h 771525"/>
                  <a:gd name="connsiteX206" fmla="*/ 96298 w 228600"/>
                  <a:gd name="connsiteY206" fmla="*/ 609219 h 771525"/>
                  <a:gd name="connsiteX207" fmla="*/ 98012 w 228600"/>
                  <a:gd name="connsiteY207" fmla="*/ 610934 h 771525"/>
                  <a:gd name="connsiteX208" fmla="*/ 100584 w 228600"/>
                  <a:gd name="connsiteY208" fmla="*/ 612648 h 771525"/>
                  <a:gd name="connsiteX209" fmla="*/ 104013 w 228600"/>
                  <a:gd name="connsiteY209" fmla="*/ 613505 h 771525"/>
                  <a:gd name="connsiteX210" fmla="*/ 105728 w 228600"/>
                  <a:gd name="connsiteY210" fmla="*/ 613505 h 771525"/>
                  <a:gd name="connsiteX211" fmla="*/ 106585 w 228600"/>
                  <a:gd name="connsiteY211" fmla="*/ 612648 h 771525"/>
                  <a:gd name="connsiteX212" fmla="*/ 106585 w 228600"/>
                  <a:gd name="connsiteY212" fmla="*/ 610934 h 771525"/>
                  <a:gd name="connsiteX213" fmla="*/ 104870 w 228600"/>
                  <a:gd name="connsiteY213" fmla="*/ 610934 h 771525"/>
                  <a:gd name="connsiteX214" fmla="*/ 104870 w 228600"/>
                  <a:gd name="connsiteY214" fmla="*/ 610838 h 771525"/>
                  <a:gd name="connsiteX215" fmla="*/ 104870 w 228600"/>
                  <a:gd name="connsiteY215" fmla="*/ 610838 h 771525"/>
                  <a:gd name="connsiteX216" fmla="*/ 154400 w 228600"/>
                  <a:gd name="connsiteY216" fmla="*/ 579501 h 771525"/>
                  <a:gd name="connsiteX217" fmla="*/ 154400 w 228600"/>
                  <a:gd name="connsiteY217" fmla="*/ 581215 h 771525"/>
                  <a:gd name="connsiteX218" fmla="*/ 153543 w 228600"/>
                  <a:gd name="connsiteY218" fmla="*/ 585406 h 771525"/>
                  <a:gd name="connsiteX219" fmla="*/ 153543 w 228600"/>
                  <a:gd name="connsiteY219" fmla="*/ 587121 h 771525"/>
                  <a:gd name="connsiteX220" fmla="*/ 155258 w 228600"/>
                  <a:gd name="connsiteY220" fmla="*/ 587121 h 771525"/>
                  <a:gd name="connsiteX221" fmla="*/ 156115 w 228600"/>
                  <a:gd name="connsiteY221" fmla="*/ 585406 h 771525"/>
                  <a:gd name="connsiteX222" fmla="*/ 156972 w 228600"/>
                  <a:gd name="connsiteY222" fmla="*/ 582835 h 771525"/>
                  <a:gd name="connsiteX223" fmla="*/ 156972 w 228600"/>
                  <a:gd name="connsiteY223" fmla="*/ 581978 h 771525"/>
                  <a:gd name="connsiteX224" fmla="*/ 156972 w 228600"/>
                  <a:gd name="connsiteY224" fmla="*/ 579406 h 771525"/>
                  <a:gd name="connsiteX225" fmla="*/ 156115 w 228600"/>
                  <a:gd name="connsiteY225" fmla="*/ 577691 h 771525"/>
                  <a:gd name="connsiteX226" fmla="*/ 154400 w 228600"/>
                  <a:gd name="connsiteY226" fmla="*/ 575120 h 771525"/>
                  <a:gd name="connsiteX227" fmla="*/ 154400 w 228600"/>
                  <a:gd name="connsiteY227" fmla="*/ 572548 h 771525"/>
                  <a:gd name="connsiteX228" fmla="*/ 153543 w 228600"/>
                  <a:gd name="connsiteY228" fmla="*/ 573405 h 771525"/>
                  <a:gd name="connsiteX229" fmla="*/ 153543 w 228600"/>
                  <a:gd name="connsiteY229" fmla="*/ 575120 h 771525"/>
                  <a:gd name="connsiteX230" fmla="*/ 154400 w 228600"/>
                  <a:gd name="connsiteY230" fmla="*/ 579501 h 771525"/>
                  <a:gd name="connsiteX231" fmla="*/ 154400 w 228600"/>
                  <a:gd name="connsiteY231" fmla="*/ 579501 h 771525"/>
                  <a:gd name="connsiteX232" fmla="*/ 154400 w 228600"/>
                  <a:gd name="connsiteY232" fmla="*/ 579501 h 771525"/>
                  <a:gd name="connsiteX233" fmla="*/ 64770 w 228600"/>
                  <a:gd name="connsiteY233" fmla="*/ 498157 h 771525"/>
                  <a:gd name="connsiteX234" fmla="*/ 61341 w 228600"/>
                  <a:gd name="connsiteY234" fmla="*/ 495586 h 771525"/>
                  <a:gd name="connsiteX235" fmla="*/ 60484 w 228600"/>
                  <a:gd name="connsiteY235" fmla="*/ 495586 h 771525"/>
                  <a:gd name="connsiteX236" fmla="*/ 59627 w 228600"/>
                  <a:gd name="connsiteY236" fmla="*/ 495586 h 771525"/>
                  <a:gd name="connsiteX237" fmla="*/ 59627 w 228600"/>
                  <a:gd name="connsiteY237" fmla="*/ 497396 h 771525"/>
                  <a:gd name="connsiteX238" fmla="*/ 58769 w 228600"/>
                  <a:gd name="connsiteY238" fmla="*/ 499110 h 771525"/>
                  <a:gd name="connsiteX239" fmla="*/ 57055 w 228600"/>
                  <a:gd name="connsiteY239" fmla="*/ 500824 h 771525"/>
                  <a:gd name="connsiteX240" fmla="*/ 55340 w 228600"/>
                  <a:gd name="connsiteY240" fmla="*/ 500824 h 771525"/>
                  <a:gd name="connsiteX241" fmla="*/ 54483 w 228600"/>
                  <a:gd name="connsiteY241" fmla="*/ 502539 h 771525"/>
                  <a:gd name="connsiteX242" fmla="*/ 55340 w 228600"/>
                  <a:gd name="connsiteY242" fmla="*/ 505111 h 771525"/>
                  <a:gd name="connsiteX243" fmla="*/ 56198 w 228600"/>
                  <a:gd name="connsiteY243" fmla="*/ 508540 h 771525"/>
                  <a:gd name="connsiteX244" fmla="*/ 57055 w 228600"/>
                  <a:gd name="connsiteY244" fmla="*/ 510254 h 771525"/>
                  <a:gd name="connsiteX245" fmla="*/ 64770 w 228600"/>
                  <a:gd name="connsiteY245" fmla="*/ 512826 h 771525"/>
                  <a:gd name="connsiteX246" fmla="*/ 68199 w 228600"/>
                  <a:gd name="connsiteY246" fmla="*/ 508635 h 771525"/>
                  <a:gd name="connsiteX247" fmla="*/ 68199 w 228600"/>
                  <a:gd name="connsiteY247" fmla="*/ 502730 h 771525"/>
                  <a:gd name="connsiteX248" fmla="*/ 66485 w 228600"/>
                  <a:gd name="connsiteY248" fmla="*/ 499301 h 771525"/>
                  <a:gd name="connsiteX249" fmla="*/ 64770 w 228600"/>
                  <a:gd name="connsiteY249" fmla="*/ 498157 h 771525"/>
                  <a:gd name="connsiteX250" fmla="*/ 64770 w 228600"/>
                  <a:gd name="connsiteY250" fmla="*/ 498157 h 771525"/>
                  <a:gd name="connsiteX251" fmla="*/ 64770 w 228600"/>
                  <a:gd name="connsiteY251" fmla="*/ 498157 h 771525"/>
                  <a:gd name="connsiteX252" fmla="*/ 40958 w 228600"/>
                  <a:gd name="connsiteY252" fmla="*/ 327088 h 771525"/>
                  <a:gd name="connsiteX253" fmla="*/ 40958 w 228600"/>
                  <a:gd name="connsiteY253" fmla="*/ 325374 h 771525"/>
                  <a:gd name="connsiteX254" fmla="*/ 39243 w 228600"/>
                  <a:gd name="connsiteY254" fmla="*/ 321945 h 771525"/>
                  <a:gd name="connsiteX255" fmla="*/ 38386 w 228600"/>
                  <a:gd name="connsiteY255" fmla="*/ 318516 h 771525"/>
                  <a:gd name="connsiteX256" fmla="*/ 36671 w 228600"/>
                  <a:gd name="connsiteY256" fmla="*/ 315944 h 771525"/>
                  <a:gd name="connsiteX257" fmla="*/ 34957 w 228600"/>
                  <a:gd name="connsiteY257" fmla="*/ 313372 h 771525"/>
                  <a:gd name="connsiteX258" fmla="*/ 29813 w 228600"/>
                  <a:gd name="connsiteY258" fmla="*/ 314230 h 771525"/>
                  <a:gd name="connsiteX259" fmla="*/ 23813 w 228600"/>
                  <a:gd name="connsiteY259" fmla="*/ 318421 h 771525"/>
                  <a:gd name="connsiteX260" fmla="*/ 22955 w 228600"/>
                  <a:gd name="connsiteY260" fmla="*/ 320993 h 771525"/>
                  <a:gd name="connsiteX261" fmla="*/ 22098 w 228600"/>
                  <a:gd name="connsiteY261" fmla="*/ 323564 h 771525"/>
                  <a:gd name="connsiteX262" fmla="*/ 21241 w 228600"/>
                  <a:gd name="connsiteY262" fmla="*/ 325279 h 771525"/>
                  <a:gd name="connsiteX263" fmla="*/ 18669 w 228600"/>
                  <a:gd name="connsiteY263" fmla="*/ 326136 h 771525"/>
                  <a:gd name="connsiteX264" fmla="*/ 17812 w 228600"/>
                  <a:gd name="connsiteY264" fmla="*/ 325279 h 771525"/>
                  <a:gd name="connsiteX265" fmla="*/ 17812 w 228600"/>
                  <a:gd name="connsiteY265" fmla="*/ 326993 h 771525"/>
                  <a:gd name="connsiteX266" fmla="*/ 17812 w 228600"/>
                  <a:gd name="connsiteY266" fmla="*/ 329565 h 771525"/>
                  <a:gd name="connsiteX267" fmla="*/ 17812 w 228600"/>
                  <a:gd name="connsiteY267" fmla="*/ 332994 h 771525"/>
                  <a:gd name="connsiteX268" fmla="*/ 17812 w 228600"/>
                  <a:gd name="connsiteY268" fmla="*/ 338042 h 771525"/>
                  <a:gd name="connsiteX269" fmla="*/ 19526 w 228600"/>
                  <a:gd name="connsiteY269" fmla="*/ 339757 h 771525"/>
                  <a:gd name="connsiteX270" fmla="*/ 21241 w 228600"/>
                  <a:gd name="connsiteY270" fmla="*/ 341471 h 771525"/>
                  <a:gd name="connsiteX271" fmla="*/ 22098 w 228600"/>
                  <a:gd name="connsiteY271" fmla="*/ 343186 h 771525"/>
                  <a:gd name="connsiteX272" fmla="*/ 22098 w 228600"/>
                  <a:gd name="connsiteY272" fmla="*/ 345757 h 771525"/>
                  <a:gd name="connsiteX273" fmla="*/ 20384 w 228600"/>
                  <a:gd name="connsiteY273" fmla="*/ 349187 h 771525"/>
                  <a:gd name="connsiteX274" fmla="*/ 17812 w 228600"/>
                  <a:gd name="connsiteY274" fmla="*/ 353378 h 771525"/>
                  <a:gd name="connsiteX275" fmla="*/ 18669 w 228600"/>
                  <a:gd name="connsiteY275" fmla="*/ 354235 h 771525"/>
                  <a:gd name="connsiteX276" fmla="*/ 21241 w 228600"/>
                  <a:gd name="connsiteY276" fmla="*/ 354235 h 771525"/>
                  <a:gd name="connsiteX277" fmla="*/ 22955 w 228600"/>
                  <a:gd name="connsiteY277" fmla="*/ 352520 h 771525"/>
                  <a:gd name="connsiteX278" fmla="*/ 25527 w 228600"/>
                  <a:gd name="connsiteY278" fmla="*/ 352520 h 771525"/>
                  <a:gd name="connsiteX279" fmla="*/ 27242 w 228600"/>
                  <a:gd name="connsiteY279" fmla="*/ 354235 h 771525"/>
                  <a:gd name="connsiteX280" fmla="*/ 28956 w 228600"/>
                  <a:gd name="connsiteY280" fmla="*/ 355949 h 771525"/>
                  <a:gd name="connsiteX281" fmla="*/ 33242 w 228600"/>
                  <a:gd name="connsiteY281" fmla="*/ 356806 h 771525"/>
                  <a:gd name="connsiteX282" fmla="*/ 35814 w 228600"/>
                  <a:gd name="connsiteY282" fmla="*/ 355092 h 771525"/>
                  <a:gd name="connsiteX283" fmla="*/ 36671 w 228600"/>
                  <a:gd name="connsiteY283" fmla="*/ 352520 h 771525"/>
                  <a:gd name="connsiteX284" fmla="*/ 40100 w 228600"/>
                  <a:gd name="connsiteY284" fmla="*/ 348329 h 771525"/>
                  <a:gd name="connsiteX285" fmla="*/ 37529 w 228600"/>
                  <a:gd name="connsiteY285" fmla="*/ 347472 h 771525"/>
                  <a:gd name="connsiteX286" fmla="*/ 35814 w 228600"/>
                  <a:gd name="connsiteY286" fmla="*/ 347472 h 771525"/>
                  <a:gd name="connsiteX287" fmla="*/ 35814 w 228600"/>
                  <a:gd name="connsiteY287" fmla="*/ 344043 h 771525"/>
                  <a:gd name="connsiteX288" fmla="*/ 37529 w 228600"/>
                  <a:gd name="connsiteY288" fmla="*/ 342329 h 771525"/>
                  <a:gd name="connsiteX289" fmla="*/ 38386 w 228600"/>
                  <a:gd name="connsiteY289" fmla="*/ 341471 h 771525"/>
                  <a:gd name="connsiteX290" fmla="*/ 40100 w 228600"/>
                  <a:gd name="connsiteY290" fmla="*/ 340614 h 771525"/>
                  <a:gd name="connsiteX291" fmla="*/ 42672 w 228600"/>
                  <a:gd name="connsiteY291" fmla="*/ 337185 h 771525"/>
                  <a:gd name="connsiteX292" fmla="*/ 42672 w 228600"/>
                  <a:gd name="connsiteY292" fmla="*/ 333756 h 771525"/>
                  <a:gd name="connsiteX293" fmla="*/ 40958 w 228600"/>
                  <a:gd name="connsiteY293" fmla="*/ 331184 h 771525"/>
                  <a:gd name="connsiteX294" fmla="*/ 40958 w 228600"/>
                  <a:gd name="connsiteY294" fmla="*/ 327088 h 771525"/>
                  <a:gd name="connsiteX295" fmla="*/ 40958 w 228600"/>
                  <a:gd name="connsiteY295" fmla="*/ 327088 h 771525"/>
                  <a:gd name="connsiteX296" fmla="*/ 40958 w 228600"/>
                  <a:gd name="connsiteY296" fmla="*/ 327088 h 771525"/>
                  <a:gd name="connsiteX297" fmla="*/ 52007 w 228600"/>
                  <a:gd name="connsiteY297" fmla="*/ 256794 h 771525"/>
                  <a:gd name="connsiteX298" fmla="*/ 51149 w 228600"/>
                  <a:gd name="connsiteY298" fmla="*/ 255079 h 771525"/>
                  <a:gd name="connsiteX299" fmla="*/ 51149 w 228600"/>
                  <a:gd name="connsiteY299" fmla="*/ 253365 h 771525"/>
                  <a:gd name="connsiteX300" fmla="*/ 52864 w 228600"/>
                  <a:gd name="connsiteY300" fmla="*/ 252508 h 771525"/>
                  <a:gd name="connsiteX301" fmla="*/ 53721 w 228600"/>
                  <a:gd name="connsiteY301" fmla="*/ 250793 h 771525"/>
                  <a:gd name="connsiteX302" fmla="*/ 52864 w 228600"/>
                  <a:gd name="connsiteY302" fmla="*/ 249079 h 771525"/>
                  <a:gd name="connsiteX303" fmla="*/ 51149 w 228600"/>
                  <a:gd name="connsiteY303" fmla="*/ 246507 h 771525"/>
                  <a:gd name="connsiteX304" fmla="*/ 48578 w 228600"/>
                  <a:gd name="connsiteY304" fmla="*/ 244793 h 771525"/>
                  <a:gd name="connsiteX305" fmla="*/ 46863 w 228600"/>
                  <a:gd name="connsiteY305" fmla="*/ 244793 h 771525"/>
                  <a:gd name="connsiteX306" fmla="*/ 46006 w 228600"/>
                  <a:gd name="connsiteY306" fmla="*/ 248221 h 771525"/>
                  <a:gd name="connsiteX307" fmla="*/ 46863 w 228600"/>
                  <a:gd name="connsiteY307" fmla="*/ 251651 h 771525"/>
                  <a:gd name="connsiteX308" fmla="*/ 46863 w 228600"/>
                  <a:gd name="connsiteY308" fmla="*/ 253365 h 771525"/>
                  <a:gd name="connsiteX309" fmla="*/ 46006 w 228600"/>
                  <a:gd name="connsiteY309" fmla="*/ 255079 h 771525"/>
                  <a:gd name="connsiteX310" fmla="*/ 45149 w 228600"/>
                  <a:gd name="connsiteY310" fmla="*/ 255079 h 771525"/>
                  <a:gd name="connsiteX311" fmla="*/ 43434 w 228600"/>
                  <a:gd name="connsiteY311" fmla="*/ 255937 h 771525"/>
                  <a:gd name="connsiteX312" fmla="*/ 42577 w 228600"/>
                  <a:gd name="connsiteY312" fmla="*/ 255937 h 771525"/>
                  <a:gd name="connsiteX313" fmla="*/ 42577 w 228600"/>
                  <a:gd name="connsiteY313" fmla="*/ 256794 h 771525"/>
                  <a:gd name="connsiteX314" fmla="*/ 41720 w 228600"/>
                  <a:gd name="connsiteY314" fmla="*/ 259366 h 771525"/>
                  <a:gd name="connsiteX315" fmla="*/ 43434 w 228600"/>
                  <a:gd name="connsiteY315" fmla="*/ 260223 h 771525"/>
                  <a:gd name="connsiteX316" fmla="*/ 43434 w 228600"/>
                  <a:gd name="connsiteY316" fmla="*/ 261080 h 771525"/>
                  <a:gd name="connsiteX317" fmla="*/ 45149 w 228600"/>
                  <a:gd name="connsiteY317" fmla="*/ 261080 h 771525"/>
                  <a:gd name="connsiteX318" fmla="*/ 46863 w 228600"/>
                  <a:gd name="connsiteY318" fmla="*/ 261938 h 771525"/>
                  <a:gd name="connsiteX319" fmla="*/ 47720 w 228600"/>
                  <a:gd name="connsiteY319" fmla="*/ 261938 h 771525"/>
                  <a:gd name="connsiteX320" fmla="*/ 50292 w 228600"/>
                  <a:gd name="connsiteY320" fmla="*/ 261080 h 771525"/>
                  <a:gd name="connsiteX321" fmla="*/ 52007 w 228600"/>
                  <a:gd name="connsiteY321" fmla="*/ 260223 h 771525"/>
                  <a:gd name="connsiteX322" fmla="*/ 53721 w 228600"/>
                  <a:gd name="connsiteY322" fmla="*/ 258509 h 771525"/>
                  <a:gd name="connsiteX323" fmla="*/ 53721 w 228600"/>
                  <a:gd name="connsiteY323" fmla="*/ 257651 h 771525"/>
                  <a:gd name="connsiteX324" fmla="*/ 52007 w 228600"/>
                  <a:gd name="connsiteY324" fmla="*/ 256794 h 771525"/>
                  <a:gd name="connsiteX325" fmla="*/ 52007 w 228600"/>
                  <a:gd name="connsiteY325" fmla="*/ 256794 h 771525"/>
                  <a:gd name="connsiteX326" fmla="*/ 52007 w 228600"/>
                  <a:gd name="connsiteY326" fmla="*/ 256794 h 771525"/>
                  <a:gd name="connsiteX327" fmla="*/ 6001 w 228600"/>
                  <a:gd name="connsiteY327" fmla="*/ 235553 h 771525"/>
                  <a:gd name="connsiteX328" fmla="*/ 4286 w 228600"/>
                  <a:gd name="connsiteY328" fmla="*/ 235553 h 771525"/>
                  <a:gd name="connsiteX329" fmla="*/ 1715 w 228600"/>
                  <a:gd name="connsiteY329" fmla="*/ 234696 h 771525"/>
                  <a:gd name="connsiteX330" fmla="*/ 0 w 228600"/>
                  <a:gd name="connsiteY330" fmla="*/ 234696 h 771525"/>
                  <a:gd name="connsiteX331" fmla="*/ 0 w 228600"/>
                  <a:gd name="connsiteY331" fmla="*/ 235553 h 771525"/>
                  <a:gd name="connsiteX332" fmla="*/ 1715 w 228600"/>
                  <a:gd name="connsiteY332" fmla="*/ 237268 h 771525"/>
                  <a:gd name="connsiteX333" fmla="*/ 1715 w 228600"/>
                  <a:gd name="connsiteY333" fmla="*/ 241459 h 771525"/>
                  <a:gd name="connsiteX334" fmla="*/ 4286 w 228600"/>
                  <a:gd name="connsiteY334" fmla="*/ 242316 h 771525"/>
                  <a:gd name="connsiteX335" fmla="*/ 6001 w 228600"/>
                  <a:gd name="connsiteY335" fmla="*/ 242316 h 771525"/>
                  <a:gd name="connsiteX336" fmla="*/ 7715 w 228600"/>
                  <a:gd name="connsiteY336" fmla="*/ 240602 h 771525"/>
                  <a:gd name="connsiteX337" fmla="*/ 7715 w 228600"/>
                  <a:gd name="connsiteY337" fmla="*/ 238887 h 771525"/>
                  <a:gd name="connsiteX338" fmla="*/ 6858 w 228600"/>
                  <a:gd name="connsiteY338" fmla="*/ 236315 h 771525"/>
                  <a:gd name="connsiteX339" fmla="*/ 6001 w 228600"/>
                  <a:gd name="connsiteY339" fmla="*/ 235553 h 771525"/>
                  <a:gd name="connsiteX340" fmla="*/ 6001 w 228600"/>
                  <a:gd name="connsiteY340" fmla="*/ 235553 h 771525"/>
                  <a:gd name="connsiteX341" fmla="*/ 6001 w 228600"/>
                  <a:gd name="connsiteY341" fmla="*/ 235553 h 771525"/>
                  <a:gd name="connsiteX342" fmla="*/ 92107 w 228600"/>
                  <a:gd name="connsiteY342" fmla="*/ 194881 h 771525"/>
                  <a:gd name="connsiteX343" fmla="*/ 92107 w 228600"/>
                  <a:gd name="connsiteY343" fmla="*/ 194024 h 771525"/>
                  <a:gd name="connsiteX344" fmla="*/ 91250 w 228600"/>
                  <a:gd name="connsiteY344" fmla="*/ 193167 h 771525"/>
                  <a:gd name="connsiteX345" fmla="*/ 89535 w 228600"/>
                  <a:gd name="connsiteY345" fmla="*/ 188119 h 771525"/>
                  <a:gd name="connsiteX346" fmla="*/ 89535 w 228600"/>
                  <a:gd name="connsiteY346" fmla="*/ 186404 h 771525"/>
                  <a:gd name="connsiteX347" fmla="*/ 88678 w 228600"/>
                  <a:gd name="connsiteY347" fmla="*/ 185547 h 771525"/>
                  <a:gd name="connsiteX348" fmla="*/ 85249 w 228600"/>
                  <a:gd name="connsiteY348" fmla="*/ 185547 h 771525"/>
                  <a:gd name="connsiteX349" fmla="*/ 84392 w 228600"/>
                  <a:gd name="connsiteY349" fmla="*/ 186404 h 771525"/>
                  <a:gd name="connsiteX350" fmla="*/ 81820 w 228600"/>
                  <a:gd name="connsiteY350" fmla="*/ 188976 h 771525"/>
                  <a:gd name="connsiteX351" fmla="*/ 80963 w 228600"/>
                  <a:gd name="connsiteY351" fmla="*/ 190690 h 771525"/>
                  <a:gd name="connsiteX352" fmla="*/ 81820 w 228600"/>
                  <a:gd name="connsiteY352" fmla="*/ 191548 h 771525"/>
                  <a:gd name="connsiteX353" fmla="*/ 83534 w 228600"/>
                  <a:gd name="connsiteY353" fmla="*/ 191548 h 771525"/>
                  <a:gd name="connsiteX354" fmla="*/ 84392 w 228600"/>
                  <a:gd name="connsiteY354" fmla="*/ 192405 h 771525"/>
                  <a:gd name="connsiteX355" fmla="*/ 85249 w 228600"/>
                  <a:gd name="connsiteY355" fmla="*/ 194120 h 771525"/>
                  <a:gd name="connsiteX356" fmla="*/ 86106 w 228600"/>
                  <a:gd name="connsiteY356" fmla="*/ 194977 h 771525"/>
                  <a:gd name="connsiteX357" fmla="*/ 86963 w 228600"/>
                  <a:gd name="connsiteY357" fmla="*/ 195834 h 771525"/>
                  <a:gd name="connsiteX358" fmla="*/ 88678 w 228600"/>
                  <a:gd name="connsiteY358" fmla="*/ 195834 h 771525"/>
                  <a:gd name="connsiteX359" fmla="*/ 89535 w 228600"/>
                  <a:gd name="connsiteY359" fmla="*/ 196691 h 771525"/>
                  <a:gd name="connsiteX360" fmla="*/ 90392 w 228600"/>
                  <a:gd name="connsiteY360" fmla="*/ 197548 h 771525"/>
                  <a:gd name="connsiteX361" fmla="*/ 91250 w 228600"/>
                  <a:gd name="connsiteY361" fmla="*/ 199263 h 771525"/>
                  <a:gd name="connsiteX362" fmla="*/ 92107 w 228600"/>
                  <a:gd name="connsiteY362" fmla="*/ 200978 h 771525"/>
                  <a:gd name="connsiteX363" fmla="*/ 94679 w 228600"/>
                  <a:gd name="connsiteY363" fmla="*/ 200978 h 771525"/>
                  <a:gd name="connsiteX364" fmla="*/ 92107 w 228600"/>
                  <a:gd name="connsiteY364" fmla="*/ 194881 h 771525"/>
                  <a:gd name="connsiteX365" fmla="*/ 92107 w 228600"/>
                  <a:gd name="connsiteY365" fmla="*/ 194881 h 771525"/>
                  <a:gd name="connsiteX366" fmla="*/ 92107 w 228600"/>
                  <a:gd name="connsiteY366" fmla="*/ 194881 h 771525"/>
                  <a:gd name="connsiteX367" fmla="*/ 94679 w 228600"/>
                  <a:gd name="connsiteY367" fmla="*/ 168688 h 771525"/>
                  <a:gd name="connsiteX368" fmla="*/ 93821 w 228600"/>
                  <a:gd name="connsiteY368" fmla="*/ 170402 h 771525"/>
                  <a:gd name="connsiteX369" fmla="*/ 93821 w 228600"/>
                  <a:gd name="connsiteY369" fmla="*/ 172117 h 771525"/>
                  <a:gd name="connsiteX370" fmla="*/ 93821 w 228600"/>
                  <a:gd name="connsiteY370" fmla="*/ 173831 h 771525"/>
                  <a:gd name="connsiteX371" fmla="*/ 94679 w 228600"/>
                  <a:gd name="connsiteY371" fmla="*/ 175546 h 771525"/>
                  <a:gd name="connsiteX372" fmla="*/ 95536 w 228600"/>
                  <a:gd name="connsiteY372" fmla="*/ 177260 h 771525"/>
                  <a:gd name="connsiteX373" fmla="*/ 96393 w 228600"/>
                  <a:gd name="connsiteY373" fmla="*/ 178975 h 771525"/>
                  <a:gd name="connsiteX374" fmla="*/ 97250 w 228600"/>
                  <a:gd name="connsiteY374" fmla="*/ 179832 h 771525"/>
                  <a:gd name="connsiteX375" fmla="*/ 98965 w 228600"/>
                  <a:gd name="connsiteY375" fmla="*/ 178118 h 771525"/>
                  <a:gd name="connsiteX376" fmla="*/ 98108 w 228600"/>
                  <a:gd name="connsiteY376" fmla="*/ 176403 h 771525"/>
                  <a:gd name="connsiteX377" fmla="*/ 98108 w 228600"/>
                  <a:gd name="connsiteY377" fmla="*/ 172974 h 771525"/>
                  <a:gd name="connsiteX378" fmla="*/ 98108 w 228600"/>
                  <a:gd name="connsiteY378" fmla="*/ 172117 h 771525"/>
                  <a:gd name="connsiteX379" fmla="*/ 98965 w 228600"/>
                  <a:gd name="connsiteY379" fmla="*/ 169545 h 771525"/>
                  <a:gd name="connsiteX380" fmla="*/ 98965 w 228600"/>
                  <a:gd name="connsiteY380" fmla="*/ 168688 h 771525"/>
                  <a:gd name="connsiteX381" fmla="*/ 98965 w 228600"/>
                  <a:gd name="connsiteY381" fmla="*/ 168688 h 771525"/>
                  <a:gd name="connsiteX382" fmla="*/ 98965 w 228600"/>
                  <a:gd name="connsiteY382" fmla="*/ 168688 h 771525"/>
                  <a:gd name="connsiteX383" fmla="*/ 98108 w 228600"/>
                  <a:gd name="connsiteY383" fmla="*/ 166973 h 771525"/>
                  <a:gd name="connsiteX384" fmla="*/ 97250 w 228600"/>
                  <a:gd name="connsiteY384" fmla="*/ 166116 h 771525"/>
                  <a:gd name="connsiteX385" fmla="*/ 96393 w 228600"/>
                  <a:gd name="connsiteY385" fmla="*/ 166116 h 771525"/>
                  <a:gd name="connsiteX386" fmla="*/ 95536 w 228600"/>
                  <a:gd name="connsiteY386" fmla="*/ 166973 h 771525"/>
                  <a:gd name="connsiteX387" fmla="*/ 94679 w 228600"/>
                  <a:gd name="connsiteY387" fmla="*/ 168688 h 771525"/>
                  <a:gd name="connsiteX388" fmla="*/ 94679 w 228600"/>
                  <a:gd name="connsiteY388" fmla="*/ 168688 h 771525"/>
                  <a:gd name="connsiteX389" fmla="*/ 94679 w 228600"/>
                  <a:gd name="connsiteY389" fmla="*/ 168688 h 771525"/>
                  <a:gd name="connsiteX390" fmla="*/ 184213 w 228600"/>
                  <a:gd name="connsiteY390" fmla="*/ 159353 h 771525"/>
                  <a:gd name="connsiteX391" fmla="*/ 182499 w 228600"/>
                  <a:gd name="connsiteY391" fmla="*/ 157639 h 771525"/>
                  <a:gd name="connsiteX392" fmla="*/ 181642 w 228600"/>
                  <a:gd name="connsiteY392" fmla="*/ 159353 h 771525"/>
                  <a:gd name="connsiteX393" fmla="*/ 181642 w 228600"/>
                  <a:gd name="connsiteY393" fmla="*/ 160211 h 771525"/>
                  <a:gd name="connsiteX394" fmla="*/ 184213 w 228600"/>
                  <a:gd name="connsiteY394" fmla="*/ 159353 h 771525"/>
                  <a:gd name="connsiteX395" fmla="*/ 184213 w 228600"/>
                  <a:gd name="connsiteY395" fmla="*/ 159353 h 771525"/>
                  <a:gd name="connsiteX396" fmla="*/ 184213 w 228600"/>
                  <a:gd name="connsiteY396" fmla="*/ 159353 h 771525"/>
                  <a:gd name="connsiteX397" fmla="*/ 52864 w 228600"/>
                  <a:gd name="connsiteY397" fmla="*/ 99155 h 771525"/>
                  <a:gd name="connsiteX398" fmla="*/ 53721 w 228600"/>
                  <a:gd name="connsiteY398" fmla="*/ 98298 h 771525"/>
                  <a:gd name="connsiteX399" fmla="*/ 52864 w 228600"/>
                  <a:gd name="connsiteY399" fmla="*/ 96584 h 771525"/>
                  <a:gd name="connsiteX400" fmla="*/ 53721 w 228600"/>
                  <a:gd name="connsiteY400" fmla="*/ 94869 h 771525"/>
                  <a:gd name="connsiteX401" fmla="*/ 53721 w 228600"/>
                  <a:gd name="connsiteY401" fmla="*/ 94869 h 771525"/>
                  <a:gd name="connsiteX402" fmla="*/ 55436 w 228600"/>
                  <a:gd name="connsiteY402" fmla="*/ 92297 h 771525"/>
                  <a:gd name="connsiteX403" fmla="*/ 56293 w 228600"/>
                  <a:gd name="connsiteY403" fmla="*/ 91440 h 771525"/>
                  <a:gd name="connsiteX404" fmla="*/ 57150 w 228600"/>
                  <a:gd name="connsiteY404" fmla="*/ 88868 h 771525"/>
                  <a:gd name="connsiteX405" fmla="*/ 57150 w 228600"/>
                  <a:gd name="connsiteY405" fmla="*/ 82963 h 771525"/>
                  <a:gd name="connsiteX406" fmla="*/ 58007 w 228600"/>
                  <a:gd name="connsiteY406" fmla="*/ 81248 h 771525"/>
                  <a:gd name="connsiteX407" fmla="*/ 57150 w 228600"/>
                  <a:gd name="connsiteY407" fmla="*/ 80391 h 771525"/>
                  <a:gd name="connsiteX408" fmla="*/ 57150 w 228600"/>
                  <a:gd name="connsiteY408" fmla="*/ 79534 h 771525"/>
                  <a:gd name="connsiteX409" fmla="*/ 57150 w 228600"/>
                  <a:gd name="connsiteY409" fmla="*/ 78677 h 771525"/>
                  <a:gd name="connsiteX410" fmla="*/ 56293 w 228600"/>
                  <a:gd name="connsiteY410" fmla="*/ 78677 h 771525"/>
                  <a:gd name="connsiteX411" fmla="*/ 55436 w 228600"/>
                  <a:gd name="connsiteY411" fmla="*/ 77819 h 771525"/>
                  <a:gd name="connsiteX412" fmla="*/ 54578 w 228600"/>
                  <a:gd name="connsiteY412" fmla="*/ 77819 h 771525"/>
                  <a:gd name="connsiteX413" fmla="*/ 53721 w 228600"/>
                  <a:gd name="connsiteY413" fmla="*/ 78677 h 771525"/>
                  <a:gd name="connsiteX414" fmla="*/ 52864 w 228600"/>
                  <a:gd name="connsiteY414" fmla="*/ 79534 h 771525"/>
                  <a:gd name="connsiteX415" fmla="*/ 52007 w 228600"/>
                  <a:gd name="connsiteY415" fmla="*/ 81248 h 771525"/>
                  <a:gd name="connsiteX416" fmla="*/ 52007 w 228600"/>
                  <a:gd name="connsiteY416" fmla="*/ 82963 h 771525"/>
                  <a:gd name="connsiteX417" fmla="*/ 51149 w 228600"/>
                  <a:gd name="connsiteY417" fmla="*/ 89726 h 771525"/>
                  <a:gd name="connsiteX418" fmla="*/ 50292 w 228600"/>
                  <a:gd name="connsiteY418" fmla="*/ 90583 h 771525"/>
                  <a:gd name="connsiteX419" fmla="*/ 50292 w 228600"/>
                  <a:gd name="connsiteY419" fmla="*/ 92297 h 771525"/>
                  <a:gd name="connsiteX420" fmla="*/ 52007 w 228600"/>
                  <a:gd name="connsiteY420" fmla="*/ 99917 h 771525"/>
                  <a:gd name="connsiteX421" fmla="*/ 52864 w 228600"/>
                  <a:gd name="connsiteY421" fmla="*/ 99155 h 771525"/>
                  <a:gd name="connsiteX422" fmla="*/ 52864 w 228600"/>
                  <a:gd name="connsiteY422" fmla="*/ 99155 h 771525"/>
                  <a:gd name="connsiteX423" fmla="*/ 52864 w 228600"/>
                  <a:gd name="connsiteY423" fmla="*/ 99155 h 771525"/>
                  <a:gd name="connsiteX424" fmla="*/ 229457 w 228600"/>
                  <a:gd name="connsiteY424" fmla="*/ 27146 h 771525"/>
                  <a:gd name="connsiteX425" fmla="*/ 227743 w 228600"/>
                  <a:gd name="connsiteY425" fmla="*/ 28861 h 771525"/>
                  <a:gd name="connsiteX426" fmla="*/ 228600 w 228600"/>
                  <a:gd name="connsiteY426" fmla="*/ 29718 h 771525"/>
                  <a:gd name="connsiteX427" fmla="*/ 230315 w 228600"/>
                  <a:gd name="connsiteY427" fmla="*/ 29718 h 771525"/>
                  <a:gd name="connsiteX428" fmla="*/ 229457 w 228600"/>
                  <a:gd name="connsiteY428" fmla="*/ 27146 h 771525"/>
                  <a:gd name="connsiteX429" fmla="*/ 229457 w 228600"/>
                  <a:gd name="connsiteY429" fmla="*/ 27146 h 771525"/>
                  <a:gd name="connsiteX430" fmla="*/ 229457 w 228600"/>
                  <a:gd name="connsiteY430" fmla="*/ 27146 h 771525"/>
                  <a:gd name="connsiteX431" fmla="*/ 82772 w 228600"/>
                  <a:gd name="connsiteY431" fmla="*/ 138113 h 771525"/>
                  <a:gd name="connsiteX432" fmla="*/ 83629 w 228600"/>
                  <a:gd name="connsiteY432" fmla="*/ 137255 h 771525"/>
                  <a:gd name="connsiteX433" fmla="*/ 81915 w 228600"/>
                  <a:gd name="connsiteY433" fmla="*/ 135541 h 771525"/>
                  <a:gd name="connsiteX434" fmla="*/ 83629 w 228600"/>
                  <a:gd name="connsiteY434" fmla="*/ 134684 h 771525"/>
                  <a:gd name="connsiteX435" fmla="*/ 85344 w 228600"/>
                  <a:gd name="connsiteY435" fmla="*/ 132969 h 771525"/>
                  <a:gd name="connsiteX436" fmla="*/ 86201 w 228600"/>
                  <a:gd name="connsiteY436" fmla="*/ 131254 h 771525"/>
                  <a:gd name="connsiteX437" fmla="*/ 86201 w 228600"/>
                  <a:gd name="connsiteY437" fmla="*/ 125349 h 771525"/>
                  <a:gd name="connsiteX438" fmla="*/ 86201 w 228600"/>
                  <a:gd name="connsiteY438" fmla="*/ 122777 h 771525"/>
                  <a:gd name="connsiteX439" fmla="*/ 84487 w 228600"/>
                  <a:gd name="connsiteY439" fmla="*/ 118586 h 771525"/>
                  <a:gd name="connsiteX440" fmla="*/ 84487 w 228600"/>
                  <a:gd name="connsiteY440" fmla="*/ 116014 h 771525"/>
                  <a:gd name="connsiteX441" fmla="*/ 86201 w 228600"/>
                  <a:gd name="connsiteY441" fmla="*/ 110966 h 771525"/>
                  <a:gd name="connsiteX442" fmla="*/ 86201 w 228600"/>
                  <a:gd name="connsiteY442" fmla="*/ 108395 h 771525"/>
                  <a:gd name="connsiteX443" fmla="*/ 85344 w 228600"/>
                  <a:gd name="connsiteY443" fmla="*/ 105823 h 771525"/>
                  <a:gd name="connsiteX444" fmla="*/ 84487 w 228600"/>
                  <a:gd name="connsiteY444" fmla="*/ 103251 h 771525"/>
                  <a:gd name="connsiteX445" fmla="*/ 81915 w 228600"/>
                  <a:gd name="connsiteY445" fmla="*/ 101537 h 771525"/>
                  <a:gd name="connsiteX446" fmla="*/ 83629 w 228600"/>
                  <a:gd name="connsiteY446" fmla="*/ 98965 h 771525"/>
                  <a:gd name="connsiteX447" fmla="*/ 83629 w 228600"/>
                  <a:gd name="connsiteY447" fmla="*/ 96393 h 771525"/>
                  <a:gd name="connsiteX448" fmla="*/ 82772 w 228600"/>
                  <a:gd name="connsiteY448" fmla="*/ 93821 h 771525"/>
                  <a:gd name="connsiteX449" fmla="*/ 83629 w 228600"/>
                  <a:gd name="connsiteY449" fmla="*/ 92107 h 771525"/>
                  <a:gd name="connsiteX450" fmla="*/ 80201 w 228600"/>
                  <a:gd name="connsiteY450" fmla="*/ 89535 h 771525"/>
                  <a:gd name="connsiteX451" fmla="*/ 79343 w 228600"/>
                  <a:gd name="connsiteY451" fmla="*/ 88678 h 771525"/>
                  <a:gd name="connsiteX452" fmla="*/ 79343 w 228600"/>
                  <a:gd name="connsiteY452" fmla="*/ 88678 h 771525"/>
                  <a:gd name="connsiteX453" fmla="*/ 79343 w 228600"/>
                  <a:gd name="connsiteY453" fmla="*/ 87821 h 771525"/>
                  <a:gd name="connsiteX454" fmla="*/ 78486 w 228600"/>
                  <a:gd name="connsiteY454" fmla="*/ 86106 h 771525"/>
                  <a:gd name="connsiteX455" fmla="*/ 77629 w 228600"/>
                  <a:gd name="connsiteY455" fmla="*/ 85249 h 771525"/>
                  <a:gd name="connsiteX456" fmla="*/ 76771 w 228600"/>
                  <a:gd name="connsiteY456" fmla="*/ 87821 h 771525"/>
                  <a:gd name="connsiteX457" fmla="*/ 75914 w 228600"/>
                  <a:gd name="connsiteY457" fmla="*/ 87821 h 771525"/>
                  <a:gd name="connsiteX458" fmla="*/ 74200 w 228600"/>
                  <a:gd name="connsiteY458" fmla="*/ 87821 h 771525"/>
                  <a:gd name="connsiteX459" fmla="*/ 73343 w 228600"/>
                  <a:gd name="connsiteY459" fmla="*/ 86963 h 771525"/>
                  <a:gd name="connsiteX460" fmla="*/ 73343 w 228600"/>
                  <a:gd name="connsiteY460" fmla="*/ 86106 h 771525"/>
                  <a:gd name="connsiteX461" fmla="*/ 73343 w 228600"/>
                  <a:gd name="connsiteY461" fmla="*/ 85249 h 771525"/>
                  <a:gd name="connsiteX462" fmla="*/ 74200 w 228600"/>
                  <a:gd name="connsiteY462" fmla="*/ 84392 h 771525"/>
                  <a:gd name="connsiteX463" fmla="*/ 75914 w 228600"/>
                  <a:gd name="connsiteY463" fmla="*/ 79343 h 771525"/>
                  <a:gd name="connsiteX464" fmla="*/ 76771 w 228600"/>
                  <a:gd name="connsiteY464" fmla="*/ 78486 h 771525"/>
                  <a:gd name="connsiteX465" fmla="*/ 77629 w 228600"/>
                  <a:gd name="connsiteY465" fmla="*/ 78486 h 771525"/>
                  <a:gd name="connsiteX466" fmla="*/ 79343 w 228600"/>
                  <a:gd name="connsiteY466" fmla="*/ 78486 h 771525"/>
                  <a:gd name="connsiteX467" fmla="*/ 80201 w 228600"/>
                  <a:gd name="connsiteY467" fmla="*/ 79343 h 771525"/>
                  <a:gd name="connsiteX468" fmla="*/ 80201 w 228600"/>
                  <a:gd name="connsiteY468" fmla="*/ 81915 h 771525"/>
                  <a:gd name="connsiteX469" fmla="*/ 81058 w 228600"/>
                  <a:gd name="connsiteY469" fmla="*/ 81915 h 771525"/>
                  <a:gd name="connsiteX470" fmla="*/ 81915 w 228600"/>
                  <a:gd name="connsiteY470" fmla="*/ 80201 h 771525"/>
                  <a:gd name="connsiteX471" fmla="*/ 81915 w 228600"/>
                  <a:gd name="connsiteY471" fmla="*/ 78486 h 771525"/>
                  <a:gd name="connsiteX472" fmla="*/ 81915 w 228600"/>
                  <a:gd name="connsiteY472" fmla="*/ 77629 h 771525"/>
                  <a:gd name="connsiteX473" fmla="*/ 79343 w 228600"/>
                  <a:gd name="connsiteY473" fmla="*/ 75057 h 771525"/>
                  <a:gd name="connsiteX474" fmla="*/ 79343 w 228600"/>
                  <a:gd name="connsiteY474" fmla="*/ 73343 h 771525"/>
                  <a:gd name="connsiteX475" fmla="*/ 79343 w 228600"/>
                  <a:gd name="connsiteY475" fmla="*/ 70771 h 771525"/>
                  <a:gd name="connsiteX476" fmla="*/ 80201 w 228600"/>
                  <a:gd name="connsiteY476" fmla="*/ 69056 h 771525"/>
                  <a:gd name="connsiteX477" fmla="*/ 81915 w 228600"/>
                  <a:gd name="connsiteY477" fmla="*/ 69056 h 771525"/>
                  <a:gd name="connsiteX478" fmla="*/ 81915 w 228600"/>
                  <a:gd name="connsiteY478" fmla="*/ 67342 h 771525"/>
                  <a:gd name="connsiteX479" fmla="*/ 83629 w 228600"/>
                  <a:gd name="connsiteY479" fmla="*/ 67342 h 771525"/>
                  <a:gd name="connsiteX480" fmla="*/ 83629 w 228600"/>
                  <a:gd name="connsiteY480" fmla="*/ 68199 h 771525"/>
                  <a:gd name="connsiteX481" fmla="*/ 82772 w 228600"/>
                  <a:gd name="connsiteY481" fmla="*/ 70771 h 771525"/>
                  <a:gd name="connsiteX482" fmla="*/ 83629 w 228600"/>
                  <a:gd name="connsiteY482" fmla="*/ 72485 h 771525"/>
                  <a:gd name="connsiteX483" fmla="*/ 83629 w 228600"/>
                  <a:gd name="connsiteY483" fmla="*/ 73343 h 771525"/>
                  <a:gd name="connsiteX484" fmla="*/ 85344 w 228600"/>
                  <a:gd name="connsiteY484" fmla="*/ 73343 h 771525"/>
                  <a:gd name="connsiteX485" fmla="*/ 85344 w 228600"/>
                  <a:gd name="connsiteY485" fmla="*/ 72485 h 771525"/>
                  <a:gd name="connsiteX486" fmla="*/ 86201 w 228600"/>
                  <a:gd name="connsiteY486" fmla="*/ 71628 h 771525"/>
                  <a:gd name="connsiteX487" fmla="*/ 87059 w 228600"/>
                  <a:gd name="connsiteY487" fmla="*/ 71628 h 771525"/>
                  <a:gd name="connsiteX488" fmla="*/ 89630 w 228600"/>
                  <a:gd name="connsiteY488" fmla="*/ 72485 h 771525"/>
                  <a:gd name="connsiteX489" fmla="*/ 91345 w 228600"/>
                  <a:gd name="connsiteY489" fmla="*/ 69913 h 771525"/>
                  <a:gd name="connsiteX490" fmla="*/ 92202 w 228600"/>
                  <a:gd name="connsiteY490" fmla="*/ 64865 h 771525"/>
                  <a:gd name="connsiteX491" fmla="*/ 93059 w 228600"/>
                  <a:gd name="connsiteY491" fmla="*/ 61436 h 771525"/>
                  <a:gd name="connsiteX492" fmla="*/ 93059 w 228600"/>
                  <a:gd name="connsiteY492" fmla="*/ 54673 h 771525"/>
                  <a:gd name="connsiteX493" fmla="*/ 93917 w 228600"/>
                  <a:gd name="connsiteY493" fmla="*/ 51245 h 771525"/>
                  <a:gd name="connsiteX494" fmla="*/ 96488 w 228600"/>
                  <a:gd name="connsiteY494" fmla="*/ 47054 h 771525"/>
                  <a:gd name="connsiteX495" fmla="*/ 95631 w 228600"/>
                  <a:gd name="connsiteY495" fmla="*/ 46196 h 771525"/>
                  <a:gd name="connsiteX496" fmla="*/ 93059 w 228600"/>
                  <a:gd name="connsiteY496" fmla="*/ 44482 h 771525"/>
                  <a:gd name="connsiteX497" fmla="*/ 91345 w 228600"/>
                  <a:gd name="connsiteY497" fmla="*/ 41910 h 771525"/>
                  <a:gd name="connsiteX498" fmla="*/ 89630 w 228600"/>
                  <a:gd name="connsiteY498" fmla="*/ 41053 h 771525"/>
                  <a:gd name="connsiteX499" fmla="*/ 87916 w 228600"/>
                  <a:gd name="connsiteY499" fmla="*/ 41053 h 771525"/>
                  <a:gd name="connsiteX500" fmla="*/ 86201 w 228600"/>
                  <a:gd name="connsiteY500" fmla="*/ 41053 h 771525"/>
                  <a:gd name="connsiteX501" fmla="*/ 85344 w 228600"/>
                  <a:gd name="connsiteY501" fmla="*/ 39338 h 771525"/>
                  <a:gd name="connsiteX502" fmla="*/ 84487 w 228600"/>
                  <a:gd name="connsiteY502" fmla="*/ 37624 h 771525"/>
                  <a:gd name="connsiteX503" fmla="*/ 85344 w 228600"/>
                  <a:gd name="connsiteY503" fmla="*/ 36767 h 771525"/>
                  <a:gd name="connsiteX504" fmla="*/ 87059 w 228600"/>
                  <a:gd name="connsiteY504" fmla="*/ 35909 h 771525"/>
                  <a:gd name="connsiteX505" fmla="*/ 87916 w 228600"/>
                  <a:gd name="connsiteY505" fmla="*/ 37624 h 771525"/>
                  <a:gd name="connsiteX506" fmla="*/ 87916 w 228600"/>
                  <a:gd name="connsiteY506" fmla="*/ 39338 h 771525"/>
                  <a:gd name="connsiteX507" fmla="*/ 88773 w 228600"/>
                  <a:gd name="connsiteY507" fmla="*/ 38481 h 771525"/>
                  <a:gd name="connsiteX508" fmla="*/ 90488 w 228600"/>
                  <a:gd name="connsiteY508" fmla="*/ 37624 h 771525"/>
                  <a:gd name="connsiteX509" fmla="*/ 92202 w 228600"/>
                  <a:gd name="connsiteY509" fmla="*/ 35909 h 771525"/>
                  <a:gd name="connsiteX510" fmla="*/ 93059 w 228600"/>
                  <a:gd name="connsiteY510" fmla="*/ 35052 h 771525"/>
                  <a:gd name="connsiteX511" fmla="*/ 93917 w 228600"/>
                  <a:gd name="connsiteY511" fmla="*/ 33338 h 771525"/>
                  <a:gd name="connsiteX512" fmla="*/ 95631 w 228600"/>
                  <a:gd name="connsiteY512" fmla="*/ 31623 h 771525"/>
                  <a:gd name="connsiteX513" fmla="*/ 96488 w 228600"/>
                  <a:gd name="connsiteY513" fmla="*/ 29909 h 771525"/>
                  <a:gd name="connsiteX514" fmla="*/ 95631 w 228600"/>
                  <a:gd name="connsiteY514" fmla="*/ 29909 h 771525"/>
                  <a:gd name="connsiteX515" fmla="*/ 94774 w 228600"/>
                  <a:gd name="connsiteY515" fmla="*/ 29909 h 771525"/>
                  <a:gd name="connsiteX516" fmla="*/ 93917 w 228600"/>
                  <a:gd name="connsiteY516" fmla="*/ 30766 h 771525"/>
                  <a:gd name="connsiteX517" fmla="*/ 93059 w 228600"/>
                  <a:gd name="connsiteY517" fmla="*/ 23146 h 771525"/>
                  <a:gd name="connsiteX518" fmla="*/ 93059 w 228600"/>
                  <a:gd name="connsiteY518" fmla="*/ 19717 h 771525"/>
                  <a:gd name="connsiteX519" fmla="*/ 94774 w 228600"/>
                  <a:gd name="connsiteY519" fmla="*/ 15526 h 771525"/>
                  <a:gd name="connsiteX520" fmla="*/ 93059 w 228600"/>
                  <a:gd name="connsiteY520" fmla="*/ 12097 h 771525"/>
                  <a:gd name="connsiteX521" fmla="*/ 92202 w 228600"/>
                  <a:gd name="connsiteY521" fmla="*/ 12097 h 771525"/>
                  <a:gd name="connsiteX522" fmla="*/ 90488 w 228600"/>
                  <a:gd name="connsiteY522" fmla="*/ 12097 h 771525"/>
                  <a:gd name="connsiteX523" fmla="*/ 89630 w 228600"/>
                  <a:gd name="connsiteY523" fmla="*/ 12097 h 771525"/>
                  <a:gd name="connsiteX524" fmla="*/ 88773 w 228600"/>
                  <a:gd name="connsiteY524" fmla="*/ 12097 h 771525"/>
                  <a:gd name="connsiteX525" fmla="*/ 88773 w 228600"/>
                  <a:gd name="connsiteY525" fmla="*/ 11239 h 771525"/>
                  <a:gd name="connsiteX526" fmla="*/ 87916 w 228600"/>
                  <a:gd name="connsiteY526" fmla="*/ 12097 h 771525"/>
                  <a:gd name="connsiteX527" fmla="*/ 87916 w 228600"/>
                  <a:gd name="connsiteY527" fmla="*/ 12954 h 771525"/>
                  <a:gd name="connsiteX528" fmla="*/ 87916 w 228600"/>
                  <a:gd name="connsiteY528" fmla="*/ 13811 h 771525"/>
                  <a:gd name="connsiteX529" fmla="*/ 88773 w 228600"/>
                  <a:gd name="connsiteY529" fmla="*/ 14669 h 771525"/>
                  <a:gd name="connsiteX530" fmla="*/ 87916 w 228600"/>
                  <a:gd name="connsiteY530" fmla="*/ 14669 h 771525"/>
                  <a:gd name="connsiteX531" fmla="*/ 87059 w 228600"/>
                  <a:gd name="connsiteY531" fmla="*/ 14669 h 771525"/>
                  <a:gd name="connsiteX532" fmla="*/ 86201 w 228600"/>
                  <a:gd name="connsiteY532" fmla="*/ 14669 h 771525"/>
                  <a:gd name="connsiteX533" fmla="*/ 85344 w 228600"/>
                  <a:gd name="connsiteY533" fmla="*/ 13811 h 771525"/>
                  <a:gd name="connsiteX534" fmla="*/ 84487 w 228600"/>
                  <a:gd name="connsiteY534" fmla="*/ 13811 h 771525"/>
                  <a:gd name="connsiteX535" fmla="*/ 82772 w 228600"/>
                  <a:gd name="connsiteY535" fmla="*/ 14669 h 771525"/>
                  <a:gd name="connsiteX536" fmla="*/ 81058 w 228600"/>
                  <a:gd name="connsiteY536" fmla="*/ 14669 h 771525"/>
                  <a:gd name="connsiteX537" fmla="*/ 81058 w 228600"/>
                  <a:gd name="connsiteY537" fmla="*/ 15526 h 771525"/>
                  <a:gd name="connsiteX538" fmla="*/ 81058 w 228600"/>
                  <a:gd name="connsiteY538" fmla="*/ 18097 h 771525"/>
                  <a:gd name="connsiteX539" fmla="*/ 81058 w 228600"/>
                  <a:gd name="connsiteY539" fmla="*/ 18955 h 771525"/>
                  <a:gd name="connsiteX540" fmla="*/ 80201 w 228600"/>
                  <a:gd name="connsiteY540" fmla="*/ 19812 h 771525"/>
                  <a:gd name="connsiteX541" fmla="*/ 77629 w 228600"/>
                  <a:gd name="connsiteY541" fmla="*/ 23241 h 771525"/>
                  <a:gd name="connsiteX542" fmla="*/ 76771 w 228600"/>
                  <a:gd name="connsiteY542" fmla="*/ 24098 h 771525"/>
                  <a:gd name="connsiteX543" fmla="*/ 75914 w 228600"/>
                  <a:gd name="connsiteY543" fmla="*/ 24098 h 771525"/>
                  <a:gd name="connsiteX544" fmla="*/ 75057 w 228600"/>
                  <a:gd name="connsiteY544" fmla="*/ 24955 h 771525"/>
                  <a:gd name="connsiteX545" fmla="*/ 75057 w 228600"/>
                  <a:gd name="connsiteY545" fmla="*/ 25813 h 771525"/>
                  <a:gd name="connsiteX546" fmla="*/ 75914 w 228600"/>
                  <a:gd name="connsiteY546" fmla="*/ 29242 h 771525"/>
                  <a:gd name="connsiteX547" fmla="*/ 75057 w 228600"/>
                  <a:gd name="connsiteY547" fmla="*/ 30099 h 771525"/>
                  <a:gd name="connsiteX548" fmla="*/ 75057 w 228600"/>
                  <a:gd name="connsiteY548" fmla="*/ 30956 h 771525"/>
                  <a:gd name="connsiteX549" fmla="*/ 74200 w 228600"/>
                  <a:gd name="connsiteY549" fmla="*/ 31813 h 771525"/>
                  <a:gd name="connsiteX550" fmla="*/ 69913 w 228600"/>
                  <a:gd name="connsiteY550" fmla="*/ 37719 h 771525"/>
                  <a:gd name="connsiteX551" fmla="*/ 69056 w 228600"/>
                  <a:gd name="connsiteY551" fmla="*/ 40291 h 771525"/>
                  <a:gd name="connsiteX552" fmla="*/ 70771 w 228600"/>
                  <a:gd name="connsiteY552" fmla="*/ 42005 h 771525"/>
                  <a:gd name="connsiteX553" fmla="*/ 70771 w 228600"/>
                  <a:gd name="connsiteY553" fmla="*/ 42005 h 771525"/>
                  <a:gd name="connsiteX554" fmla="*/ 69913 w 228600"/>
                  <a:gd name="connsiteY554" fmla="*/ 43720 h 771525"/>
                  <a:gd name="connsiteX555" fmla="*/ 71628 w 228600"/>
                  <a:gd name="connsiteY555" fmla="*/ 48768 h 771525"/>
                  <a:gd name="connsiteX556" fmla="*/ 71628 w 228600"/>
                  <a:gd name="connsiteY556" fmla="*/ 50482 h 771525"/>
                  <a:gd name="connsiteX557" fmla="*/ 69913 w 228600"/>
                  <a:gd name="connsiteY557" fmla="*/ 51340 h 771525"/>
                  <a:gd name="connsiteX558" fmla="*/ 69056 w 228600"/>
                  <a:gd name="connsiteY558" fmla="*/ 53054 h 771525"/>
                  <a:gd name="connsiteX559" fmla="*/ 69913 w 228600"/>
                  <a:gd name="connsiteY559" fmla="*/ 55626 h 771525"/>
                  <a:gd name="connsiteX560" fmla="*/ 68199 w 228600"/>
                  <a:gd name="connsiteY560" fmla="*/ 57340 h 771525"/>
                  <a:gd name="connsiteX561" fmla="*/ 69056 w 228600"/>
                  <a:gd name="connsiteY561" fmla="*/ 58198 h 771525"/>
                  <a:gd name="connsiteX562" fmla="*/ 70771 w 228600"/>
                  <a:gd name="connsiteY562" fmla="*/ 59912 h 771525"/>
                  <a:gd name="connsiteX563" fmla="*/ 70771 w 228600"/>
                  <a:gd name="connsiteY563" fmla="*/ 59912 h 771525"/>
                  <a:gd name="connsiteX564" fmla="*/ 70771 w 228600"/>
                  <a:gd name="connsiteY564" fmla="*/ 60770 h 771525"/>
                  <a:gd name="connsiteX565" fmla="*/ 69913 w 228600"/>
                  <a:gd name="connsiteY565" fmla="*/ 61627 h 771525"/>
                  <a:gd name="connsiteX566" fmla="*/ 68199 w 228600"/>
                  <a:gd name="connsiteY566" fmla="*/ 65056 h 771525"/>
                  <a:gd name="connsiteX567" fmla="*/ 65627 w 228600"/>
                  <a:gd name="connsiteY567" fmla="*/ 71819 h 771525"/>
                  <a:gd name="connsiteX568" fmla="*/ 65627 w 228600"/>
                  <a:gd name="connsiteY568" fmla="*/ 74390 h 771525"/>
                  <a:gd name="connsiteX569" fmla="*/ 68199 w 228600"/>
                  <a:gd name="connsiteY569" fmla="*/ 76105 h 771525"/>
                  <a:gd name="connsiteX570" fmla="*/ 69056 w 228600"/>
                  <a:gd name="connsiteY570" fmla="*/ 76962 h 771525"/>
                  <a:gd name="connsiteX571" fmla="*/ 68199 w 228600"/>
                  <a:gd name="connsiteY571" fmla="*/ 78677 h 771525"/>
                  <a:gd name="connsiteX572" fmla="*/ 66485 w 228600"/>
                  <a:gd name="connsiteY572" fmla="*/ 81248 h 771525"/>
                  <a:gd name="connsiteX573" fmla="*/ 66485 w 228600"/>
                  <a:gd name="connsiteY573" fmla="*/ 87154 h 771525"/>
                  <a:gd name="connsiteX574" fmla="*/ 65627 w 228600"/>
                  <a:gd name="connsiteY574" fmla="*/ 89726 h 771525"/>
                  <a:gd name="connsiteX575" fmla="*/ 64770 w 228600"/>
                  <a:gd name="connsiteY575" fmla="*/ 93154 h 771525"/>
                  <a:gd name="connsiteX576" fmla="*/ 63055 w 228600"/>
                  <a:gd name="connsiteY576" fmla="*/ 94869 h 771525"/>
                  <a:gd name="connsiteX577" fmla="*/ 60484 w 228600"/>
                  <a:gd name="connsiteY577" fmla="*/ 94012 h 771525"/>
                  <a:gd name="connsiteX578" fmla="*/ 60484 w 228600"/>
                  <a:gd name="connsiteY578" fmla="*/ 95726 h 771525"/>
                  <a:gd name="connsiteX579" fmla="*/ 58769 w 228600"/>
                  <a:gd name="connsiteY579" fmla="*/ 96584 h 771525"/>
                  <a:gd name="connsiteX580" fmla="*/ 57912 w 228600"/>
                  <a:gd name="connsiteY580" fmla="*/ 97441 h 771525"/>
                  <a:gd name="connsiteX581" fmla="*/ 57912 w 228600"/>
                  <a:gd name="connsiteY581" fmla="*/ 98298 h 771525"/>
                  <a:gd name="connsiteX582" fmla="*/ 58769 w 228600"/>
                  <a:gd name="connsiteY582" fmla="*/ 104204 h 771525"/>
                  <a:gd name="connsiteX583" fmla="*/ 58769 w 228600"/>
                  <a:gd name="connsiteY583" fmla="*/ 111823 h 771525"/>
                  <a:gd name="connsiteX584" fmla="*/ 59627 w 228600"/>
                  <a:gd name="connsiteY584" fmla="*/ 113538 h 771525"/>
                  <a:gd name="connsiteX585" fmla="*/ 61341 w 228600"/>
                  <a:gd name="connsiteY585" fmla="*/ 114395 h 771525"/>
                  <a:gd name="connsiteX586" fmla="*/ 62198 w 228600"/>
                  <a:gd name="connsiteY586" fmla="*/ 114395 h 771525"/>
                  <a:gd name="connsiteX587" fmla="*/ 63055 w 228600"/>
                  <a:gd name="connsiteY587" fmla="*/ 115253 h 771525"/>
                  <a:gd name="connsiteX588" fmla="*/ 62198 w 228600"/>
                  <a:gd name="connsiteY588" fmla="*/ 116110 h 771525"/>
                  <a:gd name="connsiteX589" fmla="*/ 62198 w 228600"/>
                  <a:gd name="connsiteY589" fmla="*/ 116110 h 771525"/>
                  <a:gd name="connsiteX590" fmla="*/ 60484 w 228600"/>
                  <a:gd name="connsiteY590" fmla="*/ 116110 h 771525"/>
                  <a:gd name="connsiteX591" fmla="*/ 59627 w 228600"/>
                  <a:gd name="connsiteY591" fmla="*/ 116967 h 771525"/>
                  <a:gd name="connsiteX592" fmla="*/ 59627 w 228600"/>
                  <a:gd name="connsiteY592" fmla="*/ 116967 h 771525"/>
                  <a:gd name="connsiteX593" fmla="*/ 58769 w 228600"/>
                  <a:gd name="connsiteY593" fmla="*/ 118681 h 771525"/>
                  <a:gd name="connsiteX594" fmla="*/ 57055 w 228600"/>
                  <a:gd name="connsiteY594" fmla="*/ 120396 h 771525"/>
                  <a:gd name="connsiteX595" fmla="*/ 56198 w 228600"/>
                  <a:gd name="connsiteY595" fmla="*/ 122111 h 771525"/>
                  <a:gd name="connsiteX596" fmla="*/ 55340 w 228600"/>
                  <a:gd name="connsiteY596" fmla="*/ 149257 h 771525"/>
                  <a:gd name="connsiteX597" fmla="*/ 56198 w 228600"/>
                  <a:gd name="connsiteY597" fmla="*/ 151829 h 771525"/>
                  <a:gd name="connsiteX598" fmla="*/ 57055 w 228600"/>
                  <a:gd name="connsiteY598" fmla="*/ 154400 h 771525"/>
                  <a:gd name="connsiteX599" fmla="*/ 59627 w 228600"/>
                  <a:gd name="connsiteY599" fmla="*/ 155257 h 771525"/>
                  <a:gd name="connsiteX600" fmla="*/ 62198 w 228600"/>
                  <a:gd name="connsiteY600" fmla="*/ 155257 h 771525"/>
                  <a:gd name="connsiteX601" fmla="*/ 63055 w 228600"/>
                  <a:gd name="connsiteY601" fmla="*/ 155257 h 771525"/>
                  <a:gd name="connsiteX602" fmla="*/ 63913 w 228600"/>
                  <a:gd name="connsiteY602" fmla="*/ 156115 h 771525"/>
                  <a:gd name="connsiteX603" fmla="*/ 63913 w 228600"/>
                  <a:gd name="connsiteY603" fmla="*/ 157829 h 771525"/>
                  <a:gd name="connsiteX604" fmla="*/ 63913 w 228600"/>
                  <a:gd name="connsiteY604" fmla="*/ 158687 h 771525"/>
                  <a:gd name="connsiteX605" fmla="*/ 63055 w 228600"/>
                  <a:gd name="connsiteY605" fmla="*/ 158687 h 771525"/>
                  <a:gd name="connsiteX606" fmla="*/ 60484 w 228600"/>
                  <a:gd name="connsiteY606" fmla="*/ 158687 h 771525"/>
                  <a:gd name="connsiteX607" fmla="*/ 60484 w 228600"/>
                  <a:gd name="connsiteY607" fmla="*/ 158687 h 771525"/>
                  <a:gd name="connsiteX608" fmla="*/ 60484 w 228600"/>
                  <a:gd name="connsiteY608" fmla="*/ 158687 h 771525"/>
                  <a:gd name="connsiteX609" fmla="*/ 60484 w 228600"/>
                  <a:gd name="connsiteY609" fmla="*/ 159544 h 771525"/>
                  <a:gd name="connsiteX610" fmla="*/ 60484 w 228600"/>
                  <a:gd name="connsiteY610" fmla="*/ 160401 h 771525"/>
                  <a:gd name="connsiteX611" fmla="*/ 61341 w 228600"/>
                  <a:gd name="connsiteY611" fmla="*/ 161258 h 771525"/>
                  <a:gd name="connsiteX612" fmla="*/ 62198 w 228600"/>
                  <a:gd name="connsiteY612" fmla="*/ 161258 h 771525"/>
                  <a:gd name="connsiteX613" fmla="*/ 63055 w 228600"/>
                  <a:gd name="connsiteY613" fmla="*/ 162115 h 771525"/>
                  <a:gd name="connsiteX614" fmla="*/ 63913 w 228600"/>
                  <a:gd name="connsiteY614" fmla="*/ 166306 h 771525"/>
                  <a:gd name="connsiteX615" fmla="*/ 63913 w 228600"/>
                  <a:gd name="connsiteY615" fmla="*/ 168021 h 771525"/>
                  <a:gd name="connsiteX616" fmla="*/ 63055 w 228600"/>
                  <a:gd name="connsiteY616" fmla="*/ 168878 h 771525"/>
                  <a:gd name="connsiteX617" fmla="*/ 60484 w 228600"/>
                  <a:gd name="connsiteY617" fmla="*/ 169736 h 771525"/>
                  <a:gd name="connsiteX618" fmla="*/ 60484 w 228600"/>
                  <a:gd name="connsiteY618" fmla="*/ 169736 h 771525"/>
                  <a:gd name="connsiteX619" fmla="*/ 57912 w 228600"/>
                  <a:gd name="connsiteY619" fmla="*/ 169736 h 771525"/>
                  <a:gd name="connsiteX620" fmla="*/ 57912 w 228600"/>
                  <a:gd name="connsiteY620" fmla="*/ 169736 h 771525"/>
                  <a:gd name="connsiteX621" fmla="*/ 57912 w 228600"/>
                  <a:gd name="connsiteY621" fmla="*/ 169736 h 771525"/>
                  <a:gd name="connsiteX622" fmla="*/ 57055 w 228600"/>
                  <a:gd name="connsiteY622" fmla="*/ 170593 h 771525"/>
                  <a:gd name="connsiteX623" fmla="*/ 57055 w 228600"/>
                  <a:gd name="connsiteY623" fmla="*/ 170593 h 771525"/>
                  <a:gd name="connsiteX624" fmla="*/ 56198 w 228600"/>
                  <a:gd name="connsiteY624" fmla="*/ 169736 h 771525"/>
                  <a:gd name="connsiteX625" fmla="*/ 56198 w 228600"/>
                  <a:gd name="connsiteY625" fmla="*/ 168878 h 771525"/>
                  <a:gd name="connsiteX626" fmla="*/ 56198 w 228600"/>
                  <a:gd name="connsiteY626" fmla="*/ 166306 h 771525"/>
                  <a:gd name="connsiteX627" fmla="*/ 56198 w 228600"/>
                  <a:gd name="connsiteY627" fmla="*/ 164592 h 771525"/>
                  <a:gd name="connsiteX628" fmla="*/ 55340 w 228600"/>
                  <a:gd name="connsiteY628" fmla="*/ 163735 h 771525"/>
                  <a:gd name="connsiteX629" fmla="*/ 54483 w 228600"/>
                  <a:gd name="connsiteY629" fmla="*/ 164592 h 771525"/>
                  <a:gd name="connsiteX630" fmla="*/ 53626 w 228600"/>
                  <a:gd name="connsiteY630" fmla="*/ 166306 h 771525"/>
                  <a:gd name="connsiteX631" fmla="*/ 52769 w 228600"/>
                  <a:gd name="connsiteY631" fmla="*/ 166306 h 771525"/>
                  <a:gd name="connsiteX632" fmla="*/ 51911 w 228600"/>
                  <a:gd name="connsiteY632" fmla="*/ 164592 h 771525"/>
                  <a:gd name="connsiteX633" fmla="*/ 50197 w 228600"/>
                  <a:gd name="connsiteY633" fmla="*/ 167164 h 771525"/>
                  <a:gd name="connsiteX634" fmla="*/ 47625 w 228600"/>
                  <a:gd name="connsiteY634" fmla="*/ 172212 h 771525"/>
                  <a:gd name="connsiteX635" fmla="*/ 46768 w 228600"/>
                  <a:gd name="connsiteY635" fmla="*/ 174784 h 771525"/>
                  <a:gd name="connsiteX636" fmla="*/ 46768 w 228600"/>
                  <a:gd name="connsiteY636" fmla="*/ 185833 h 771525"/>
                  <a:gd name="connsiteX637" fmla="*/ 46768 w 228600"/>
                  <a:gd name="connsiteY637" fmla="*/ 186690 h 771525"/>
                  <a:gd name="connsiteX638" fmla="*/ 45053 w 228600"/>
                  <a:gd name="connsiteY638" fmla="*/ 189262 h 771525"/>
                  <a:gd name="connsiteX639" fmla="*/ 45053 w 228600"/>
                  <a:gd name="connsiteY639" fmla="*/ 190976 h 771525"/>
                  <a:gd name="connsiteX640" fmla="*/ 45053 w 228600"/>
                  <a:gd name="connsiteY640" fmla="*/ 192691 h 771525"/>
                  <a:gd name="connsiteX641" fmla="*/ 45911 w 228600"/>
                  <a:gd name="connsiteY641" fmla="*/ 194405 h 771525"/>
                  <a:gd name="connsiteX642" fmla="*/ 45911 w 228600"/>
                  <a:gd name="connsiteY642" fmla="*/ 196120 h 771525"/>
                  <a:gd name="connsiteX643" fmla="*/ 45053 w 228600"/>
                  <a:gd name="connsiteY643" fmla="*/ 197834 h 771525"/>
                  <a:gd name="connsiteX644" fmla="*/ 45053 w 228600"/>
                  <a:gd name="connsiteY644" fmla="*/ 203740 h 771525"/>
                  <a:gd name="connsiteX645" fmla="*/ 44196 w 228600"/>
                  <a:gd name="connsiteY645" fmla="*/ 204597 h 771525"/>
                  <a:gd name="connsiteX646" fmla="*/ 43339 w 228600"/>
                  <a:gd name="connsiteY646" fmla="*/ 204597 h 771525"/>
                  <a:gd name="connsiteX647" fmla="*/ 43339 w 228600"/>
                  <a:gd name="connsiteY647" fmla="*/ 202882 h 771525"/>
                  <a:gd name="connsiteX648" fmla="*/ 44196 w 228600"/>
                  <a:gd name="connsiteY648" fmla="*/ 201168 h 771525"/>
                  <a:gd name="connsiteX649" fmla="*/ 42482 w 228600"/>
                  <a:gd name="connsiteY649" fmla="*/ 202025 h 771525"/>
                  <a:gd name="connsiteX650" fmla="*/ 41624 w 228600"/>
                  <a:gd name="connsiteY650" fmla="*/ 201168 h 771525"/>
                  <a:gd name="connsiteX651" fmla="*/ 41624 w 228600"/>
                  <a:gd name="connsiteY651" fmla="*/ 200311 h 771525"/>
                  <a:gd name="connsiteX652" fmla="*/ 39910 w 228600"/>
                  <a:gd name="connsiteY652" fmla="*/ 197739 h 771525"/>
                  <a:gd name="connsiteX653" fmla="*/ 39053 w 228600"/>
                  <a:gd name="connsiteY653" fmla="*/ 197739 h 771525"/>
                  <a:gd name="connsiteX654" fmla="*/ 38195 w 228600"/>
                  <a:gd name="connsiteY654" fmla="*/ 197739 h 771525"/>
                  <a:gd name="connsiteX655" fmla="*/ 35624 w 228600"/>
                  <a:gd name="connsiteY655" fmla="*/ 201930 h 771525"/>
                  <a:gd name="connsiteX656" fmla="*/ 34766 w 228600"/>
                  <a:gd name="connsiteY656" fmla="*/ 205359 h 771525"/>
                  <a:gd name="connsiteX657" fmla="*/ 34766 w 228600"/>
                  <a:gd name="connsiteY657" fmla="*/ 205359 h 771525"/>
                  <a:gd name="connsiteX658" fmla="*/ 34766 w 228600"/>
                  <a:gd name="connsiteY658" fmla="*/ 205359 h 771525"/>
                  <a:gd name="connsiteX659" fmla="*/ 33909 w 228600"/>
                  <a:gd name="connsiteY659" fmla="*/ 205359 h 771525"/>
                  <a:gd name="connsiteX660" fmla="*/ 33909 w 228600"/>
                  <a:gd name="connsiteY660" fmla="*/ 206216 h 771525"/>
                  <a:gd name="connsiteX661" fmla="*/ 34766 w 228600"/>
                  <a:gd name="connsiteY661" fmla="*/ 207073 h 771525"/>
                  <a:gd name="connsiteX662" fmla="*/ 34766 w 228600"/>
                  <a:gd name="connsiteY662" fmla="*/ 207073 h 771525"/>
                  <a:gd name="connsiteX663" fmla="*/ 34766 w 228600"/>
                  <a:gd name="connsiteY663" fmla="*/ 207073 h 771525"/>
                  <a:gd name="connsiteX664" fmla="*/ 36481 w 228600"/>
                  <a:gd name="connsiteY664" fmla="*/ 207931 h 771525"/>
                  <a:gd name="connsiteX665" fmla="*/ 37338 w 228600"/>
                  <a:gd name="connsiteY665" fmla="*/ 207931 h 771525"/>
                  <a:gd name="connsiteX666" fmla="*/ 38195 w 228600"/>
                  <a:gd name="connsiteY666" fmla="*/ 208788 h 771525"/>
                  <a:gd name="connsiteX667" fmla="*/ 39053 w 228600"/>
                  <a:gd name="connsiteY667" fmla="*/ 209645 h 771525"/>
                  <a:gd name="connsiteX668" fmla="*/ 39053 w 228600"/>
                  <a:gd name="connsiteY668" fmla="*/ 213836 h 771525"/>
                  <a:gd name="connsiteX669" fmla="*/ 38195 w 228600"/>
                  <a:gd name="connsiteY669" fmla="*/ 218885 h 771525"/>
                  <a:gd name="connsiteX670" fmla="*/ 38195 w 228600"/>
                  <a:gd name="connsiteY670" fmla="*/ 220599 h 771525"/>
                  <a:gd name="connsiteX671" fmla="*/ 39910 w 228600"/>
                  <a:gd name="connsiteY671" fmla="*/ 222313 h 771525"/>
                  <a:gd name="connsiteX672" fmla="*/ 40767 w 228600"/>
                  <a:gd name="connsiteY672" fmla="*/ 221456 h 771525"/>
                  <a:gd name="connsiteX673" fmla="*/ 42482 w 228600"/>
                  <a:gd name="connsiteY673" fmla="*/ 221456 h 771525"/>
                  <a:gd name="connsiteX674" fmla="*/ 43339 w 228600"/>
                  <a:gd name="connsiteY674" fmla="*/ 221456 h 771525"/>
                  <a:gd name="connsiteX675" fmla="*/ 43339 w 228600"/>
                  <a:gd name="connsiteY675" fmla="*/ 223171 h 771525"/>
                  <a:gd name="connsiteX676" fmla="*/ 43339 w 228600"/>
                  <a:gd name="connsiteY676" fmla="*/ 224028 h 771525"/>
                  <a:gd name="connsiteX677" fmla="*/ 44196 w 228600"/>
                  <a:gd name="connsiteY677" fmla="*/ 226600 h 771525"/>
                  <a:gd name="connsiteX678" fmla="*/ 44196 w 228600"/>
                  <a:gd name="connsiteY678" fmla="*/ 227457 h 771525"/>
                  <a:gd name="connsiteX679" fmla="*/ 45053 w 228600"/>
                  <a:gd name="connsiteY679" fmla="*/ 229171 h 771525"/>
                  <a:gd name="connsiteX680" fmla="*/ 45911 w 228600"/>
                  <a:gd name="connsiteY680" fmla="*/ 229171 h 771525"/>
                  <a:gd name="connsiteX681" fmla="*/ 47625 w 228600"/>
                  <a:gd name="connsiteY681" fmla="*/ 230029 h 771525"/>
                  <a:gd name="connsiteX682" fmla="*/ 47625 w 228600"/>
                  <a:gd name="connsiteY682" fmla="*/ 230886 h 771525"/>
                  <a:gd name="connsiteX683" fmla="*/ 47625 w 228600"/>
                  <a:gd name="connsiteY683" fmla="*/ 231743 h 771525"/>
                  <a:gd name="connsiteX684" fmla="*/ 46768 w 228600"/>
                  <a:gd name="connsiteY684" fmla="*/ 231743 h 771525"/>
                  <a:gd name="connsiteX685" fmla="*/ 45911 w 228600"/>
                  <a:gd name="connsiteY685" fmla="*/ 231743 h 771525"/>
                  <a:gd name="connsiteX686" fmla="*/ 45053 w 228600"/>
                  <a:gd name="connsiteY686" fmla="*/ 232601 h 771525"/>
                  <a:gd name="connsiteX687" fmla="*/ 45053 w 228600"/>
                  <a:gd name="connsiteY687" fmla="*/ 234315 h 771525"/>
                  <a:gd name="connsiteX688" fmla="*/ 45053 w 228600"/>
                  <a:gd name="connsiteY688" fmla="*/ 235172 h 771525"/>
                  <a:gd name="connsiteX689" fmla="*/ 45911 w 228600"/>
                  <a:gd name="connsiteY689" fmla="*/ 236887 h 771525"/>
                  <a:gd name="connsiteX690" fmla="*/ 47625 w 228600"/>
                  <a:gd name="connsiteY690" fmla="*/ 237744 h 771525"/>
                  <a:gd name="connsiteX691" fmla="*/ 48482 w 228600"/>
                  <a:gd name="connsiteY691" fmla="*/ 237744 h 771525"/>
                  <a:gd name="connsiteX692" fmla="*/ 48482 w 228600"/>
                  <a:gd name="connsiteY692" fmla="*/ 238601 h 771525"/>
                  <a:gd name="connsiteX693" fmla="*/ 48482 w 228600"/>
                  <a:gd name="connsiteY693" fmla="*/ 240316 h 771525"/>
                  <a:gd name="connsiteX694" fmla="*/ 49340 w 228600"/>
                  <a:gd name="connsiteY694" fmla="*/ 241173 h 771525"/>
                  <a:gd name="connsiteX695" fmla="*/ 52769 w 228600"/>
                  <a:gd name="connsiteY695" fmla="*/ 244602 h 771525"/>
                  <a:gd name="connsiteX696" fmla="*/ 53626 w 228600"/>
                  <a:gd name="connsiteY696" fmla="*/ 244602 h 771525"/>
                  <a:gd name="connsiteX697" fmla="*/ 54483 w 228600"/>
                  <a:gd name="connsiteY697" fmla="*/ 244602 h 771525"/>
                  <a:gd name="connsiteX698" fmla="*/ 55340 w 228600"/>
                  <a:gd name="connsiteY698" fmla="*/ 245459 h 771525"/>
                  <a:gd name="connsiteX699" fmla="*/ 55340 w 228600"/>
                  <a:gd name="connsiteY699" fmla="*/ 247174 h 771525"/>
                  <a:gd name="connsiteX700" fmla="*/ 57055 w 228600"/>
                  <a:gd name="connsiteY700" fmla="*/ 245459 h 771525"/>
                  <a:gd name="connsiteX701" fmla="*/ 57912 w 228600"/>
                  <a:gd name="connsiteY701" fmla="*/ 243745 h 771525"/>
                  <a:gd name="connsiteX702" fmla="*/ 58769 w 228600"/>
                  <a:gd name="connsiteY702" fmla="*/ 239554 h 771525"/>
                  <a:gd name="connsiteX703" fmla="*/ 58769 w 228600"/>
                  <a:gd name="connsiteY703" fmla="*/ 236125 h 771525"/>
                  <a:gd name="connsiteX704" fmla="*/ 58769 w 228600"/>
                  <a:gd name="connsiteY704" fmla="*/ 235268 h 771525"/>
                  <a:gd name="connsiteX705" fmla="*/ 60484 w 228600"/>
                  <a:gd name="connsiteY705" fmla="*/ 233553 h 771525"/>
                  <a:gd name="connsiteX706" fmla="*/ 60484 w 228600"/>
                  <a:gd name="connsiteY706" fmla="*/ 232696 h 771525"/>
                  <a:gd name="connsiteX707" fmla="*/ 60484 w 228600"/>
                  <a:gd name="connsiteY707" fmla="*/ 231838 h 771525"/>
                  <a:gd name="connsiteX708" fmla="*/ 60484 w 228600"/>
                  <a:gd name="connsiteY708" fmla="*/ 227647 h 771525"/>
                  <a:gd name="connsiteX709" fmla="*/ 60484 w 228600"/>
                  <a:gd name="connsiteY709" fmla="*/ 226790 h 771525"/>
                  <a:gd name="connsiteX710" fmla="*/ 58769 w 228600"/>
                  <a:gd name="connsiteY710" fmla="*/ 225933 h 771525"/>
                  <a:gd name="connsiteX711" fmla="*/ 57912 w 228600"/>
                  <a:gd name="connsiteY711" fmla="*/ 225933 h 771525"/>
                  <a:gd name="connsiteX712" fmla="*/ 57055 w 228600"/>
                  <a:gd name="connsiteY712" fmla="*/ 226790 h 771525"/>
                  <a:gd name="connsiteX713" fmla="*/ 57055 w 228600"/>
                  <a:gd name="connsiteY713" fmla="*/ 229362 h 771525"/>
                  <a:gd name="connsiteX714" fmla="*/ 57055 w 228600"/>
                  <a:gd name="connsiteY714" fmla="*/ 228505 h 771525"/>
                  <a:gd name="connsiteX715" fmla="*/ 55340 w 228600"/>
                  <a:gd name="connsiteY715" fmla="*/ 228505 h 771525"/>
                  <a:gd name="connsiteX716" fmla="*/ 54483 w 228600"/>
                  <a:gd name="connsiteY716" fmla="*/ 228505 h 771525"/>
                  <a:gd name="connsiteX717" fmla="*/ 54483 w 228600"/>
                  <a:gd name="connsiteY717" fmla="*/ 232696 h 771525"/>
                  <a:gd name="connsiteX718" fmla="*/ 54483 w 228600"/>
                  <a:gd name="connsiteY718" fmla="*/ 233553 h 771525"/>
                  <a:gd name="connsiteX719" fmla="*/ 53626 w 228600"/>
                  <a:gd name="connsiteY719" fmla="*/ 233553 h 771525"/>
                  <a:gd name="connsiteX720" fmla="*/ 51911 w 228600"/>
                  <a:gd name="connsiteY720" fmla="*/ 233553 h 771525"/>
                  <a:gd name="connsiteX721" fmla="*/ 51911 w 228600"/>
                  <a:gd name="connsiteY721" fmla="*/ 233553 h 771525"/>
                  <a:gd name="connsiteX722" fmla="*/ 51911 w 228600"/>
                  <a:gd name="connsiteY722" fmla="*/ 230981 h 771525"/>
                  <a:gd name="connsiteX723" fmla="*/ 51911 w 228600"/>
                  <a:gd name="connsiteY723" fmla="*/ 229267 h 771525"/>
                  <a:gd name="connsiteX724" fmla="*/ 52769 w 228600"/>
                  <a:gd name="connsiteY724" fmla="*/ 228410 h 771525"/>
                  <a:gd name="connsiteX725" fmla="*/ 56198 w 228600"/>
                  <a:gd name="connsiteY725" fmla="*/ 224219 h 771525"/>
                  <a:gd name="connsiteX726" fmla="*/ 57912 w 228600"/>
                  <a:gd name="connsiteY726" fmla="*/ 224219 h 771525"/>
                  <a:gd name="connsiteX727" fmla="*/ 59627 w 228600"/>
                  <a:gd name="connsiteY727" fmla="*/ 223361 h 771525"/>
                  <a:gd name="connsiteX728" fmla="*/ 60484 w 228600"/>
                  <a:gd name="connsiteY728" fmla="*/ 222504 h 771525"/>
                  <a:gd name="connsiteX729" fmla="*/ 64770 w 228600"/>
                  <a:gd name="connsiteY729" fmla="*/ 204692 h 771525"/>
                  <a:gd name="connsiteX730" fmla="*/ 64770 w 228600"/>
                  <a:gd name="connsiteY730" fmla="*/ 201263 h 771525"/>
                  <a:gd name="connsiteX731" fmla="*/ 64770 w 228600"/>
                  <a:gd name="connsiteY731" fmla="*/ 198692 h 771525"/>
                  <a:gd name="connsiteX732" fmla="*/ 63913 w 228600"/>
                  <a:gd name="connsiteY732" fmla="*/ 196977 h 771525"/>
                  <a:gd name="connsiteX733" fmla="*/ 62198 w 228600"/>
                  <a:gd name="connsiteY733" fmla="*/ 196977 h 771525"/>
                  <a:gd name="connsiteX734" fmla="*/ 60484 w 228600"/>
                  <a:gd name="connsiteY734" fmla="*/ 196977 h 771525"/>
                  <a:gd name="connsiteX735" fmla="*/ 59627 w 228600"/>
                  <a:gd name="connsiteY735" fmla="*/ 197834 h 771525"/>
                  <a:gd name="connsiteX736" fmla="*/ 58769 w 228600"/>
                  <a:gd name="connsiteY736" fmla="*/ 199549 h 771525"/>
                  <a:gd name="connsiteX737" fmla="*/ 58769 w 228600"/>
                  <a:gd name="connsiteY737" fmla="*/ 203740 h 771525"/>
                  <a:gd name="connsiteX738" fmla="*/ 57912 w 228600"/>
                  <a:gd name="connsiteY738" fmla="*/ 203740 h 771525"/>
                  <a:gd name="connsiteX739" fmla="*/ 57912 w 228600"/>
                  <a:gd name="connsiteY739" fmla="*/ 194405 h 771525"/>
                  <a:gd name="connsiteX740" fmla="*/ 57912 w 228600"/>
                  <a:gd name="connsiteY740" fmla="*/ 191834 h 771525"/>
                  <a:gd name="connsiteX741" fmla="*/ 58769 w 228600"/>
                  <a:gd name="connsiteY741" fmla="*/ 190119 h 771525"/>
                  <a:gd name="connsiteX742" fmla="*/ 60484 w 228600"/>
                  <a:gd name="connsiteY742" fmla="*/ 187547 h 771525"/>
                  <a:gd name="connsiteX743" fmla="*/ 60484 w 228600"/>
                  <a:gd name="connsiteY743" fmla="*/ 187547 h 771525"/>
                  <a:gd name="connsiteX744" fmla="*/ 60484 w 228600"/>
                  <a:gd name="connsiteY744" fmla="*/ 186690 h 771525"/>
                  <a:gd name="connsiteX745" fmla="*/ 61341 w 228600"/>
                  <a:gd name="connsiteY745" fmla="*/ 185833 h 771525"/>
                  <a:gd name="connsiteX746" fmla="*/ 63055 w 228600"/>
                  <a:gd name="connsiteY746" fmla="*/ 185833 h 771525"/>
                  <a:gd name="connsiteX747" fmla="*/ 63913 w 228600"/>
                  <a:gd name="connsiteY747" fmla="*/ 185833 h 771525"/>
                  <a:gd name="connsiteX748" fmla="*/ 61341 w 228600"/>
                  <a:gd name="connsiteY748" fmla="*/ 183261 h 771525"/>
                  <a:gd name="connsiteX749" fmla="*/ 59627 w 228600"/>
                  <a:gd name="connsiteY749" fmla="*/ 181546 h 771525"/>
                  <a:gd name="connsiteX750" fmla="*/ 61341 w 228600"/>
                  <a:gd name="connsiteY750" fmla="*/ 179832 h 771525"/>
                  <a:gd name="connsiteX751" fmla="*/ 63055 w 228600"/>
                  <a:gd name="connsiteY751" fmla="*/ 179832 h 771525"/>
                  <a:gd name="connsiteX752" fmla="*/ 64770 w 228600"/>
                  <a:gd name="connsiteY752" fmla="*/ 179832 h 771525"/>
                  <a:gd name="connsiteX753" fmla="*/ 65627 w 228600"/>
                  <a:gd name="connsiteY753" fmla="*/ 178975 h 771525"/>
                  <a:gd name="connsiteX754" fmla="*/ 65627 w 228600"/>
                  <a:gd name="connsiteY754" fmla="*/ 178118 h 771525"/>
                  <a:gd name="connsiteX755" fmla="*/ 67342 w 228600"/>
                  <a:gd name="connsiteY755" fmla="*/ 176403 h 771525"/>
                  <a:gd name="connsiteX756" fmla="*/ 68199 w 228600"/>
                  <a:gd name="connsiteY756" fmla="*/ 176403 h 771525"/>
                  <a:gd name="connsiteX757" fmla="*/ 68199 w 228600"/>
                  <a:gd name="connsiteY757" fmla="*/ 175546 h 771525"/>
                  <a:gd name="connsiteX758" fmla="*/ 68199 w 228600"/>
                  <a:gd name="connsiteY758" fmla="*/ 173831 h 771525"/>
                  <a:gd name="connsiteX759" fmla="*/ 69913 w 228600"/>
                  <a:gd name="connsiteY759" fmla="*/ 172117 h 771525"/>
                  <a:gd name="connsiteX760" fmla="*/ 71628 w 228600"/>
                  <a:gd name="connsiteY760" fmla="*/ 170402 h 771525"/>
                  <a:gd name="connsiteX761" fmla="*/ 73343 w 228600"/>
                  <a:gd name="connsiteY761" fmla="*/ 168688 h 771525"/>
                  <a:gd name="connsiteX762" fmla="*/ 73343 w 228600"/>
                  <a:gd name="connsiteY762" fmla="*/ 166973 h 771525"/>
                  <a:gd name="connsiteX763" fmla="*/ 75057 w 228600"/>
                  <a:gd name="connsiteY763" fmla="*/ 166973 h 771525"/>
                  <a:gd name="connsiteX764" fmla="*/ 75057 w 228600"/>
                  <a:gd name="connsiteY764" fmla="*/ 166116 h 771525"/>
                  <a:gd name="connsiteX765" fmla="*/ 75057 w 228600"/>
                  <a:gd name="connsiteY765" fmla="*/ 165259 h 771525"/>
                  <a:gd name="connsiteX766" fmla="*/ 75057 w 228600"/>
                  <a:gd name="connsiteY766" fmla="*/ 164402 h 771525"/>
                  <a:gd name="connsiteX767" fmla="*/ 74200 w 228600"/>
                  <a:gd name="connsiteY767" fmla="*/ 163544 h 771525"/>
                  <a:gd name="connsiteX768" fmla="*/ 74200 w 228600"/>
                  <a:gd name="connsiteY768" fmla="*/ 161830 h 771525"/>
                  <a:gd name="connsiteX769" fmla="*/ 74200 w 228600"/>
                  <a:gd name="connsiteY769" fmla="*/ 160972 h 771525"/>
                  <a:gd name="connsiteX770" fmla="*/ 75914 w 228600"/>
                  <a:gd name="connsiteY770" fmla="*/ 160115 h 771525"/>
                  <a:gd name="connsiteX771" fmla="*/ 75914 w 228600"/>
                  <a:gd name="connsiteY771" fmla="*/ 159258 h 771525"/>
                  <a:gd name="connsiteX772" fmla="*/ 75914 w 228600"/>
                  <a:gd name="connsiteY772" fmla="*/ 157544 h 771525"/>
                  <a:gd name="connsiteX773" fmla="*/ 75057 w 228600"/>
                  <a:gd name="connsiteY773" fmla="*/ 156686 h 771525"/>
                  <a:gd name="connsiteX774" fmla="*/ 74200 w 228600"/>
                  <a:gd name="connsiteY774" fmla="*/ 156686 h 771525"/>
                  <a:gd name="connsiteX775" fmla="*/ 74200 w 228600"/>
                  <a:gd name="connsiteY775" fmla="*/ 154972 h 771525"/>
                  <a:gd name="connsiteX776" fmla="*/ 73343 w 228600"/>
                  <a:gd name="connsiteY776" fmla="*/ 154114 h 771525"/>
                  <a:gd name="connsiteX777" fmla="*/ 74200 w 228600"/>
                  <a:gd name="connsiteY777" fmla="*/ 154114 h 771525"/>
                  <a:gd name="connsiteX778" fmla="*/ 74200 w 228600"/>
                  <a:gd name="connsiteY778" fmla="*/ 154114 h 771525"/>
                  <a:gd name="connsiteX779" fmla="*/ 75057 w 228600"/>
                  <a:gd name="connsiteY779" fmla="*/ 153257 h 771525"/>
                  <a:gd name="connsiteX780" fmla="*/ 76771 w 228600"/>
                  <a:gd name="connsiteY780" fmla="*/ 152400 h 771525"/>
                  <a:gd name="connsiteX781" fmla="*/ 77629 w 228600"/>
                  <a:gd name="connsiteY781" fmla="*/ 151543 h 771525"/>
                  <a:gd name="connsiteX782" fmla="*/ 77629 w 228600"/>
                  <a:gd name="connsiteY782" fmla="*/ 151543 h 771525"/>
                  <a:gd name="connsiteX783" fmla="*/ 75914 w 228600"/>
                  <a:gd name="connsiteY783" fmla="*/ 150686 h 771525"/>
                  <a:gd name="connsiteX784" fmla="*/ 75914 w 228600"/>
                  <a:gd name="connsiteY784" fmla="*/ 148971 h 771525"/>
                  <a:gd name="connsiteX785" fmla="*/ 75057 w 228600"/>
                  <a:gd name="connsiteY785" fmla="*/ 148114 h 771525"/>
                  <a:gd name="connsiteX786" fmla="*/ 74200 w 228600"/>
                  <a:gd name="connsiteY786" fmla="*/ 147256 h 771525"/>
                  <a:gd name="connsiteX787" fmla="*/ 72485 w 228600"/>
                  <a:gd name="connsiteY787" fmla="*/ 146399 h 771525"/>
                  <a:gd name="connsiteX788" fmla="*/ 71628 w 228600"/>
                  <a:gd name="connsiteY788" fmla="*/ 146399 h 771525"/>
                  <a:gd name="connsiteX789" fmla="*/ 70771 w 228600"/>
                  <a:gd name="connsiteY789" fmla="*/ 142208 h 771525"/>
                  <a:gd name="connsiteX790" fmla="*/ 69913 w 228600"/>
                  <a:gd name="connsiteY790" fmla="*/ 141351 h 771525"/>
                  <a:gd name="connsiteX791" fmla="*/ 69913 w 228600"/>
                  <a:gd name="connsiteY791" fmla="*/ 140494 h 771525"/>
                  <a:gd name="connsiteX792" fmla="*/ 73343 w 228600"/>
                  <a:gd name="connsiteY792" fmla="*/ 141351 h 771525"/>
                  <a:gd name="connsiteX793" fmla="*/ 75914 w 228600"/>
                  <a:gd name="connsiteY793" fmla="*/ 140494 h 771525"/>
                  <a:gd name="connsiteX794" fmla="*/ 75914 w 228600"/>
                  <a:gd name="connsiteY794" fmla="*/ 138779 h 771525"/>
                  <a:gd name="connsiteX795" fmla="*/ 75057 w 228600"/>
                  <a:gd name="connsiteY795" fmla="*/ 137922 h 771525"/>
                  <a:gd name="connsiteX796" fmla="*/ 76771 w 228600"/>
                  <a:gd name="connsiteY796" fmla="*/ 138779 h 771525"/>
                  <a:gd name="connsiteX797" fmla="*/ 77629 w 228600"/>
                  <a:gd name="connsiteY797" fmla="*/ 139637 h 771525"/>
                  <a:gd name="connsiteX798" fmla="*/ 78486 w 228600"/>
                  <a:gd name="connsiteY798" fmla="*/ 141351 h 771525"/>
                  <a:gd name="connsiteX799" fmla="*/ 79343 w 228600"/>
                  <a:gd name="connsiteY799" fmla="*/ 142208 h 771525"/>
                  <a:gd name="connsiteX800" fmla="*/ 80201 w 228600"/>
                  <a:gd name="connsiteY800" fmla="*/ 142208 h 771525"/>
                  <a:gd name="connsiteX801" fmla="*/ 80201 w 228600"/>
                  <a:gd name="connsiteY801" fmla="*/ 139637 h 771525"/>
                  <a:gd name="connsiteX802" fmla="*/ 81058 w 228600"/>
                  <a:gd name="connsiteY802" fmla="*/ 138779 h 771525"/>
                  <a:gd name="connsiteX803" fmla="*/ 82772 w 228600"/>
                  <a:gd name="connsiteY803" fmla="*/ 138113 h 771525"/>
                  <a:gd name="connsiteX804" fmla="*/ 82772 w 228600"/>
                  <a:gd name="connsiteY804" fmla="*/ 138113 h 771525"/>
                  <a:gd name="connsiteX805" fmla="*/ 82772 w 228600"/>
                  <a:gd name="connsiteY805" fmla="*/ 138113 h 771525"/>
                  <a:gd name="connsiteX806" fmla="*/ 89535 w 228600"/>
                  <a:gd name="connsiteY806" fmla="*/ 3429 h 771525"/>
                  <a:gd name="connsiteX807" fmla="*/ 92964 w 228600"/>
                  <a:gd name="connsiteY807" fmla="*/ 5144 h 771525"/>
                  <a:gd name="connsiteX808" fmla="*/ 92107 w 228600"/>
                  <a:gd name="connsiteY808" fmla="*/ 2572 h 771525"/>
                  <a:gd name="connsiteX809" fmla="*/ 91250 w 228600"/>
                  <a:gd name="connsiteY809" fmla="*/ 1714 h 771525"/>
                  <a:gd name="connsiteX810" fmla="*/ 90392 w 228600"/>
                  <a:gd name="connsiteY810" fmla="*/ 0 h 771525"/>
                  <a:gd name="connsiteX811" fmla="*/ 89535 w 228600"/>
                  <a:gd name="connsiteY811" fmla="*/ 0 h 771525"/>
                  <a:gd name="connsiteX812" fmla="*/ 86106 w 228600"/>
                  <a:gd name="connsiteY812" fmla="*/ 1714 h 771525"/>
                  <a:gd name="connsiteX813" fmla="*/ 86963 w 228600"/>
                  <a:gd name="connsiteY813" fmla="*/ 2572 h 771525"/>
                  <a:gd name="connsiteX814" fmla="*/ 89535 w 228600"/>
                  <a:gd name="connsiteY814" fmla="*/ 3429 h 771525"/>
                  <a:gd name="connsiteX815" fmla="*/ 89535 w 228600"/>
                  <a:gd name="connsiteY815" fmla="*/ 3429 h 771525"/>
                  <a:gd name="connsiteX816" fmla="*/ 89535 w 228600"/>
                  <a:gd name="connsiteY816" fmla="*/ 3429 h 77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</a:cxnLst>
                <a:rect l="l" t="t" r="r" b="b"/>
                <a:pathLst>
                  <a:path w="228600" h="771525">
                    <a:moveTo>
                      <a:pt x="189357" y="743903"/>
                    </a:moveTo>
                    <a:lnTo>
                      <a:pt x="188500" y="743045"/>
                    </a:lnTo>
                    <a:lnTo>
                      <a:pt x="187643" y="739616"/>
                    </a:lnTo>
                    <a:lnTo>
                      <a:pt x="185928" y="736187"/>
                    </a:lnTo>
                    <a:lnTo>
                      <a:pt x="185071" y="734473"/>
                    </a:lnTo>
                    <a:lnTo>
                      <a:pt x="185071" y="730282"/>
                    </a:lnTo>
                    <a:lnTo>
                      <a:pt x="184213" y="728567"/>
                    </a:lnTo>
                    <a:lnTo>
                      <a:pt x="183356" y="726853"/>
                    </a:lnTo>
                    <a:lnTo>
                      <a:pt x="183356" y="724281"/>
                    </a:lnTo>
                    <a:lnTo>
                      <a:pt x="182499" y="722567"/>
                    </a:lnTo>
                    <a:lnTo>
                      <a:pt x="179070" y="719995"/>
                    </a:lnTo>
                    <a:lnTo>
                      <a:pt x="177355" y="719995"/>
                    </a:lnTo>
                    <a:lnTo>
                      <a:pt x="175641" y="720852"/>
                    </a:lnTo>
                    <a:lnTo>
                      <a:pt x="173069" y="722567"/>
                    </a:lnTo>
                    <a:lnTo>
                      <a:pt x="172212" y="722567"/>
                    </a:lnTo>
                    <a:lnTo>
                      <a:pt x="169640" y="723424"/>
                    </a:lnTo>
                    <a:lnTo>
                      <a:pt x="168783" y="724281"/>
                    </a:lnTo>
                    <a:lnTo>
                      <a:pt x="167926" y="724281"/>
                    </a:lnTo>
                    <a:lnTo>
                      <a:pt x="167926" y="725138"/>
                    </a:lnTo>
                    <a:lnTo>
                      <a:pt x="167069" y="725996"/>
                    </a:lnTo>
                    <a:lnTo>
                      <a:pt x="165354" y="725996"/>
                    </a:lnTo>
                    <a:lnTo>
                      <a:pt x="162782" y="725996"/>
                    </a:lnTo>
                    <a:lnTo>
                      <a:pt x="161925" y="726853"/>
                    </a:lnTo>
                    <a:lnTo>
                      <a:pt x="159353" y="731901"/>
                    </a:lnTo>
                    <a:lnTo>
                      <a:pt x="159353" y="733615"/>
                    </a:lnTo>
                    <a:lnTo>
                      <a:pt x="159353" y="745522"/>
                    </a:lnTo>
                    <a:lnTo>
                      <a:pt x="161068" y="743807"/>
                    </a:lnTo>
                    <a:lnTo>
                      <a:pt x="162782" y="744664"/>
                    </a:lnTo>
                    <a:lnTo>
                      <a:pt x="165354" y="745522"/>
                    </a:lnTo>
                    <a:lnTo>
                      <a:pt x="167069" y="747236"/>
                    </a:lnTo>
                    <a:lnTo>
                      <a:pt x="167926" y="749808"/>
                    </a:lnTo>
                    <a:lnTo>
                      <a:pt x="168783" y="753237"/>
                    </a:lnTo>
                    <a:lnTo>
                      <a:pt x="170498" y="754952"/>
                    </a:lnTo>
                    <a:lnTo>
                      <a:pt x="172212" y="754952"/>
                    </a:lnTo>
                    <a:lnTo>
                      <a:pt x="172212" y="756666"/>
                    </a:lnTo>
                    <a:lnTo>
                      <a:pt x="172212" y="757523"/>
                    </a:lnTo>
                    <a:lnTo>
                      <a:pt x="172212" y="758380"/>
                    </a:lnTo>
                    <a:lnTo>
                      <a:pt x="173927" y="759238"/>
                    </a:lnTo>
                    <a:lnTo>
                      <a:pt x="173069" y="760095"/>
                    </a:lnTo>
                    <a:lnTo>
                      <a:pt x="173069" y="760952"/>
                    </a:lnTo>
                    <a:lnTo>
                      <a:pt x="173927" y="762667"/>
                    </a:lnTo>
                    <a:lnTo>
                      <a:pt x="175641" y="763524"/>
                    </a:lnTo>
                    <a:lnTo>
                      <a:pt x="173927" y="765238"/>
                    </a:lnTo>
                    <a:lnTo>
                      <a:pt x="174784" y="766096"/>
                    </a:lnTo>
                    <a:lnTo>
                      <a:pt x="176498" y="766953"/>
                    </a:lnTo>
                    <a:lnTo>
                      <a:pt x="177355" y="767810"/>
                    </a:lnTo>
                    <a:lnTo>
                      <a:pt x="177355" y="770382"/>
                    </a:lnTo>
                    <a:lnTo>
                      <a:pt x="177355" y="772097"/>
                    </a:lnTo>
                    <a:lnTo>
                      <a:pt x="177355" y="773811"/>
                    </a:lnTo>
                    <a:lnTo>
                      <a:pt x="179927" y="774668"/>
                    </a:lnTo>
                    <a:lnTo>
                      <a:pt x="181642" y="770477"/>
                    </a:lnTo>
                    <a:lnTo>
                      <a:pt x="182499" y="768763"/>
                    </a:lnTo>
                    <a:lnTo>
                      <a:pt x="184213" y="768763"/>
                    </a:lnTo>
                    <a:lnTo>
                      <a:pt x="185071" y="768763"/>
                    </a:lnTo>
                    <a:lnTo>
                      <a:pt x="185928" y="768763"/>
                    </a:lnTo>
                    <a:lnTo>
                      <a:pt x="186785" y="768763"/>
                    </a:lnTo>
                    <a:lnTo>
                      <a:pt x="187643" y="767905"/>
                    </a:lnTo>
                    <a:lnTo>
                      <a:pt x="187643" y="767048"/>
                    </a:lnTo>
                    <a:lnTo>
                      <a:pt x="186785" y="766191"/>
                    </a:lnTo>
                    <a:lnTo>
                      <a:pt x="186785" y="765334"/>
                    </a:lnTo>
                    <a:lnTo>
                      <a:pt x="185928" y="764477"/>
                    </a:lnTo>
                    <a:lnTo>
                      <a:pt x="186785" y="760286"/>
                    </a:lnTo>
                    <a:lnTo>
                      <a:pt x="189357" y="754380"/>
                    </a:lnTo>
                    <a:lnTo>
                      <a:pt x="190214" y="751808"/>
                    </a:lnTo>
                    <a:lnTo>
                      <a:pt x="190214" y="745903"/>
                    </a:lnTo>
                    <a:lnTo>
                      <a:pt x="189357" y="743903"/>
                    </a:lnTo>
                    <a:lnTo>
                      <a:pt x="189357" y="743903"/>
                    </a:lnTo>
                    <a:lnTo>
                      <a:pt x="189357" y="743903"/>
                    </a:lnTo>
                    <a:close/>
                    <a:moveTo>
                      <a:pt x="164592" y="711708"/>
                    </a:moveTo>
                    <a:lnTo>
                      <a:pt x="166307" y="710851"/>
                    </a:lnTo>
                    <a:lnTo>
                      <a:pt x="168021" y="709136"/>
                    </a:lnTo>
                    <a:lnTo>
                      <a:pt x="168878" y="707422"/>
                    </a:lnTo>
                    <a:lnTo>
                      <a:pt x="168021" y="705707"/>
                    </a:lnTo>
                    <a:lnTo>
                      <a:pt x="167164" y="703993"/>
                    </a:lnTo>
                    <a:lnTo>
                      <a:pt x="166307" y="703136"/>
                    </a:lnTo>
                    <a:lnTo>
                      <a:pt x="164592" y="702278"/>
                    </a:lnTo>
                    <a:lnTo>
                      <a:pt x="164592" y="700564"/>
                    </a:lnTo>
                    <a:lnTo>
                      <a:pt x="164592" y="697135"/>
                    </a:lnTo>
                    <a:lnTo>
                      <a:pt x="162878" y="699706"/>
                    </a:lnTo>
                    <a:lnTo>
                      <a:pt x="162020" y="702278"/>
                    </a:lnTo>
                    <a:lnTo>
                      <a:pt x="161163" y="703993"/>
                    </a:lnTo>
                    <a:lnTo>
                      <a:pt x="157734" y="704850"/>
                    </a:lnTo>
                    <a:lnTo>
                      <a:pt x="156020" y="705707"/>
                    </a:lnTo>
                    <a:lnTo>
                      <a:pt x="155162" y="708279"/>
                    </a:lnTo>
                    <a:lnTo>
                      <a:pt x="154305" y="709994"/>
                    </a:lnTo>
                    <a:lnTo>
                      <a:pt x="152591" y="711708"/>
                    </a:lnTo>
                    <a:lnTo>
                      <a:pt x="155162" y="714280"/>
                    </a:lnTo>
                    <a:lnTo>
                      <a:pt x="155162" y="715137"/>
                    </a:lnTo>
                    <a:lnTo>
                      <a:pt x="156020" y="715994"/>
                    </a:lnTo>
                    <a:lnTo>
                      <a:pt x="156020" y="716852"/>
                    </a:lnTo>
                    <a:lnTo>
                      <a:pt x="156020" y="717709"/>
                    </a:lnTo>
                    <a:lnTo>
                      <a:pt x="156877" y="718566"/>
                    </a:lnTo>
                    <a:lnTo>
                      <a:pt x="158591" y="718566"/>
                    </a:lnTo>
                    <a:lnTo>
                      <a:pt x="162878" y="713518"/>
                    </a:lnTo>
                    <a:lnTo>
                      <a:pt x="164592" y="711708"/>
                    </a:lnTo>
                    <a:lnTo>
                      <a:pt x="164592" y="711708"/>
                    </a:lnTo>
                    <a:lnTo>
                      <a:pt x="164592" y="711708"/>
                    </a:lnTo>
                    <a:close/>
                    <a:moveTo>
                      <a:pt x="135636" y="640556"/>
                    </a:moveTo>
                    <a:lnTo>
                      <a:pt x="134779" y="640556"/>
                    </a:lnTo>
                    <a:lnTo>
                      <a:pt x="134779" y="640556"/>
                    </a:lnTo>
                    <a:lnTo>
                      <a:pt x="131350" y="639699"/>
                    </a:lnTo>
                    <a:lnTo>
                      <a:pt x="131350" y="638842"/>
                    </a:lnTo>
                    <a:lnTo>
                      <a:pt x="131350" y="636270"/>
                    </a:lnTo>
                    <a:lnTo>
                      <a:pt x="131350" y="635413"/>
                    </a:lnTo>
                    <a:lnTo>
                      <a:pt x="130493" y="634555"/>
                    </a:lnTo>
                    <a:lnTo>
                      <a:pt x="127921" y="633698"/>
                    </a:lnTo>
                    <a:lnTo>
                      <a:pt x="125349" y="634555"/>
                    </a:lnTo>
                    <a:lnTo>
                      <a:pt x="122777" y="635413"/>
                    </a:lnTo>
                    <a:lnTo>
                      <a:pt x="121920" y="637127"/>
                    </a:lnTo>
                    <a:lnTo>
                      <a:pt x="121063" y="641318"/>
                    </a:lnTo>
                    <a:lnTo>
                      <a:pt x="121063" y="642176"/>
                    </a:lnTo>
                    <a:lnTo>
                      <a:pt x="121920" y="643890"/>
                    </a:lnTo>
                    <a:lnTo>
                      <a:pt x="122777" y="643890"/>
                    </a:lnTo>
                    <a:lnTo>
                      <a:pt x="124492" y="643890"/>
                    </a:lnTo>
                    <a:lnTo>
                      <a:pt x="125349" y="643033"/>
                    </a:lnTo>
                    <a:lnTo>
                      <a:pt x="126206" y="643890"/>
                    </a:lnTo>
                    <a:lnTo>
                      <a:pt x="125349" y="645605"/>
                    </a:lnTo>
                    <a:lnTo>
                      <a:pt x="125349" y="646462"/>
                    </a:lnTo>
                    <a:lnTo>
                      <a:pt x="125349" y="648176"/>
                    </a:lnTo>
                    <a:lnTo>
                      <a:pt x="126206" y="649034"/>
                    </a:lnTo>
                    <a:lnTo>
                      <a:pt x="127921" y="649034"/>
                    </a:lnTo>
                    <a:lnTo>
                      <a:pt x="128778" y="649034"/>
                    </a:lnTo>
                    <a:lnTo>
                      <a:pt x="130493" y="648176"/>
                    </a:lnTo>
                    <a:lnTo>
                      <a:pt x="131350" y="648176"/>
                    </a:lnTo>
                    <a:lnTo>
                      <a:pt x="133064" y="648176"/>
                    </a:lnTo>
                    <a:lnTo>
                      <a:pt x="133921" y="648176"/>
                    </a:lnTo>
                    <a:lnTo>
                      <a:pt x="135636" y="649034"/>
                    </a:lnTo>
                    <a:lnTo>
                      <a:pt x="137351" y="649891"/>
                    </a:lnTo>
                    <a:lnTo>
                      <a:pt x="137351" y="650748"/>
                    </a:lnTo>
                    <a:lnTo>
                      <a:pt x="138208" y="649034"/>
                    </a:lnTo>
                    <a:lnTo>
                      <a:pt x="138208" y="647319"/>
                    </a:lnTo>
                    <a:lnTo>
                      <a:pt x="138208" y="645605"/>
                    </a:lnTo>
                    <a:lnTo>
                      <a:pt x="135636" y="640556"/>
                    </a:lnTo>
                    <a:lnTo>
                      <a:pt x="135636" y="640556"/>
                    </a:lnTo>
                    <a:lnTo>
                      <a:pt x="135636" y="640556"/>
                    </a:lnTo>
                    <a:close/>
                    <a:moveTo>
                      <a:pt x="150114" y="636270"/>
                    </a:moveTo>
                    <a:lnTo>
                      <a:pt x="149257" y="634555"/>
                    </a:lnTo>
                    <a:lnTo>
                      <a:pt x="148400" y="633698"/>
                    </a:lnTo>
                    <a:lnTo>
                      <a:pt x="147542" y="633698"/>
                    </a:lnTo>
                    <a:lnTo>
                      <a:pt x="146685" y="636270"/>
                    </a:lnTo>
                    <a:lnTo>
                      <a:pt x="144971" y="635413"/>
                    </a:lnTo>
                    <a:lnTo>
                      <a:pt x="144113" y="636270"/>
                    </a:lnTo>
                    <a:lnTo>
                      <a:pt x="144113" y="637985"/>
                    </a:lnTo>
                    <a:lnTo>
                      <a:pt x="144971" y="639699"/>
                    </a:lnTo>
                    <a:lnTo>
                      <a:pt x="150971" y="643890"/>
                    </a:lnTo>
                    <a:lnTo>
                      <a:pt x="150971" y="639699"/>
                    </a:lnTo>
                    <a:lnTo>
                      <a:pt x="150114" y="637127"/>
                    </a:lnTo>
                    <a:lnTo>
                      <a:pt x="150114" y="636270"/>
                    </a:lnTo>
                    <a:lnTo>
                      <a:pt x="150114" y="636270"/>
                    </a:lnTo>
                    <a:lnTo>
                      <a:pt x="150114" y="636270"/>
                    </a:lnTo>
                    <a:close/>
                    <a:moveTo>
                      <a:pt x="144113" y="632936"/>
                    </a:moveTo>
                    <a:lnTo>
                      <a:pt x="145828" y="632079"/>
                    </a:lnTo>
                    <a:lnTo>
                      <a:pt x="146685" y="632079"/>
                    </a:lnTo>
                    <a:lnTo>
                      <a:pt x="146685" y="630364"/>
                    </a:lnTo>
                    <a:lnTo>
                      <a:pt x="146685" y="629507"/>
                    </a:lnTo>
                    <a:lnTo>
                      <a:pt x="145828" y="625316"/>
                    </a:lnTo>
                    <a:lnTo>
                      <a:pt x="143256" y="621887"/>
                    </a:lnTo>
                    <a:lnTo>
                      <a:pt x="143256" y="619315"/>
                    </a:lnTo>
                    <a:lnTo>
                      <a:pt x="144113" y="617601"/>
                    </a:lnTo>
                    <a:lnTo>
                      <a:pt x="144971" y="615887"/>
                    </a:lnTo>
                    <a:lnTo>
                      <a:pt x="145828" y="614172"/>
                    </a:lnTo>
                    <a:lnTo>
                      <a:pt x="145828" y="612457"/>
                    </a:lnTo>
                    <a:lnTo>
                      <a:pt x="144971" y="610743"/>
                    </a:lnTo>
                    <a:lnTo>
                      <a:pt x="143256" y="610743"/>
                    </a:lnTo>
                    <a:lnTo>
                      <a:pt x="140684" y="611600"/>
                    </a:lnTo>
                    <a:lnTo>
                      <a:pt x="139827" y="612457"/>
                    </a:lnTo>
                    <a:lnTo>
                      <a:pt x="139827" y="613315"/>
                    </a:lnTo>
                    <a:lnTo>
                      <a:pt x="138970" y="615029"/>
                    </a:lnTo>
                    <a:lnTo>
                      <a:pt x="137255" y="616744"/>
                    </a:lnTo>
                    <a:lnTo>
                      <a:pt x="136398" y="617601"/>
                    </a:lnTo>
                    <a:lnTo>
                      <a:pt x="136398" y="618458"/>
                    </a:lnTo>
                    <a:lnTo>
                      <a:pt x="138113" y="626078"/>
                    </a:lnTo>
                    <a:lnTo>
                      <a:pt x="138970" y="627793"/>
                    </a:lnTo>
                    <a:lnTo>
                      <a:pt x="140684" y="628650"/>
                    </a:lnTo>
                    <a:lnTo>
                      <a:pt x="141542" y="628650"/>
                    </a:lnTo>
                    <a:lnTo>
                      <a:pt x="142399" y="626936"/>
                    </a:lnTo>
                    <a:lnTo>
                      <a:pt x="144113" y="627793"/>
                    </a:lnTo>
                    <a:lnTo>
                      <a:pt x="144971" y="628650"/>
                    </a:lnTo>
                    <a:lnTo>
                      <a:pt x="144113" y="629507"/>
                    </a:lnTo>
                    <a:lnTo>
                      <a:pt x="143256" y="628650"/>
                    </a:lnTo>
                    <a:lnTo>
                      <a:pt x="142399" y="628650"/>
                    </a:lnTo>
                    <a:lnTo>
                      <a:pt x="142399" y="630364"/>
                    </a:lnTo>
                    <a:lnTo>
                      <a:pt x="141542" y="631222"/>
                    </a:lnTo>
                    <a:lnTo>
                      <a:pt x="140684" y="631222"/>
                    </a:lnTo>
                    <a:lnTo>
                      <a:pt x="139827" y="632936"/>
                    </a:lnTo>
                    <a:lnTo>
                      <a:pt x="140684" y="635508"/>
                    </a:lnTo>
                    <a:lnTo>
                      <a:pt x="140684" y="637222"/>
                    </a:lnTo>
                    <a:lnTo>
                      <a:pt x="142399" y="636365"/>
                    </a:lnTo>
                    <a:lnTo>
                      <a:pt x="143256" y="633794"/>
                    </a:lnTo>
                    <a:lnTo>
                      <a:pt x="144113" y="632936"/>
                    </a:lnTo>
                    <a:lnTo>
                      <a:pt x="144113" y="632936"/>
                    </a:lnTo>
                    <a:lnTo>
                      <a:pt x="144113" y="632936"/>
                    </a:lnTo>
                    <a:lnTo>
                      <a:pt x="144113" y="632936"/>
                    </a:lnTo>
                    <a:close/>
                    <a:moveTo>
                      <a:pt x="104870" y="610838"/>
                    </a:moveTo>
                    <a:lnTo>
                      <a:pt x="102299" y="609124"/>
                    </a:lnTo>
                    <a:lnTo>
                      <a:pt x="99727" y="607409"/>
                    </a:lnTo>
                    <a:lnTo>
                      <a:pt x="98870" y="604838"/>
                    </a:lnTo>
                    <a:lnTo>
                      <a:pt x="98012" y="602266"/>
                    </a:lnTo>
                    <a:lnTo>
                      <a:pt x="98012" y="597218"/>
                    </a:lnTo>
                    <a:lnTo>
                      <a:pt x="98012" y="596360"/>
                    </a:lnTo>
                    <a:lnTo>
                      <a:pt x="96298" y="596360"/>
                    </a:lnTo>
                    <a:lnTo>
                      <a:pt x="94583" y="597218"/>
                    </a:lnTo>
                    <a:lnTo>
                      <a:pt x="94583" y="598075"/>
                    </a:lnTo>
                    <a:lnTo>
                      <a:pt x="93726" y="599789"/>
                    </a:lnTo>
                    <a:lnTo>
                      <a:pt x="93726" y="603218"/>
                    </a:lnTo>
                    <a:lnTo>
                      <a:pt x="94583" y="605790"/>
                    </a:lnTo>
                    <a:lnTo>
                      <a:pt x="96298" y="609219"/>
                    </a:lnTo>
                    <a:lnTo>
                      <a:pt x="98012" y="610934"/>
                    </a:lnTo>
                    <a:lnTo>
                      <a:pt x="100584" y="612648"/>
                    </a:lnTo>
                    <a:lnTo>
                      <a:pt x="104013" y="613505"/>
                    </a:lnTo>
                    <a:lnTo>
                      <a:pt x="105728" y="613505"/>
                    </a:lnTo>
                    <a:lnTo>
                      <a:pt x="106585" y="612648"/>
                    </a:lnTo>
                    <a:lnTo>
                      <a:pt x="106585" y="610934"/>
                    </a:lnTo>
                    <a:lnTo>
                      <a:pt x="104870" y="610934"/>
                    </a:lnTo>
                    <a:lnTo>
                      <a:pt x="104870" y="610838"/>
                    </a:lnTo>
                    <a:lnTo>
                      <a:pt x="104870" y="610838"/>
                    </a:lnTo>
                    <a:close/>
                    <a:moveTo>
                      <a:pt x="154400" y="579501"/>
                    </a:moveTo>
                    <a:lnTo>
                      <a:pt x="154400" y="581215"/>
                    </a:lnTo>
                    <a:lnTo>
                      <a:pt x="153543" y="585406"/>
                    </a:lnTo>
                    <a:lnTo>
                      <a:pt x="153543" y="587121"/>
                    </a:lnTo>
                    <a:lnTo>
                      <a:pt x="155258" y="587121"/>
                    </a:lnTo>
                    <a:lnTo>
                      <a:pt x="156115" y="585406"/>
                    </a:lnTo>
                    <a:lnTo>
                      <a:pt x="156972" y="582835"/>
                    </a:lnTo>
                    <a:lnTo>
                      <a:pt x="156972" y="581978"/>
                    </a:lnTo>
                    <a:lnTo>
                      <a:pt x="156972" y="579406"/>
                    </a:lnTo>
                    <a:lnTo>
                      <a:pt x="156115" y="577691"/>
                    </a:lnTo>
                    <a:lnTo>
                      <a:pt x="154400" y="575120"/>
                    </a:lnTo>
                    <a:lnTo>
                      <a:pt x="154400" y="572548"/>
                    </a:lnTo>
                    <a:lnTo>
                      <a:pt x="153543" y="573405"/>
                    </a:lnTo>
                    <a:lnTo>
                      <a:pt x="153543" y="575120"/>
                    </a:lnTo>
                    <a:lnTo>
                      <a:pt x="154400" y="579501"/>
                    </a:lnTo>
                    <a:lnTo>
                      <a:pt x="154400" y="579501"/>
                    </a:lnTo>
                    <a:lnTo>
                      <a:pt x="154400" y="579501"/>
                    </a:lnTo>
                    <a:close/>
                    <a:moveTo>
                      <a:pt x="64770" y="498157"/>
                    </a:moveTo>
                    <a:lnTo>
                      <a:pt x="61341" y="495586"/>
                    </a:lnTo>
                    <a:lnTo>
                      <a:pt x="60484" y="495586"/>
                    </a:lnTo>
                    <a:lnTo>
                      <a:pt x="59627" y="495586"/>
                    </a:lnTo>
                    <a:lnTo>
                      <a:pt x="59627" y="497396"/>
                    </a:lnTo>
                    <a:lnTo>
                      <a:pt x="58769" y="499110"/>
                    </a:lnTo>
                    <a:lnTo>
                      <a:pt x="57055" y="500824"/>
                    </a:lnTo>
                    <a:lnTo>
                      <a:pt x="55340" y="500824"/>
                    </a:lnTo>
                    <a:lnTo>
                      <a:pt x="54483" y="502539"/>
                    </a:lnTo>
                    <a:lnTo>
                      <a:pt x="55340" y="505111"/>
                    </a:lnTo>
                    <a:lnTo>
                      <a:pt x="56198" y="508540"/>
                    </a:lnTo>
                    <a:lnTo>
                      <a:pt x="57055" y="510254"/>
                    </a:lnTo>
                    <a:lnTo>
                      <a:pt x="64770" y="512826"/>
                    </a:lnTo>
                    <a:lnTo>
                      <a:pt x="68199" y="508635"/>
                    </a:lnTo>
                    <a:lnTo>
                      <a:pt x="68199" y="502730"/>
                    </a:lnTo>
                    <a:lnTo>
                      <a:pt x="66485" y="499301"/>
                    </a:lnTo>
                    <a:lnTo>
                      <a:pt x="64770" y="498157"/>
                    </a:lnTo>
                    <a:lnTo>
                      <a:pt x="64770" y="498157"/>
                    </a:lnTo>
                    <a:lnTo>
                      <a:pt x="64770" y="498157"/>
                    </a:lnTo>
                    <a:close/>
                    <a:moveTo>
                      <a:pt x="40958" y="327088"/>
                    </a:moveTo>
                    <a:lnTo>
                      <a:pt x="40958" y="325374"/>
                    </a:lnTo>
                    <a:lnTo>
                      <a:pt x="39243" y="321945"/>
                    </a:lnTo>
                    <a:lnTo>
                      <a:pt x="38386" y="318516"/>
                    </a:lnTo>
                    <a:lnTo>
                      <a:pt x="36671" y="315944"/>
                    </a:lnTo>
                    <a:lnTo>
                      <a:pt x="34957" y="313372"/>
                    </a:lnTo>
                    <a:lnTo>
                      <a:pt x="29813" y="314230"/>
                    </a:lnTo>
                    <a:lnTo>
                      <a:pt x="23813" y="318421"/>
                    </a:lnTo>
                    <a:lnTo>
                      <a:pt x="22955" y="320993"/>
                    </a:lnTo>
                    <a:lnTo>
                      <a:pt x="22098" y="323564"/>
                    </a:lnTo>
                    <a:lnTo>
                      <a:pt x="21241" y="325279"/>
                    </a:lnTo>
                    <a:lnTo>
                      <a:pt x="18669" y="326136"/>
                    </a:lnTo>
                    <a:lnTo>
                      <a:pt x="17812" y="325279"/>
                    </a:lnTo>
                    <a:lnTo>
                      <a:pt x="17812" y="326993"/>
                    </a:lnTo>
                    <a:lnTo>
                      <a:pt x="17812" y="329565"/>
                    </a:lnTo>
                    <a:lnTo>
                      <a:pt x="17812" y="332994"/>
                    </a:lnTo>
                    <a:lnTo>
                      <a:pt x="17812" y="338042"/>
                    </a:lnTo>
                    <a:lnTo>
                      <a:pt x="19526" y="339757"/>
                    </a:lnTo>
                    <a:lnTo>
                      <a:pt x="21241" y="341471"/>
                    </a:lnTo>
                    <a:lnTo>
                      <a:pt x="22098" y="343186"/>
                    </a:lnTo>
                    <a:lnTo>
                      <a:pt x="22098" y="345757"/>
                    </a:lnTo>
                    <a:lnTo>
                      <a:pt x="20384" y="349187"/>
                    </a:lnTo>
                    <a:lnTo>
                      <a:pt x="17812" y="353378"/>
                    </a:lnTo>
                    <a:lnTo>
                      <a:pt x="18669" y="354235"/>
                    </a:lnTo>
                    <a:lnTo>
                      <a:pt x="21241" y="354235"/>
                    </a:lnTo>
                    <a:lnTo>
                      <a:pt x="22955" y="352520"/>
                    </a:lnTo>
                    <a:lnTo>
                      <a:pt x="25527" y="352520"/>
                    </a:lnTo>
                    <a:lnTo>
                      <a:pt x="27242" y="354235"/>
                    </a:lnTo>
                    <a:lnTo>
                      <a:pt x="28956" y="355949"/>
                    </a:lnTo>
                    <a:lnTo>
                      <a:pt x="33242" y="356806"/>
                    </a:lnTo>
                    <a:lnTo>
                      <a:pt x="35814" y="355092"/>
                    </a:lnTo>
                    <a:lnTo>
                      <a:pt x="36671" y="352520"/>
                    </a:lnTo>
                    <a:lnTo>
                      <a:pt x="40100" y="348329"/>
                    </a:lnTo>
                    <a:lnTo>
                      <a:pt x="37529" y="347472"/>
                    </a:lnTo>
                    <a:lnTo>
                      <a:pt x="35814" y="347472"/>
                    </a:lnTo>
                    <a:lnTo>
                      <a:pt x="35814" y="344043"/>
                    </a:lnTo>
                    <a:lnTo>
                      <a:pt x="37529" y="342329"/>
                    </a:lnTo>
                    <a:lnTo>
                      <a:pt x="38386" y="341471"/>
                    </a:lnTo>
                    <a:lnTo>
                      <a:pt x="40100" y="340614"/>
                    </a:lnTo>
                    <a:lnTo>
                      <a:pt x="42672" y="337185"/>
                    </a:lnTo>
                    <a:lnTo>
                      <a:pt x="42672" y="333756"/>
                    </a:lnTo>
                    <a:lnTo>
                      <a:pt x="40958" y="331184"/>
                    </a:lnTo>
                    <a:lnTo>
                      <a:pt x="40958" y="327088"/>
                    </a:lnTo>
                    <a:lnTo>
                      <a:pt x="40958" y="327088"/>
                    </a:lnTo>
                    <a:lnTo>
                      <a:pt x="40958" y="327088"/>
                    </a:lnTo>
                    <a:close/>
                    <a:moveTo>
                      <a:pt x="52007" y="256794"/>
                    </a:moveTo>
                    <a:lnTo>
                      <a:pt x="51149" y="255079"/>
                    </a:lnTo>
                    <a:lnTo>
                      <a:pt x="51149" y="253365"/>
                    </a:lnTo>
                    <a:lnTo>
                      <a:pt x="52864" y="252508"/>
                    </a:lnTo>
                    <a:lnTo>
                      <a:pt x="53721" y="250793"/>
                    </a:lnTo>
                    <a:lnTo>
                      <a:pt x="52864" y="249079"/>
                    </a:lnTo>
                    <a:lnTo>
                      <a:pt x="51149" y="246507"/>
                    </a:lnTo>
                    <a:lnTo>
                      <a:pt x="48578" y="244793"/>
                    </a:lnTo>
                    <a:lnTo>
                      <a:pt x="46863" y="244793"/>
                    </a:lnTo>
                    <a:lnTo>
                      <a:pt x="46006" y="248221"/>
                    </a:lnTo>
                    <a:lnTo>
                      <a:pt x="46863" y="251651"/>
                    </a:lnTo>
                    <a:lnTo>
                      <a:pt x="46863" y="253365"/>
                    </a:lnTo>
                    <a:lnTo>
                      <a:pt x="46006" y="255079"/>
                    </a:lnTo>
                    <a:lnTo>
                      <a:pt x="45149" y="255079"/>
                    </a:lnTo>
                    <a:lnTo>
                      <a:pt x="43434" y="255937"/>
                    </a:lnTo>
                    <a:lnTo>
                      <a:pt x="42577" y="255937"/>
                    </a:lnTo>
                    <a:lnTo>
                      <a:pt x="42577" y="256794"/>
                    </a:lnTo>
                    <a:lnTo>
                      <a:pt x="41720" y="259366"/>
                    </a:lnTo>
                    <a:lnTo>
                      <a:pt x="43434" y="260223"/>
                    </a:lnTo>
                    <a:lnTo>
                      <a:pt x="43434" y="261080"/>
                    </a:lnTo>
                    <a:lnTo>
                      <a:pt x="45149" y="261080"/>
                    </a:lnTo>
                    <a:lnTo>
                      <a:pt x="46863" y="261938"/>
                    </a:lnTo>
                    <a:lnTo>
                      <a:pt x="47720" y="261938"/>
                    </a:lnTo>
                    <a:lnTo>
                      <a:pt x="50292" y="261080"/>
                    </a:lnTo>
                    <a:lnTo>
                      <a:pt x="52007" y="260223"/>
                    </a:lnTo>
                    <a:lnTo>
                      <a:pt x="53721" y="258509"/>
                    </a:lnTo>
                    <a:lnTo>
                      <a:pt x="53721" y="257651"/>
                    </a:lnTo>
                    <a:lnTo>
                      <a:pt x="52007" y="256794"/>
                    </a:lnTo>
                    <a:lnTo>
                      <a:pt x="52007" y="256794"/>
                    </a:lnTo>
                    <a:lnTo>
                      <a:pt x="52007" y="256794"/>
                    </a:lnTo>
                    <a:close/>
                    <a:moveTo>
                      <a:pt x="6001" y="235553"/>
                    </a:moveTo>
                    <a:lnTo>
                      <a:pt x="4286" y="235553"/>
                    </a:lnTo>
                    <a:lnTo>
                      <a:pt x="1715" y="234696"/>
                    </a:lnTo>
                    <a:lnTo>
                      <a:pt x="0" y="234696"/>
                    </a:lnTo>
                    <a:lnTo>
                      <a:pt x="0" y="235553"/>
                    </a:lnTo>
                    <a:lnTo>
                      <a:pt x="1715" y="237268"/>
                    </a:lnTo>
                    <a:lnTo>
                      <a:pt x="1715" y="241459"/>
                    </a:lnTo>
                    <a:lnTo>
                      <a:pt x="4286" y="242316"/>
                    </a:lnTo>
                    <a:lnTo>
                      <a:pt x="6001" y="242316"/>
                    </a:lnTo>
                    <a:lnTo>
                      <a:pt x="7715" y="240602"/>
                    </a:lnTo>
                    <a:lnTo>
                      <a:pt x="7715" y="238887"/>
                    </a:lnTo>
                    <a:lnTo>
                      <a:pt x="6858" y="236315"/>
                    </a:lnTo>
                    <a:lnTo>
                      <a:pt x="6001" y="235553"/>
                    </a:lnTo>
                    <a:lnTo>
                      <a:pt x="6001" y="235553"/>
                    </a:lnTo>
                    <a:lnTo>
                      <a:pt x="6001" y="235553"/>
                    </a:lnTo>
                    <a:close/>
                    <a:moveTo>
                      <a:pt x="92107" y="194881"/>
                    </a:moveTo>
                    <a:lnTo>
                      <a:pt x="92107" y="194024"/>
                    </a:lnTo>
                    <a:lnTo>
                      <a:pt x="91250" y="193167"/>
                    </a:lnTo>
                    <a:lnTo>
                      <a:pt x="89535" y="188119"/>
                    </a:lnTo>
                    <a:lnTo>
                      <a:pt x="89535" y="186404"/>
                    </a:lnTo>
                    <a:lnTo>
                      <a:pt x="88678" y="185547"/>
                    </a:lnTo>
                    <a:lnTo>
                      <a:pt x="85249" y="185547"/>
                    </a:lnTo>
                    <a:lnTo>
                      <a:pt x="84392" y="186404"/>
                    </a:lnTo>
                    <a:lnTo>
                      <a:pt x="81820" y="188976"/>
                    </a:lnTo>
                    <a:lnTo>
                      <a:pt x="80963" y="190690"/>
                    </a:lnTo>
                    <a:lnTo>
                      <a:pt x="81820" y="191548"/>
                    </a:lnTo>
                    <a:lnTo>
                      <a:pt x="83534" y="191548"/>
                    </a:lnTo>
                    <a:lnTo>
                      <a:pt x="84392" y="192405"/>
                    </a:lnTo>
                    <a:lnTo>
                      <a:pt x="85249" y="194120"/>
                    </a:lnTo>
                    <a:lnTo>
                      <a:pt x="86106" y="194977"/>
                    </a:lnTo>
                    <a:lnTo>
                      <a:pt x="86963" y="195834"/>
                    </a:lnTo>
                    <a:lnTo>
                      <a:pt x="88678" y="195834"/>
                    </a:lnTo>
                    <a:lnTo>
                      <a:pt x="89535" y="196691"/>
                    </a:lnTo>
                    <a:lnTo>
                      <a:pt x="90392" y="197548"/>
                    </a:lnTo>
                    <a:lnTo>
                      <a:pt x="91250" y="199263"/>
                    </a:lnTo>
                    <a:lnTo>
                      <a:pt x="92107" y="200978"/>
                    </a:lnTo>
                    <a:lnTo>
                      <a:pt x="94679" y="200978"/>
                    </a:lnTo>
                    <a:lnTo>
                      <a:pt x="92107" y="194881"/>
                    </a:lnTo>
                    <a:lnTo>
                      <a:pt x="92107" y="194881"/>
                    </a:lnTo>
                    <a:lnTo>
                      <a:pt x="92107" y="194881"/>
                    </a:lnTo>
                    <a:close/>
                    <a:moveTo>
                      <a:pt x="94679" y="168688"/>
                    </a:moveTo>
                    <a:lnTo>
                      <a:pt x="93821" y="170402"/>
                    </a:lnTo>
                    <a:lnTo>
                      <a:pt x="93821" y="172117"/>
                    </a:lnTo>
                    <a:lnTo>
                      <a:pt x="93821" y="173831"/>
                    </a:lnTo>
                    <a:lnTo>
                      <a:pt x="94679" y="175546"/>
                    </a:lnTo>
                    <a:lnTo>
                      <a:pt x="95536" y="177260"/>
                    </a:lnTo>
                    <a:lnTo>
                      <a:pt x="96393" y="178975"/>
                    </a:lnTo>
                    <a:lnTo>
                      <a:pt x="97250" y="179832"/>
                    </a:lnTo>
                    <a:lnTo>
                      <a:pt x="98965" y="178118"/>
                    </a:lnTo>
                    <a:lnTo>
                      <a:pt x="98108" y="176403"/>
                    </a:lnTo>
                    <a:lnTo>
                      <a:pt x="98108" y="172974"/>
                    </a:lnTo>
                    <a:lnTo>
                      <a:pt x="98108" y="172117"/>
                    </a:lnTo>
                    <a:lnTo>
                      <a:pt x="98965" y="169545"/>
                    </a:lnTo>
                    <a:lnTo>
                      <a:pt x="98965" y="168688"/>
                    </a:lnTo>
                    <a:lnTo>
                      <a:pt x="98965" y="168688"/>
                    </a:lnTo>
                    <a:lnTo>
                      <a:pt x="98965" y="168688"/>
                    </a:lnTo>
                    <a:lnTo>
                      <a:pt x="98108" y="166973"/>
                    </a:lnTo>
                    <a:lnTo>
                      <a:pt x="97250" y="166116"/>
                    </a:lnTo>
                    <a:lnTo>
                      <a:pt x="96393" y="166116"/>
                    </a:lnTo>
                    <a:lnTo>
                      <a:pt x="95536" y="166973"/>
                    </a:lnTo>
                    <a:lnTo>
                      <a:pt x="94679" y="168688"/>
                    </a:lnTo>
                    <a:lnTo>
                      <a:pt x="94679" y="168688"/>
                    </a:lnTo>
                    <a:lnTo>
                      <a:pt x="94679" y="168688"/>
                    </a:lnTo>
                    <a:close/>
                    <a:moveTo>
                      <a:pt x="184213" y="159353"/>
                    </a:moveTo>
                    <a:lnTo>
                      <a:pt x="182499" y="157639"/>
                    </a:lnTo>
                    <a:lnTo>
                      <a:pt x="181642" y="159353"/>
                    </a:lnTo>
                    <a:lnTo>
                      <a:pt x="181642" y="160211"/>
                    </a:lnTo>
                    <a:lnTo>
                      <a:pt x="184213" y="159353"/>
                    </a:lnTo>
                    <a:lnTo>
                      <a:pt x="184213" y="159353"/>
                    </a:lnTo>
                    <a:lnTo>
                      <a:pt x="184213" y="159353"/>
                    </a:lnTo>
                    <a:close/>
                    <a:moveTo>
                      <a:pt x="52864" y="99155"/>
                    </a:moveTo>
                    <a:lnTo>
                      <a:pt x="53721" y="98298"/>
                    </a:lnTo>
                    <a:lnTo>
                      <a:pt x="52864" y="96584"/>
                    </a:lnTo>
                    <a:lnTo>
                      <a:pt x="53721" y="94869"/>
                    </a:lnTo>
                    <a:lnTo>
                      <a:pt x="53721" y="94869"/>
                    </a:lnTo>
                    <a:lnTo>
                      <a:pt x="55436" y="92297"/>
                    </a:lnTo>
                    <a:lnTo>
                      <a:pt x="56293" y="91440"/>
                    </a:lnTo>
                    <a:lnTo>
                      <a:pt x="57150" y="88868"/>
                    </a:lnTo>
                    <a:lnTo>
                      <a:pt x="57150" y="82963"/>
                    </a:lnTo>
                    <a:lnTo>
                      <a:pt x="58007" y="81248"/>
                    </a:lnTo>
                    <a:lnTo>
                      <a:pt x="57150" y="80391"/>
                    </a:lnTo>
                    <a:lnTo>
                      <a:pt x="57150" y="79534"/>
                    </a:lnTo>
                    <a:lnTo>
                      <a:pt x="57150" y="78677"/>
                    </a:lnTo>
                    <a:lnTo>
                      <a:pt x="56293" y="78677"/>
                    </a:lnTo>
                    <a:lnTo>
                      <a:pt x="55436" y="77819"/>
                    </a:lnTo>
                    <a:lnTo>
                      <a:pt x="54578" y="77819"/>
                    </a:lnTo>
                    <a:lnTo>
                      <a:pt x="53721" y="78677"/>
                    </a:lnTo>
                    <a:lnTo>
                      <a:pt x="52864" y="79534"/>
                    </a:lnTo>
                    <a:lnTo>
                      <a:pt x="52007" y="81248"/>
                    </a:lnTo>
                    <a:lnTo>
                      <a:pt x="52007" y="82963"/>
                    </a:lnTo>
                    <a:lnTo>
                      <a:pt x="51149" y="89726"/>
                    </a:lnTo>
                    <a:lnTo>
                      <a:pt x="50292" y="90583"/>
                    </a:lnTo>
                    <a:lnTo>
                      <a:pt x="50292" y="92297"/>
                    </a:lnTo>
                    <a:lnTo>
                      <a:pt x="52007" y="99917"/>
                    </a:lnTo>
                    <a:lnTo>
                      <a:pt x="52864" y="99155"/>
                    </a:lnTo>
                    <a:lnTo>
                      <a:pt x="52864" y="99155"/>
                    </a:lnTo>
                    <a:lnTo>
                      <a:pt x="52864" y="99155"/>
                    </a:lnTo>
                    <a:close/>
                    <a:moveTo>
                      <a:pt x="229457" y="27146"/>
                    </a:moveTo>
                    <a:lnTo>
                      <a:pt x="227743" y="28861"/>
                    </a:lnTo>
                    <a:lnTo>
                      <a:pt x="228600" y="29718"/>
                    </a:lnTo>
                    <a:lnTo>
                      <a:pt x="230315" y="29718"/>
                    </a:lnTo>
                    <a:lnTo>
                      <a:pt x="229457" y="27146"/>
                    </a:lnTo>
                    <a:lnTo>
                      <a:pt x="229457" y="27146"/>
                    </a:lnTo>
                    <a:lnTo>
                      <a:pt x="229457" y="27146"/>
                    </a:lnTo>
                    <a:close/>
                    <a:moveTo>
                      <a:pt x="82772" y="138113"/>
                    </a:moveTo>
                    <a:lnTo>
                      <a:pt x="83629" y="137255"/>
                    </a:lnTo>
                    <a:lnTo>
                      <a:pt x="81915" y="135541"/>
                    </a:lnTo>
                    <a:lnTo>
                      <a:pt x="83629" y="134684"/>
                    </a:lnTo>
                    <a:lnTo>
                      <a:pt x="85344" y="132969"/>
                    </a:lnTo>
                    <a:lnTo>
                      <a:pt x="86201" y="131254"/>
                    </a:lnTo>
                    <a:lnTo>
                      <a:pt x="86201" y="125349"/>
                    </a:lnTo>
                    <a:lnTo>
                      <a:pt x="86201" y="122777"/>
                    </a:lnTo>
                    <a:lnTo>
                      <a:pt x="84487" y="118586"/>
                    </a:lnTo>
                    <a:lnTo>
                      <a:pt x="84487" y="116014"/>
                    </a:lnTo>
                    <a:lnTo>
                      <a:pt x="86201" y="110966"/>
                    </a:lnTo>
                    <a:lnTo>
                      <a:pt x="86201" y="108395"/>
                    </a:lnTo>
                    <a:lnTo>
                      <a:pt x="85344" y="105823"/>
                    </a:lnTo>
                    <a:lnTo>
                      <a:pt x="84487" y="103251"/>
                    </a:lnTo>
                    <a:lnTo>
                      <a:pt x="81915" y="101537"/>
                    </a:lnTo>
                    <a:lnTo>
                      <a:pt x="83629" y="98965"/>
                    </a:lnTo>
                    <a:lnTo>
                      <a:pt x="83629" y="96393"/>
                    </a:lnTo>
                    <a:lnTo>
                      <a:pt x="82772" y="93821"/>
                    </a:lnTo>
                    <a:lnTo>
                      <a:pt x="83629" y="92107"/>
                    </a:lnTo>
                    <a:lnTo>
                      <a:pt x="80201" y="89535"/>
                    </a:lnTo>
                    <a:lnTo>
                      <a:pt x="79343" y="88678"/>
                    </a:lnTo>
                    <a:lnTo>
                      <a:pt x="79343" y="88678"/>
                    </a:lnTo>
                    <a:lnTo>
                      <a:pt x="79343" y="87821"/>
                    </a:lnTo>
                    <a:lnTo>
                      <a:pt x="78486" y="86106"/>
                    </a:lnTo>
                    <a:lnTo>
                      <a:pt x="77629" y="85249"/>
                    </a:lnTo>
                    <a:lnTo>
                      <a:pt x="76771" y="87821"/>
                    </a:lnTo>
                    <a:lnTo>
                      <a:pt x="75914" y="87821"/>
                    </a:lnTo>
                    <a:lnTo>
                      <a:pt x="74200" y="87821"/>
                    </a:lnTo>
                    <a:lnTo>
                      <a:pt x="73343" y="86963"/>
                    </a:lnTo>
                    <a:lnTo>
                      <a:pt x="73343" y="86106"/>
                    </a:lnTo>
                    <a:lnTo>
                      <a:pt x="73343" y="85249"/>
                    </a:lnTo>
                    <a:lnTo>
                      <a:pt x="74200" y="84392"/>
                    </a:lnTo>
                    <a:lnTo>
                      <a:pt x="75914" y="79343"/>
                    </a:lnTo>
                    <a:lnTo>
                      <a:pt x="76771" y="78486"/>
                    </a:lnTo>
                    <a:lnTo>
                      <a:pt x="77629" y="78486"/>
                    </a:lnTo>
                    <a:lnTo>
                      <a:pt x="79343" y="78486"/>
                    </a:lnTo>
                    <a:lnTo>
                      <a:pt x="80201" y="79343"/>
                    </a:lnTo>
                    <a:lnTo>
                      <a:pt x="80201" y="81915"/>
                    </a:lnTo>
                    <a:lnTo>
                      <a:pt x="81058" y="81915"/>
                    </a:lnTo>
                    <a:lnTo>
                      <a:pt x="81915" y="80201"/>
                    </a:lnTo>
                    <a:lnTo>
                      <a:pt x="81915" y="78486"/>
                    </a:lnTo>
                    <a:lnTo>
                      <a:pt x="81915" y="77629"/>
                    </a:lnTo>
                    <a:lnTo>
                      <a:pt x="79343" y="75057"/>
                    </a:lnTo>
                    <a:lnTo>
                      <a:pt x="79343" y="73343"/>
                    </a:lnTo>
                    <a:lnTo>
                      <a:pt x="79343" y="70771"/>
                    </a:lnTo>
                    <a:lnTo>
                      <a:pt x="80201" y="69056"/>
                    </a:lnTo>
                    <a:lnTo>
                      <a:pt x="81915" y="69056"/>
                    </a:lnTo>
                    <a:lnTo>
                      <a:pt x="81915" y="67342"/>
                    </a:lnTo>
                    <a:lnTo>
                      <a:pt x="83629" y="67342"/>
                    </a:lnTo>
                    <a:lnTo>
                      <a:pt x="83629" y="68199"/>
                    </a:lnTo>
                    <a:lnTo>
                      <a:pt x="82772" y="70771"/>
                    </a:lnTo>
                    <a:lnTo>
                      <a:pt x="83629" y="72485"/>
                    </a:lnTo>
                    <a:lnTo>
                      <a:pt x="83629" y="73343"/>
                    </a:lnTo>
                    <a:lnTo>
                      <a:pt x="85344" y="73343"/>
                    </a:lnTo>
                    <a:lnTo>
                      <a:pt x="85344" y="72485"/>
                    </a:lnTo>
                    <a:lnTo>
                      <a:pt x="86201" y="71628"/>
                    </a:lnTo>
                    <a:lnTo>
                      <a:pt x="87059" y="71628"/>
                    </a:lnTo>
                    <a:lnTo>
                      <a:pt x="89630" y="72485"/>
                    </a:lnTo>
                    <a:lnTo>
                      <a:pt x="91345" y="69913"/>
                    </a:lnTo>
                    <a:lnTo>
                      <a:pt x="92202" y="64865"/>
                    </a:lnTo>
                    <a:lnTo>
                      <a:pt x="93059" y="61436"/>
                    </a:lnTo>
                    <a:lnTo>
                      <a:pt x="93059" y="54673"/>
                    </a:lnTo>
                    <a:lnTo>
                      <a:pt x="93917" y="51245"/>
                    </a:lnTo>
                    <a:lnTo>
                      <a:pt x="96488" y="47054"/>
                    </a:lnTo>
                    <a:lnTo>
                      <a:pt x="95631" y="46196"/>
                    </a:lnTo>
                    <a:lnTo>
                      <a:pt x="93059" y="44482"/>
                    </a:lnTo>
                    <a:lnTo>
                      <a:pt x="91345" y="41910"/>
                    </a:lnTo>
                    <a:lnTo>
                      <a:pt x="89630" y="41053"/>
                    </a:lnTo>
                    <a:lnTo>
                      <a:pt x="87916" y="41053"/>
                    </a:lnTo>
                    <a:lnTo>
                      <a:pt x="86201" y="41053"/>
                    </a:lnTo>
                    <a:lnTo>
                      <a:pt x="85344" y="39338"/>
                    </a:lnTo>
                    <a:lnTo>
                      <a:pt x="84487" y="37624"/>
                    </a:lnTo>
                    <a:lnTo>
                      <a:pt x="85344" y="36767"/>
                    </a:lnTo>
                    <a:lnTo>
                      <a:pt x="87059" y="35909"/>
                    </a:lnTo>
                    <a:lnTo>
                      <a:pt x="87916" y="37624"/>
                    </a:lnTo>
                    <a:lnTo>
                      <a:pt x="87916" y="39338"/>
                    </a:lnTo>
                    <a:lnTo>
                      <a:pt x="88773" y="38481"/>
                    </a:lnTo>
                    <a:lnTo>
                      <a:pt x="90488" y="37624"/>
                    </a:lnTo>
                    <a:lnTo>
                      <a:pt x="92202" y="35909"/>
                    </a:lnTo>
                    <a:lnTo>
                      <a:pt x="93059" y="35052"/>
                    </a:lnTo>
                    <a:lnTo>
                      <a:pt x="93917" y="33338"/>
                    </a:lnTo>
                    <a:lnTo>
                      <a:pt x="95631" y="31623"/>
                    </a:lnTo>
                    <a:lnTo>
                      <a:pt x="96488" y="29909"/>
                    </a:lnTo>
                    <a:lnTo>
                      <a:pt x="95631" y="29909"/>
                    </a:lnTo>
                    <a:lnTo>
                      <a:pt x="94774" y="29909"/>
                    </a:lnTo>
                    <a:lnTo>
                      <a:pt x="93917" y="30766"/>
                    </a:lnTo>
                    <a:lnTo>
                      <a:pt x="93059" y="23146"/>
                    </a:lnTo>
                    <a:lnTo>
                      <a:pt x="93059" y="19717"/>
                    </a:lnTo>
                    <a:lnTo>
                      <a:pt x="94774" y="15526"/>
                    </a:lnTo>
                    <a:lnTo>
                      <a:pt x="93059" y="12097"/>
                    </a:lnTo>
                    <a:lnTo>
                      <a:pt x="92202" y="12097"/>
                    </a:lnTo>
                    <a:lnTo>
                      <a:pt x="90488" y="12097"/>
                    </a:lnTo>
                    <a:lnTo>
                      <a:pt x="89630" y="12097"/>
                    </a:lnTo>
                    <a:lnTo>
                      <a:pt x="88773" y="12097"/>
                    </a:lnTo>
                    <a:lnTo>
                      <a:pt x="88773" y="11239"/>
                    </a:lnTo>
                    <a:lnTo>
                      <a:pt x="87916" y="12097"/>
                    </a:lnTo>
                    <a:lnTo>
                      <a:pt x="87916" y="12954"/>
                    </a:lnTo>
                    <a:lnTo>
                      <a:pt x="87916" y="13811"/>
                    </a:lnTo>
                    <a:lnTo>
                      <a:pt x="88773" y="14669"/>
                    </a:lnTo>
                    <a:lnTo>
                      <a:pt x="87916" y="14669"/>
                    </a:lnTo>
                    <a:lnTo>
                      <a:pt x="87059" y="14669"/>
                    </a:lnTo>
                    <a:lnTo>
                      <a:pt x="86201" y="14669"/>
                    </a:lnTo>
                    <a:lnTo>
                      <a:pt x="85344" y="13811"/>
                    </a:lnTo>
                    <a:lnTo>
                      <a:pt x="84487" y="13811"/>
                    </a:lnTo>
                    <a:lnTo>
                      <a:pt x="82772" y="14669"/>
                    </a:lnTo>
                    <a:lnTo>
                      <a:pt x="81058" y="14669"/>
                    </a:lnTo>
                    <a:lnTo>
                      <a:pt x="81058" y="15526"/>
                    </a:lnTo>
                    <a:lnTo>
                      <a:pt x="81058" y="18097"/>
                    </a:lnTo>
                    <a:lnTo>
                      <a:pt x="81058" y="18955"/>
                    </a:lnTo>
                    <a:lnTo>
                      <a:pt x="80201" y="19812"/>
                    </a:lnTo>
                    <a:lnTo>
                      <a:pt x="77629" y="23241"/>
                    </a:lnTo>
                    <a:lnTo>
                      <a:pt x="76771" y="24098"/>
                    </a:lnTo>
                    <a:lnTo>
                      <a:pt x="75914" y="24098"/>
                    </a:lnTo>
                    <a:lnTo>
                      <a:pt x="75057" y="24955"/>
                    </a:lnTo>
                    <a:lnTo>
                      <a:pt x="75057" y="25813"/>
                    </a:lnTo>
                    <a:lnTo>
                      <a:pt x="75914" y="29242"/>
                    </a:lnTo>
                    <a:lnTo>
                      <a:pt x="75057" y="30099"/>
                    </a:lnTo>
                    <a:lnTo>
                      <a:pt x="75057" y="30956"/>
                    </a:lnTo>
                    <a:lnTo>
                      <a:pt x="74200" y="31813"/>
                    </a:lnTo>
                    <a:lnTo>
                      <a:pt x="69913" y="37719"/>
                    </a:lnTo>
                    <a:lnTo>
                      <a:pt x="69056" y="40291"/>
                    </a:lnTo>
                    <a:lnTo>
                      <a:pt x="70771" y="42005"/>
                    </a:lnTo>
                    <a:lnTo>
                      <a:pt x="70771" y="42005"/>
                    </a:lnTo>
                    <a:lnTo>
                      <a:pt x="69913" y="43720"/>
                    </a:lnTo>
                    <a:lnTo>
                      <a:pt x="71628" y="48768"/>
                    </a:lnTo>
                    <a:lnTo>
                      <a:pt x="71628" y="50482"/>
                    </a:lnTo>
                    <a:lnTo>
                      <a:pt x="69913" y="51340"/>
                    </a:lnTo>
                    <a:lnTo>
                      <a:pt x="69056" y="53054"/>
                    </a:lnTo>
                    <a:lnTo>
                      <a:pt x="69913" y="55626"/>
                    </a:lnTo>
                    <a:lnTo>
                      <a:pt x="68199" y="57340"/>
                    </a:lnTo>
                    <a:lnTo>
                      <a:pt x="69056" y="58198"/>
                    </a:lnTo>
                    <a:lnTo>
                      <a:pt x="70771" y="59912"/>
                    </a:lnTo>
                    <a:lnTo>
                      <a:pt x="70771" y="59912"/>
                    </a:lnTo>
                    <a:lnTo>
                      <a:pt x="70771" y="60770"/>
                    </a:lnTo>
                    <a:lnTo>
                      <a:pt x="69913" y="61627"/>
                    </a:lnTo>
                    <a:lnTo>
                      <a:pt x="68199" y="65056"/>
                    </a:lnTo>
                    <a:lnTo>
                      <a:pt x="65627" y="71819"/>
                    </a:lnTo>
                    <a:lnTo>
                      <a:pt x="65627" y="74390"/>
                    </a:lnTo>
                    <a:lnTo>
                      <a:pt x="68199" y="76105"/>
                    </a:lnTo>
                    <a:lnTo>
                      <a:pt x="69056" y="76962"/>
                    </a:lnTo>
                    <a:lnTo>
                      <a:pt x="68199" y="78677"/>
                    </a:lnTo>
                    <a:lnTo>
                      <a:pt x="66485" y="81248"/>
                    </a:lnTo>
                    <a:lnTo>
                      <a:pt x="66485" y="87154"/>
                    </a:lnTo>
                    <a:lnTo>
                      <a:pt x="65627" y="89726"/>
                    </a:lnTo>
                    <a:lnTo>
                      <a:pt x="64770" y="93154"/>
                    </a:lnTo>
                    <a:lnTo>
                      <a:pt x="63055" y="94869"/>
                    </a:lnTo>
                    <a:lnTo>
                      <a:pt x="60484" y="94012"/>
                    </a:lnTo>
                    <a:lnTo>
                      <a:pt x="60484" y="95726"/>
                    </a:lnTo>
                    <a:lnTo>
                      <a:pt x="58769" y="96584"/>
                    </a:lnTo>
                    <a:lnTo>
                      <a:pt x="57912" y="97441"/>
                    </a:lnTo>
                    <a:lnTo>
                      <a:pt x="57912" y="98298"/>
                    </a:lnTo>
                    <a:lnTo>
                      <a:pt x="58769" y="104204"/>
                    </a:lnTo>
                    <a:lnTo>
                      <a:pt x="58769" y="111823"/>
                    </a:lnTo>
                    <a:lnTo>
                      <a:pt x="59627" y="113538"/>
                    </a:lnTo>
                    <a:lnTo>
                      <a:pt x="61341" y="114395"/>
                    </a:lnTo>
                    <a:lnTo>
                      <a:pt x="62198" y="114395"/>
                    </a:lnTo>
                    <a:lnTo>
                      <a:pt x="63055" y="115253"/>
                    </a:lnTo>
                    <a:lnTo>
                      <a:pt x="62198" y="116110"/>
                    </a:lnTo>
                    <a:lnTo>
                      <a:pt x="62198" y="116110"/>
                    </a:lnTo>
                    <a:lnTo>
                      <a:pt x="60484" y="116110"/>
                    </a:lnTo>
                    <a:lnTo>
                      <a:pt x="59627" y="116967"/>
                    </a:lnTo>
                    <a:lnTo>
                      <a:pt x="59627" y="116967"/>
                    </a:lnTo>
                    <a:lnTo>
                      <a:pt x="58769" y="118681"/>
                    </a:lnTo>
                    <a:lnTo>
                      <a:pt x="57055" y="120396"/>
                    </a:lnTo>
                    <a:lnTo>
                      <a:pt x="56198" y="122111"/>
                    </a:lnTo>
                    <a:lnTo>
                      <a:pt x="55340" y="149257"/>
                    </a:lnTo>
                    <a:lnTo>
                      <a:pt x="56198" y="151829"/>
                    </a:lnTo>
                    <a:lnTo>
                      <a:pt x="57055" y="154400"/>
                    </a:lnTo>
                    <a:lnTo>
                      <a:pt x="59627" y="155257"/>
                    </a:lnTo>
                    <a:lnTo>
                      <a:pt x="62198" y="155257"/>
                    </a:lnTo>
                    <a:lnTo>
                      <a:pt x="63055" y="155257"/>
                    </a:lnTo>
                    <a:lnTo>
                      <a:pt x="63913" y="156115"/>
                    </a:lnTo>
                    <a:lnTo>
                      <a:pt x="63913" y="157829"/>
                    </a:lnTo>
                    <a:lnTo>
                      <a:pt x="63913" y="158687"/>
                    </a:lnTo>
                    <a:lnTo>
                      <a:pt x="63055" y="158687"/>
                    </a:lnTo>
                    <a:lnTo>
                      <a:pt x="60484" y="158687"/>
                    </a:lnTo>
                    <a:lnTo>
                      <a:pt x="60484" y="158687"/>
                    </a:lnTo>
                    <a:lnTo>
                      <a:pt x="60484" y="158687"/>
                    </a:lnTo>
                    <a:lnTo>
                      <a:pt x="60484" y="159544"/>
                    </a:lnTo>
                    <a:lnTo>
                      <a:pt x="60484" y="160401"/>
                    </a:lnTo>
                    <a:lnTo>
                      <a:pt x="61341" y="161258"/>
                    </a:lnTo>
                    <a:lnTo>
                      <a:pt x="62198" y="161258"/>
                    </a:lnTo>
                    <a:lnTo>
                      <a:pt x="63055" y="162115"/>
                    </a:lnTo>
                    <a:lnTo>
                      <a:pt x="63913" y="166306"/>
                    </a:lnTo>
                    <a:lnTo>
                      <a:pt x="63913" y="168021"/>
                    </a:lnTo>
                    <a:lnTo>
                      <a:pt x="63055" y="168878"/>
                    </a:lnTo>
                    <a:lnTo>
                      <a:pt x="60484" y="169736"/>
                    </a:lnTo>
                    <a:lnTo>
                      <a:pt x="60484" y="169736"/>
                    </a:lnTo>
                    <a:lnTo>
                      <a:pt x="57912" y="169736"/>
                    </a:lnTo>
                    <a:lnTo>
                      <a:pt x="57912" y="169736"/>
                    </a:lnTo>
                    <a:lnTo>
                      <a:pt x="57912" y="169736"/>
                    </a:lnTo>
                    <a:lnTo>
                      <a:pt x="57055" y="170593"/>
                    </a:lnTo>
                    <a:lnTo>
                      <a:pt x="57055" y="170593"/>
                    </a:lnTo>
                    <a:lnTo>
                      <a:pt x="56198" y="169736"/>
                    </a:lnTo>
                    <a:lnTo>
                      <a:pt x="56198" y="168878"/>
                    </a:lnTo>
                    <a:lnTo>
                      <a:pt x="56198" y="166306"/>
                    </a:lnTo>
                    <a:lnTo>
                      <a:pt x="56198" y="164592"/>
                    </a:lnTo>
                    <a:lnTo>
                      <a:pt x="55340" y="163735"/>
                    </a:lnTo>
                    <a:lnTo>
                      <a:pt x="54483" y="164592"/>
                    </a:lnTo>
                    <a:lnTo>
                      <a:pt x="53626" y="166306"/>
                    </a:lnTo>
                    <a:lnTo>
                      <a:pt x="52769" y="166306"/>
                    </a:lnTo>
                    <a:lnTo>
                      <a:pt x="51911" y="164592"/>
                    </a:lnTo>
                    <a:lnTo>
                      <a:pt x="50197" y="167164"/>
                    </a:lnTo>
                    <a:lnTo>
                      <a:pt x="47625" y="172212"/>
                    </a:lnTo>
                    <a:lnTo>
                      <a:pt x="46768" y="174784"/>
                    </a:lnTo>
                    <a:lnTo>
                      <a:pt x="46768" y="185833"/>
                    </a:lnTo>
                    <a:lnTo>
                      <a:pt x="46768" y="186690"/>
                    </a:lnTo>
                    <a:lnTo>
                      <a:pt x="45053" y="189262"/>
                    </a:lnTo>
                    <a:lnTo>
                      <a:pt x="45053" y="190976"/>
                    </a:lnTo>
                    <a:lnTo>
                      <a:pt x="45053" y="192691"/>
                    </a:lnTo>
                    <a:lnTo>
                      <a:pt x="45911" y="194405"/>
                    </a:lnTo>
                    <a:lnTo>
                      <a:pt x="45911" y="196120"/>
                    </a:lnTo>
                    <a:lnTo>
                      <a:pt x="45053" y="197834"/>
                    </a:lnTo>
                    <a:lnTo>
                      <a:pt x="45053" y="203740"/>
                    </a:lnTo>
                    <a:lnTo>
                      <a:pt x="44196" y="204597"/>
                    </a:lnTo>
                    <a:lnTo>
                      <a:pt x="43339" y="204597"/>
                    </a:lnTo>
                    <a:lnTo>
                      <a:pt x="43339" y="202882"/>
                    </a:lnTo>
                    <a:lnTo>
                      <a:pt x="44196" y="201168"/>
                    </a:lnTo>
                    <a:lnTo>
                      <a:pt x="42482" y="202025"/>
                    </a:lnTo>
                    <a:lnTo>
                      <a:pt x="41624" y="201168"/>
                    </a:lnTo>
                    <a:lnTo>
                      <a:pt x="41624" y="200311"/>
                    </a:lnTo>
                    <a:lnTo>
                      <a:pt x="39910" y="197739"/>
                    </a:lnTo>
                    <a:lnTo>
                      <a:pt x="39053" y="197739"/>
                    </a:lnTo>
                    <a:lnTo>
                      <a:pt x="38195" y="197739"/>
                    </a:lnTo>
                    <a:lnTo>
                      <a:pt x="35624" y="201930"/>
                    </a:lnTo>
                    <a:lnTo>
                      <a:pt x="34766" y="205359"/>
                    </a:lnTo>
                    <a:lnTo>
                      <a:pt x="34766" y="205359"/>
                    </a:lnTo>
                    <a:lnTo>
                      <a:pt x="34766" y="205359"/>
                    </a:lnTo>
                    <a:lnTo>
                      <a:pt x="33909" y="205359"/>
                    </a:lnTo>
                    <a:lnTo>
                      <a:pt x="33909" y="206216"/>
                    </a:lnTo>
                    <a:lnTo>
                      <a:pt x="34766" y="207073"/>
                    </a:lnTo>
                    <a:lnTo>
                      <a:pt x="34766" y="207073"/>
                    </a:lnTo>
                    <a:lnTo>
                      <a:pt x="34766" y="207073"/>
                    </a:lnTo>
                    <a:lnTo>
                      <a:pt x="36481" y="207931"/>
                    </a:lnTo>
                    <a:lnTo>
                      <a:pt x="37338" y="207931"/>
                    </a:lnTo>
                    <a:lnTo>
                      <a:pt x="38195" y="208788"/>
                    </a:lnTo>
                    <a:lnTo>
                      <a:pt x="39053" y="209645"/>
                    </a:lnTo>
                    <a:lnTo>
                      <a:pt x="39053" y="213836"/>
                    </a:lnTo>
                    <a:lnTo>
                      <a:pt x="38195" y="218885"/>
                    </a:lnTo>
                    <a:lnTo>
                      <a:pt x="38195" y="220599"/>
                    </a:lnTo>
                    <a:lnTo>
                      <a:pt x="39910" y="222313"/>
                    </a:lnTo>
                    <a:lnTo>
                      <a:pt x="40767" y="221456"/>
                    </a:lnTo>
                    <a:lnTo>
                      <a:pt x="42482" y="221456"/>
                    </a:lnTo>
                    <a:lnTo>
                      <a:pt x="43339" y="221456"/>
                    </a:lnTo>
                    <a:lnTo>
                      <a:pt x="43339" y="223171"/>
                    </a:lnTo>
                    <a:lnTo>
                      <a:pt x="43339" y="224028"/>
                    </a:lnTo>
                    <a:lnTo>
                      <a:pt x="44196" y="226600"/>
                    </a:lnTo>
                    <a:lnTo>
                      <a:pt x="44196" y="227457"/>
                    </a:lnTo>
                    <a:lnTo>
                      <a:pt x="45053" y="229171"/>
                    </a:lnTo>
                    <a:lnTo>
                      <a:pt x="45911" y="229171"/>
                    </a:lnTo>
                    <a:lnTo>
                      <a:pt x="47625" y="230029"/>
                    </a:lnTo>
                    <a:lnTo>
                      <a:pt x="47625" y="230886"/>
                    </a:lnTo>
                    <a:lnTo>
                      <a:pt x="47625" y="231743"/>
                    </a:lnTo>
                    <a:lnTo>
                      <a:pt x="46768" y="231743"/>
                    </a:lnTo>
                    <a:lnTo>
                      <a:pt x="45911" y="231743"/>
                    </a:lnTo>
                    <a:lnTo>
                      <a:pt x="45053" y="232601"/>
                    </a:lnTo>
                    <a:lnTo>
                      <a:pt x="45053" y="234315"/>
                    </a:lnTo>
                    <a:lnTo>
                      <a:pt x="45053" y="235172"/>
                    </a:lnTo>
                    <a:lnTo>
                      <a:pt x="45911" y="236887"/>
                    </a:lnTo>
                    <a:lnTo>
                      <a:pt x="47625" y="237744"/>
                    </a:lnTo>
                    <a:lnTo>
                      <a:pt x="48482" y="237744"/>
                    </a:lnTo>
                    <a:lnTo>
                      <a:pt x="48482" y="238601"/>
                    </a:lnTo>
                    <a:lnTo>
                      <a:pt x="48482" y="240316"/>
                    </a:lnTo>
                    <a:lnTo>
                      <a:pt x="49340" y="241173"/>
                    </a:lnTo>
                    <a:lnTo>
                      <a:pt x="52769" y="244602"/>
                    </a:lnTo>
                    <a:lnTo>
                      <a:pt x="53626" y="244602"/>
                    </a:lnTo>
                    <a:lnTo>
                      <a:pt x="54483" y="244602"/>
                    </a:lnTo>
                    <a:lnTo>
                      <a:pt x="55340" y="245459"/>
                    </a:lnTo>
                    <a:lnTo>
                      <a:pt x="55340" y="247174"/>
                    </a:lnTo>
                    <a:lnTo>
                      <a:pt x="57055" y="245459"/>
                    </a:lnTo>
                    <a:lnTo>
                      <a:pt x="57912" y="243745"/>
                    </a:lnTo>
                    <a:lnTo>
                      <a:pt x="58769" y="239554"/>
                    </a:lnTo>
                    <a:lnTo>
                      <a:pt x="58769" y="236125"/>
                    </a:lnTo>
                    <a:lnTo>
                      <a:pt x="58769" y="235268"/>
                    </a:lnTo>
                    <a:lnTo>
                      <a:pt x="60484" y="233553"/>
                    </a:lnTo>
                    <a:lnTo>
                      <a:pt x="60484" y="232696"/>
                    </a:lnTo>
                    <a:lnTo>
                      <a:pt x="60484" y="231838"/>
                    </a:lnTo>
                    <a:lnTo>
                      <a:pt x="60484" y="227647"/>
                    </a:lnTo>
                    <a:lnTo>
                      <a:pt x="60484" y="226790"/>
                    </a:lnTo>
                    <a:lnTo>
                      <a:pt x="58769" y="225933"/>
                    </a:lnTo>
                    <a:lnTo>
                      <a:pt x="57912" y="225933"/>
                    </a:lnTo>
                    <a:lnTo>
                      <a:pt x="57055" y="226790"/>
                    </a:lnTo>
                    <a:lnTo>
                      <a:pt x="57055" y="229362"/>
                    </a:lnTo>
                    <a:lnTo>
                      <a:pt x="57055" y="228505"/>
                    </a:lnTo>
                    <a:lnTo>
                      <a:pt x="55340" y="228505"/>
                    </a:lnTo>
                    <a:lnTo>
                      <a:pt x="54483" y="228505"/>
                    </a:lnTo>
                    <a:lnTo>
                      <a:pt x="54483" y="232696"/>
                    </a:lnTo>
                    <a:lnTo>
                      <a:pt x="54483" y="233553"/>
                    </a:lnTo>
                    <a:lnTo>
                      <a:pt x="53626" y="233553"/>
                    </a:lnTo>
                    <a:lnTo>
                      <a:pt x="51911" y="233553"/>
                    </a:lnTo>
                    <a:lnTo>
                      <a:pt x="51911" y="233553"/>
                    </a:lnTo>
                    <a:lnTo>
                      <a:pt x="51911" y="230981"/>
                    </a:lnTo>
                    <a:lnTo>
                      <a:pt x="51911" y="229267"/>
                    </a:lnTo>
                    <a:lnTo>
                      <a:pt x="52769" y="228410"/>
                    </a:lnTo>
                    <a:lnTo>
                      <a:pt x="56198" y="224219"/>
                    </a:lnTo>
                    <a:lnTo>
                      <a:pt x="57912" y="224219"/>
                    </a:lnTo>
                    <a:lnTo>
                      <a:pt x="59627" y="223361"/>
                    </a:lnTo>
                    <a:lnTo>
                      <a:pt x="60484" y="222504"/>
                    </a:lnTo>
                    <a:lnTo>
                      <a:pt x="64770" y="204692"/>
                    </a:lnTo>
                    <a:lnTo>
                      <a:pt x="64770" y="201263"/>
                    </a:lnTo>
                    <a:lnTo>
                      <a:pt x="64770" y="198692"/>
                    </a:lnTo>
                    <a:lnTo>
                      <a:pt x="63913" y="196977"/>
                    </a:lnTo>
                    <a:lnTo>
                      <a:pt x="62198" y="196977"/>
                    </a:lnTo>
                    <a:lnTo>
                      <a:pt x="60484" y="196977"/>
                    </a:lnTo>
                    <a:lnTo>
                      <a:pt x="59627" y="197834"/>
                    </a:lnTo>
                    <a:lnTo>
                      <a:pt x="58769" y="199549"/>
                    </a:lnTo>
                    <a:lnTo>
                      <a:pt x="58769" y="203740"/>
                    </a:lnTo>
                    <a:lnTo>
                      <a:pt x="57912" y="203740"/>
                    </a:lnTo>
                    <a:lnTo>
                      <a:pt x="57912" y="194405"/>
                    </a:lnTo>
                    <a:lnTo>
                      <a:pt x="57912" y="191834"/>
                    </a:lnTo>
                    <a:lnTo>
                      <a:pt x="58769" y="190119"/>
                    </a:lnTo>
                    <a:lnTo>
                      <a:pt x="60484" y="187547"/>
                    </a:lnTo>
                    <a:lnTo>
                      <a:pt x="60484" y="187547"/>
                    </a:lnTo>
                    <a:lnTo>
                      <a:pt x="60484" y="186690"/>
                    </a:lnTo>
                    <a:lnTo>
                      <a:pt x="61341" y="185833"/>
                    </a:lnTo>
                    <a:lnTo>
                      <a:pt x="63055" y="185833"/>
                    </a:lnTo>
                    <a:lnTo>
                      <a:pt x="63913" y="185833"/>
                    </a:lnTo>
                    <a:lnTo>
                      <a:pt x="61341" y="183261"/>
                    </a:lnTo>
                    <a:lnTo>
                      <a:pt x="59627" y="181546"/>
                    </a:lnTo>
                    <a:lnTo>
                      <a:pt x="61341" y="179832"/>
                    </a:lnTo>
                    <a:lnTo>
                      <a:pt x="63055" y="179832"/>
                    </a:lnTo>
                    <a:lnTo>
                      <a:pt x="64770" y="179832"/>
                    </a:lnTo>
                    <a:lnTo>
                      <a:pt x="65627" y="178975"/>
                    </a:lnTo>
                    <a:lnTo>
                      <a:pt x="65627" y="178118"/>
                    </a:lnTo>
                    <a:lnTo>
                      <a:pt x="67342" y="176403"/>
                    </a:lnTo>
                    <a:lnTo>
                      <a:pt x="68199" y="176403"/>
                    </a:lnTo>
                    <a:lnTo>
                      <a:pt x="68199" y="175546"/>
                    </a:lnTo>
                    <a:lnTo>
                      <a:pt x="68199" y="173831"/>
                    </a:lnTo>
                    <a:lnTo>
                      <a:pt x="69913" y="172117"/>
                    </a:lnTo>
                    <a:lnTo>
                      <a:pt x="71628" y="170402"/>
                    </a:lnTo>
                    <a:lnTo>
                      <a:pt x="73343" y="168688"/>
                    </a:lnTo>
                    <a:lnTo>
                      <a:pt x="73343" y="166973"/>
                    </a:lnTo>
                    <a:lnTo>
                      <a:pt x="75057" y="166973"/>
                    </a:lnTo>
                    <a:lnTo>
                      <a:pt x="75057" y="166116"/>
                    </a:lnTo>
                    <a:lnTo>
                      <a:pt x="75057" y="165259"/>
                    </a:lnTo>
                    <a:lnTo>
                      <a:pt x="75057" y="164402"/>
                    </a:lnTo>
                    <a:lnTo>
                      <a:pt x="74200" y="163544"/>
                    </a:lnTo>
                    <a:lnTo>
                      <a:pt x="74200" y="161830"/>
                    </a:lnTo>
                    <a:lnTo>
                      <a:pt x="74200" y="160972"/>
                    </a:lnTo>
                    <a:lnTo>
                      <a:pt x="75914" y="160115"/>
                    </a:lnTo>
                    <a:lnTo>
                      <a:pt x="75914" y="159258"/>
                    </a:lnTo>
                    <a:lnTo>
                      <a:pt x="75914" y="157544"/>
                    </a:lnTo>
                    <a:lnTo>
                      <a:pt x="75057" y="156686"/>
                    </a:lnTo>
                    <a:lnTo>
                      <a:pt x="74200" y="156686"/>
                    </a:lnTo>
                    <a:lnTo>
                      <a:pt x="74200" y="154972"/>
                    </a:lnTo>
                    <a:lnTo>
                      <a:pt x="73343" y="154114"/>
                    </a:lnTo>
                    <a:lnTo>
                      <a:pt x="74200" y="154114"/>
                    </a:lnTo>
                    <a:lnTo>
                      <a:pt x="74200" y="154114"/>
                    </a:lnTo>
                    <a:lnTo>
                      <a:pt x="75057" y="153257"/>
                    </a:lnTo>
                    <a:lnTo>
                      <a:pt x="76771" y="152400"/>
                    </a:lnTo>
                    <a:lnTo>
                      <a:pt x="77629" y="151543"/>
                    </a:lnTo>
                    <a:lnTo>
                      <a:pt x="77629" y="151543"/>
                    </a:lnTo>
                    <a:lnTo>
                      <a:pt x="75914" y="150686"/>
                    </a:lnTo>
                    <a:lnTo>
                      <a:pt x="75914" y="148971"/>
                    </a:lnTo>
                    <a:lnTo>
                      <a:pt x="75057" y="148114"/>
                    </a:lnTo>
                    <a:lnTo>
                      <a:pt x="74200" y="147256"/>
                    </a:lnTo>
                    <a:lnTo>
                      <a:pt x="72485" y="146399"/>
                    </a:lnTo>
                    <a:lnTo>
                      <a:pt x="71628" y="146399"/>
                    </a:lnTo>
                    <a:lnTo>
                      <a:pt x="70771" y="142208"/>
                    </a:lnTo>
                    <a:lnTo>
                      <a:pt x="69913" y="141351"/>
                    </a:lnTo>
                    <a:lnTo>
                      <a:pt x="69913" y="140494"/>
                    </a:lnTo>
                    <a:lnTo>
                      <a:pt x="73343" y="141351"/>
                    </a:lnTo>
                    <a:lnTo>
                      <a:pt x="75914" y="140494"/>
                    </a:lnTo>
                    <a:lnTo>
                      <a:pt x="75914" y="138779"/>
                    </a:lnTo>
                    <a:lnTo>
                      <a:pt x="75057" y="137922"/>
                    </a:lnTo>
                    <a:lnTo>
                      <a:pt x="76771" y="138779"/>
                    </a:lnTo>
                    <a:lnTo>
                      <a:pt x="77629" y="139637"/>
                    </a:lnTo>
                    <a:lnTo>
                      <a:pt x="78486" y="141351"/>
                    </a:lnTo>
                    <a:lnTo>
                      <a:pt x="79343" y="142208"/>
                    </a:lnTo>
                    <a:lnTo>
                      <a:pt x="80201" y="142208"/>
                    </a:lnTo>
                    <a:lnTo>
                      <a:pt x="80201" y="139637"/>
                    </a:lnTo>
                    <a:lnTo>
                      <a:pt x="81058" y="138779"/>
                    </a:lnTo>
                    <a:lnTo>
                      <a:pt x="82772" y="138113"/>
                    </a:lnTo>
                    <a:lnTo>
                      <a:pt x="82772" y="138113"/>
                    </a:lnTo>
                    <a:lnTo>
                      <a:pt x="82772" y="138113"/>
                    </a:lnTo>
                    <a:close/>
                    <a:moveTo>
                      <a:pt x="89535" y="3429"/>
                    </a:moveTo>
                    <a:lnTo>
                      <a:pt x="92964" y="5144"/>
                    </a:lnTo>
                    <a:lnTo>
                      <a:pt x="92107" y="2572"/>
                    </a:lnTo>
                    <a:lnTo>
                      <a:pt x="91250" y="1714"/>
                    </a:lnTo>
                    <a:lnTo>
                      <a:pt x="90392" y="0"/>
                    </a:lnTo>
                    <a:lnTo>
                      <a:pt x="89535" y="0"/>
                    </a:lnTo>
                    <a:lnTo>
                      <a:pt x="86106" y="1714"/>
                    </a:lnTo>
                    <a:lnTo>
                      <a:pt x="86963" y="2572"/>
                    </a:lnTo>
                    <a:lnTo>
                      <a:pt x="89535" y="3429"/>
                    </a:lnTo>
                    <a:lnTo>
                      <a:pt x="89535" y="3429"/>
                    </a:lnTo>
                    <a:lnTo>
                      <a:pt x="89535" y="3429"/>
                    </a:lnTo>
                    <a:close/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57" name="Freeform: Shape 161">
                <a:extLst>
                  <a:ext uri="{FF2B5EF4-FFF2-40B4-BE49-F238E27FC236}">
                    <a16:creationId xmlns:a16="http://schemas.microsoft.com/office/drawing/2014/main" id="{1ABD9B88-4DCB-4ABA-8514-D134C2FE8750}"/>
                  </a:ext>
                </a:extLst>
              </p:cNvPr>
              <p:cNvSpPr/>
              <p:nvPr/>
            </p:nvSpPr>
            <p:spPr>
              <a:xfrm>
                <a:off x="4811744" y="4732994"/>
                <a:ext cx="9525" cy="9525"/>
              </a:xfrm>
              <a:custGeom>
                <a:avLst/>
                <a:gdLst>
                  <a:gd name="connsiteX0" fmla="*/ 0 w 0"/>
                  <a:gd name="connsiteY0" fmla="*/ 835 h 0"/>
                  <a:gd name="connsiteX1" fmla="*/ 3429 w 0"/>
                  <a:gd name="connsiteY1" fmla="*/ 1217 h 0"/>
                  <a:gd name="connsiteX2" fmla="*/ 3143 w 0"/>
                  <a:gd name="connsiteY2" fmla="*/ 1026 h 0"/>
                  <a:gd name="connsiteX3" fmla="*/ 4382 w 0"/>
                  <a:gd name="connsiteY3" fmla="*/ 3502 h 0"/>
                  <a:gd name="connsiteX4" fmla="*/ 0 w 0"/>
                  <a:gd name="connsiteY4" fmla="*/ 835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>
                    <a:moveTo>
                      <a:pt x="0" y="835"/>
                    </a:moveTo>
                    <a:cubicBezTo>
                      <a:pt x="0" y="-879"/>
                      <a:pt x="2477" y="455"/>
                      <a:pt x="3429" y="1217"/>
                    </a:cubicBezTo>
                    <a:cubicBezTo>
                      <a:pt x="3143" y="1026"/>
                      <a:pt x="3143" y="1026"/>
                      <a:pt x="3143" y="1026"/>
                    </a:cubicBezTo>
                    <a:cubicBezTo>
                      <a:pt x="4096" y="1883"/>
                      <a:pt x="4382" y="2550"/>
                      <a:pt x="4382" y="3502"/>
                    </a:cubicBezTo>
                    <a:cubicBezTo>
                      <a:pt x="2762" y="2741"/>
                      <a:pt x="0" y="2074"/>
                      <a:pt x="0" y="835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58" name="Freeform: Shape 162">
                <a:extLst>
                  <a:ext uri="{FF2B5EF4-FFF2-40B4-BE49-F238E27FC236}">
                    <a16:creationId xmlns:a16="http://schemas.microsoft.com/office/drawing/2014/main" id="{C4CDE12F-73BD-4DEE-8F15-C78ECEB79A97}"/>
                  </a:ext>
                </a:extLst>
              </p:cNvPr>
              <p:cNvSpPr/>
              <p:nvPr/>
            </p:nvSpPr>
            <p:spPr>
              <a:xfrm>
                <a:off x="4811744" y="4732994"/>
                <a:ext cx="9525" cy="9525"/>
              </a:xfrm>
              <a:custGeom>
                <a:avLst/>
                <a:gdLst>
                  <a:gd name="connsiteX0" fmla="*/ 0 w 0"/>
                  <a:gd name="connsiteY0" fmla="*/ 835 h 0"/>
                  <a:gd name="connsiteX1" fmla="*/ 3429 w 0"/>
                  <a:gd name="connsiteY1" fmla="*/ 1217 h 0"/>
                  <a:gd name="connsiteX2" fmla="*/ 3143 w 0"/>
                  <a:gd name="connsiteY2" fmla="*/ 1026 h 0"/>
                  <a:gd name="connsiteX3" fmla="*/ 4382 w 0"/>
                  <a:gd name="connsiteY3" fmla="*/ 3502 h 0"/>
                  <a:gd name="connsiteX4" fmla="*/ 0 w 0"/>
                  <a:gd name="connsiteY4" fmla="*/ 835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>
                    <a:moveTo>
                      <a:pt x="0" y="835"/>
                    </a:moveTo>
                    <a:cubicBezTo>
                      <a:pt x="0" y="-879"/>
                      <a:pt x="2477" y="455"/>
                      <a:pt x="3429" y="1217"/>
                    </a:cubicBezTo>
                    <a:cubicBezTo>
                      <a:pt x="3143" y="1026"/>
                      <a:pt x="3143" y="1026"/>
                      <a:pt x="3143" y="1026"/>
                    </a:cubicBezTo>
                    <a:cubicBezTo>
                      <a:pt x="4096" y="1883"/>
                      <a:pt x="4382" y="2550"/>
                      <a:pt x="4382" y="3502"/>
                    </a:cubicBezTo>
                    <a:cubicBezTo>
                      <a:pt x="2762" y="2741"/>
                      <a:pt x="0" y="2074"/>
                      <a:pt x="0" y="835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59" name="Freeform: Shape 163">
                <a:extLst>
                  <a:ext uri="{FF2B5EF4-FFF2-40B4-BE49-F238E27FC236}">
                    <a16:creationId xmlns:a16="http://schemas.microsoft.com/office/drawing/2014/main" id="{129A6411-EBC1-4F66-BD96-01BBCABC4B00}"/>
                  </a:ext>
                </a:extLst>
              </p:cNvPr>
              <p:cNvSpPr/>
              <p:nvPr/>
            </p:nvSpPr>
            <p:spPr>
              <a:xfrm>
                <a:off x="4829705" y="4707239"/>
                <a:ext cx="9525" cy="9525"/>
              </a:xfrm>
              <a:custGeom>
                <a:avLst/>
                <a:gdLst>
                  <a:gd name="connsiteX0" fmla="*/ 7566 w 0"/>
                  <a:gd name="connsiteY0" fmla="*/ 6779 h 0"/>
                  <a:gd name="connsiteX1" fmla="*/ 41 w 0"/>
                  <a:gd name="connsiteY1" fmla="*/ 1350 h 0"/>
                  <a:gd name="connsiteX2" fmla="*/ 8137 w 0"/>
                  <a:gd name="connsiteY2" fmla="*/ 2588 h 0"/>
                  <a:gd name="connsiteX3" fmla="*/ 7566 w 0"/>
                  <a:gd name="connsiteY3" fmla="*/ 6779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>
                    <a:moveTo>
                      <a:pt x="7566" y="6779"/>
                    </a:moveTo>
                    <a:cubicBezTo>
                      <a:pt x="4994" y="7541"/>
                      <a:pt x="-530" y="3255"/>
                      <a:pt x="41" y="1350"/>
                    </a:cubicBezTo>
                    <a:cubicBezTo>
                      <a:pt x="1184" y="-1127"/>
                      <a:pt x="7566" y="112"/>
                      <a:pt x="8137" y="2588"/>
                    </a:cubicBezTo>
                    <a:cubicBezTo>
                      <a:pt x="8137" y="4112"/>
                      <a:pt x="8137" y="5541"/>
                      <a:pt x="7566" y="6779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60" name="Freeform: Shape 164">
                <a:extLst>
                  <a:ext uri="{FF2B5EF4-FFF2-40B4-BE49-F238E27FC236}">
                    <a16:creationId xmlns:a16="http://schemas.microsoft.com/office/drawing/2014/main" id="{70C01433-384D-4CB0-95EE-18BA4C7F6804}"/>
                  </a:ext>
                </a:extLst>
              </p:cNvPr>
              <p:cNvSpPr/>
              <p:nvPr/>
            </p:nvSpPr>
            <p:spPr>
              <a:xfrm>
                <a:off x="4829705" y="4707239"/>
                <a:ext cx="9525" cy="9525"/>
              </a:xfrm>
              <a:custGeom>
                <a:avLst/>
                <a:gdLst>
                  <a:gd name="connsiteX0" fmla="*/ 7566 w 0"/>
                  <a:gd name="connsiteY0" fmla="*/ 6779 h 0"/>
                  <a:gd name="connsiteX1" fmla="*/ 41 w 0"/>
                  <a:gd name="connsiteY1" fmla="*/ 1350 h 0"/>
                  <a:gd name="connsiteX2" fmla="*/ 8137 w 0"/>
                  <a:gd name="connsiteY2" fmla="*/ 2588 h 0"/>
                  <a:gd name="connsiteX3" fmla="*/ 7566 w 0"/>
                  <a:gd name="connsiteY3" fmla="*/ 6779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>
                    <a:moveTo>
                      <a:pt x="7566" y="6779"/>
                    </a:moveTo>
                    <a:cubicBezTo>
                      <a:pt x="4994" y="7541"/>
                      <a:pt x="-530" y="3255"/>
                      <a:pt x="41" y="1350"/>
                    </a:cubicBezTo>
                    <a:cubicBezTo>
                      <a:pt x="1184" y="-1127"/>
                      <a:pt x="7566" y="112"/>
                      <a:pt x="8137" y="2588"/>
                    </a:cubicBezTo>
                    <a:cubicBezTo>
                      <a:pt x="8137" y="4112"/>
                      <a:pt x="8137" y="5541"/>
                      <a:pt x="7566" y="6779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61" name="Freeform: Shape 165">
                <a:extLst>
                  <a:ext uri="{FF2B5EF4-FFF2-40B4-BE49-F238E27FC236}">
                    <a16:creationId xmlns:a16="http://schemas.microsoft.com/office/drawing/2014/main" id="{64952CC3-CF21-4AC3-A4CD-F1020FA274C4}"/>
                  </a:ext>
                </a:extLst>
              </p:cNvPr>
              <p:cNvSpPr/>
              <p:nvPr/>
            </p:nvSpPr>
            <p:spPr>
              <a:xfrm>
                <a:off x="4842129" y="4653915"/>
                <a:ext cx="9525" cy="9525"/>
              </a:xfrm>
              <a:custGeom>
                <a:avLst/>
                <a:gdLst>
                  <a:gd name="connsiteX0" fmla="*/ 0 w 0"/>
                  <a:gd name="connsiteY0" fmla="*/ 4000 h 0"/>
                  <a:gd name="connsiteX1" fmla="*/ 1715 w 0"/>
                  <a:gd name="connsiteY1" fmla="*/ 0 h 0"/>
                  <a:gd name="connsiteX2" fmla="*/ 1333 w 0"/>
                  <a:gd name="connsiteY2" fmla="*/ 1810 h 0"/>
                  <a:gd name="connsiteX3" fmla="*/ 4381 w 0"/>
                  <a:gd name="connsiteY3" fmla="*/ 4000 h 0"/>
                  <a:gd name="connsiteX4" fmla="*/ 0 w 0"/>
                  <a:gd name="connsiteY4" fmla="*/ 400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>
                    <a:moveTo>
                      <a:pt x="0" y="4000"/>
                    </a:moveTo>
                    <a:cubicBezTo>
                      <a:pt x="0" y="2191"/>
                      <a:pt x="1048" y="1429"/>
                      <a:pt x="1715" y="0"/>
                    </a:cubicBezTo>
                    <a:cubicBezTo>
                      <a:pt x="1333" y="1810"/>
                      <a:pt x="1333" y="1810"/>
                      <a:pt x="1333" y="1810"/>
                    </a:cubicBezTo>
                    <a:cubicBezTo>
                      <a:pt x="2381" y="2572"/>
                      <a:pt x="3715" y="2572"/>
                      <a:pt x="4381" y="4000"/>
                    </a:cubicBezTo>
                    <a:cubicBezTo>
                      <a:pt x="3048" y="4381"/>
                      <a:pt x="1429" y="4000"/>
                      <a:pt x="0" y="4000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62" name="Freeform: Shape 166">
                <a:extLst>
                  <a:ext uri="{FF2B5EF4-FFF2-40B4-BE49-F238E27FC236}">
                    <a16:creationId xmlns:a16="http://schemas.microsoft.com/office/drawing/2014/main" id="{B2A5E19F-9F87-4B7E-96A1-D1872EA921CC}"/>
                  </a:ext>
                </a:extLst>
              </p:cNvPr>
              <p:cNvSpPr/>
              <p:nvPr/>
            </p:nvSpPr>
            <p:spPr>
              <a:xfrm>
                <a:off x="4842129" y="4653915"/>
                <a:ext cx="9525" cy="9525"/>
              </a:xfrm>
              <a:custGeom>
                <a:avLst/>
                <a:gdLst>
                  <a:gd name="connsiteX0" fmla="*/ 0 w 0"/>
                  <a:gd name="connsiteY0" fmla="*/ 4000 h 0"/>
                  <a:gd name="connsiteX1" fmla="*/ 1715 w 0"/>
                  <a:gd name="connsiteY1" fmla="*/ 0 h 0"/>
                  <a:gd name="connsiteX2" fmla="*/ 1333 w 0"/>
                  <a:gd name="connsiteY2" fmla="*/ 1810 h 0"/>
                  <a:gd name="connsiteX3" fmla="*/ 4381 w 0"/>
                  <a:gd name="connsiteY3" fmla="*/ 4000 h 0"/>
                  <a:gd name="connsiteX4" fmla="*/ 0 w 0"/>
                  <a:gd name="connsiteY4" fmla="*/ 400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>
                    <a:moveTo>
                      <a:pt x="0" y="4000"/>
                    </a:moveTo>
                    <a:cubicBezTo>
                      <a:pt x="0" y="2191"/>
                      <a:pt x="1048" y="1429"/>
                      <a:pt x="1715" y="0"/>
                    </a:cubicBezTo>
                    <a:cubicBezTo>
                      <a:pt x="1333" y="1810"/>
                      <a:pt x="1333" y="1810"/>
                      <a:pt x="1333" y="1810"/>
                    </a:cubicBezTo>
                    <a:cubicBezTo>
                      <a:pt x="2381" y="2572"/>
                      <a:pt x="3715" y="2572"/>
                      <a:pt x="4381" y="4000"/>
                    </a:cubicBezTo>
                    <a:cubicBezTo>
                      <a:pt x="3048" y="4381"/>
                      <a:pt x="1429" y="4000"/>
                      <a:pt x="0" y="4000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63" name="Freeform: Shape 167">
                <a:extLst>
                  <a:ext uri="{FF2B5EF4-FFF2-40B4-BE49-F238E27FC236}">
                    <a16:creationId xmlns:a16="http://schemas.microsoft.com/office/drawing/2014/main" id="{96335893-DA4E-450A-8822-E9E1F9F86542}"/>
                  </a:ext>
                </a:extLst>
              </p:cNvPr>
              <p:cNvSpPr/>
              <p:nvPr/>
            </p:nvSpPr>
            <p:spPr>
              <a:xfrm>
                <a:off x="4846851" y="4662583"/>
                <a:ext cx="9525" cy="9525"/>
              </a:xfrm>
              <a:custGeom>
                <a:avLst/>
                <a:gdLst>
                  <a:gd name="connsiteX0" fmla="*/ 230 w 0"/>
                  <a:gd name="connsiteY0" fmla="*/ 4381 h 0"/>
                  <a:gd name="connsiteX1" fmla="*/ 1087 w 0"/>
                  <a:gd name="connsiteY1" fmla="*/ 381 h 0"/>
                  <a:gd name="connsiteX2" fmla="*/ 802 w 0"/>
                  <a:gd name="connsiteY2" fmla="*/ 381 h 0"/>
                  <a:gd name="connsiteX3" fmla="*/ 1659 w 0"/>
                  <a:gd name="connsiteY3" fmla="*/ 0 h 0"/>
                  <a:gd name="connsiteX4" fmla="*/ 1087 w 0"/>
                  <a:gd name="connsiteY4" fmla="*/ 381 h 0"/>
                  <a:gd name="connsiteX5" fmla="*/ 3659 w 0"/>
                  <a:gd name="connsiteY5" fmla="*/ 0 h 0"/>
                  <a:gd name="connsiteX6" fmla="*/ 230 w 0"/>
                  <a:gd name="connsiteY6" fmla="*/ 4381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>
                    <a:moveTo>
                      <a:pt x="230" y="4381"/>
                    </a:moveTo>
                    <a:cubicBezTo>
                      <a:pt x="-341" y="2191"/>
                      <a:pt x="230" y="1524"/>
                      <a:pt x="1087" y="381"/>
                    </a:cubicBezTo>
                    <a:lnTo>
                      <a:pt x="802" y="381"/>
                    </a:lnTo>
                    <a:cubicBezTo>
                      <a:pt x="1659" y="0"/>
                      <a:pt x="1659" y="0"/>
                      <a:pt x="1659" y="0"/>
                    </a:cubicBezTo>
                    <a:cubicBezTo>
                      <a:pt x="1373" y="0"/>
                      <a:pt x="1373" y="381"/>
                      <a:pt x="1087" y="381"/>
                    </a:cubicBezTo>
                    <a:cubicBezTo>
                      <a:pt x="1945" y="0"/>
                      <a:pt x="2802" y="0"/>
                      <a:pt x="3659" y="0"/>
                    </a:cubicBezTo>
                    <a:cubicBezTo>
                      <a:pt x="4040" y="2953"/>
                      <a:pt x="1945" y="4000"/>
                      <a:pt x="230" y="4381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64" name="Freeform: Shape 168">
                <a:extLst>
                  <a:ext uri="{FF2B5EF4-FFF2-40B4-BE49-F238E27FC236}">
                    <a16:creationId xmlns:a16="http://schemas.microsoft.com/office/drawing/2014/main" id="{937972A9-70CD-4F6F-83C3-E40C534C8815}"/>
                  </a:ext>
                </a:extLst>
              </p:cNvPr>
              <p:cNvSpPr/>
              <p:nvPr/>
            </p:nvSpPr>
            <p:spPr>
              <a:xfrm>
                <a:off x="4846851" y="4662583"/>
                <a:ext cx="9525" cy="9525"/>
              </a:xfrm>
              <a:custGeom>
                <a:avLst/>
                <a:gdLst>
                  <a:gd name="connsiteX0" fmla="*/ 230 w 0"/>
                  <a:gd name="connsiteY0" fmla="*/ 4381 h 0"/>
                  <a:gd name="connsiteX1" fmla="*/ 1087 w 0"/>
                  <a:gd name="connsiteY1" fmla="*/ 381 h 0"/>
                  <a:gd name="connsiteX2" fmla="*/ 802 w 0"/>
                  <a:gd name="connsiteY2" fmla="*/ 381 h 0"/>
                  <a:gd name="connsiteX3" fmla="*/ 1659 w 0"/>
                  <a:gd name="connsiteY3" fmla="*/ 0 h 0"/>
                  <a:gd name="connsiteX4" fmla="*/ 1087 w 0"/>
                  <a:gd name="connsiteY4" fmla="*/ 381 h 0"/>
                  <a:gd name="connsiteX5" fmla="*/ 3659 w 0"/>
                  <a:gd name="connsiteY5" fmla="*/ 0 h 0"/>
                  <a:gd name="connsiteX6" fmla="*/ 230 w 0"/>
                  <a:gd name="connsiteY6" fmla="*/ 4381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>
                    <a:moveTo>
                      <a:pt x="230" y="4381"/>
                    </a:moveTo>
                    <a:cubicBezTo>
                      <a:pt x="-341" y="2191"/>
                      <a:pt x="230" y="1524"/>
                      <a:pt x="1087" y="381"/>
                    </a:cubicBezTo>
                    <a:lnTo>
                      <a:pt x="802" y="381"/>
                    </a:lnTo>
                    <a:cubicBezTo>
                      <a:pt x="1659" y="0"/>
                      <a:pt x="1659" y="0"/>
                      <a:pt x="1659" y="0"/>
                    </a:cubicBezTo>
                    <a:cubicBezTo>
                      <a:pt x="1373" y="0"/>
                      <a:pt x="1373" y="381"/>
                      <a:pt x="1087" y="381"/>
                    </a:cubicBezTo>
                    <a:cubicBezTo>
                      <a:pt x="1945" y="0"/>
                      <a:pt x="2802" y="0"/>
                      <a:pt x="3659" y="0"/>
                    </a:cubicBezTo>
                    <a:cubicBezTo>
                      <a:pt x="4040" y="2953"/>
                      <a:pt x="1945" y="4000"/>
                      <a:pt x="230" y="4381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65" name="Freeform: Shape 169">
                <a:extLst>
                  <a:ext uri="{FF2B5EF4-FFF2-40B4-BE49-F238E27FC236}">
                    <a16:creationId xmlns:a16="http://schemas.microsoft.com/office/drawing/2014/main" id="{5063FC27-39E5-46EE-BF60-82227AF81AD6}"/>
                  </a:ext>
                </a:extLst>
              </p:cNvPr>
              <p:cNvSpPr/>
              <p:nvPr/>
            </p:nvSpPr>
            <p:spPr>
              <a:xfrm>
                <a:off x="4855955" y="4777463"/>
                <a:ext cx="9525" cy="9525"/>
              </a:xfrm>
              <a:custGeom>
                <a:avLst/>
                <a:gdLst>
                  <a:gd name="connsiteX0" fmla="*/ 365 w 0"/>
                  <a:gd name="connsiteY0" fmla="*/ 753 h 0"/>
                  <a:gd name="connsiteX1" fmla="*/ 2366 w 0"/>
                  <a:gd name="connsiteY1" fmla="*/ 5230 h 0"/>
                  <a:gd name="connsiteX2" fmla="*/ 2842 w 0"/>
                  <a:gd name="connsiteY2" fmla="*/ 3706 h 0"/>
                  <a:gd name="connsiteX3" fmla="*/ 2080 w 0"/>
                  <a:gd name="connsiteY3" fmla="*/ 6944 h 0"/>
                  <a:gd name="connsiteX4" fmla="*/ 365 w 0"/>
                  <a:gd name="connsiteY4" fmla="*/ 753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>
                    <a:moveTo>
                      <a:pt x="365" y="753"/>
                    </a:moveTo>
                    <a:cubicBezTo>
                      <a:pt x="1889" y="-1723"/>
                      <a:pt x="3604" y="2468"/>
                      <a:pt x="2366" y="5230"/>
                    </a:cubicBezTo>
                    <a:cubicBezTo>
                      <a:pt x="2842" y="3706"/>
                      <a:pt x="2842" y="3706"/>
                      <a:pt x="2842" y="3706"/>
                    </a:cubicBezTo>
                    <a:cubicBezTo>
                      <a:pt x="2556" y="4658"/>
                      <a:pt x="2175" y="5421"/>
                      <a:pt x="2080" y="6944"/>
                    </a:cubicBezTo>
                    <a:cubicBezTo>
                      <a:pt x="1032" y="6944"/>
                      <a:pt x="-778" y="2468"/>
                      <a:pt x="365" y="753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66" name="Freeform: Shape 170">
                <a:extLst>
                  <a:ext uri="{FF2B5EF4-FFF2-40B4-BE49-F238E27FC236}">
                    <a16:creationId xmlns:a16="http://schemas.microsoft.com/office/drawing/2014/main" id="{BD731571-7722-4867-9283-FBEE32F8A72E}"/>
                  </a:ext>
                </a:extLst>
              </p:cNvPr>
              <p:cNvSpPr/>
              <p:nvPr/>
            </p:nvSpPr>
            <p:spPr>
              <a:xfrm>
                <a:off x="4855955" y="4777463"/>
                <a:ext cx="9525" cy="9525"/>
              </a:xfrm>
              <a:custGeom>
                <a:avLst/>
                <a:gdLst>
                  <a:gd name="connsiteX0" fmla="*/ 365 w 0"/>
                  <a:gd name="connsiteY0" fmla="*/ 753 h 0"/>
                  <a:gd name="connsiteX1" fmla="*/ 2366 w 0"/>
                  <a:gd name="connsiteY1" fmla="*/ 5230 h 0"/>
                  <a:gd name="connsiteX2" fmla="*/ 2842 w 0"/>
                  <a:gd name="connsiteY2" fmla="*/ 3706 h 0"/>
                  <a:gd name="connsiteX3" fmla="*/ 2080 w 0"/>
                  <a:gd name="connsiteY3" fmla="*/ 6944 h 0"/>
                  <a:gd name="connsiteX4" fmla="*/ 365 w 0"/>
                  <a:gd name="connsiteY4" fmla="*/ 753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>
                    <a:moveTo>
                      <a:pt x="365" y="753"/>
                    </a:moveTo>
                    <a:cubicBezTo>
                      <a:pt x="1889" y="-1723"/>
                      <a:pt x="3604" y="2468"/>
                      <a:pt x="2366" y="5230"/>
                    </a:cubicBezTo>
                    <a:cubicBezTo>
                      <a:pt x="2842" y="3706"/>
                      <a:pt x="2842" y="3706"/>
                      <a:pt x="2842" y="3706"/>
                    </a:cubicBezTo>
                    <a:cubicBezTo>
                      <a:pt x="2556" y="4658"/>
                      <a:pt x="2175" y="5421"/>
                      <a:pt x="2080" y="6944"/>
                    </a:cubicBezTo>
                    <a:cubicBezTo>
                      <a:pt x="1032" y="6944"/>
                      <a:pt x="-778" y="2468"/>
                      <a:pt x="365" y="753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67" name="Freeform: Shape 171">
                <a:extLst>
                  <a:ext uri="{FF2B5EF4-FFF2-40B4-BE49-F238E27FC236}">
                    <a16:creationId xmlns:a16="http://schemas.microsoft.com/office/drawing/2014/main" id="{75D398D0-4DA0-4B74-B2C6-CDBEEFCAB41E}"/>
                  </a:ext>
                </a:extLst>
              </p:cNvPr>
              <p:cNvSpPr/>
              <p:nvPr/>
            </p:nvSpPr>
            <p:spPr>
              <a:xfrm>
                <a:off x="4856177" y="4897721"/>
                <a:ext cx="9525" cy="9525"/>
              </a:xfrm>
              <a:custGeom>
                <a:avLst/>
                <a:gdLst>
                  <a:gd name="connsiteX0" fmla="*/ 3192 w 0"/>
                  <a:gd name="connsiteY0" fmla="*/ 3082 h 0"/>
                  <a:gd name="connsiteX1" fmla="*/ 525 w 0"/>
                  <a:gd name="connsiteY1" fmla="*/ 2320 h 0"/>
                  <a:gd name="connsiteX2" fmla="*/ 2144 w 0"/>
                  <a:gd name="connsiteY2" fmla="*/ 130 h 0"/>
                  <a:gd name="connsiteX3" fmla="*/ 3192 w 0"/>
                  <a:gd name="connsiteY3" fmla="*/ 3082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>
                    <a:moveTo>
                      <a:pt x="3192" y="3082"/>
                    </a:moveTo>
                    <a:cubicBezTo>
                      <a:pt x="3192" y="4130"/>
                      <a:pt x="715" y="2702"/>
                      <a:pt x="525" y="2320"/>
                    </a:cubicBezTo>
                    <a:cubicBezTo>
                      <a:pt x="-904" y="130"/>
                      <a:pt x="906" y="-251"/>
                      <a:pt x="2144" y="130"/>
                    </a:cubicBezTo>
                    <a:cubicBezTo>
                      <a:pt x="3382" y="130"/>
                      <a:pt x="3382" y="892"/>
                      <a:pt x="3192" y="3082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68" name="Freeform: Shape 172">
                <a:extLst>
                  <a:ext uri="{FF2B5EF4-FFF2-40B4-BE49-F238E27FC236}">
                    <a16:creationId xmlns:a16="http://schemas.microsoft.com/office/drawing/2014/main" id="{76829193-10C4-4103-86EF-E575EE033733}"/>
                  </a:ext>
                </a:extLst>
              </p:cNvPr>
              <p:cNvSpPr/>
              <p:nvPr/>
            </p:nvSpPr>
            <p:spPr>
              <a:xfrm>
                <a:off x="4856177" y="4897721"/>
                <a:ext cx="9525" cy="9525"/>
              </a:xfrm>
              <a:custGeom>
                <a:avLst/>
                <a:gdLst>
                  <a:gd name="connsiteX0" fmla="*/ 3192 w 0"/>
                  <a:gd name="connsiteY0" fmla="*/ 3082 h 0"/>
                  <a:gd name="connsiteX1" fmla="*/ 525 w 0"/>
                  <a:gd name="connsiteY1" fmla="*/ 2320 h 0"/>
                  <a:gd name="connsiteX2" fmla="*/ 2144 w 0"/>
                  <a:gd name="connsiteY2" fmla="*/ 130 h 0"/>
                  <a:gd name="connsiteX3" fmla="*/ 3192 w 0"/>
                  <a:gd name="connsiteY3" fmla="*/ 3082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>
                    <a:moveTo>
                      <a:pt x="3192" y="3082"/>
                    </a:moveTo>
                    <a:cubicBezTo>
                      <a:pt x="3192" y="4130"/>
                      <a:pt x="715" y="2702"/>
                      <a:pt x="525" y="2320"/>
                    </a:cubicBezTo>
                    <a:cubicBezTo>
                      <a:pt x="-904" y="130"/>
                      <a:pt x="906" y="-251"/>
                      <a:pt x="2144" y="130"/>
                    </a:cubicBezTo>
                    <a:cubicBezTo>
                      <a:pt x="3382" y="130"/>
                      <a:pt x="3382" y="892"/>
                      <a:pt x="3192" y="3082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69" name="Freeform: Shape 173">
                <a:extLst>
                  <a:ext uri="{FF2B5EF4-FFF2-40B4-BE49-F238E27FC236}">
                    <a16:creationId xmlns:a16="http://schemas.microsoft.com/office/drawing/2014/main" id="{6A245862-0C11-45C9-9CF8-DCC56F0576BB}"/>
                  </a:ext>
                </a:extLst>
              </p:cNvPr>
              <p:cNvSpPr/>
              <p:nvPr/>
            </p:nvSpPr>
            <p:spPr>
              <a:xfrm>
                <a:off x="4864004" y="4814864"/>
                <a:ext cx="9525" cy="9525"/>
              </a:xfrm>
              <a:custGeom>
                <a:avLst/>
                <a:gdLst>
                  <a:gd name="connsiteX0" fmla="*/ 32 w 0"/>
                  <a:gd name="connsiteY0" fmla="*/ 214 h 0"/>
                  <a:gd name="connsiteX1" fmla="*/ 3080 w 0"/>
                  <a:gd name="connsiteY1" fmla="*/ 214 h 0"/>
                  <a:gd name="connsiteX2" fmla="*/ 3080 w 0"/>
                  <a:gd name="connsiteY2" fmla="*/ 4310 h 0"/>
                  <a:gd name="connsiteX3" fmla="*/ 2032 w 0"/>
                  <a:gd name="connsiteY3" fmla="*/ 3548 h 0"/>
                  <a:gd name="connsiteX4" fmla="*/ 3461 w 0"/>
                  <a:gd name="connsiteY4" fmla="*/ 8596 h 0"/>
                  <a:gd name="connsiteX5" fmla="*/ 604 w 0"/>
                  <a:gd name="connsiteY5" fmla="*/ 6882 h 0"/>
                  <a:gd name="connsiteX6" fmla="*/ 32 w 0"/>
                  <a:gd name="connsiteY6" fmla="*/ 214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>
                    <a:moveTo>
                      <a:pt x="32" y="214"/>
                    </a:moveTo>
                    <a:cubicBezTo>
                      <a:pt x="985" y="-71"/>
                      <a:pt x="2223" y="-71"/>
                      <a:pt x="3080" y="214"/>
                    </a:cubicBezTo>
                    <a:cubicBezTo>
                      <a:pt x="3271" y="1643"/>
                      <a:pt x="3271" y="3072"/>
                      <a:pt x="3080" y="4310"/>
                    </a:cubicBezTo>
                    <a:cubicBezTo>
                      <a:pt x="2032" y="3548"/>
                      <a:pt x="2032" y="3548"/>
                      <a:pt x="2032" y="3548"/>
                    </a:cubicBezTo>
                    <a:cubicBezTo>
                      <a:pt x="3080" y="5263"/>
                      <a:pt x="4223" y="5739"/>
                      <a:pt x="3461" y="8596"/>
                    </a:cubicBezTo>
                    <a:cubicBezTo>
                      <a:pt x="2699" y="8311"/>
                      <a:pt x="1270" y="7644"/>
                      <a:pt x="604" y="6882"/>
                    </a:cubicBezTo>
                    <a:cubicBezTo>
                      <a:pt x="32" y="5072"/>
                      <a:pt x="-63" y="2119"/>
                      <a:pt x="32" y="214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70" name="Freeform: Shape 174">
                <a:extLst>
                  <a:ext uri="{FF2B5EF4-FFF2-40B4-BE49-F238E27FC236}">
                    <a16:creationId xmlns:a16="http://schemas.microsoft.com/office/drawing/2014/main" id="{C92BF635-E6D1-4E14-BFBD-3B1FB3F6B414}"/>
                  </a:ext>
                </a:extLst>
              </p:cNvPr>
              <p:cNvSpPr/>
              <p:nvPr/>
            </p:nvSpPr>
            <p:spPr>
              <a:xfrm>
                <a:off x="4864004" y="4814864"/>
                <a:ext cx="9525" cy="9525"/>
              </a:xfrm>
              <a:custGeom>
                <a:avLst/>
                <a:gdLst>
                  <a:gd name="connsiteX0" fmla="*/ 32 w 0"/>
                  <a:gd name="connsiteY0" fmla="*/ 214 h 0"/>
                  <a:gd name="connsiteX1" fmla="*/ 3080 w 0"/>
                  <a:gd name="connsiteY1" fmla="*/ 214 h 0"/>
                  <a:gd name="connsiteX2" fmla="*/ 3080 w 0"/>
                  <a:gd name="connsiteY2" fmla="*/ 4310 h 0"/>
                  <a:gd name="connsiteX3" fmla="*/ 2032 w 0"/>
                  <a:gd name="connsiteY3" fmla="*/ 3548 h 0"/>
                  <a:gd name="connsiteX4" fmla="*/ 3461 w 0"/>
                  <a:gd name="connsiteY4" fmla="*/ 8596 h 0"/>
                  <a:gd name="connsiteX5" fmla="*/ 604 w 0"/>
                  <a:gd name="connsiteY5" fmla="*/ 6882 h 0"/>
                  <a:gd name="connsiteX6" fmla="*/ 32 w 0"/>
                  <a:gd name="connsiteY6" fmla="*/ 214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>
                    <a:moveTo>
                      <a:pt x="32" y="214"/>
                    </a:moveTo>
                    <a:cubicBezTo>
                      <a:pt x="985" y="-71"/>
                      <a:pt x="2223" y="-71"/>
                      <a:pt x="3080" y="214"/>
                    </a:cubicBezTo>
                    <a:cubicBezTo>
                      <a:pt x="3271" y="1643"/>
                      <a:pt x="3271" y="3072"/>
                      <a:pt x="3080" y="4310"/>
                    </a:cubicBezTo>
                    <a:cubicBezTo>
                      <a:pt x="2032" y="3548"/>
                      <a:pt x="2032" y="3548"/>
                      <a:pt x="2032" y="3548"/>
                    </a:cubicBezTo>
                    <a:cubicBezTo>
                      <a:pt x="3080" y="5263"/>
                      <a:pt x="4223" y="5739"/>
                      <a:pt x="3461" y="8596"/>
                    </a:cubicBezTo>
                    <a:cubicBezTo>
                      <a:pt x="2699" y="8311"/>
                      <a:pt x="1270" y="7644"/>
                      <a:pt x="604" y="6882"/>
                    </a:cubicBezTo>
                    <a:cubicBezTo>
                      <a:pt x="32" y="5072"/>
                      <a:pt x="-63" y="2119"/>
                      <a:pt x="32" y="214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71" name="Freeform: Shape 175">
                <a:extLst>
                  <a:ext uri="{FF2B5EF4-FFF2-40B4-BE49-F238E27FC236}">
                    <a16:creationId xmlns:a16="http://schemas.microsoft.com/office/drawing/2014/main" id="{E6964429-C505-41F4-8496-210F107BAEF4}"/>
                  </a:ext>
                </a:extLst>
              </p:cNvPr>
              <p:cNvSpPr/>
              <p:nvPr/>
            </p:nvSpPr>
            <p:spPr>
              <a:xfrm>
                <a:off x="4863941" y="4893088"/>
                <a:ext cx="9525" cy="9525"/>
              </a:xfrm>
              <a:custGeom>
                <a:avLst/>
                <a:gdLst>
                  <a:gd name="connsiteX0" fmla="*/ 0 w 0"/>
                  <a:gd name="connsiteY0" fmla="*/ 3905 h 0"/>
                  <a:gd name="connsiteX1" fmla="*/ 1429 w 0"/>
                  <a:gd name="connsiteY1" fmla="*/ 0 h 0"/>
                  <a:gd name="connsiteX2" fmla="*/ 3905 w 0"/>
                  <a:gd name="connsiteY2" fmla="*/ 2858 h 0"/>
                  <a:gd name="connsiteX3" fmla="*/ 0 w 0"/>
                  <a:gd name="connsiteY3" fmla="*/ 3905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>
                    <a:moveTo>
                      <a:pt x="0" y="3905"/>
                    </a:moveTo>
                    <a:cubicBezTo>
                      <a:pt x="0" y="2000"/>
                      <a:pt x="381" y="476"/>
                      <a:pt x="1429" y="0"/>
                    </a:cubicBezTo>
                    <a:cubicBezTo>
                      <a:pt x="2095" y="0"/>
                      <a:pt x="3524" y="1429"/>
                      <a:pt x="3905" y="2858"/>
                    </a:cubicBezTo>
                    <a:cubicBezTo>
                      <a:pt x="4286" y="4382"/>
                      <a:pt x="190" y="4382"/>
                      <a:pt x="0" y="3905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72" name="Freeform: Shape 176">
                <a:extLst>
                  <a:ext uri="{FF2B5EF4-FFF2-40B4-BE49-F238E27FC236}">
                    <a16:creationId xmlns:a16="http://schemas.microsoft.com/office/drawing/2014/main" id="{217E506B-8BAA-4DC8-B4E2-A39A5782BFC4}"/>
                  </a:ext>
                </a:extLst>
              </p:cNvPr>
              <p:cNvSpPr/>
              <p:nvPr/>
            </p:nvSpPr>
            <p:spPr>
              <a:xfrm>
                <a:off x="4863941" y="4893088"/>
                <a:ext cx="9525" cy="9525"/>
              </a:xfrm>
              <a:custGeom>
                <a:avLst/>
                <a:gdLst>
                  <a:gd name="connsiteX0" fmla="*/ 0 w 0"/>
                  <a:gd name="connsiteY0" fmla="*/ 3905 h 0"/>
                  <a:gd name="connsiteX1" fmla="*/ 1429 w 0"/>
                  <a:gd name="connsiteY1" fmla="*/ 0 h 0"/>
                  <a:gd name="connsiteX2" fmla="*/ 3905 w 0"/>
                  <a:gd name="connsiteY2" fmla="*/ 2858 h 0"/>
                  <a:gd name="connsiteX3" fmla="*/ 0 w 0"/>
                  <a:gd name="connsiteY3" fmla="*/ 3905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>
                    <a:moveTo>
                      <a:pt x="0" y="3905"/>
                    </a:moveTo>
                    <a:cubicBezTo>
                      <a:pt x="0" y="2000"/>
                      <a:pt x="381" y="476"/>
                      <a:pt x="1429" y="0"/>
                    </a:cubicBezTo>
                    <a:cubicBezTo>
                      <a:pt x="2095" y="0"/>
                      <a:pt x="3524" y="1429"/>
                      <a:pt x="3905" y="2858"/>
                    </a:cubicBezTo>
                    <a:cubicBezTo>
                      <a:pt x="4286" y="4382"/>
                      <a:pt x="190" y="4382"/>
                      <a:pt x="0" y="3905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73" name="Freeform: Shape 177">
                <a:extLst>
                  <a:ext uri="{FF2B5EF4-FFF2-40B4-BE49-F238E27FC236}">
                    <a16:creationId xmlns:a16="http://schemas.microsoft.com/office/drawing/2014/main" id="{75570849-64FD-41C4-B80C-C7FE1AADC3C5}"/>
                  </a:ext>
                </a:extLst>
              </p:cNvPr>
              <p:cNvSpPr/>
              <p:nvPr/>
            </p:nvSpPr>
            <p:spPr>
              <a:xfrm>
                <a:off x="4866351" y="4732211"/>
                <a:ext cx="9525" cy="9525"/>
              </a:xfrm>
              <a:custGeom>
                <a:avLst/>
                <a:gdLst>
                  <a:gd name="connsiteX0" fmla="*/ 3305 w 0"/>
                  <a:gd name="connsiteY0" fmla="*/ 6191 h 0"/>
                  <a:gd name="connsiteX1" fmla="*/ 3305 w 0"/>
                  <a:gd name="connsiteY1" fmla="*/ 6191 h 0"/>
                  <a:gd name="connsiteX2" fmla="*/ 3305 w 0"/>
                  <a:gd name="connsiteY2" fmla="*/ 6191 h 0"/>
                  <a:gd name="connsiteX3" fmla="*/ 3114 w 0"/>
                  <a:gd name="connsiteY3" fmla="*/ 6382 h 0"/>
                  <a:gd name="connsiteX4" fmla="*/ 1781 w 0"/>
                  <a:gd name="connsiteY4" fmla="*/ 0 h 0"/>
                  <a:gd name="connsiteX5" fmla="*/ 3305 w 0"/>
                  <a:gd name="connsiteY5" fmla="*/ 6191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>
                    <a:moveTo>
                      <a:pt x="3305" y="6191"/>
                    </a:moveTo>
                    <a:lnTo>
                      <a:pt x="3305" y="6191"/>
                    </a:lnTo>
                    <a:lnTo>
                      <a:pt x="3305" y="6191"/>
                    </a:lnTo>
                    <a:cubicBezTo>
                      <a:pt x="3305" y="6191"/>
                      <a:pt x="3114" y="6191"/>
                      <a:pt x="3114" y="6382"/>
                    </a:cubicBezTo>
                    <a:cubicBezTo>
                      <a:pt x="-2410" y="8668"/>
                      <a:pt x="923" y="1905"/>
                      <a:pt x="1781" y="0"/>
                    </a:cubicBezTo>
                    <a:cubicBezTo>
                      <a:pt x="4257" y="1143"/>
                      <a:pt x="6257" y="4953"/>
                      <a:pt x="3305" y="6191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74" name="Freeform: Shape 178">
                <a:extLst>
                  <a:ext uri="{FF2B5EF4-FFF2-40B4-BE49-F238E27FC236}">
                    <a16:creationId xmlns:a16="http://schemas.microsoft.com/office/drawing/2014/main" id="{5AECA7BD-4404-4466-80EB-EA084F4418AC}"/>
                  </a:ext>
                </a:extLst>
              </p:cNvPr>
              <p:cNvSpPr/>
              <p:nvPr/>
            </p:nvSpPr>
            <p:spPr>
              <a:xfrm>
                <a:off x="4866351" y="4732211"/>
                <a:ext cx="9525" cy="9525"/>
              </a:xfrm>
              <a:custGeom>
                <a:avLst/>
                <a:gdLst>
                  <a:gd name="connsiteX0" fmla="*/ 3305 w 0"/>
                  <a:gd name="connsiteY0" fmla="*/ 6191 h 0"/>
                  <a:gd name="connsiteX1" fmla="*/ 3305 w 0"/>
                  <a:gd name="connsiteY1" fmla="*/ 6191 h 0"/>
                  <a:gd name="connsiteX2" fmla="*/ 3305 w 0"/>
                  <a:gd name="connsiteY2" fmla="*/ 6191 h 0"/>
                  <a:gd name="connsiteX3" fmla="*/ 3114 w 0"/>
                  <a:gd name="connsiteY3" fmla="*/ 6382 h 0"/>
                  <a:gd name="connsiteX4" fmla="*/ 1781 w 0"/>
                  <a:gd name="connsiteY4" fmla="*/ 0 h 0"/>
                  <a:gd name="connsiteX5" fmla="*/ 3305 w 0"/>
                  <a:gd name="connsiteY5" fmla="*/ 6191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>
                    <a:moveTo>
                      <a:pt x="3305" y="6191"/>
                    </a:moveTo>
                    <a:lnTo>
                      <a:pt x="3305" y="6191"/>
                    </a:lnTo>
                    <a:lnTo>
                      <a:pt x="3305" y="6191"/>
                    </a:lnTo>
                    <a:cubicBezTo>
                      <a:pt x="3305" y="6191"/>
                      <a:pt x="3114" y="6191"/>
                      <a:pt x="3114" y="6382"/>
                    </a:cubicBezTo>
                    <a:cubicBezTo>
                      <a:pt x="-2410" y="8668"/>
                      <a:pt x="923" y="1905"/>
                      <a:pt x="1781" y="0"/>
                    </a:cubicBezTo>
                    <a:cubicBezTo>
                      <a:pt x="4257" y="1143"/>
                      <a:pt x="6257" y="4953"/>
                      <a:pt x="3305" y="6191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75" name="Freeform: Shape 179">
                <a:extLst>
                  <a:ext uri="{FF2B5EF4-FFF2-40B4-BE49-F238E27FC236}">
                    <a16:creationId xmlns:a16="http://schemas.microsoft.com/office/drawing/2014/main" id="{A9209F5E-21E4-48CC-8CED-83F65C7A4656}"/>
                  </a:ext>
                </a:extLst>
              </p:cNvPr>
              <p:cNvSpPr/>
              <p:nvPr/>
            </p:nvSpPr>
            <p:spPr>
              <a:xfrm>
                <a:off x="4877984" y="4802768"/>
                <a:ext cx="9525" cy="9525"/>
              </a:xfrm>
              <a:custGeom>
                <a:avLst/>
                <a:gdLst>
                  <a:gd name="connsiteX0" fmla="*/ 2626 w 0"/>
                  <a:gd name="connsiteY0" fmla="*/ 2976 h 0"/>
                  <a:gd name="connsiteX1" fmla="*/ 626 w 0"/>
                  <a:gd name="connsiteY1" fmla="*/ 214 h 0"/>
                  <a:gd name="connsiteX2" fmla="*/ 2626 w 0"/>
                  <a:gd name="connsiteY2" fmla="*/ 2976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>
                    <a:moveTo>
                      <a:pt x="2626" y="2976"/>
                    </a:moveTo>
                    <a:cubicBezTo>
                      <a:pt x="1102" y="3357"/>
                      <a:pt x="-1089" y="1547"/>
                      <a:pt x="626" y="214"/>
                    </a:cubicBezTo>
                    <a:cubicBezTo>
                      <a:pt x="2435" y="-929"/>
                      <a:pt x="3293" y="2881"/>
                      <a:pt x="2626" y="2976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76" name="Freeform: Shape 180">
                <a:extLst>
                  <a:ext uri="{FF2B5EF4-FFF2-40B4-BE49-F238E27FC236}">
                    <a16:creationId xmlns:a16="http://schemas.microsoft.com/office/drawing/2014/main" id="{5EEB8E84-AC8F-4F43-BFA4-2EF353B526AA}"/>
                  </a:ext>
                </a:extLst>
              </p:cNvPr>
              <p:cNvSpPr/>
              <p:nvPr/>
            </p:nvSpPr>
            <p:spPr>
              <a:xfrm>
                <a:off x="4877984" y="4802768"/>
                <a:ext cx="9525" cy="9525"/>
              </a:xfrm>
              <a:custGeom>
                <a:avLst/>
                <a:gdLst>
                  <a:gd name="connsiteX0" fmla="*/ 2626 w 0"/>
                  <a:gd name="connsiteY0" fmla="*/ 2976 h 0"/>
                  <a:gd name="connsiteX1" fmla="*/ 626 w 0"/>
                  <a:gd name="connsiteY1" fmla="*/ 214 h 0"/>
                  <a:gd name="connsiteX2" fmla="*/ 2626 w 0"/>
                  <a:gd name="connsiteY2" fmla="*/ 2976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>
                    <a:moveTo>
                      <a:pt x="2626" y="2976"/>
                    </a:moveTo>
                    <a:cubicBezTo>
                      <a:pt x="1102" y="3357"/>
                      <a:pt x="-1089" y="1547"/>
                      <a:pt x="626" y="214"/>
                    </a:cubicBezTo>
                    <a:cubicBezTo>
                      <a:pt x="2435" y="-929"/>
                      <a:pt x="3293" y="2881"/>
                      <a:pt x="2626" y="2976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77" name="Freeform: Shape 181">
                <a:extLst>
                  <a:ext uri="{FF2B5EF4-FFF2-40B4-BE49-F238E27FC236}">
                    <a16:creationId xmlns:a16="http://schemas.microsoft.com/office/drawing/2014/main" id="{31C378ED-AD82-417E-A715-6C95944C77CD}"/>
                  </a:ext>
                </a:extLst>
              </p:cNvPr>
              <p:cNvSpPr/>
              <p:nvPr/>
            </p:nvSpPr>
            <p:spPr>
              <a:xfrm>
                <a:off x="4903231" y="4819174"/>
                <a:ext cx="9525" cy="9525"/>
              </a:xfrm>
              <a:custGeom>
                <a:avLst/>
                <a:gdLst>
                  <a:gd name="connsiteX0" fmla="*/ 48 w 0"/>
                  <a:gd name="connsiteY0" fmla="*/ 0 h 0"/>
                  <a:gd name="connsiteX1" fmla="*/ 3000 w 0"/>
                  <a:gd name="connsiteY1" fmla="*/ 1905 h 0"/>
                  <a:gd name="connsiteX2" fmla="*/ 4143 w 0"/>
                  <a:gd name="connsiteY2" fmla="*/ 4096 h 0"/>
                  <a:gd name="connsiteX3" fmla="*/ 48 w 0"/>
                  <a:gd name="connsiteY3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>
                    <a:moveTo>
                      <a:pt x="48" y="0"/>
                    </a:moveTo>
                    <a:cubicBezTo>
                      <a:pt x="1381" y="0"/>
                      <a:pt x="2334" y="1048"/>
                      <a:pt x="3000" y="1905"/>
                    </a:cubicBezTo>
                    <a:cubicBezTo>
                      <a:pt x="3667" y="2953"/>
                      <a:pt x="4143" y="4096"/>
                      <a:pt x="4143" y="4096"/>
                    </a:cubicBezTo>
                    <a:cubicBezTo>
                      <a:pt x="714" y="4096"/>
                      <a:pt x="-238" y="4381"/>
                      <a:pt x="48" y="0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78" name="Freeform: Shape 182">
                <a:extLst>
                  <a:ext uri="{FF2B5EF4-FFF2-40B4-BE49-F238E27FC236}">
                    <a16:creationId xmlns:a16="http://schemas.microsoft.com/office/drawing/2014/main" id="{5054BC94-29A3-4A80-BA7B-FD2076DA222A}"/>
                  </a:ext>
                </a:extLst>
              </p:cNvPr>
              <p:cNvSpPr/>
              <p:nvPr/>
            </p:nvSpPr>
            <p:spPr>
              <a:xfrm>
                <a:off x="4903231" y="4819174"/>
                <a:ext cx="9525" cy="9525"/>
              </a:xfrm>
              <a:custGeom>
                <a:avLst/>
                <a:gdLst>
                  <a:gd name="connsiteX0" fmla="*/ 48 w 0"/>
                  <a:gd name="connsiteY0" fmla="*/ 0 h 0"/>
                  <a:gd name="connsiteX1" fmla="*/ 3000 w 0"/>
                  <a:gd name="connsiteY1" fmla="*/ 1905 h 0"/>
                  <a:gd name="connsiteX2" fmla="*/ 4143 w 0"/>
                  <a:gd name="connsiteY2" fmla="*/ 4096 h 0"/>
                  <a:gd name="connsiteX3" fmla="*/ 48 w 0"/>
                  <a:gd name="connsiteY3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>
                    <a:moveTo>
                      <a:pt x="48" y="0"/>
                    </a:moveTo>
                    <a:cubicBezTo>
                      <a:pt x="1381" y="0"/>
                      <a:pt x="2334" y="1048"/>
                      <a:pt x="3000" y="1905"/>
                    </a:cubicBezTo>
                    <a:cubicBezTo>
                      <a:pt x="3667" y="2953"/>
                      <a:pt x="4143" y="4096"/>
                      <a:pt x="4143" y="4096"/>
                    </a:cubicBezTo>
                    <a:cubicBezTo>
                      <a:pt x="714" y="4096"/>
                      <a:pt x="-238" y="4381"/>
                      <a:pt x="48" y="0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79" name="Freeform: Shape 183">
                <a:extLst>
                  <a:ext uri="{FF2B5EF4-FFF2-40B4-BE49-F238E27FC236}">
                    <a16:creationId xmlns:a16="http://schemas.microsoft.com/office/drawing/2014/main" id="{1774CC19-A343-4671-9F0A-3F805B70FE09}"/>
                  </a:ext>
                </a:extLst>
              </p:cNvPr>
              <p:cNvSpPr/>
              <p:nvPr/>
            </p:nvSpPr>
            <p:spPr>
              <a:xfrm>
                <a:off x="4903366" y="4854035"/>
                <a:ext cx="9525" cy="9525"/>
              </a:xfrm>
              <a:custGeom>
                <a:avLst/>
                <a:gdLst>
                  <a:gd name="connsiteX0" fmla="*/ 8 w 0"/>
                  <a:gd name="connsiteY0" fmla="*/ 8858 h 9525"/>
                  <a:gd name="connsiteX1" fmla="*/ 1056 w 0"/>
                  <a:gd name="connsiteY1" fmla="*/ 0 h 9525"/>
                  <a:gd name="connsiteX2" fmla="*/ 8 w 0"/>
                  <a:gd name="connsiteY2" fmla="*/ 8858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h="9525">
                    <a:moveTo>
                      <a:pt x="8" y="8858"/>
                    </a:moveTo>
                    <a:cubicBezTo>
                      <a:pt x="389" y="5715"/>
                      <a:pt x="580" y="2858"/>
                      <a:pt x="1056" y="0"/>
                    </a:cubicBezTo>
                    <a:cubicBezTo>
                      <a:pt x="12676" y="476"/>
                      <a:pt x="-373" y="13049"/>
                      <a:pt x="8" y="8858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80" name="Freeform: Shape 184">
                <a:extLst>
                  <a:ext uri="{FF2B5EF4-FFF2-40B4-BE49-F238E27FC236}">
                    <a16:creationId xmlns:a16="http://schemas.microsoft.com/office/drawing/2014/main" id="{B4233767-5BD0-47BE-929C-6B8DF0DDE45F}"/>
                  </a:ext>
                </a:extLst>
              </p:cNvPr>
              <p:cNvSpPr/>
              <p:nvPr/>
            </p:nvSpPr>
            <p:spPr>
              <a:xfrm>
                <a:off x="4903366" y="4854035"/>
                <a:ext cx="9525" cy="9525"/>
              </a:xfrm>
              <a:custGeom>
                <a:avLst/>
                <a:gdLst>
                  <a:gd name="connsiteX0" fmla="*/ 8 w 0"/>
                  <a:gd name="connsiteY0" fmla="*/ 8858 h 9525"/>
                  <a:gd name="connsiteX1" fmla="*/ 1056 w 0"/>
                  <a:gd name="connsiteY1" fmla="*/ 0 h 9525"/>
                  <a:gd name="connsiteX2" fmla="*/ 8 w 0"/>
                  <a:gd name="connsiteY2" fmla="*/ 8858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h="9525">
                    <a:moveTo>
                      <a:pt x="8" y="8858"/>
                    </a:moveTo>
                    <a:cubicBezTo>
                      <a:pt x="389" y="5715"/>
                      <a:pt x="580" y="2858"/>
                      <a:pt x="1056" y="0"/>
                    </a:cubicBezTo>
                    <a:cubicBezTo>
                      <a:pt x="12676" y="476"/>
                      <a:pt x="-373" y="13049"/>
                      <a:pt x="8" y="8858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81" name="Freeform: Shape 185">
                <a:extLst>
                  <a:ext uri="{FF2B5EF4-FFF2-40B4-BE49-F238E27FC236}">
                    <a16:creationId xmlns:a16="http://schemas.microsoft.com/office/drawing/2014/main" id="{35D67A49-E028-4A09-B25A-9E1530D64D3B}"/>
                  </a:ext>
                </a:extLst>
              </p:cNvPr>
              <p:cNvSpPr/>
              <p:nvPr/>
            </p:nvSpPr>
            <p:spPr>
              <a:xfrm>
                <a:off x="4929092" y="4727988"/>
                <a:ext cx="9525" cy="9525"/>
              </a:xfrm>
              <a:custGeom>
                <a:avLst/>
                <a:gdLst>
                  <a:gd name="connsiteX0" fmla="*/ 0 w 0"/>
                  <a:gd name="connsiteY0" fmla="*/ 127 h 0"/>
                  <a:gd name="connsiteX1" fmla="*/ 4381 w 0"/>
                  <a:gd name="connsiteY1" fmla="*/ 127 h 0"/>
                  <a:gd name="connsiteX2" fmla="*/ 2381 w 0"/>
                  <a:gd name="connsiteY2" fmla="*/ 127 h 0"/>
                  <a:gd name="connsiteX3" fmla="*/ 3429 w 0"/>
                  <a:gd name="connsiteY3" fmla="*/ 4223 h 0"/>
                  <a:gd name="connsiteX4" fmla="*/ 0 w 0"/>
                  <a:gd name="connsiteY4" fmla="*/ 127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>
                    <a:moveTo>
                      <a:pt x="0" y="127"/>
                    </a:moveTo>
                    <a:cubicBezTo>
                      <a:pt x="1333" y="127"/>
                      <a:pt x="3048" y="-159"/>
                      <a:pt x="4381" y="127"/>
                    </a:cubicBezTo>
                    <a:cubicBezTo>
                      <a:pt x="2381" y="127"/>
                      <a:pt x="2381" y="127"/>
                      <a:pt x="2381" y="127"/>
                    </a:cubicBezTo>
                    <a:cubicBezTo>
                      <a:pt x="3429" y="1079"/>
                      <a:pt x="4381" y="2032"/>
                      <a:pt x="3429" y="4223"/>
                    </a:cubicBezTo>
                    <a:cubicBezTo>
                      <a:pt x="0" y="3270"/>
                      <a:pt x="0" y="2794"/>
                      <a:pt x="0" y="127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82" name="Freeform: Shape 186">
                <a:extLst>
                  <a:ext uri="{FF2B5EF4-FFF2-40B4-BE49-F238E27FC236}">
                    <a16:creationId xmlns:a16="http://schemas.microsoft.com/office/drawing/2014/main" id="{23605FEB-7877-4ED9-AF85-998AD1BA77DD}"/>
                  </a:ext>
                </a:extLst>
              </p:cNvPr>
              <p:cNvSpPr/>
              <p:nvPr/>
            </p:nvSpPr>
            <p:spPr>
              <a:xfrm>
                <a:off x="4929092" y="4727988"/>
                <a:ext cx="9525" cy="9525"/>
              </a:xfrm>
              <a:custGeom>
                <a:avLst/>
                <a:gdLst>
                  <a:gd name="connsiteX0" fmla="*/ 0 w 0"/>
                  <a:gd name="connsiteY0" fmla="*/ 127 h 0"/>
                  <a:gd name="connsiteX1" fmla="*/ 4381 w 0"/>
                  <a:gd name="connsiteY1" fmla="*/ 127 h 0"/>
                  <a:gd name="connsiteX2" fmla="*/ 2381 w 0"/>
                  <a:gd name="connsiteY2" fmla="*/ 127 h 0"/>
                  <a:gd name="connsiteX3" fmla="*/ 3429 w 0"/>
                  <a:gd name="connsiteY3" fmla="*/ 4223 h 0"/>
                  <a:gd name="connsiteX4" fmla="*/ 0 w 0"/>
                  <a:gd name="connsiteY4" fmla="*/ 127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>
                    <a:moveTo>
                      <a:pt x="0" y="127"/>
                    </a:moveTo>
                    <a:cubicBezTo>
                      <a:pt x="1333" y="127"/>
                      <a:pt x="3048" y="-159"/>
                      <a:pt x="4381" y="127"/>
                    </a:cubicBezTo>
                    <a:cubicBezTo>
                      <a:pt x="2381" y="127"/>
                      <a:pt x="2381" y="127"/>
                      <a:pt x="2381" y="127"/>
                    </a:cubicBezTo>
                    <a:cubicBezTo>
                      <a:pt x="3429" y="1079"/>
                      <a:pt x="4381" y="2032"/>
                      <a:pt x="3429" y="4223"/>
                    </a:cubicBezTo>
                    <a:cubicBezTo>
                      <a:pt x="0" y="3270"/>
                      <a:pt x="0" y="2794"/>
                      <a:pt x="0" y="127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83" name="Freeform: Shape 187">
                <a:extLst>
                  <a:ext uri="{FF2B5EF4-FFF2-40B4-BE49-F238E27FC236}">
                    <a16:creationId xmlns:a16="http://schemas.microsoft.com/office/drawing/2014/main" id="{1E22C56C-1025-4271-A1A6-BAB11B6EFF3C}"/>
                  </a:ext>
                </a:extLst>
              </p:cNvPr>
              <p:cNvSpPr/>
              <p:nvPr/>
            </p:nvSpPr>
            <p:spPr>
              <a:xfrm>
                <a:off x="4924710" y="4776403"/>
                <a:ext cx="9525" cy="9525"/>
              </a:xfrm>
              <a:custGeom>
                <a:avLst/>
                <a:gdLst>
                  <a:gd name="connsiteX0" fmla="*/ 4191 w 0"/>
                  <a:gd name="connsiteY0" fmla="*/ 6004 h 0"/>
                  <a:gd name="connsiteX1" fmla="*/ 4191 w 0"/>
                  <a:gd name="connsiteY1" fmla="*/ 3242 h 0"/>
                  <a:gd name="connsiteX2" fmla="*/ 4191 w 0"/>
                  <a:gd name="connsiteY2" fmla="*/ 3051 h 0"/>
                  <a:gd name="connsiteX3" fmla="*/ 0 w 0"/>
                  <a:gd name="connsiteY3" fmla="*/ 7624 h 0"/>
                  <a:gd name="connsiteX4" fmla="*/ 191 w 0"/>
                  <a:gd name="connsiteY4" fmla="*/ 289 h 0"/>
                  <a:gd name="connsiteX5" fmla="*/ 4191 w 0"/>
                  <a:gd name="connsiteY5" fmla="*/ 3051 h 0"/>
                  <a:gd name="connsiteX6" fmla="*/ 4191 w 0"/>
                  <a:gd name="connsiteY6" fmla="*/ 2480 h 0"/>
                  <a:gd name="connsiteX7" fmla="*/ 4191 w 0"/>
                  <a:gd name="connsiteY7" fmla="*/ 3242 h 0"/>
                  <a:gd name="connsiteX8" fmla="*/ 4191 w 0"/>
                  <a:gd name="connsiteY8" fmla="*/ 6004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4191" y="6004"/>
                    </a:moveTo>
                    <a:cubicBezTo>
                      <a:pt x="4191" y="3242"/>
                      <a:pt x="4191" y="3242"/>
                      <a:pt x="4191" y="3242"/>
                    </a:cubicBezTo>
                    <a:lnTo>
                      <a:pt x="4191" y="3051"/>
                    </a:lnTo>
                    <a:cubicBezTo>
                      <a:pt x="3810" y="5623"/>
                      <a:pt x="2762" y="8004"/>
                      <a:pt x="0" y="7624"/>
                    </a:cubicBezTo>
                    <a:cubicBezTo>
                      <a:pt x="0" y="5052"/>
                      <a:pt x="0" y="2670"/>
                      <a:pt x="191" y="289"/>
                    </a:cubicBezTo>
                    <a:cubicBezTo>
                      <a:pt x="2477" y="-663"/>
                      <a:pt x="3810" y="861"/>
                      <a:pt x="4191" y="3051"/>
                    </a:cubicBezTo>
                    <a:cubicBezTo>
                      <a:pt x="4191" y="2861"/>
                      <a:pt x="4191" y="2670"/>
                      <a:pt x="4191" y="2480"/>
                    </a:cubicBezTo>
                    <a:cubicBezTo>
                      <a:pt x="4191" y="3242"/>
                      <a:pt x="4191" y="3242"/>
                      <a:pt x="4191" y="3242"/>
                    </a:cubicBezTo>
                    <a:cubicBezTo>
                      <a:pt x="4382" y="4004"/>
                      <a:pt x="4382" y="5052"/>
                      <a:pt x="4191" y="6004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84" name="Freeform: Shape 188">
                <a:extLst>
                  <a:ext uri="{FF2B5EF4-FFF2-40B4-BE49-F238E27FC236}">
                    <a16:creationId xmlns:a16="http://schemas.microsoft.com/office/drawing/2014/main" id="{6F2BCCAE-AA63-4B91-A7D0-0C76EBBF0B69}"/>
                  </a:ext>
                </a:extLst>
              </p:cNvPr>
              <p:cNvSpPr/>
              <p:nvPr/>
            </p:nvSpPr>
            <p:spPr>
              <a:xfrm>
                <a:off x="4924710" y="4776403"/>
                <a:ext cx="9525" cy="9525"/>
              </a:xfrm>
              <a:custGeom>
                <a:avLst/>
                <a:gdLst>
                  <a:gd name="connsiteX0" fmla="*/ 4191 w 0"/>
                  <a:gd name="connsiteY0" fmla="*/ 6004 h 0"/>
                  <a:gd name="connsiteX1" fmla="*/ 4191 w 0"/>
                  <a:gd name="connsiteY1" fmla="*/ 3242 h 0"/>
                  <a:gd name="connsiteX2" fmla="*/ 4191 w 0"/>
                  <a:gd name="connsiteY2" fmla="*/ 3051 h 0"/>
                  <a:gd name="connsiteX3" fmla="*/ 0 w 0"/>
                  <a:gd name="connsiteY3" fmla="*/ 7624 h 0"/>
                  <a:gd name="connsiteX4" fmla="*/ 191 w 0"/>
                  <a:gd name="connsiteY4" fmla="*/ 289 h 0"/>
                  <a:gd name="connsiteX5" fmla="*/ 4191 w 0"/>
                  <a:gd name="connsiteY5" fmla="*/ 3051 h 0"/>
                  <a:gd name="connsiteX6" fmla="*/ 4191 w 0"/>
                  <a:gd name="connsiteY6" fmla="*/ 2480 h 0"/>
                  <a:gd name="connsiteX7" fmla="*/ 4191 w 0"/>
                  <a:gd name="connsiteY7" fmla="*/ 3242 h 0"/>
                  <a:gd name="connsiteX8" fmla="*/ 4191 w 0"/>
                  <a:gd name="connsiteY8" fmla="*/ 6004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>
                    <a:moveTo>
                      <a:pt x="4191" y="6004"/>
                    </a:moveTo>
                    <a:cubicBezTo>
                      <a:pt x="4191" y="3242"/>
                      <a:pt x="4191" y="3242"/>
                      <a:pt x="4191" y="3242"/>
                    </a:cubicBezTo>
                    <a:lnTo>
                      <a:pt x="4191" y="3051"/>
                    </a:lnTo>
                    <a:cubicBezTo>
                      <a:pt x="3810" y="5623"/>
                      <a:pt x="2762" y="8004"/>
                      <a:pt x="0" y="7624"/>
                    </a:cubicBezTo>
                    <a:cubicBezTo>
                      <a:pt x="0" y="5052"/>
                      <a:pt x="0" y="2670"/>
                      <a:pt x="191" y="289"/>
                    </a:cubicBezTo>
                    <a:cubicBezTo>
                      <a:pt x="2477" y="-663"/>
                      <a:pt x="3810" y="861"/>
                      <a:pt x="4191" y="3051"/>
                    </a:cubicBezTo>
                    <a:cubicBezTo>
                      <a:pt x="4191" y="2861"/>
                      <a:pt x="4191" y="2670"/>
                      <a:pt x="4191" y="2480"/>
                    </a:cubicBezTo>
                    <a:cubicBezTo>
                      <a:pt x="4191" y="3242"/>
                      <a:pt x="4191" y="3242"/>
                      <a:pt x="4191" y="3242"/>
                    </a:cubicBezTo>
                    <a:cubicBezTo>
                      <a:pt x="4382" y="4004"/>
                      <a:pt x="4382" y="5052"/>
                      <a:pt x="4191" y="6004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85" name="Freeform: Shape 189">
                <a:extLst>
                  <a:ext uri="{FF2B5EF4-FFF2-40B4-BE49-F238E27FC236}">
                    <a16:creationId xmlns:a16="http://schemas.microsoft.com/office/drawing/2014/main" id="{F8FA1A08-B8F0-47A9-9EE7-E93D31B156AE}"/>
                  </a:ext>
                </a:extLst>
              </p:cNvPr>
              <p:cNvSpPr/>
              <p:nvPr/>
            </p:nvSpPr>
            <p:spPr>
              <a:xfrm>
                <a:off x="4929759" y="5090236"/>
                <a:ext cx="9525" cy="9525"/>
              </a:xfrm>
              <a:custGeom>
                <a:avLst/>
                <a:gdLst>
                  <a:gd name="connsiteX0" fmla="*/ 0 w 0"/>
                  <a:gd name="connsiteY0" fmla="*/ 11068 h 9525"/>
                  <a:gd name="connsiteX1" fmla="*/ 0 w 0"/>
                  <a:gd name="connsiteY1" fmla="*/ 11068 h 9525"/>
                  <a:gd name="connsiteX2" fmla="*/ 5334 w 0"/>
                  <a:gd name="connsiteY2" fmla="*/ 115 h 9525"/>
                  <a:gd name="connsiteX3" fmla="*/ 5334 w 0"/>
                  <a:gd name="connsiteY3" fmla="*/ 5068 h 9525"/>
                  <a:gd name="connsiteX4" fmla="*/ 7239 w 0"/>
                  <a:gd name="connsiteY4" fmla="*/ 4020 h 9525"/>
                  <a:gd name="connsiteX5" fmla="*/ 0 w 0"/>
                  <a:gd name="connsiteY5" fmla="*/ 11068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h="9525">
                    <a:moveTo>
                      <a:pt x="0" y="11068"/>
                    </a:moveTo>
                    <a:lnTo>
                      <a:pt x="0" y="11068"/>
                    </a:lnTo>
                    <a:cubicBezTo>
                      <a:pt x="1429" y="11068"/>
                      <a:pt x="-762" y="-1314"/>
                      <a:pt x="5334" y="115"/>
                    </a:cubicBezTo>
                    <a:cubicBezTo>
                      <a:pt x="5620" y="1734"/>
                      <a:pt x="5620" y="3448"/>
                      <a:pt x="5334" y="5068"/>
                    </a:cubicBezTo>
                    <a:cubicBezTo>
                      <a:pt x="7239" y="4020"/>
                      <a:pt x="7239" y="4020"/>
                      <a:pt x="7239" y="4020"/>
                    </a:cubicBezTo>
                    <a:cubicBezTo>
                      <a:pt x="8001" y="8592"/>
                      <a:pt x="5334" y="11735"/>
                      <a:pt x="0" y="11068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86" name="Freeform: Shape 190">
                <a:extLst>
                  <a:ext uri="{FF2B5EF4-FFF2-40B4-BE49-F238E27FC236}">
                    <a16:creationId xmlns:a16="http://schemas.microsoft.com/office/drawing/2014/main" id="{802E879E-4201-4B91-A0F3-A3EFBBE897B4}"/>
                  </a:ext>
                </a:extLst>
              </p:cNvPr>
              <p:cNvSpPr/>
              <p:nvPr/>
            </p:nvSpPr>
            <p:spPr>
              <a:xfrm>
                <a:off x="4929759" y="5090236"/>
                <a:ext cx="9525" cy="9525"/>
              </a:xfrm>
              <a:custGeom>
                <a:avLst/>
                <a:gdLst>
                  <a:gd name="connsiteX0" fmla="*/ 0 w 0"/>
                  <a:gd name="connsiteY0" fmla="*/ 11068 h 9525"/>
                  <a:gd name="connsiteX1" fmla="*/ 0 w 0"/>
                  <a:gd name="connsiteY1" fmla="*/ 11068 h 9525"/>
                  <a:gd name="connsiteX2" fmla="*/ 5334 w 0"/>
                  <a:gd name="connsiteY2" fmla="*/ 115 h 9525"/>
                  <a:gd name="connsiteX3" fmla="*/ 5334 w 0"/>
                  <a:gd name="connsiteY3" fmla="*/ 5068 h 9525"/>
                  <a:gd name="connsiteX4" fmla="*/ 7239 w 0"/>
                  <a:gd name="connsiteY4" fmla="*/ 4020 h 9525"/>
                  <a:gd name="connsiteX5" fmla="*/ 0 w 0"/>
                  <a:gd name="connsiteY5" fmla="*/ 11068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h="9525">
                    <a:moveTo>
                      <a:pt x="0" y="11068"/>
                    </a:moveTo>
                    <a:lnTo>
                      <a:pt x="0" y="11068"/>
                    </a:lnTo>
                    <a:cubicBezTo>
                      <a:pt x="1429" y="11068"/>
                      <a:pt x="-762" y="-1314"/>
                      <a:pt x="5334" y="115"/>
                    </a:cubicBezTo>
                    <a:cubicBezTo>
                      <a:pt x="5620" y="1734"/>
                      <a:pt x="5620" y="3448"/>
                      <a:pt x="5334" y="5068"/>
                    </a:cubicBezTo>
                    <a:cubicBezTo>
                      <a:pt x="7239" y="4020"/>
                      <a:pt x="7239" y="4020"/>
                      <a:pt x="7239" y="4020"/>
                    </a:cubicBezTo>
                    <a:cubicBezTo>
                      <a:pt x="8001" y="8592"/>
                      <a:pt x="5334" y="11735"/>
                      <a:pt x="0" y="11068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87" name="Freeform: Shape 191">
                <a:extLst>
                  <a:ext uri="{FF2B5EF4-FFF2-40B4-BE49-F238E27FC236}">
                    <a16:creationId xmlns:a16="http://schemas.microsoft.com/office/drawing/2014/main" id="{9FB68189-2EF9-4463-B946-B47D586F4618}"/>
                  </a:ext>
                </a:extLst>
              </p:cNvPr>
              <p:cNvSpPr/>
              <p:nvPr/>
            </p:nvSpPr>
            <p:spPr>
              <a:xfrm>
                <a:off x="4959477" y="4753928"/>
                <a:ext cx="9525" cy="9525"/>
              </a:xfrm>
              <a:custGeom>
                <a:avLst/>
                <a:gdLst>
                  <a:gd name="connsiteX0" fmla="*/ 4191 w 0"/>
                  <a:gd name="connsiteY0" fmla="*/ 2381 h 0"/>
                  <a:gd name="connsiteX1" fmla="*/ 0 w 0"/>
                  <a:gd name="connsiteY1" fmla="*/ 3143 h 0"/>
                  <a:gd name="connsiteX2" fmla="*/ 2000 w 0"/>
                  <a:gd name="connsiteY2" fmla="*/ 0 h 0"/>
                  <a:gd name="connsiteX3" fmla="*/ 4191 w 0"/>
                  <a:gd name="connsiteY3" fmla="*/ 2381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>
                    <a:moveTo>
                      <a:pt x="4191" y="2381"/>
                    </a:moveTo>
                    <a:cubicBezTo>
                      <a:pt x="3620" y="4381"/>
                      <a:pt x="572" y="2381"/>
                      <a:pt x="0" y="3143"/>
                    </a:cubicBezTo>
                    <a:cubicBezTo>
                      <a:pt x="1048" y="2000"/>
                      <a:pt x="191" y="0"/>
                      <a:pt x="2000" y="0"/>
                    </a:cubicBezTo>
                    <a:cubicBezTo>
                      <a:pt x="2953" y="0"/>
                      <a:pt x="4381" y="1429"/>
                      <a:pt x="4191" y="2381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88" name="Freeform: Shape 192">
                <a:extLst>
                  <a:ext uri="{FF2B5EF4-FFF2-40B4-BE49-F238E27FC236}">
                    <a16:creationId xmlns:a16="http://schemas.microsoft.com/office/drawing/2014/main" id="{8BBDEC20-FB2F-4D85-9554-BBA044BEE60B}"/>
                  </a:ext>
                </a:extLst>
              </p:cNvPr>
              <p:cNvSpPr/>
              <p:nvPr/>
            </p:nvSpPr>
            <p:spPr>
              <a:xfrm>
                <a:off x="4959477" y="4753928"/>
                <a:ext cx="9525" cy="9525"/>
              </a:xfrm>
              <a:custGeom>
                <a:avLst/>
                <a:gdLst>
                  <a:gd name="connsiteX0" fmla="*/ 4191 w 0"/>
                  <a:gd name="connsiteY0" fmla="*/ 2381 h 0"/>
                  <a:gd name="connsiteX1" fmla="*/ 0 w 0"/>
                  <a:gd name="connsiteY1" fmla="*/ 3143 h 0"/>
                  <a:gd name="connsiteX2" fmla="*/ 2000 w 0"/>
                  <a:gd name="connsiteY2" fmla="*/ 0 h 0"/>
                  <a:gd name="connsiteX3" fmla="*/ 4191 w 0"/>
                  <a:gd name="connsiteY3" fmla="*/ 2381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>
                    <a:moveTo>
                      <a:pt x="4191" y="2381"/>
                    </a:moveTo>
                    <a:cubicBezTo>
                      <a:pt x="3620" y="4381"/>
                      <a:pt x="572" y="2381"/>
                      <a:pt x="0" y="3143"/>
                    </a:cubicBezTo>
                    <a:cubicBezTo>
                      <a:pt x="1048" y="2000"/>
                      <a:pt x="191" y="0"/>
                      <a:pt x="2000" y="0"/>
                    </a:cubicBezTo>
                    <a:cubicBezTo>
                      <a:pt x="2953" y="0"/>
                      <a:pt x="4381" y="1429"/>
                      <a:pt x="4191" y="2381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89" name="Freeform: Shape 193">
                <a:extLst>
                  <a:ext uri="{FF2B5EF4-FFF2-40B4-BE49-F238E27FC236}">
                    <a16:creationId xmlns:a16="http://schemas.microsoft.com/office/drawing/2014/main" id="{F32EF580-6372-45F5-9D4A-56CE10A80D25}"/>
                  </a:ext>
                </a:extLst>
              </p:cNvPr>
              <p:cNvSpPr/>
              <p:nvPr/>
            </p:nvSpPr>
            <p:spPr>
              <a:xfrm>
                <a:off x="5013024" y="4901851"/>
                <a:ext cx="9525" cy="9525"/>
              </a:xfrm>
              <a:custGeom>
                <a:avLst/>
                <a:gdLst>
                  <a:gd name="connsiteX0" fmla="*/ 1316 w 0"/>
                  <a:gd name="connsiteY0" fmla="*/ 12573 h 9525"/>
                  <a:gd name="connsiteX1" fmla="*/ 2936 w 0"/>
                  <a:gd name="connsiteY1" fmla="*/ 0 h 9525"/>
                  <a:gd name="connsiteX2" fmla="*/ 2745 w 0"/>
                  <a:gd name="connsiteY2" fmla="*/ 7144 h 9525"/>
                  <a:gd name="connsiteX3" fmla="*/ 1316 w 0"/>
                  <a:gd name="connsiteY3" fmla="*/ 12573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h="9525">
                    <a:moveTo>
                      <a:pt x="1316" y="12573"/>
                    </a:moveTo>
                    <a:cubicBezTo>
                      <a:pt x="-1446" y="9049"/>
                      <a:pt x="650" y="3810"/>
                      <a:pt x="2936" y="0"/>
                    </a:cubicBezTo>
                    <a:cubicBezTo>
                      <a:pt x="2936" y="2381"/>
                      <a:pt x="2745" y="4763"/>
                      <a:pt x="2745" y="7144"/>
                    </a:cubicBezTo>
                    <a:cubicBezTo>
                      <a:pt x="2745" y="7620"/>
                      <a:pt x="1793" y="13049"/>
                      <a:pt x="1316" y="12573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90" name="Freeform: Shape 194">
                <a:extLst>
                  <a:ext uri="{FF2B5EF4-FFF2-40B4-BE49-F238E27FC236}">
                    <a16:creationId xmlns:a16="http://schemas.microsoft.com/office/drawing/2014/main" id="{692BBFE5-D674-487A-B326-AE19F16E25F2}"/>
                  </a:ext>
                </a:extLst>
              </p:cNvPr>
              <p:cNvSpPr/>
              <p:nvPr/>
            </p:nvSpPr>
            <p:spPr>
              <a:xfrm>
                <a:off x="5013024" y="4901851"/>
                <a:ext cx="9525" cy="9525"/>
              </a:xfrm>
              <a:custGeom>
                <a:avLst/>
                <a:gdLst>
                  <a:gd name="connsiteX0" fmla="*/ 1316 w 0"/>
                  <a:gd name="connsiteY0" fmla="*/ 12573 h 9525"/>
                  <a:gd name="connsiteX1" fmla="*/ 2936 w 0"/>
                  <a:gd name="connsiteY1" fmla="*/ 0 h 9525"/>
                  <a:gd name="connsiteX2" fmla="*/ 2745 w 0"/>
                  <a:gd name="connsiteY2" fmla="*/ 7144 h 9525"/>
                  <a:gd name="connsiteX3" fmla="*/ 1316 w 0"/>
                  <a:gd name="connsiteY3" fmla="*/ 12573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h="9525">
                    <a:moveTo>
                      <a:pt x="1316" y="12573"/>
                    </a:moveTo>
                    <a:cubicBezTo>
                      <a:pt x="-1446" y="9049"/>
                      <a:pt x="650" y="3810"/>
                      <a:pt x="2936" y="0"/>
                    </a:cubicBezTo>
                    <a:cubicBezTo>
                      <a:pt x="2936" y="2381"/>
                      <a:pt x="2745" y="4763"/>
                      <a:pt x="2745" y="7144"/>
                    </a:cubicBezTo>
                    <a:cubicBezTo>
                      <a:pt x="2745" y="7620"/>
                      <a:pt x="1793" y="13049"/>
                      <a:pt x="1316" y="12573"/>
                    </a:cubicBezTo>
                  </a:path>
                </a:pathLst>
              </a:custGeom>
              <a:grpFill/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91" name="Freeform: Shape 195">
                <a:extLst>
                  <a:ext uri="{FF2B5EF4-FFF2-40B4-BE49-F238E27FC236}">
                    <a16:creationId xmlns:a16="http://schemas.microsoft.com/office/drawing/2014/main" id="{D6C37525-6B83-4213-A98B-B155BB310993}"/>
                  </a:ext>
                </a:extLst>
              </p:cNvPr>
              <p:cNvSpPr/>
              <p:nvPr/>
            </p:nvSpPr>
            <p:spPr>
              <a:xfrm>
                <a:off x="4967382" y="1600200"/>
                <a:ext cx="857250" cy="619125"/>
              </a:xfrm>
              <a:custGeom>
                <a:avLst/>
                <a:gdLst>
                  <a:gd name="connsiteX0" fmla="*/ 858298 w 857250"/>
                  <a:gd name="connsiteY0" fmla="*/ 206788 h 619125"/>
                  <a:gd name="connsiteX1" fmla="*/ 855440 w 857250"/>
                  <a:gd name="connsiteY1" fmla="*/ 206788 h 619125"/>
                  <a:gd name="connsiteX2" fmla="*/ 852583 w 857250"/>
                  <a:gd name="connsiteY2" fmla="*/ 206788 h 619125"/>
                  <a:gd name="connsiteX3" fmla="*/ 849725 w 857250"/>
                  <a:gd name="connsiteY3" fmla="*/ 206788 h 619125"/>
                  <a:gd name="connsiteX4" fmla="*/ 846868 w 857250"/>
                  <a:gd name="connsiteY4" fmla="*/ 203930 h 619125"/>
                  <a:gd name="connsiteX5" fmla="*/ 846868 w 857250"/>
                  <a:gd name="connsiteY5" fmla="*/ 201073 h 619125"/>
                  <a:gd name="connsiteX6" fmla="*/ 844010 w 857250"/>
                  <a:gd name="connsiteY6" fmla="*/ 201073 h 619125"/>
                  <a:gd name="connsiteX7" fmla="*/ 841153 w 857250"/>
                  <a:gd name="connsiteY7" fmla="*/ 201073 h 619125"/>
                  <a:gd name="connsiteX8" fmla="*/ 838295 w 857250"/>
                  <a:gd name="connsiteY8" fmla="*/ 209741 h 619125"/>
                  <a:gd name="connsiteX9" fmla="*/ 835438 w 857250"/>
                  <a:gd name="connsiteY9" fmla="*/ 215456 h 619125"/>
                  <a:gd name="connsiteX10" fmla="*/ 832580 w 857250"/>
                  <a:gd name="connsiteY10" fmla="*/ 218313 h 619125"/>
                  <a:gd name="connsiteX11" fmla="*/ 829723 w 857250"/>
                  <a:gd name="connsiteY11" fmla="*/ 221171 h 619125"/>
                  <a:gd name="connsiteX12" fmla="*/ 826865 w 857250"/>
                  <a:gd name="connsiteY12" fmla="*/ 221171 h 619125"/>
                  <a:gd name="connsiteX13" fmla="*/ 824008 w 857250"/>
                  <a:gd name="connsiteY13" fmla="*/ 218313 h 619125"/>
                  <a:gd name="connsiteX14" fmla="*/ 821150 w 857250"/>
                  <a:gd name="connsiteY14" fmla="*/ 215456 h 619125"/>
                  <a:gd name="connsiteX15" fmla="*/ 821150 w 857250"/>
                  <a:gd name="connsiteY15" fmla="*/ 212598 h 619125"/>
                  <a:gd name="connsiteX16" fmla="*/ 818293 w 857250"/>
                  <a:gd name="connsiteY16" fmla="*/ 206883 h 619125"/>
                  <a:gd name="connsiteX17" fmla="*/ 818293 w 857250"/>
                  <a:gd name="connsiteY17" fmla="*/ 201168 h 619125"/>
                  <a:gd name="connsiteX18" fmla="*/ 815435 w 857250"/>
                  <a:gd name="connsiteY18" fmla="*/ 195453 h 619125"/>
                  <a:gd name="connsiteX19" fmla="*/ 812578 w 857250"/>
                  <a:gd name="connsiteY19" fmla="*/ 192596 h 619125"/>
                  <a:gd name="connsiteX20" fmla="*/ 809720 w 857250"/>
                  <a:gd name="connsiteY20" fmla="*/ 195453 h 619125"/>
                  <a:gd name="connsiteX21" fmla="*/ 806863 w 857250"/>
                  <a:gd name="connsiteY21" fmla="*/ 198311 h 619125"/>
                  <a:gd name="connsiteX22" fmla="*/ 804005 w 857250"/>
                  <a:gd name="connsiteY22" fmla="*/ 201168 h 619125"/>
                  <a:gd name="connsiteX23" fmla="*/ 801148 w 857250"/>
                  <a:gd name="connsiteY23" fmla="*/ 198311 h 619125"/>
                  <a:gd name="connsiteX24" fmla="*/ 801148 w 857250"/>
                  <a:gd name="connsiteY24" fmla="*/ 195453 h 619125"/>
                  <a:gd name="connsiteX25" fmla="*/ 801148 w 857250"/>
                  <a:gd name="connsiteY25" fmla="*/ 192596 h 619125"/>
                  <a:gd name="connsiteX26" fmla="*/ 798290 w 857250"/>
                  <a:gd name="connsiteY26" fmla="*/ 189738 h 619125"/>
                  <a:gd name="connsiteX27" fmla="*/ 789813 w 857250"/>
                  <a:gd name="connsiteY27" fmla="*/ 189738 h 619125"/>
                  <a:gd name="connsiteX28" fmla="*/ 786956 w 857250"/>
                  <a:gd name="connsiteY28" fmla="*/ 186881 h 619125"/>
                  <a:gd name="connsiteX29" fmla="*/ 784098 w 857250"/>
                  <a:gd name="connsiteY29" fmla="*/ 178213 h 619125"/>
                  <a:gd name="connsiteX30" fmla="*/ 778383 w 857250"/>
                  <a:gd name="connsiteY30" fmla="*/ 175355 h 619125"/>
                  <a:gd name="connsiteX31" fmla="*/ 778383 w 857250"/>
                  <a:gd name="connsiteY31" fmla="*/ 172498 h 619125"/>
                  <a:gd name="connsiteX32" fmla="*/ 781241 w 857250"/>
                  <a:gd name="connsiteY32" fmla="*/ 169640 h 619125"/>
                  <a:gd name="connsiteX33" fmla="*/ 784098 w 857250"/>
                  <a:gd name="connsiteY33" fmla="*/ 166783 h 619125"/>
                  <a:gd name="connsiteX34" fmla="*/ 781241 w 857250"/>
                  <a:gd name="connsiteY34" fmla="*/ 163925 h 619125"/>
                  <a:gd name="connsiteX35" fmla="*/ 775525 w 857250"/>
                  <a:gd name="connsiteY35" fmla="*/ 163925 h 619125"/>
                  <a:gd name="connsiteX36" fmla="*/ 775525 w 857250"/>
                  <a:gd name="connsiteY36" fmla="*/ 161068 h 619125"/>
                  <a:gd name="connsiteX37" fmla="*/ 775525 w 857250"/>
                  <a:gd name="connsiteY37" fmla="*/ 158210 h 619125"/>
                  <a:gd name="connsiteX38" fmla="*/ 772668 w 857250"/>
                  <a:gd name="connsiteY38" fmla="*/ 158210 h 619125"/>
                  <a:gd name="connsiteX39" fmla="*/ 769811 w 857250"/>
                  <a:gd name="connsiteY39" fmla="*/ 158210 h 619125"/>
                  <a:gd name="connsiteX40" fmla="*/ 764096 w 857250"/>
                  <a:gd name="connsiteY40" fmla="*/ 161068 h 619125"/>
                  <a:gd name="connsiteX41" fmla="*/ 758381 w 857250"/>
                  <a:gd name="connsiteY41" fmla="*/ 161068 h 619125"/>
                  <a:gd name="connsiteX42" fmla="*/ 758381 w 857250"/>
                  <a:gd name="connsiteY42" fmla="*/ 155353 h 619125"/>
                  <a:gd name="connsiteX43" fmla="*/ 758381 w 857250"/>
                  <a:gd name="connsiteY43" fmla="*/ 152495 h 619125"/>
                  <a:gd name="connsiteX44" fmla="*/ 758381 w 857250"/>
                  <a:gd name="connsiteY44" fmla="*/ 149638 h 619125"/>
                  <a:gd name="connsiteX45" fmla="*/ 755523 w 857250"/>
                  <a:gd name="connsiteY45" fmla="*/ 146780 h 619125"/>
                  <a:gd name="connsiteX46" fmla="*/ 752666 w 857250"/>
                  <a:gd name="connsiteY46" fmla="*/ 143923 h 619125"/>
                  <a:gd name="connsiteX47" fmla="*/ 746950 w 857250"/>
                  <a:gd name="connsiteY47" fmla="*/ 143923 h 619125"/>
                  <a:gd name="connsiteX48" fmla="*/ 744093 w 857250"/>
                  <a:gd name="connsiteY48" fmla="*/ 143923 h 619125"/>
                  <a:gd name="connsiteX49" fmla="*/ 732758 w 857250"/>
                  <a:gd name="connsiteY49" fmla="*/ 149638 h 619125"/>
                  <a:gd name="connsiteX50" fmla="*/ 718566 w 857250"/>
                  <a:gd name="connsiteY50" fmla="*/ 149638 h 619125"/>
                  <a:gd name="connsiteX51" fmla="*/ 704374 w 857250"/>
                  <a:gd name="connsiteY51" fmla="*/ 155353 h 619125"/>
                  <a:gd name="connsiteX52" fmla="*/ 701516 w 857250"/>
                  <a:gd name="connsiteY52" fmla="*/ 155353 h 619125"/>
                  <a:gd name="connsiteX53" fmla="*/ 698659 w 857250"/>
                  <a:gd name="connsiteY53" fmla="*/ 155353 h 619125"/>
                  <a:gd name="connsiteX54" fmla="*/ 690182 w 857250"/>
                  <a:gd name="connsiteY54" fmla="*/ 152495 h 619125"/>
                  <a:gd name="connsiteX55" fmla="*/ 687324 w 857250"/>
                  <a:gd name="connsiteY55" fmla="*/ 149638 h 619125"/>
                  <a:gd name="connsiteX56" fmla="*/ 684467 w 857250"/>
                  <a:gd name="connsiteY56" fmla="*/ 149638 h 619125"/>
                  <a:gd name="connsiteX57" fmla="*/ 678752 w 857250"/>
                  <a:gd name="connsiteY57" fmla="*/ 152495 h 619125"/>
                  <a:gd name="connsiteX58" fmla="*/ 678752 w 857250"/>
                  <a:gd name="connsiteY58" fmla="*/ 155353 h 619125"/>
                  <a:gd name="connsiteX59" fmla="*/ 675894 w 857250"/>
                  <a:gd name="connsiteY59" fmla="*/ 161068 h 619125"/>
                  <a:gd name="connsiteX60" fmla="*/ 673037 w 857250"/>
                  <a:gd name="connsiteY60" fmla="*/ 161068 h 619125"/>
                  <a:gd name="connsiteX61" fmla="*/ 661702 w 857250"/>
                  <a:gd name="connsiteY61" fmla="*/ 169736 h 619125"/>
                  <a:gd name="connsiteX62" fmla="*/ 658844 w 857250"/>
                  <a:gd name="connsiteY62" fmla="*/ 172593 h 619125"/>
                  <a:gd name="connsiteX63" fmla="*/ 650367 w 857250"/>
                  <a:gd name="connsiteY63" fmla="*/ 172593 h 619125"/>
                  <a:gd name="connsiteX64" fmla="*/ 647510 w 857250"/>
                  <a:gd name="connsiteY64" fmla="*/ 175451 h 619125"/>
                  <a:gd name="connsiteX65" fmla="*/ 641795 w 857250"/>
                  <a:gd name="connsiteY65" fmla="*/ 178308 h 619125"/>
                  <a:gd name="connsiteX66" fmla="*/ 638937 w 857250"/>
                  <a:gd name="connsiteY66" fmla="*/ 178308 h 619125"/>
                  <a:gd name="connsiteX67" fmla="*/ 636080 w 857250"/>
                  <a:gd name="connsiteY67" fmla="*/ 181166 h 619125"/>
                  <a:gd name="connsiteX68" fmla="*/ 633222 w 857250"/>
                  <a:gd name="connsiteY68" fmla="*/ 181166 h 619125"/>
                  <a:gd name="connsiteX69" fmla="*/ 630365 w 857250"/>
                  <a:gd name="connsiteY69" fmla="*/ 184023 h 619125"/>
                  <a:gd name="connsiteX70" fmla="*/ 627507 w 857250"/>
                  <a:gd name="connsiteY70" fmla="*/ 186881 h 619125"/>
                  <a:gd name="connsiteX71" fmla="*/ 621792 w 857250"/>
                  <a:gd name="connsiteY71" fmla="*/ 189738 h 619125"/>
                  <a:gd name="connsiteX72" fmla="*/ 618935 w 857250"/>
                  <a:gd name="connsiteY72" fmla="*/ 192596 h 619125"/>
                  <a:gd name="connsiteX73" fmla="*/ 616077 w 857250"/>
                  <a:gd name="connsiteY73" fmla="*/ 195453 h 619125"/>
                  <a:gd name="connsiteX74" fmla="*/ 616077 w 857250"/>
                  <a:gd name="connsiteY74" fmla="*/ 201168 h 619125"/>
                  <a:gd name="connsiteX75" fmla="*/ 613220 w 857250"/>
                  <a:gd name="connsiteY75" fmla="*/ 186785 h 619125"/>
                  <a:gd name="connsiteX76" fmla="*/ 610362 w 857250"/>
                  <a:gd name="connsiteY76" fmla="*/ 186785 h 619125"/>
                  <a:gd name="connsiteX77" fmla="*/ 607505 w 857250"/>
                  <a:gd name="connsiteY77" fmla="*/ 189643 h 619125"/>
                  <a:gd name="connsiteX78" fmla="*/ 607505 w 857250"/>
                  <a:gd name="connsiteY78" fmla="*/ 192500 h 619125"/>
                  <a:gd name="connsiteX79" fmla="*/ 604647 w 857250"/>
                  <a:gd name="connsiteY79" fmla="*/ 195358 h 619125"/>
                  <a:gd name="connsiteX80" fmla="*/ 604647 w 857250"/>
                  <a:gd name="connsiteY80" fmla="*/ 198215 h 619125"/>
                  <a:gd name="connsiteX81" fmla="*/ 604647 w 857250"/>
                  <a:gd name="connsiteY81" fmla="*/ 201073 h 619125"/>
                  <a:gd name="connsiteX82" fmla="*/ 601790 w 857250"/>
                  <a:gd name="connsiteY82" fmla="*/ 198215 h 619125"/>
                  <a:gd name="connsiteX83" fmla="*/ 598932 w 857250"/>
                  <a:gd name="connsiteY83" fmla="*/ 198215 h 619125"/>
                  <a:gd name="connsiteX84" fmla="*/ 593217 w 857250"/>
                  <a:gd name="connsiteY84" fmla="*/ 198215 h 619125"/>
                  <a:gd name="connsiteX85" fmla="*/ 590360 w 857250"/>
                  <a:gd name="connsiteY85" fmla="*/ 198215 h 619125"/>
                  <a:gd name="connsiteX86" fmla="*/ 587502 w 857250"/>
                  <a:gd name="connsiteY86" fmla="*/ 198215 h 619125"/>
                  <a:gd name="connsiteX87" fmla="*/ 584645 w 857250"/>
                  <a:gd name="connsiteY87" fmla="*/ 198215 h 619125"/>
                  <a:gd name="connsiteX88" fmla="*/ 584645 w 857250"/>
                  <a:gd name="connsiteY88" fmla="*/ 201073 h 619125"/>
                  <a:gd name="connsiteX89" fmla="*/ 581787 w 857250"/>
                  <a:gd name="connsiteY89" fmla="*/ 201073 h 619125"/>
                  <a:gd name="connsiteX90" fmla="*/ 578930 w 857250"/>
                  <a:gd name="connsiteY90" fmla="*/ 201073 h 619125"/>
                  <a:gd name="connsiteX91" fmla="*/ 578930 w 857250"/>
                  <a:gd name="connsiteY91" fmla="*/ 203930 h 619125"/>
                  <a:gd name="connsiteX92" fmla="*/ 576072 w 857250"/>
                  <a:gd name="connsiteY92" fmla="*/ 203930 h 619125"/>
                  <a:gd name="connsiteX93" fmla="*/ 550545 w 857250"/>
                  <a:gd name="connsiteY93" fmla="*/ 201073 h 619125"/>
                  <a:gd name="connsiteX94" fmla="*/ 546640 w 857250"/>
                  <a:gd name="connsiteY94" fmla="*/ 209074 h 619125"/>
                  <a:gd name="connsiteX95" fmla="*/ 544354 w 857250"/>
                  <a:gd name="connsiteY95" fmla="*/ 199835 h 619125"/>
                  <a:gd name="connsiteX96" fmla="*/ 541496 w 857250"/>
                  <a:gd name="connsiteY96" fmla="*/ 188405 h 619125"/>
                  <a:gd name="connsiteX97" fmla="*/ 535781 w 857250"/>
                  <a:gd name="connsiteY97" fmla="*/ 191262 h 619125"/>
                  <a:gd name="connsiteX98" fmla="*/ 527304 w 857250"/>
                  <a:gd name="connsiteY98" fmla="*/ 179832 h 619125"/>
                  <a:gd name="connsiteX99" fmla="*/ 524447 w 857250"/>
                  <a:gd name="connsiteY99" fmla="*/ 179832 h 619125"/>
                  <a:gd name="connsiteX100" fmla="*/ 513112 w 857250"/>
                  <a:gd name="connsiteY100" fmla="*/ 179832 h 619125"/>
                  <a:gd name="connsiteX101" fmla="*/ 504635 w 857250"/>
                  <a:gd name="connsiteY101" fmla="*/ 179832 h 619125"/>
                  <a:gd name="connsiteX102" fmla="*/ 498920 w 857250"/>
                  <a:gd name="connsiteY102" fmla="*/ 176975 h 619125"/>
                  <a:gd name="connsiteX103" fmla="*/ 496062 w 857250"/>
                  <a:gd name="connsiteY103" fmla="*/ 171260 h 619125"/>
                  <a:gd name="connsiteX104" fmla="*/ 490347 w 857250"/>
                  <a:gd name="connsiteY104" fmla="*/ 165544 h 619125"/>
                  <a:gd name="connsiteX105" fmla="*/ 481870 w 857250"/>
                  <a:gd name="connsiteY105" fmla="*/ 162687 h 619125"/>
                  <a:gd name="connsiteX106" fmla="*/ 470535 w 857250"/>
                  <a:gd name="connsiteY106" fmla="*/ 159830 h 619125"/>
                  <a:gd name="connsiteX107" fmla="*/ 464820 w 857250"/>
                  <a:gd name="connsiteY107" fmla="*/ 154115 h 619125"/>
                  <a:gd name="connsiteX108" fmla="*/ 464820 w 857250"/>
                  <a:gd name="connsiteY108" fmla="*/ 136970 h 619125"/>
                  <a:gd name="connsiteX109" fmla="*/ 461963 w 857250"/>
                  <a:gd name="connsiteY109" fmla="*/ 128397 h 619125"/>
                  <a:gd name="connsiteX110" fmla="*/ 459105 w 857250"/>
                  <a:gd name="connsiteY110" fmla="*/ 119825 h 619125"/>
                  <a:gd name="connsiteX111" fmla="*/ 453390 w 857250"/>
                  <a:gd name="connsiteY111" fmla="*/ 116967 h 619125"/>
                  <a:gd name="connsiteX112" fmla="*/ 442055 w 857250"/>
                  <a:gd name="connsiteY112" fmla="*/ 116967 h 619125"/>
                  <a:gd name="connsiteX113" fmla="*/ 430721 w 857250"/>
                  <a:gd name="connsiteY113" fmla="*/ 111252 h 619125"/>
                  <a:gd name="connsiteX114" fmla="*/ 427863 w 857250"/>
                  <a:gd name="connsiteY114" fmla="*/ 108395 h 619125"/>
                  <a:gd name="connsiteX115" fmla="*/ 422148 w 857250"/>
                  <a:gd name="connsiteY115" fmla="*/ 99822 h 619125"/>
                  <a:gd name="connsiteX116" fmla="*/ 413671 w 857250"/>
                  <a:gd name="connsiteY116" fmla="*/ 96965 h 619125"/>
                  <a:gd name="connsiteX117" fmla="*/ 405194 w 857250"/>
                  <a:gd name="connsiteY117" fmla="*/ 99822 h 619125"/>
                  <a:gd name="connsiteX118" fmla="*/ 396716 w 857250"/>
                  <a:gd name="connsiteY118" fmla="*/ 82677 h 619125"/>
                  <a:gd name="connsiteX119" fmla="*/ 376809 w 857250"/>
                  <a:gd name="connsiteY119" fmla="*/ 82677 h 619125"/>
                  <a:gd name="connsiteX120" fmla="*/ 376809 w 857250"/>
                  <a:gd name="connsiteY120" fmla="*/ 79820 h 619125"/>
                  <a:gd name="connsiteX121" fmla="*/ 365474 w 857250"/>
                  <a:gd name="connsiteY121" fmla="*/ 56960 h 619125"/>
                  <a:gd name="connsiteX122" fmla="*/ 362617 w 857250"/>
                  <a:gd name="connsiteY122" fmla="*/ 54102 h 619125"/>
                  <a:gd name="connsiteX123" fmla="*/ 356902 w 857250"/>
                  <a:gd name="connsiteY123" fmla="*/ 48387 h 619125"/>
                  <a:gd name="connsiteX124" fmla="*/ 351187 w 857250"/>
                  <a:gd name="connsiteY124" fmla="*/ 42672 h 619125"/>
                  <a:gd name="connsiteX125" fmla="*/ 342710 w 857250"/>
                  <a:gd name="connsiteY125" fmla="*/ 39815 h 619125"/>
                  <a:gd name="connsiteX126" fmla="*/ 331375 w 857250"/>
                  <a:gd name="connsiteY126" fmla="*/ 36957 h 619125"/>
                  <a:gd name="connsiteX127" fmla="*/ 325660 w 857250"/>
                  <a:gd name="connsiteY127" fmla="*/ 39815 h 619125"/>
                  <a:gd name="connsiteX128" fmla="*/ 325660 w 857250"/>
                  <a:gd name="connsiteY128" fmla="*/ 42672 h 619125"/>
                  <a:gd name="connsiteX129" fmla="*/ 322802 w 857250"/>
                  <a:gd name="connsiteY129" fmla="*/ 45530 h 619125"/>
                  <a:gd name="connsiteX130" fmla="*/ 317087 w 857250"/>
                  <a:gd name="connsiteY130" fmla="*/ 42672 h 619125"/>
                  <a:gd name="connsiteX131" fmla="*/ 314230 w 857250"/>
                  <a:gd name="connsiteY131" fmla="*/ 39815 h 619125"/>
                  <a:gd name="connsiteX132" fmla="*/ 314230 w 857250"/>
                  <a:gd name="connsiteY132" fmla="*/ 34100 h 619125"/>
                  <a:gd name="connsiteX133" fmla="*/ 314230 w 857250"/>
                  <a:gd name="connsiteY133" fmla="*/ 31242 h 619125"/>
                  <a:gd name="connsiteX134" fmla="*/ 314230 w 857250"/>
                  <a:gd name="connsiteY134" fmla="*/ 25527 h 619125"/>
                  <a:gd name="connsiteX135" fmla="*/ 311372 w 857250"/>
                  <a:gd name="connsiteY135" fmla="*/ 19812 h 619125"/>
                  <a:gd name="connsiteX136" fmla="*/ 308515 w 857250"/>
                  <a:gd name="connsiteY136" fmla="*/ 16955 h 619125"/>
                  <a:gd name="connsiteX137" fmla="*/ 305657 w 857250"/>
                  <a:gd name="connsiteY137" fmla="*/ 16955 h 619125"/>
                  <a:gd name="connsiteX138" fmla="*/ 291465 w 857250"/>
                  <a:gd name="connsiteY138" fmla="*/ 14097 h 619125"/>
                  <a:gd name="connsiteX139" fmla="*/ 288608 w 857250"/>
                  <a:gd name="connsiteY139" fmla="*/ 11239 h 619125"/>
                  <a:gd name="connsiteX140" fmla="*/ 285750 w 857250"/>
                  <a:gd name="connsiteY140" fmla="*/ 8382 h 619125"/>
                  <a:gd name="connsiteX141" fmla="*/ 282893 w 857250"/>
                  <a:gd name="connsiteY141" fmla="*/ 8382 h 619125"/>
                  <a:gd name="connsiteX142" fmla="*/ 280035 w 857250"/>
                  <a:gd name="connsiteY142" fmla="*/ 5525 h 619125"/>
                  <a:gd name="connsiteX143" fmla="*/ 273272 w 857250"/>
                  <a:gd name="connsiteY143" fmla="*/ 8573 h 619125"/>
                  <a:gd name="connsiteX144" fmla="*/ 270415 w 857250"/>
                  <a:gd name="connsiteY144" fmla="*/ 8573 h 619125"/>
                  <a:gd name="connsiteX145" fmla="*/ 264700 w 857250"/>
                  <a:gd name="connsiteY145" fmla="*/ 8573 h 619125"/>
                  <a:gd name="connsiteX146" fmla="*/ 264700 w 857250"/>
                  <a:gd name="connsiteY146" fmla="*/ 11430 h 619125"/>
                  <a:gd name="connsiteX147" fmla="*/ 261842 w 857250"/>
                  <a:gd name="connsiteY147" fmla="*/ 11430 h 619125"/>
                  <a:gd name="connsiteX148" fmla="*/ 261842 w 857250"/>
                  <a:gd name="connsiteY148" fmla="*/ 14288 h 619125"/>
                  <a:gd name="connsiteX149" fmla="*/ 258985 w 857250"/>
                  <a:gd name="connsiteY149" fmla="*/ 17145 h 619125"/>
                  <a:gd name="connsiteX150" fmla="*/ 256127 w 857250"/>
                  <a:gd name="connsiteY150" fmla="*/ 17145 h 619125"/>
                  <a:gd name="connsiteX151" fmla="*/ 256127 w 857250"/>
                  <a:gd name="connsiteY151" fmla="*/ 14288 h 619125"/>
                  <a:gd name="connsiteX152" fmla="*/ 256127 w 857250"/>
                  <a:gd name="connsiteY152" fmla="*/ 11430 h 619125"/>
                  <a:gd name="connsiteX153" fmla="*/ 253270 w 857250"/>
                  <a:gd name="connsiteY153" fmla="*/ 5715 h 619125"/>
                  <a:gd name="connsiteX154" fmla="*/ 247555 w 857250"/>
                  <a:gd name="connsiteY154" fmla="*/ 2858 h 619125"/>
                  <a:gd name="connsiteX155" fmla="*/ 241840 w 857250"/>
                  <a:gd name="connsiteY155" fmla="*/ 2858 h 619125"/>
                  <a:gd name="connsiteX156" fmla="*/ 238982 w 857250"/>
                  <a:gd name="connsiteY156" fmla="*/ 2858 h 619125"/>
                  <a:gd name="connsiteX157" fmla="*/ 236411 w 857250"/>
                  <a:gd name="connsiteY157" fmla="*/ 0 h 619125"/>
                  <a:gd name="connsiteX158" fmla="*/ 233553 w 857250"/>
                  <a:gd name="connsiteY158" fmla="*/ 0 h 619125"/>
                  <a:gd name="connsiteX159" fmla="*/ 230696 w 857250"/>
                  <a:gd name="connsiteY159" fmla="*/ 0 h 619125"/>
                  <a:gd name="connsiteX160" fmla="*/ 224980 w 857250"/>
                  <a:gd name="connsiteY160" fmla="*/ 2858 h 619125"/>
                  <a:gd name="connsiteX161" fmla="*/ 222123 w 857250"/>
                  <a:gd name="connsiteY161" fmla="*/ 2858 h 619125"/>
                  <a:gd name="connsiteX162" fmla="*/ 222123 w 857250"/>
                  <a:gd name="connsiteY162" fmla="*/ 5715 h 619125"/>
                  <a:gd name="connsiteX163" fmla="*/ 222123 w 857250"/>
                  <a:gd name="connsiteY163" fmla="*/ 11430 h 619125"/>
                  <a:gd name="connsiteX164" fmla="*/ 219266 w 857250"/>
                  <a:gd name="connsiteY164" fmla="*/ 11430 h 619125"/>
                  <a:gd name="connsiteX165" fmla="*/ 216408 w 857250"/>
                  <a:gd name="connsiteY165" fmla="*/ 11430 h 619125"/>
                  <a:gd name="connsiteX166" fmla="*/ 216408 w 857250"/>
                  <a:gd name="connsiteY166" fmla="*/ 5715 h 619125"/>
                  <a:gd name="connsiteX167" fmla="*/ 213551 w 857250"/>
                  <a:gd name="connsiteY167" fmla="*/ 5715 h 619125"/>
                  <a:gd name="connsiteX168" fmla="*/ 210693 w 857250"/>
                  <a:gd name="connsiteY168" fmla="*/ 5715 h 619125"/>
                  <a:gd name="connsiteX169" fmla="*/ 204978 w 857250"/>
                  <a:gd name="connsiteY169" fmla="*/ 5715 h 619125"/>
                  <a:gd name="connsiteX170" fmla="*/ 202121 w 857250"/>
                  <a:gd name="connsiteY170" fmla="*/ 8573 h 619125"/>
                  <a:gd name="connsiteX171" fmla="*/ 193643 w 857250"/>
                  <a:gd name="connsiteY171" fmla="*/ 14288 h 619125"/>
                  <a:gd name="connsiteX172" fmla="*/ 187928 w 857250"/>
                  <a:gd name="connsiteY172" fmla="*/ 20003 h 619125"/>
                  <a:gd name="connsiteX173" fmla="*/ 185071 w 857250"/>
                  <a:gd name="connsiteY173" fmla="*/ 20003 h 619125"/>
                  <a:gd name="connsiteX174" fmla="*/ 179356 w 857250"/>
                  <a:gd name="connsiteY174" fmla="*/ 20003 h 619125"/>
                  <a:gd name="connsiteX175" fmla="*/ 176498 w 857250"/>
                  <a:gd name="connsiteY175" fmla="*/ 20003 h 619125"/>
                  <a:gd name="connsiteX176" fmla="*/ 173641 w 857250"/>
                  <a:gd name="connsiteY176" fmla="*/ 20003 h 619125"/>
                  <a:gd name="connsiteX177" fmla="*/ 173641 w 857250"/>
                  <a:gd name="connsiteY177" fmla="*/ 22860 h 619125"/>
                  <a:gd name="connsiteX178" fmla="*/ 173641 w 857250"/>
                  <a:gd name="connsiteY178" fmla="*/ 28575 h 619125"/>
                  <a:gd name="connsiteX179" fmla="*/ 165164 w 857250"/>
                  <a:gd name="connsiteY179" fmla="*/ 31433 h 619125"/>
                  <a:gd name="connsiteX180" fmla="*/ 162306 w 857250"/>
                  <a:gd name="connsiteY180" fmla="*/ 31433 h 619125"/>
                  <a:gd name="connsiteX181" fmla="*/ 159449 w 857250"/>
                  <a:gd name="connsiteY181" fmla="*/ 31433 h 619125"/>
                  <a:gd name="connsiteX182" fmla="*/ 156972 w 857250"/>
                  <a:gd name="connsiteY182" fmla="*/ 28575 h 619125"/>
                  <a:gd name="connsiteX183" fmla="*/ 148495 w 857250"/>
                  <a:gd name="connsiteY183" fmla="*/ 22860 h 619125"/>
                  <a:gd name="connsiteX184" fmla="*/ 142780 w 857250"/>
                  <a:gd name="connsiteY184" fmla="*/ 22860 h 619125"/>
                  <a:gd name="connsiteX185" fmla="*/ 137065 w 857250"/>
                  <a:gd name="connsiteY185" fmla="*/ 20003 h 619125"/>
                  <a:gd name="connsiteX186" fmla="*/ 131350 w 857250"/>
                  <a:gd name="connsiteY186" fmla="*/ 20003 h 619125"/>
                  <a:gd name="connsiteX187" fmla="*/ 131350 w 857250"/>
                  <a:gd name="connsiteY187" fmla="*/ 25718 h 619125"/>
                  <a:gd name="connsiteX188" fmla="*/ 134207 w 857250"/>
                  <a:gd name="connsiteY188" fmla="*/ 25718 h 619125"/>
                  <a:gd name="connsiteX189" fmla="*/ 134207 w 857250"/>
                  <a:gd name="connsiteY189" fmla="*/ 28575 h 619125"/>
                  <a:gd name="connsiteX190" fmla="*/ 137065 w 857250"/>
                  <a:gd name="connsiteY190" fmla="*/ 28575 h 619125"/>
                  <a:gd name="connsiteX191" fmla="*/ 139922 w 857250"/>
                  <a:gd name="connsiteY191" fmla="*/ 28575 h 619125"/>
                  <a:gd name="connsiteX192" fmla="*/ 142780 w 857250"/>
                  <a:gd name="connsiteY192" fmla="*/ 31433 h 619125"/>
                  <a:gd name="connsiteX193" fmla="*/ 148495 w 857250"/>
                  <a:gd name="connsiteY193" fmla="*/ 34290 h 619125"/>
                  <a:gd name="connsiteX194" fmla="*/ 148495 w 857250"/>
                  <a:gd name="connsiteY194" fmla="*/ 37148 h 619125"/>
                  <a:gd name="connsiteX195" fmla="*/ 151352 w 857250"/>
                  <a:gd name="connsiteY195" fmla="*/ 37148 h 619125"/>
                  <a:gd name="connsiteX196" fmla="*/ 151352 w 857250"/>
                  <a:gd name="connsiteY196" fmla="*/ 40005 h 619125"/>
                  <a:gd name="connsiteX197" fmla="*/ 151352 w 857250"/>
                  <a:gd name="connsiteY197" fmla="*/ 42863 h 619125"/>
                  <a:gd name="connsiteX198" fmla="*/ 151352 w 857250"/>
                  <a:gd name="connsiteY198" fmla="*/ 45720 h 619125"/>
                  <a:gd name="connsiteX199" fmla="*/ 148495 w 857250"/>
                  <a:gd name="connsiteY199" fmla="*/ 45720 h 619125"/>
                  <a:gd name="connsiteX200" fmla="*/ 145637 w 857250"/>
                  <a:gd name="connsiteY200" fmla="*/ 45720 h 619125"/>
                  <a:gd name="connsiteX201" fmla="*/ 142780 w 857250"/>
                  <a:gd name="connsiteY201" fmla="*/ 42767 h 619125"/>
                  <a:gd name="connsiteX202" fmla="*/ 139922 w 857250"/>
                  <a:gd name="connsiteY202" fmla="*/ 42767 h 619125"/>
                  <a:gd name="connsiteX203" fmla="*/ 137065 w 857250"/>
                  <a:gd name="connsiteY203" fmla="*/ 45625 h 619125"/>
                  <a:gd name="connsiteX204" fmla="*/ 134207 w 857250"/>
                  <a:gd name="connsiteY204" fmla="*/ 42767 h 619125"/>
                  <a:gd name="connsiteX205" fmla="*/ 131350 w 857250"/>
                  <a:gd name="connsiteY205" fmla="*/ 42767 h 619125"/>
                  <a:gd name="connsiteX206" fmla="*/ 128492 w 857250"/>
                  <a:gd name="connsiteY206" fmla="*/ 45625 h 619125"/>
                  <a:gd name="connsiteX207" fmla="*/ 125635 w 857250"/>
                  <a:gd name="connsiteY207" fmla="*/ 45625 h 619125"/>
                  <a:gd name="connsiteX208" fmla="*/ 119920 w 857250"/>
                  <a:gd name="connsiteY208" fmla="*/ 45625 h 619125"/>
                  <a:gd name="connsiteX209" fmla="*/ 119920 w 857250"/>
                  <a:gd name="connsiteY209" fmla="*/ 42767 h 619125"/>
                  <a:gd name="connsiteX210" fmla="*/ 117062 w 857250"/>
                  <a:gd name="connsiteY210" fmla="*/ 42767 h 619125"/>
                  <a:gd name="connsiteX211" fmla="*/ 114205 w 857250"/>
                  <a:gd name="connsiteY211" fmla="*/ 42767 h 619125"/>
                  <a:gd name="connsiteX212" fmla="*/ 108490 w 857250"/>
                  <a:gd name="connsiteY212" fmla="*/ 42767 h 619125"/>
                  <a:gd name="connsiteX213" fmla="*/ 102775 w 857250"/>
                  <a:gd name="connsiteY213" fmla="*/ 39910 h 619125"/>
                  <a:gd name="connsiteX214" fmla="*/ 97060 w 857250"/>
                  <a:gd name="connsiteY214" fmla="*/ 39910 h 619125"/>
                  <a:gd name="connsiteX215" fmla="*/ 85725 w 857250"/>
                  <a:gd name="connsiteY215" fmla="*/ 42767 h 619125"/>
                  <a:gd name="connsiteX216" fmla="*/ 85725 w 857250"/>
                  <a:gd name="connsiteY216" fmla="*/ 45625 h 619125"/>
                  <a:gd name="connsiteX217" fmla="*/ 80010 w 857250"/>
                  <a:gd name="connsiteY217" fmla="*/ 45625 h 619125"/>
                  <a:gd name="connsiteX218" fmla="*/ 77153 w 857250"/>
                  <a:gd name="connsiteY218" fmla="*/ 45625 h 619125"/>
                  <a:gd name="connsiteX219" fmla="*/ 74295 w 857250"/>
                  <a:gd name="connsiteY219" fmla="*/ 45625 h 619125"/>
                  <a:gd name="connsiteX220" fmla="*/ 74295 w 857250"/>
                  <a:gd name="connsiteY220" fmla="*/ 42767 h 619125"/>
                  <a:gd name="connsiteX221" fmla="*/ 71438 w 857250"/>
                  <a:gd name="connsiteY221" fmla="*/ 42767 h 619125"/>
                  <a:gd name="connsiteX222" fmla="*/ 68580 w 857250"/>
                  <a:gd name="connsiteY222" fmla="*/ 45625 h 619125"/>
                  <a:gd name="connsiteX223" fmla="*/ 65723 w 857250"/>
                  <a:gd name="connsiteY223" fmla="*/ 45625 h 619125"/>
                  <a:gd name="connsiteX224" fmla="*/ 62865 w 857250"/>
                  <a:gd name="connsiteY224" fmla="*/ 45625 h 619125"/>
                  <a:gd name="connsiteX225" fmla="*/ 60008 w 857250"/>
                  <a:gd name="connsiteY225" fmla="*/ 48482 h 619125"/>
                  <a:gd name="connsiteX226" fmla="*/ 60008 w 857250"/>
                  <a:gd name="connsiteY226" fmla="*/ 54197 h 619125"/>
                  <a:gd name="connsiteX227" fmla="*/ 62865 w 857250"/>
                  <a:gd name="connsiteY227" fmla="*/ 57055 h 619125"/>
                  <a:gd name="connsiteX228" fmla="*/ 62865 w 857250"/>
                  <a:gd name="connsiteY228" fmla="*/ 59912 h 619125"/>
                  <a:gd name="connsiteX229" fmla="*/ 60008 w 857250"/>
                  <a:gd name="connsiteY229" fmla="*/ 62770 h 619125"/>
                  <a:gd name="connsiteX230" fmla="*/ 60008 w 857250"/>
                  <a:gd name="connsiteY230" fmla="*/ 65627 h 619125"/>
                  <a:gd name="connsiteX231" fmla="*/ 60008 w 857250"/>
                  <a:gd name="connsiteY231" fmla="*/ 68485 h 619125"/>
                  <a:gd name="connsiteX232" fmla="*/ 57150 w 857250"/>
                  <a:gd name="connsiteY232" fmla="*/ 68485 h 619125"/>
                  <a:gd name="connsiteX233" fmla="*/ 51435 w 857250"/>
                  <a:gd name="connsiteY233" fmla="*/ 71342 h 619125"/>
                  <a:gd name="connsiteX234" fmla="*/ 51435 w 857250"/>
                  <a:gd name="connsiteY234" fmla="*/ 74200 h 619125"/>
                  <a:gd name="connsiteX235" fmla="*/ 51435 w 857250"/>
                  <a:gd name="connsiteY235" fmla="*/ 77057 h 619125"/>
                  <a:gd name="connsiteX236" fmla="*/ 45720 w 857250"/>
                  <a:gd name="connsiteY236" fmla="*/ 77057 h 619125"/>
                  <a:gd name="connsiteX237" fmla="*/ 42863 w 857250"/>
                  <a:gd name="connsiteY237" fmla="*/ 79915 h 619125"/>
                  <a:gd name="connsiteX238" fmla="*/ 40005 w 857250"/>
                  <a:gd name="connsiteY238" fmla="*/ 79915 h 619125"/>
                  <a:gd name="connsiteX239" fmla="*/ 40005 w 857250"/>
                  <a:gd name="connsiteY239" fmla="*/ 88487 h 619125"/>
                  <a:gd name="connsiteX240" fmla="*/ 37148 w 857250"/>
                  <a:gd name="connsiteY240" fmla="*/ 91345 h 619125"/>
                  <a:gd name="connsiteX241" fmla="*/ 34290 w 857250"/>
                  <a:gd name="connsiteY241" fmla="*/ 91345 h 619125"/>
                  <a:gd name="connsiteX242" fmla="*/ 31433 w 857250"/>
                  <a:gd name="connsiteY242" fmla="*/ 91345 h 619125"/>
                  <a:gd name="connsiteX243" fmla="*/ 28575 w 857250"/>
                  <a:gd name="connsiteY243" fmla="*/ 97060 h 619125"/>
                  <a:gd name="connsiteX244" fmla="*/ 28575 w 857250"/>
                  <a:gd name="connsiteY244" fmla="*/ 99917 h 619125"/>
                  <a:gd name="connsiteX245" fmla="*/ 25718 w 857250"/>
                  <a:gd name="connsiteY245" fmla="*/ 99917 h 619125"/>
                  <a:gd name="connsiteX246" fmla="*/ 22860 w 857250"/>
                  <a:gd name="connsiteY246" fmla="*/ 99917 h 619125"/>
                  <a:gd name="connsiteX247" fmla="*/ 20003 w 857250"/>
                  <a:gd name="connsiteY247" fmla="*/ 102775 h 619125"/>
                  <a:gd name="connsiteX248" fmla="*/ 17145 w 857250"/>
                  <a:gd name="connsiteY248" fmla="*/ 105632 h 619125"/>
                  <a:gd name="connsiteX249" fmla="*/ 14288 w 857250"/>
                  <a:gd name="connsiteY249" fmla="*/ 105632 h 619125"/>
                  <a:gd name="connsiteX250" fmla="*/ 11430 w 857250"/>
                  <a:gd name="connsiteY250" fmla="*/ 105632 h 619125"/>
                  <a:gd name="connsiteX251" fmla="*/ 8573 w 857250"/>
                  <a:gd name="connsiteY251" fmla="*/ 105632 h 619125"/>
                  <a:gd name="connsiteX252" fmla="*/ 5715 w 857250"/>
                  <a:gd name="connsiteY252" fmla="*/ 105632 h 619125"/>
                  <a:gd name="connsiteX253" fmla="*/ 5715 w 857250"/>
                  <a:gd name="connsiteY253" fmla="*/ 108490 h 619125"/>
                  <a:gd name="connsiteX254" fmla="*/ 5715 w 857250"/>
                  <a:gd name="connsiteY254" fmla="*/ 111347 h 619125"/>
                  <a:gd name="connsiteX255" fmla="*/ 2858 w 857250"/>
                  <a:gd name="connsiteY255" fmla="*/ 117062 h 619125"/>
                  <a:gd name="connsiteX256" fmla="*/ 2858 w 857250"/>
                  <a:gd name="connsiteY256" fmla="*/ 119920 h 619125"/>
                  <a:gd name="connsiteX257" fmla="*/ 2858 w 857250"/>
                  <a:gd name="connsiteY257" fmla="*/ 122777 h 619125"/>
                  <a:gd name="connsiteX258" fmla="*/ 0 w 857250"/>
                  <a:gd name="connsiteY258" fmla="*/ 125635 h 619125"/>
                  <a:gd name="connsiteX259" fmla="*/ 0 w 857250"/>
                  <a:gd name="connsiteY259" fmla="*/ 128492 h 619125"/>
                  <a:gd name="connsiteX260" fmla="*/ 0 w 857250"/>
                  <a:gd name="connsiteY260" fmla="*/ 131350 h 619125"/>
                  <a:gd name="connsiteX261" fmla="*/ 2858 w 857250"/>
                  <a:gd name="connsiteY261" fmla="*/ 131350 h 619125"/>
                  <a:gd name="connsiteX262" fmla="*/ 5715 w 857250"/>
                  <a:gd name="connsiteY262" fmla="*/ 137065 h 619125"/>
                  <a:gd name="connsiteX263" fmla="*/ 8573 w 857250"/>
                  <a:gd name="connsiteY263" fmla="*/ 139922 h 619125"/>
                  <a:gd name="connsiteX264" fmla="*/ 95 w 857250"/>
                  <a:gd name="connsiteY264" fmla="*/ 154210 h 619125"/>
                  <a:gd name="connsiteX265" fmla="*/ 2953 w 857250"/>
                  <a:gd name="connsiteY265" fmla="*/ 157067 h 619125"/>
                  <a:gd name="connsiteX266" fmla="*/ 14288 w 857250"/>
                  <a:gd name="connsiteY266" fmla="*/ 162782 h 619125"/>
                  <a:gd name="connsiteX267" fmla="*/ 25622 w 857250"/>
                  <a:gd name="connsiteY267" fmla="*/ 162782 h 619125"/>
                  <a:gd name="connsiteX268" fmla="*/ 28480 w 857250"/>
                  <a:gd name="connsiteY268" fmla="*/ 165640 h 619125"/>
                  <a:gd name="connsiteX269" fmla="*/ 31337 w 857250"/>
                  <a:gd name="connsiteY269" fmla="*/ 162782 h 619125"/>
                  <a:gd name="connsiteX270" fmla="*/ 37052 w 857250"/>
                  <a:gd name="connsiteY270" fmla="*/ 159925 h 619125"/>
                  <a:gd name="connsiteX271" fmla="*/ 48387 w 857250"/>
                  <a:gd name="connsiteY271" fmla="*/ 157067 h 619125"/>
                  <a:gd name="connsiteX272" fmla="*/ 51245 w 857250"/>
                  <a:gd name="connsiteY272" fmla="*/ 157067 h 619125"/>
                  <a:gd name="connsiteX273" fmla="*/ 51245 w 857250"/>
                  <a:gd name="connsiteY273" fmla="*/ 159925 h 619125"/>
                  <a:gd name="connsiteX274" fmla="*/ 54102 w 857250"/>
                  <a:gd name="connsiteY274" fmla="*/ 159925 h 619125"/>
                  <a:gd name="connsiteX275" fmla="*/ 54102 w 857250"/>
                  <a:gd name="connsiteY275" fmla="*/ 162782 h 619125"/>
                  <a:gd name="connsiteX276" fmla="*/ 56960 w 857250"/>
                  <a:gd name="connsiteY276" fmla="*/ 162782 h 619125"/>
                  <a:gd name="connsiteX277" fmla="*/ 59817 w 857250"/>
                  <a:gd name="connsiteY277" fmla="*/ 159925 h 619125"/>
                  <a:gd name="connsiteX278" fmla="*/ 59817 w 857250"/>
                  <a:gd name="connsiteY278" fmla="*/ 157067 h 619125"/>
                  <a:gd name="connsiteX279" fmla="*/ 62675 w 857250"/>
                  <a:gd name="connsiteY279" fmla="*/ 157067 h 619125"/>
                  <a:gd name="connsiteX280" fmla="*/ 62675 w 857250"/>
                  <a:gd name="connsiteY280" fmla="*/ 159925 h 619125"/>
                  <a:gd name="connsiteX281" fmla="*/ 62675 w 857250"/>
                  <a:gd name="connsiteY281" fmla="*/ 162782 h 619125"/>
                  <a:gd name="connsiteX282" fmla="*/ 65532 w 857250"/>
                  <a:gd name="connsiteY282" fmla="*/ 162782 h 619125"/>
                  <a:gd name="connsiteX283" fmla="*/ 68390 w 857250"/>
                  <a:gd name="connsiteY283" fmla="*/ 165640 h 619125"/>
                  <a:gd name="connsiteX284" fmla="*/ 68390 w 857250"/>
                  <a:gd name="connsiteY284" fmla="*/ 168497 h 619125"/>
                  <a:gd name="connsiteX285" fmla="*/ 65532 w 857250"/>
                  <a:gd name="connsiteY285" fmla="*/ 168497 h 619125"/>
                  <a:gd name="connsiteX286" fmla="*/ 65532 w 857250"/>
                  <a:gd name="connsiteY286" fmla="*/ 177070 h 619125"/>
                  <a:gd name="connsiteX287" fmla="*/ 65532 w 857250"/>
                  <a:gd name="connsiteY287" fmla="*/ 179927 h 619125"/>
                  <a:gd name="connsiteX288" fmla="*/ 68390 w 857250"/>
                  <a:gd name="connsiteY288" fmla="*/ 179927 h 619125"/>
                  <a:gd name="connsiteX289" fmla="*/ 76867 w 857250"/>
                  <a:gd name="connsiteY289" fmla="*/ 188500 h 619125"/>
                  <a:gd name="connsiteX290" fmla="*/ 79724 w 857250"/>
                  <a:gd name="connsiteY290" fmla="*/ 188500 h 619125"/>
                  <a:gd name="connsiteX291" fmla="*/ 82582 w 857250"/>
                  <a:gd name="connsiteY291" fmla="*/ 191357 h 619125"/>
                  <a:gd name="connsiteX292" fmla="*/ 82582 w 857250"/>
                  <a:gd name="connsiteY292" fmla="*/ 194215 h 619125"/>
                  <a:gd name="connsiteX293" fmla="*/ 85439 w 857250"/>
                  <a:gd name="connsiteY293" fmla="*/ 194215 h 619125"/>
                  <a:gd name="connsiteX294" fmla="*/ 85439 w 857250"/>
                  <a:gd name="connsiteY294" fmla="*/ 197072 h 619125"/>
                  <a:gd name="connsiteX295" fmla="*/ 91154 w 857250"/>
                  <a:gd name="connsiteY295" fmla="*/ 197072 h 619125"/>
                  <a:gd name="connsiteX296" fmla="*/ 94012 w 857250"/>
                  <a:gd name="connsiteY296" fmla="*/ 197072 h 619125"/>
                  <a:gd name="connsiteX297" fmla="*/ 94012 w 857250"/>
                  <a:gd name="connsiteY297" fmla="*/ 199930 h 619125"/>
                  <a:gd name="connsiteX298" fmla="*/ 96869 w 857250"/>
                  <a:gd name="connsiteY298" fmla="*/ 199930 h 619125"/>
                  <a:gd name="connsiteX299" fmla="*/ 96869 w 857250"/>
                  <a:gd name="connsiteY299" fmla="*/ 202787 h 619125"/>
                  <a:gd name="connsiteX300" fmla="*/ 99727 w 857250"/>
                  <a:gd name="connsiteY300" fmla="*/ 202787 h 619125"/>
                  <a:gd name="connsiteX301" fmla="*/ 102584 w 857250"/>
                  <a:gd name="connsiteY301" fmla="*/ 202787 h 619125"/>
                  <a:gd name="connsiteX302" fmla="*/ 108299 w 857250"/>
                  <a:gd name="connsiteY302" fmla="*/ 205645 h 619125"/>
                  <a:gd name="connsiteX303" fmla="*/ 114014 w 857250"/>
                  <a:gd name="connsiteY303" fmla="*/ 202787 h 619125"/>
                  <a:gd name="connsiteX304" fmla="*/ 119729 w 857250"/>
                  <a:gd name="connsiteY304" fmla="*/ 202787 h 619125"/>
                  <a:gd name="connsiteX305" fmla="*/ 136779 w 857250"/>
                  <a:gd name="connsiteY305" fmla="*/ 205645 h 619125"/>
                  <a:gd name="connsiteX306" fmla="*/ 136779 w 857250"/>
                  <a:gd name="connsiteY306" fmla="*/ 208502 h 619125"/>
                  <a:gd name="connsiteX307" fmla="*/ 136779 w 857250"/>
                  <a:gd name="connsiteY307" fmla="*/ 217075 h 619125"/>
                  <a:gd name="connsiteX308" fmla="*/ 133922 w 857250"/>
                  <a:gd name="connsiteY308" fmla="*/ 219932 h 619125"/>
                  <a:gd name="connsiteX309" fmla="*/ 131064 w 857250"/>
                  <a:gd name="connsiteY309" fmla="*/ 219932 h 619125"/>
                  <a:gd name="connsiteX310" fmla="*/ 131064 w 857250"/>
                  <a:gd name="connsiteY310" fmla="*/ 222790 h 619125"/>
                  <a:gd name="connsiteX311" fmla="*/ 128207 w 857250"/>
                  <a:gd name="connsiteY311" fmla="*/ 228505 h 619125"/>
                  <a:gd name="connsiteX312" fmla="*/ 128207 w 857250"/>
                  <a:gd name="connsiteY312" fmla="*/ 234220 h 619125"/>
                  <a:gd name="connsiteX313" fmla="*/ 131064 w 857250"/>
                  <a:gd name="connsiteY313" fmla="*/ 239935 h 619125"/>
                  <a:gd name="connsiteX314" fmla="*/ 131064 w 857250"/>
                  <a:gd name="connsiteY314" fmla="*/ 248507 h 619125"/>
                  <a:gd name="connsiteX315" fmla="*/ 133922 w 857250"/>
                  <a:gd name="connsiteY315" fmla="*/ 248507 h 619125"/>
                  <a:gd name="connsiteX316" fmla="*/ 136779 w 857250"/>
                  <a:gd name="connsiteY316" fmla="*/ 245650 h 619125"/>
                  <a:gd name="connsiteX317" fmla="*/ 142494 w 857250"/>
                  <a:gd name="connsiteY317" fmla="*/ 245650 h 619125"/>
                  <a:gd name="connsiteX318" fmla="*/ 145351 w 857250"/>
                  <a:gd name="connsiteY318" fmla="*/ 245650 h 619125"/>
                  <a:gd name="connsiteX319" fmla="*/ 145351 w 857250"/>
                  <a:gd name="connsiteY319" fmla="*/ 248507 h 619125"/>
                  <a:gd name="connsiteX320" fmla="*/ 148209 w 857250"/>
                  <a:gd name="connsiteY320" fmla="*/ 248507 h 619125"/>
                  <a:gd name="connsiteX321" fmla="*/ 151067 w 857250"/>
                  <a:gd name="connsiteY321" fmla="*/ 248507 h 619125"/>
                  <a:gd name="connsiteX322" fmla="*/ 153924 w 857250"/>
                  <a:gd name="connsiteY322" fmla="*/ 248507 h 619125"/>
                  <a:gd name="connsiteX323" fmla="*/ 156782 w 857250"/>
                  <a:gd name="connsiteY323" fmla="*/ 254222 h 619125"/>
                  <a:gd name="connsiteX324" fmla="*/ 159639 w 857250"/>
                  <a:gd name="connsiteY324" fmla="*/ 254222 h 619125"/>
                  <a:gd name="connsiteX325" fmla="*/ 162497 w 857250"/>
                  <a:gd name="connsiteY325" fmla="*/ 254222 h 619125"/>
                  <a:gd name="connsiteX326" fmla="*/ 165354 w 857250"/>
                  <a:gd name="connsiteY326" fmla="*/ 257080 h 619125"/>
                  <a:gd name="connsiteX327" fmla="*/ 173831 w 857250"/>
                  <a:gd name="connsiteY327" fmla="*/ 257080 h 619125"/>
                  <a:gd name="connsiteX328" fmla="*/ 173831 w 857250"/>
                  <a:gd name="connsiteY328" fmla="*/ 259937 h 619125"/>
                  <a:gd name="connsiteX329" fmla="*/ 176689 w 857250"/>
                  <a:gd name="connsiteY329" fmla="*/ 262795 h 619125"/>
                  <a:gd name="connsiteX330" fmla="*/ 173831 w 857250"/>
                  <a:gd name="connsiteY330" fmla="*/ 262795 h 619125"/>
                  <a:gd name="connsiteX331" fmla="*/ 172403 w 857250"/>
                  <a:gd name="connsiteY331" fmla="*/ 264224 h 619125"/>
                  <a:gd name="connsiteX332" fmla="*/ 181928 w 857250"/>
                  <a:gd name="connsiteY332" fmla="*/ 268129 h 619125"/>
                  <a:gd name="connsiteX333" fmla="*/ 194501 w 857250"/>
                  <a:gd name="connsiteY333" fmla="*/ 273272 h 619125"/>
                  <a:gd name="connsiteX334" fmla="*/ 199930 w 857250"/>
                  <a:gd name="connsiteY334" fmla="*/ 274320 h 619125"/>
                  <a:gd name="connsiteX335" fmla="*/ 212789 w 857250"/>
                  <a:gd name="connsiteY335" fmla="*/ 266414 h 619125"/>
                  <a:gd name="connsiteX336" fmla="*/ 214408 w 857250"/>
                  <a:gd name="connsiteY336" fmla="*/ 262890 h 619125"/>
                  <a:gd name="connsiteX337" fmla="*/ 221742 w 857250"/>
                  <a:gd name="connsiteY337" fmla="*/ 268605 h 619125"/>
                  <a:gd name="connsiteX338" fmla="*/ 225838 w 857250"/>
                  <a:gd name="connsiteY338" fmla="*/ 275939 h 619125"/>
                  <a:gd name="connsiteX339" fmla="*/ 227457 w 857250"/>
                  <a:gd name="connsiteY339" fmla="*/ 280892 h 619125"/>
                  <a:gd name="connsiteX340" fmla="*/ 227457 w 857250"/>
                  <a:gd name="connsiteY340" fmla="*/ 291560 h 619125"/>
                  <a:gd name="connsiteX341" fmla="*/ 229076 w 857250"/>
                  <a:gd name="connsiteY341" fmla="*/ 294608 h 619125"/>
                  <a:gd name="connsiteX342" fmla="*/ 236982 w 857250"/>
                  <a:gd name="connsiteY342" fmla="*/ 294608 h 619125"/>
                  <a:gd name="connsiteX343" fmla="*/ 242697 w 857250"/>
                  <a:gd name="connsiteY343" fmla="*/ 294608 h 619125"/>
                  <a:gd name="connsiteX344" fmla="*/ 247650 w 857250"/>
                  <a:gd name="connsiteY344" fmla="*/ 300323 h 619125"/>
                  <a:gd name="connsiteX345" fmla="*/ 253079 w 857250"/>
                  <a:gd name="connsiteY345" fmla="*/ 305276 h 619125"/>
                  <a:gd name="connsiteX346" fmla="*/ 258509 w 857250"/>
                  <a:gd name="connsiteY346" fmla="*/ 305276 h 619125"/>
                  <a:gd name="connsiteX347" fmla="*/ 262319 w 857250"/>
                  <a:gd name="connsiteY347" fmla="*/ 307753 h 619125"/>
                  <a:gd name="connsiteX348" fmla="*/ 266700 w 857250"/>
                  <a:gd name="connsiteY348" fmla="*/ 307753 h 619125"/>
                  <a:gd name="connsiteX349" fmla="*/ 271844 w 857250"/>
                  <a:gd name="connsiteY349" fmla="*/ 302990 h 619125"/>
                  <a:gd name="connsiteX350" fmla="*/ 275368 w 857250"/>
                  <a:gd name="connsiteY350" fmla="*/ 298418 h 619125"/>
                  <a:gd name="connsiteX351" fmla="*/ 278416 w 857250"/>
                  <a:gd name="connsiteY351" fmla="*/ 294608 h 619125"/>
                  <a:gd name="connsiteX352" fmla="*/ 285560 w 857250"/>
                  <a:gd name="connsiteY352" fmla="*/ 301181 h 619125"/>
                  <a:gd name="connsiteX353" fmla="*/ 290513 w 857250"/>
                  <a:gd name="connsiteY353" fmla="*/ 304419 h 619125"/>
                  <a:gd name="connsiteX354" fmla="*/ 294323 w 857250"/>
                  <a:gd name="connsiteY354" fmla="*/ 310420 h 619125"/>
                  <a:gd name="connsiteX355" fmla="*/ 295656 w 857250"/>
                  <a:gd name="connsiteY355" fmla="*/ 313468 h 619125"/>
                  <a:gd name="connsiteX356" fmla="*/ 295656 w 857250"/>
                  <a:gd name="connsiteY356" fmla="*/ 321088 h 619125"/>
                  <a:gd name="connsiteX357" fmla="*/ 295656 w 857250"/>
                  <a:gd name="connsiteY357" fmla="*/ 327946 h 619125"/>
                  <a:gd name="connsiteX358" fmla="*/ 301371 w 857250"/>
                  <a:gd name="connsiteY358" fmla="*/ 331756 h 619125"/>
                  <a:gd name="connsiteX359" fmla="*/ 306515 w 857250"/>
                  <a:gd name="connsiteY359" fmla="*/ 333947 h 619125"/>
                  <a:gd name="connsiteX360" fmla="*/ 309277 w 857250"/>
                  <a:gd name="connsiteY360" fmla="*/ 338614 h 619125"/>
                  <a:gd name="connsiteX361" fmla="*/ 309277 w 857250"/>
                  <a:gd name="connsiteY361" fmla="*/ 344900 h 619125"/>
                  <a:gd name="connsiteX362" fmla="*/ 307086 w 857250"/>
                  <a:gd name="connsiteY362" fmla="*/ 348425 h 619125"/>
                  <a:gd name="connsiteX363" fmla="*/ 309277 w 857250"/>
                  <a:gd name="connsiteY363" fmla="*/ 352235 h 619125"/>
                  <a:gd name="connsiteX364" fmla="*/ 310896 w 857250"/>
                  <a:gd name="connsiteY364" fmla="*/ 357378 h 619125"/>
                  <a:gd name="connsiteX365" fmla="*/ 310896 w 857250"/>
                  <a:gd name="connsiteY365" fmla="*/ 363665 h 619125"/>
                  <a:gd name="connsiteX366" fmla="*/ 313087 w 857250"/>
                  <a:gd name="connsiteY366" fmla="*/ 368332 h 619125"/>
                  <a:gd name="connsiteX367" fmla="*/ 318040 w 857250"/>
                  <a:gd name="connsiteY367" fmla="*/ 371380 h 619125"/>
                  <a:gd name="connsiteX368" fmla="*/ 321850 w 857250"/>
                  <a:gd name="connsiteY368" fmla="*/ 371380 h 619125"/>
                  <a:gd name="connsiteX369" fmla="*/ 325660 w 857250"/>
                  <a:gd name="connsiteY369" fmla="*/ 375190 h 619125"/>
                  <a:gd name="connsiteX370" fmla="*/ 325660 w 857250"/>
                  <a:gd name="connsiteY370" fmla="*/ 376523 h 619125"/>
                  <a:gd name="connsiteX371" fmla="*/ 331946 w 857250"/>
                  <a:gd name="connsiteY371" fmla="*/ 381476 h 619125"/>
                  <a:gd name="connsiteX372" fmla="*/ 340709 w 857250"/>
                  <a:gd name="connsiteY372" fmla="*/ 381476 h 619125"/>
                  <a:gd name="connsiteX373" fmla="*/ 342900 w 857250"/>
                  <a:gd name="connsiteY373" fmla="*/ 382810 h 619125"/>
                  <a:gd name="connsiteX374" fmla="*/ 342900 w 857250"/>
                  <a:gd name="connsiteY374" fmla="*/ 388525 h 619125"/>
                  <a:gd name="connsiteX375" fmla="*/ 346424 w 857250"/>
                  <a:gd name="connsiteY375" fmla="*/ 396145 h 619125"/>
                  <a:gd name="connsiteX376" fmla="*/ 351854 w 857250"/>
                  <a:gd name="connsiteY376" fmla="*/ 398336 h 619125"/>
                  <a:gd name="connsiteX377" fmla="*/ 354901 w 857250"/>
                  <a:gd name="connsiteY377" fmla="*/ 404908 h 619125"/>
                  <a:gd name="connsiteX378" fmla="*/ 357949 w 857250"/>
                  <a:gd name="connsiteY378" fmla="*/ 407956 h 619125"/>
                  <a:gd name="connsiteX379" fmla="*/ 358997 w 857250"/>
                  <a:gd name="connsiteY379" fmla="*/ 411004 h 619125"/>
                  <a:gd name="connsiteX380" fmla="*/ 358997 w 857250"/>
                  <a:gd name="connsiteY380" fmla="*/ 413480 h 619125"/>
                  <a:gd name="connsiteX381" fmla="*/ 368522 w 857250"/>
                  <a:gd name="connsiteY381" fmla="*/ 413480 h 619125"/>
                  <a:gd name="connsiteX382" fmla="*/ 379476 w 857250"/>
                  <a:gd name="connsiteY382" fmla="*/ 413480 h 619125"/>
                  <a:gd name="connsiteX383" fmla="*/ 381095 w 857250"/>
                  <a:gd name="connsiteY383" fmla="*/ 412147 h 619125"/>
                  <a:gd name="connsiteX384" fmla="*/ 384334 w 857250"/>
                  <a:gd name="connsiteY384" fmla="*/ 417576 h 619125"/>
                  <a:gd name="connsiteX385" fmla="*/ 390620 w 857250"/>
                  <a:gd name="connsiteY385" fmla="*/ 423291 h 619125"/>
                  <a:gd name="connsiteX386" fmla="*/ 392811 w 857250"/>
                  <a:gd name="connsiteY386" fmla="*/ 425482 h 619125"/>
                  <a:gd name="connsiteX387" fmla="*/ 394430 w 857250"/>
                  <a:gd name="connsiteY387" fmla="*/ 430911 h 619125"/>
                  <a:gd name="connsiteX388" fmla="*/ 401003 w 857250"/>
                  <a:gd name="connsiteY388" fmla="*/ 436912 h 619125"/>
                  <a:gd name="connsiteX389" fmla="*/ 404813 w 857250"/>
                  <a:gd name="connsiteY389" fmla="*/ 439103 h 619125"/>
                  <a:gd name="connsiteX390" fmla="*/ 407003 w 857250"/>
                  <a:gd name="connsiteY390" fmla="*/ 440436 h 619125"/>
                  <a:gd name="connsiteX391" fmla="*/ 407003 w 857250"/>
                  <a:gd name="connsiteY391" fmla="*/ 449199 h 619125"/>
                  <a:gd name="connsiteX392" fmla="*/ 407003 w 857250"/>
                  <a:gd name="connsiteY392" fmla="*/ 454343 h 619125"/>
                  <a:gd name="connsiteX393" fmla="*/ 403765 w 857250"/>
                  <a:gd name="connsiteY393" fmla="*/ 457105 h 619125"/>
                  <a:gd name="connsiteX394" fmla="*/ 402717 w 857250"/>
                  <a:gd name="connsiteY394" fmla="*/ 463106 h 619125"/>
                  <a:gd name="connsiteX395" fmla="*/ 402431 w 857250"/>
                  <a:gd name="connsiteY395" fmla="*/ 466154 h 619125"/>
                  <a:gd name="connsiteX396" fmla="*/ 405956 w 857250"/>
                  <a:gd name="connsiteY396" fmla="*/ 466154 h 619125"/>
                  <a:gd name="connsiteX397" fmla="*/ 409194 w 857250"/>
                  <a:gd name="connsiteY397" fmla="*/ 464249 h 619125"/>
                  <a:gd name="connsiteX398" fmla="*/ 411671 w 857250"/>
                  <a:gd name="connsiteY398" fmla="*/ 461010 h 619125"/>
                  <a:gd name="connsiteX399" fmla="*/ 411671 w 857250"/>
                  <a:gd name="connsiteY399" fmla="*/ 458534 h 619125"/>
                  <a:gd name="connsiteX400" fmla="*/ 416814 w 857250"/>
                  <a:gd name="connsiteY400" fmla="*/ 460724 h 619125"/>
                  <a:gd name="connsiteX401" fmla="*/ 420624 w 857250"/>
                  <a:gd name="connsiteY401" fmla="*/ 466154 h 619125"/>
                  <a:gd name="connsiteX402" fmla="*/ 429101 w 857250"/>
                  <a:gd name="connsiteY402" fmla="*/ 468630 h 619125"/>
                  <a:gd name="connsiteX403" fmla="*/ 430721 w 857250"/>
                  <a:gd name="connsiteY403" fmla="*/ 470249 h 619125"/>
                  <a:gd name="connsiteX404" fmla="*/ 435293 w 857250"/>
                  <a:gd name="connsiteY404" fmla="*/ 475393 h 619125"/>
                  <a:gd name="connsiteX405" fmla="*/ 437293 w 857250"/>
                  <a:gd name="connsiteY405" fmla="*/ 477584 h 619125"/>
                  <a:gd name="connsiteX406" fmla="*/ 441103 w 857250"/>
                  <a:gd name="connsiteY406" fmla="*/ 481394 h 619125"/>
                  <a:gd name="connsiteX407" fmla="*/ 446818 w 857250"/>
                  <a:gd name="connsiteY407" fmla="*/ 482727 h 619125"/>
                  <a:gd name="connsiteX408" fmla="*/ 450342 w 857250"/>
                  <a:gd name="connsiteY408" fmla="*/ 487394 h 619125"/>
                  <a:gd name="connsiteX409" fmla="*/ 450342 w 857250"/>
                  <a:gd name="connsiteY409" fmla="*/ 493967 h 619125"/>
                  <a:gd name="connsiteX410" fmla="*/ 454152 w 857250"/>
                  <a:gd name="connsiteY410" fmla="*/ 497776 h 619125"/>
                  <a:gd name="connsiteX411" fmla="*/ 457962 w 857250"/>
                  <a:gd name="connsiteY411" fmla="*/ 497776 h 619125"/>
                  <a:gd name="connsiteX412" fmla="*/ 457962 w 857250"/>
                  <a:gd name="connsiteY412" fmla="*/ 505111 h 619125"/>
                  <a:gd name="connsiteX413" fmla="*/ 462344 w 857250"/>
                  <a:gd name="connsiteY413" fmla="*/ 507301 h 619125"/>
                  <a:gd name="connsiteX414" fmla="*/ 462344 w 857250"/>
                  <a:gd name="connsiteY414" fmla="*/ 511683 h 619125"/>
                  <a:gd name="connsiteX415" fmla="*/ 459867 w 857250"/>
                  <a:gd name="connsiteY415" fmla="*/ 513969 h 619125"/>
                  <a:gd name="connsiteX416" fmla="*/ 463106 w 857250"/>
                  <a:gd name="connsiteY416" fmla="*/ 513969 h 619125"/>
                  <a:gd name="connsiteX417" fmla="*/ 465963 w 857250"/>
                  <a:gd name="connsiteY417" fmla="*/ 516826 h 619125"/>
                  <a:gd name="connsiteX418" fmla="*/ 471678 w 857250"/>
                  <a:gd name="connsiteY418" fmla="*/ 522542 h 619125"/>
                  <a:gd name="connsiteX419" fmla="*/ 474536 w 857250"/>
                  <a:gd name="connsiteY419" fmla="*/ 525399 h 619125"/>
                  <a:gd name="connsiteX420" fmla="*/ 480251 w 857250"/>
                  <a:gd name="connsiteY420" fmla="*/ 531114 h 619125"/>
                  <a:gd name="connsiteX421" fmla="*/ 483108 w 857250"/>
                  <a:gd name="connsiteY421" fmla="*/ 533972 h 619125"/>
                  <a:gd name="connsiteX422" fmla="*/ 485966 w 857250"/>
                  <a:gd name="connsiteY422" fmla="*/ 536829 h 619125"/>
                  <a:gd name="connsiteX423" fmla="*/ 488823 w 857250"/>
                  <a:gd name="connsiteY423" fmla="*/ 539687 h 619125"/>
                  <a:gd name="connsiteX424" fmla="*/ 500158 w 857250"/>
                  <a:gd name="connsiteY424" fmla="*/ 545402 h 619125"/>
                  <a:gd name="connsiteX425" fmla="*/ 505873 w 857250"/>
                  <a:gd name="connsiteY425" fmla="*/ 548259 h 619125"/>
                  <a:gd name="connsiteX426" fmla="*/ 514350 w 857250"/>
                  <a:gd name="connsiteY426" fmla="*/ 553974 h 619125"/>
                  <a:gd name="connsiteX427" fmla="*/ 528542 w 857250"/>
                  <a:gd name="connsiteY427" fmla="*/ 556832 h 619125"/>
                  <a:gd name="connsiteX428" fmla="*/ 534734 w 857250"/>
                  <a:gd name="connsiteY428" fmla="*/ 560546 h 619125"/>
                  <a:gd name="connsiteX429" fmla="*/ 537591 w 857250"/>
                  <a:gd name="connsiteY429" fmla="*/ 560546 h 619125"/>
                  <a:gd name="connsiteX430" fmla="*/ 537591 w 857250"/>
                  <a:gd name="connsiteY430" fmla="*/ 557689 h 619125"/>
                  <a:gd name="connsiteX431" fmla="*/ 551783 w 857250"/>
                  <a:gd name="connsiteY431" fmla="*/ 557689 h 619125"/>
                  <a:gd name="connsiteX432" fmla="*/ 554641 w 857250"/>
                  <a:gd name="connsiteY432" fmla="*/ 557689 h 619125"/>
                  <a:gd name="connsiteX433" fmla="*/ 554641 w 857250"/>
                  <a:gd name="connsiteY433" fmla="*/ 554831 h 619125"/>
                  <a:gd name="connsiteX434" fmla="*/ 557498 w 857250"/>
                  <a:gd name="connsiteY434" fmla="*/ 554831 h 619125"/>
                  <a:gd name="connsiteX435" fmla="*/ 560356 w 857250"/>
                  <a:gd name="connsiteY435" fmla="*/ 551974 h 619125"/>
                  <a:gd name="connsiteX436" fmla="*/ 571595 w 857250"/>
                  <a:gd name="connsiteY436" fmla="*/ 545878 h 619125"/>
                  <a:gd name="connsiteX437" fmla="*/ 574548 w 857250"/>
                  <a:gd name="connsiteY437" fmla="*/ 545878 h 619125"/>
                  <a:gd name="connsiteX438" fmla="*/ 574548 w 857250"/>
                  <a:gd name="connsiteY438" fmla="*/ 546259 h 619125"/>
                  <a:gd name="connsiteX439" fmla="*/ 577406 w 857250"/>
                  <a:gd name="connsiteY439" fmla="*/ 546259 h 619125"/>
                  <a:gd name="connsiteX440" fmla="*/ 580263 w 857250"/>
                  <a:gd name="connsiteY440" fmla="*/ 551974 h 619125"/>
                  <a:gd name="connsiteX441" fmla="*/ 583121 w 857250"/>
                  <a:gd name="connsiteY441" fmla="*/ 554831 h 619125"/>
                  <a:gd name="connsiteX442" fmla="*/ 583121 w 857250"/>
                  <a:gd name="connsiteY442" fmla="*/ 557689 h 619125"/>
                  <a:gd name="connsiteX443" fmla="*/ 591598 w 857250"/>
                  <a:gd name="connsiteY443" fmla="*/ 563404 h 619125"/>
                  <a:gd name="connsiteX444" fmla="*/ 591598 w 857250"/>
                  <a:gd name="connsiteY444" fmla="*/ 566261 h 619125"/>
                  <a:gd name="connsiteX445" fmla="*/ 594455 w 857250"/>
                  <a:gd name="connsiteY445" fmla="*/ 569119 h 619125"/>
                  <a:gd name="connsiteX446" fmla="*/ 594455 w 857250"/>
                  <a:gd name="connsiteY446" fmla="*/ 571976 h 619125"/>
                  <a:gd name="connsiteX447" fmla="*/ 597313 w 857250"/>
                  <a:gd name="connsiteY447" fmla="*/ 577691 h 619125"/>
                  <a:gd name="connsiteX448" fmla="*/ 597313 w 857250"/>
                  <a:gd name="connsiteY448" fmla="*/ 580549 h 619125"/>
                  <a:gd name="connsiteX449" fmla="*/ 597313 w 857250"/>
                  <a:gd name="connsiteY449" fmla="*/ 583406 h 619125"/>
                  <a:gd name="connsiteX450" fmla="*/ 600170 w 857250"/>
                  <a:gd name="connsiteY450" fmla="*/ 583406 h 619125"/>
                  <a:gd name="connsiteX451" fmla="*/ 600170 w 857250"/>
                  <a:gd name="connsiteY451" fmla="*/ 586264 h 619125"/>
                  <a:gd name="connsiteX452" fmla="*/ 603028 w 857250"/>
                  <a:gd name="connsiteY452" fmla="*/ 586264 h 619125"/>
                  <a:gd name="connsiteX453" fmla="*/ 603028 w 857250"/>
                  <a:gd name="connsiteY453" fmla="*/ 589121 h 619125"/>
                  <a:gd name="connsiteX454" fmla="*/ 605885 w 857250"/>
                  <a:gd name="connsiteY454" fmla="*/ 591979 h 619125"/>
                  <a:gd name="connsiteX455" fmla="*/ 608743 w 857250"/>
                  <a:gd name="connsiteY455" fmla="*/ 591979 h 619125"/>
                  <a:gd name="connsiteX456" fmla="*/ 611600 w 857250"/>
                  <a:gd name="connsiteY456" fmla="*/ 589121 h 619125"/>
                  <a:gd name="connsiteX457" fmla="*/ 611600 w 857250"/>
                  <a:gd name="connsiteY457" fmla="*/ 586264 h 619125"/>
                  <a:gd name="connsiteX458" fmla="*/ 614458 w 857250"/>
                  <a:gd name="connsiteY458" fmla="*/ 586264 h 619125"/>
                  <a:gd name="connsiteX459" fmla="*/ 617315 w 857250"/>
                  <a:gd name="connsiteY459" fmla="*/ 583406 h 619125"/>
                  <a:gd name="connsiteX460" fmla="*/ 620173 w 857250"/>
                  <a:gd name="connsiteY460" fmla="*/ 583406 h 619125"/>
                  <a:gd name="connsiteX461" fmla="*/ 623030 w 857250"/>
                  <a:gd name="connsiteY461" fmla="*/ 580549 h 619125"/>
                  <a:gd name="connsiteX462" fmla="*/ 625888 w 857250"/>
                  <a:gd name="connsiteY462" fmla="*/ 580549 h 619125"/>
                  <a:gd name="connsiteX463" fmla="*/ 631603 w 857250"/>
                  <a:gd name="connsiteY463" fmla="*/ 580549 h 619125"/>
                  <a:gd name="connsiteX464" fmla="*/ 634460 w 857250"/>
                  <a:gd name="connsiteY464" fmla="*/ 577691 h 619125"/>
                  <a:gd name="connsiteX465" fmla="*/ 637318 w 857250"/>
                  <a:gd name="connsiteY465" fmla="*/ 574834 h 619125"/>
                  <a:gd name="connsiteX466" fmla="*/ 637318 w 857250"/>
                  <a:gd name="connsiteY466" fmla="*/ 571976 h 619125"/>
                  <a:gd name="connsiteX467" fmla="*/ 640175 w 857250"/>
                  <a:gd name="connsiteY467" fmla="*/ 571976 h 619125"/>
                  <a:gd name="connsiteX468" fmla="*/ 643033 w 857250"/>
                  <a:gd name="connsiteY468" fmla="*/ 569119 h 619125"/>
                  <a:gd name="connsiteX469" fmla="*/ 643033 w 857250"/>
                  <a:gd name="connsiteY469" fmla="*/ 571976 h 619125"/>
                  <a:gd name="connsiteX470" fmla="*/ 645890 w 857250"/>
                  <a:gd name="connsiteY470" fmla="*/ 574834 h 619125"/>
                  <a:gd name="connsiteX471" fmla="*/ 645890 w 857250"/>
                  <a:gd name="connsiteY471" fmla="*/ 577691 h 619125"/>
                  <a:gd name="connsiteX472" fmla="*/ 645890 w 857250"/>
                  <a:gd name="connsiteY472" fmla="*/ 580549 h 619125"/>
                  <a:gd name="connsiteX473" fmla="*/ 645890 w 857250"/>
                  <a:gd name="connsiteY473" fmla="*/ 583406 h 619125"/>
                  <a:gd name="connsiteX474" fmla="*/ 645890 w 857250"/>
                  <a:gd name="connsiteY474" fmla="*/ 586264 h 619125"/>
                  <a:gd name="connsiteX475" fmla="*/ 643033 w 857250"/>
                  <a:gd name="connsiteY475" fmla="*/ 586264 h 619125"/>
                  <a:gd name="connsiteX476" fmla="*/ 643033 w 857250"/>
                  <a:gd name="connsiteY476" fmla="*/ 589121 h 619125"/>
                  <a:gd name="connsiteX477" fmla="*/ 640175 w 857250"/>
                  <a:gd name="connsiteY477" fmla="*/ 591979 h 619125"/>
                  <a:gd name="connsiteX478" fmla="*/ 637318 w 857250"/>
                  <a:gd name="connsiteY478" fmla="*/ 591979 h 619125"/>
                  <a:gd name="connsiteX479" fmla="*/ 637318 w 857250"/>
                  <a:gd name="connsiteY479" fmla="*/ 594836 h 619125"/>
                  <a:gd name="connsiteX480" fmla="*/ 634460 w 857250"/>
                  <a:gd name="connsiteY480" fmla="*/ 600551 h 619125"/>
                  <a:gd name="connsiteX481" fmla="*/ 634460 w 857250"/>
                  <a:gd name="connsiteY481" fmla="*/ 603409 h 619125"/>
                  <a:gd name="connsiteX482" fmla="*/ 634460 w 857250"/>
                  <a:gd name="connsiteY482" fmla="*/ 606266 h 619125"/>
                  <a:gd name="connsiteX483" fmla="*/ 634460 w 857250"/>
                  <a:gd name="connsiteY483" fmla="*/ 609124 h 619125"/>
                  <a:gd name="connsiteX484" fmla="*/ 637318 w 857250"/>
                  <a:gd name="connsiteY484" fmla="*/ 609124 h 619125"/>
                  <a:gd name="connsiteX485" fmla="*/ 643033 w 857250"/>
                  <a:gd name="connsiteY485" fmla="*/ 603409 h 619125"/>
                  <a:gd name="connsiteX486" fmla="*/ 645890 w 857250"/>
                  <a:gd name="connsiteY486" fmla="*/ 600551 h 619125"/>
                  <a:gd name="connsiteX487" fmla="*/ 648748 w 857250"/>
                  <a:gd name="connsiteY487" fmla="*/ 597694 h 619125"/>
                  <a:gd name="connsiteX488" fmla="*/ 651605 w 857250"/>
                  <a:gd name="connsiteY488" fmla="*/ 597694 h 619125"/>
                  <a:gd name="connsiteX489" fmla="*/ 668655 w 857250"/>
                  <a:gd name="connsiteY489" fmla="*/ 597694 h 619125"/>
                  <a:gd name="connsiteX490" fmla="*/ 674370 w 857250"/>
                  <a:gd name="connsiteY490" fmla="*/ 594836 h 619125"/>
                  <a:gd name="connsiteX491" fmla="*/ 677228 w 857250"/>
                  <a:gd name="connsiteY491" fmla="*/ 591979 h 619125"/>
                  <a:gd name="connsiteX492" fmla="*/ 680085 w 857250"/>
                  <a:gd name="connsiteY492" fmla="*/ 589121 h 619125"/>
                  <a:gd name="connsiteX493" fmla="*/ 682943 w 857250"/>
                  <a:gd name="connsiteY493" fmla="*/ 589121 h 619125"/>
                  <a:gd name="connsiteX494" fmla="*/ 685800 w 857250"/>
                  <a:gd name="connsiteY494" fmla="*/ 589121 h 619125"/>
                  <a:gd name="connsiteX495" fmla="*/ 685800 w 857250"/>
                  <a:gd name="connsiteY495" fmla="*/ 591979 h 619125"/>
                  <a:gd name="connsiteX496" fmla="*/ 685800 w 857250"/>
                  <a:gd name="connsiteY496" fmla="*/ 594836 h 619125"/>
                  <a:gd name="connsiteX497" fmla="*/ 685800 w 857250"/>
                  <a:gd name="connsiteY497" fmla="*/ 600551 h 619125"/>
                  <a:gd name="connsiteX498" fmla="*/ 685800 w 857250"/>
                  <a:gd name="connsiteY498" fmla="*/ 606266 h 619125"/>
                  <a:gd name="connsiteX499" fmla="*/ 688658 w 857250"/>
                  <a:gd name="connsiteY499" fmla="*/ 611981 h 619125"/>
                  <a:gd name="connsiteX500" fmla="*/ 691515 w 857250"/>
                  <a:gd name="connsiteY500" fmla="*/ 611981 h 619125"/>
                  <a:gd name="connsiteX501" fmla="*/ 697230 w 857250"/>
                  <a:gd name="connsiteY501" fmla="*/ 617696 h 619125"/>
                  <a:gd name="connsiteX502" fmla="*/ 700088 w 857250"/>
                  <a:gd name="connsiteY502" fmla="*/ 620554 h 619125"/>
                  <a:gd name="connsiteX503" fmla="*/ 702945 w 857250"/>
                  <a:gd name="connsiteY503" fmla="*/ 623411 h 619125"/>
                  <a:gd name="connsiteX504" fmla="*/ 708660 w 857250"/>
                  <a:gd name="connsiteY504" fmla="*/ 626269 h 619125"/>
                  <a:gd name="connsiteX505" fmla="*/ 711518 w 857250"/>
                  <a:gd name="connsiteY505" fmla="*/ 623411 h 619125"/>
                  <a:gd name="connsiteX506" fmla="*/ 714375 w 857250"/>
                  <a:gd name="connsiteY506" fmla="*/ 620554 h 619125"/>
                  <a:gd name="connsiteX507" fmla="*/ 717233 w 857250"/>
                  <a:gd name="connsiteY507" fmla="*/ 620554 h 619125"/>
                  <a:gd name="connsiteX508" fmla="*/ 720090 w 857250"/>
                  <a:gd name="connsiteY508" fmla="*/ 623411 h 619125"/>
                  <a:gd name="connsiteX509" fmla="*/ 722948 w 857250"/>
                  <a:gd name="connsiteY509" fmla="*/ 623411 h 619125"/>
                  <a:gd name="connsiteX510" fmla="*/ 722948 w 857250"/>
                  <a:gd name="connsiteY510" fmla="*/ 620554 h 619125"/>
                  <a:gd name="connsiteX511" fmla="*/ 725805 w 857250"/>
                  <a:gd name="connsiteY511" fmla="*/ 611886 h 619125"/>
                  <a:gd name="connsiteX512" fmla="*/ 725805 w 857250"/>
                  <a:gd name="connsiteY512" fmla="*/ 609029 h 619125"/>
                  <a:gd name="connsiteX513" fmla="*/ 728663 w 857250"/>
                  <a:gd name="connsiteY513" fmla="*/ 606171 h 619125"/>
                  <a:gd name="connsiteX514" fmla="*/ 731520 w 857250"/>
                  <a:gd name="connsiteY514" fmla="*/ 606171 h 619125"/>
                  <a:gd name="connsiteX515" fmla="*/ 734378 w 857250"/>
                  <a:gd name="connsiteY515" fmla="*/ 606171 h 619125"/>
                  <a:gd name="connsiteX516" fmla="*/ 737235 w 857250"/>
                  <a:gd name="connsiteY516" fmla="*/ 603314 h 619125"/>
                  <a:gd name="connsiteX517" fmla="*/ 740093 w 857250"/>
                  <a:gd name="connsiteY517" fmla="*/ 606171 h 619125"/>
                  <a:gd name="connsiteX518" fmla="*/ 742950 w 857250"/>
                  <a:gd name="connsiteY518" fmla="*/ 606171 h 619125"/>
                  <a:gd name="connsiteX519" fmla="*/ 745808 w 857250"/>
                  <a:gd name="connsiteY519" fmla="*/ 606171 h 619125"/>
                  <a:gd name="connsiteX520" fmla="*/ 751523 w 857250"/>
                  <a:gd name="connsiteY520" fmla="*/ 600456 h 619125"/>
                  <a:gd name="connsiteX521" fmla="*/ 762857 w 857250"/>
                  <a:gd name="connsiteY521" fmla="*/ 591788 h 619125"/>
                  <a:gd name="connsiteX522" fmla="*/ 765715 w 857250"/>
                  <a:gd name="connsiteY522" fmla="*/ 586073 h 619125"/>
                  <a:gd name="connsiteX523" fmla="*/ 768572 w 857250"/>
                  <a:gd name="connsiteY523" fmla="*/ 583216 h 619125"/>
                  <a:gd name="connsiteX524" fmla="*/ 768572 w 857250"/>
                  <a:gd name="connsiteY524" fmla="*/ 577501 h 619125"/>
                  <a:gd name="connsiteX525" fmla="*/ 768572 w 857250"/>
                  <a:gd name="connsiteY525" fmla="*/ 574643 h 619125"/>
                  <a:gd name="connsiteX526" fmla="*/ 765715 w 857250"/>
                  <a:gd name="connsiteY526" fmla="*/ 568928 h 619125"/>
                  <a:gd name="connsiteX527" fmla="*/ 762857 w 857250"/>
                  <a:gd name="connsiteY527" fmla="*/ 566071 h 619125"/>
                  <a:gd name="connsiteX528" fmla="*/ 762857 w 857250"/>
                  <a:gd name="connsiteY528" fmla="*/ 563213 h 619125"/>
                  <a:gd name="connsiteX529" fmla="*/ 760000 w 857250"/>
                  <a:gd name="connsiteY529" fmla="*/ 560356 h 619125"/>
                  <a:gd name="connsiteX530" fmla="*/ 760000 w 857250"/>
                  <a:gd name="connsiteY530" fmla="*/ 554641 h 619125"/>
                  <a:gd name="connsiteX531" fmla="*/ 751523 w 857250"/>
                  <a:gd name="connsiteY531" fmla="*/ 548926 h 619125"/>
                  <a:gd name="connsiteX532" fmla="*/ 751523 w 857250"/>
                  <a:gd name="connsiteY532" fmla="*/ 546068 h 619125"/>
                  <a:gd name="connsiteX533" fmla="*/ 748665 w 857250"/>
                  <a:gd name="connsiteY533" fmla="*/ 540353 h 619125"/>
                  <a:gd name="connsiteX534" fmla="*/ 751523 w 857250"/>
                  <a:gd name="connsiteY534" fmla="*/ 540353 h 619125"/>
                  <a:gd name="connsiteX535" fmla="*/ 751523 w 857250"/>
                  <a:gd name="connsiteY535" fmla="*/ 531686 h 619125"/>
                  <a:gd name="connsiteX536" fmla="*/ 751523 w 857250"/>
                  <a:gd name="connsiteY536" fmla="*/ 528828 h 619125"/>
                  <a:gd name="connsiteX537" fmla="*/ 754380 w 857250"/>
                  <a:gd name="connsiteY537" fmla="*/ 525971 h 619125"/>
                  <a:gd name="connsiteX538" fmla="*/ 757237 w 857250"/>
                  <a:gd name="connsiteY538" fmla="*/ 523113 h 619125"/>
                  <a:gd name="connsiteX539" fmla="*/ 754380 w 857250"/>
                  <a:gd name="connsiteY539" fmla="*/ 517398 h 619125"/>
                  <a:gd name="connsiteX540" fmla="*/ 751523 w 857250"/>
                  <a:gd name="connsiteY540" fmla="*/ 517398 h 619125"/>
                  <a:gd name="connsiteX541" fmla="*/ 743045 w 857250"/>
                  <a:gd name="connsiteY541" fmla="*/ 517398 h 619125"/>
                  <a:gd name="connsiteX542" fmla="*/ 740188 w 857250"/>
                  <a:gd name="connsiteY542" fmla="*/ 514541 h 619125"/>
                  <a:gd name="connsiteX543" fmla="*/ 731711 w 857250"/>
                  <a:gd name="connsiteY543" fmla="*/ 511683 h 619125"/>
                  <a:gd name="connsiteX544" fmla="*/ 725996 w 857250"/>
                  <a:gd name="connsiteY544" fmla="*/ 511683 h 619125"/>
                  <a:gd name="connsiteX545" fmla="*/ 723138 w 857250"/>
                  <a:gd name="connsiteY545" fmla="*/ 511683 h 619125"/>
                  <a:gd name="connsiteX546" fmla="*/ 723138 w 857250"/>
                  <a:gd name="connsiteY546" fmla="*/ 505968 h 619125"/>
                  <a:gd name="connsiteX547" fmla="*/ 720281 w 857250"/>
                  <a:gd name="connsiteY547" fmla="*/ 503111 h 619125"/>
                  <a:gd name="connsiteX548" fmla="*/ 717423 w 857250"/>
                  <a:gd name="connsiteY548" fmla="*/ 503111 h 619125"/>
                  <a:gd name="connsiteX549" fmla="*/ 711708 w 857250"/>
                  <a:gd name="connsiteY549" fmla="*/ 500253 h 619125"/>
                  <a:gd name="connsiteX550" fmla="*/ 703231 w 857250"/>
                  <a:gd name="connsiteY550" fmla="*/ 488728 h 619125"/>
                  <a:gd name="connsiteX551" fmla="*/ 703231 w 857250"/>
                  <a:gd name="connsiteY551" fmla="*/ 485870 h 619125"/>
                  <a:gd name="connsiteX552" fmla="*/ 703231 w 857250"/>
                  <a:gd name="connsiteY552" fmla="*/ 471488 h 619125"/>
                  <a:gd name="connsiteX553" fmla="*/ 700373 w 857250"/>
                  <a:gd name="connsiteY553" fmla="*/ 465773 h 619125"/>
                  <a:gd name="connsiteX554" fmla="*/ 700373 w 857250"/>
                  <a:gd name="connsiteY554" fmla="*/ 462915 h 619125"/>
                  <a:gd name="connsiteX555" fmla="*/ 703231 w 857250"/>
                  <a:gd name="connsiteY555" fmla="*/ 460058 h 619125"/>
                  <a:gd name="connsiteX556" fmla="*/ 703231 w 857250"/>
                  <a:gd name="connsiteY556" fmla="*/ 457200 h 619125"/>
                  <a:gd name="connsiteX557" fmla="*/ 708946 w 857250"/>
                  <a:gd name="connsiteY557" fmla="*/ 457200 h 619125"/>
                  <a:gd name="connsiteX558" fmla="*/ 711803 w 857250"/>
                  <a:gd name="connsiteY558" fmla="*/ 460058 h 619125"/>
                  <a:gd name="connsiteX559" fmla="*/ 714661 w 857250"/>
                  <a:gd name="connsiteY559" fmla="*/ 460058 h 619125"/>
                  <a:gd name="connsiteX560" fmla="*/ 714661 w 857250"/>
                  <a:gd name="connsiteY560" fmla="*/ 457200 h 619125"/>
                  <a:gd name="connsiteX561" fmla="*/ 714661 w 857250"/>
                  <a:gd name="connsiteY561" fmla="*/ 454343 h 619125"/>
                  <a:gd name="connsiteX562" fmla="*/ 714661 w 857250"/>
                  <a:gd name="connsiteY562" fmla="*/ 448628 h 619125"/>
                  <a:gd name="connsiteX563" fmla="*/ 714661 w 857250"/>
                  <a:gd name="connsiteY563" fmla="*/ 445770 h 619125"/>
                  <a:gd name="connsiteX564" fmla="*/ 711803 w 857250"/>
                  <a:gd name="connsiteY564" fmla="*/ 442913 h 619125"/>
                  <a:gd name="connsiteX565" fmla="*/ 711803 w 857250"/>
                  <a:gd name="connsiteY565" fmla="*/ 440055 h 619125"/>
                  <a:gd name="connsiteX566" fmla="*/ 708946 w 857250"/>
                  <a:gd name="connsiteY566" fmla="*/ 437198 h 619125"/>
                  <a:gd name="connsiteX567" fmla="*/ 703231 w 857250"/>
                  <a:gd name="connsiteY567" fmla="*/ 425672 h 619125"/>
                  <a:gd name="connsiteX568" fmla="*/ 703231 w 857250"/>
                  <a:gd name="connsiteY568" fmla="*/ 422815 h 619125"/>
                  <a:gd name="connsiteX569" fmla="*/ 703231 w 857250"/>
                  <a:gd name="connsiteY569" fmla="*/ 417100 h 619125"/>
                  <a:gd name="connsiteX570" fmla="*/ 703231 w 857250"/>
                  <a:gd name="connsiteY570" fmla="*/ 411385 h 619125"/>
                  <a:gd name="connsiteX571" fmla="*/ 706088 w 857250"/>
                  <a:gd name="connsiteY571" fmla="*/ 408527 h 619125"/>
                  <a:gd name="connsiteX572" fmla="*/ 717423 w 857250"/>
                  <a:gd name="connsiteY572" fmla="*/ 408527 h 619125"/>
                  <a:gd name="connsiteX573" fmla="*/ 720281 w 857250"/>
                  <a:gd name="connsiteY573" fmla="*/ 408527 h 619125"/>
                  <a:gd name="connsiteX574" fmla="*/ 723138 w 857250"/>
                  <a:gd name="connsiteY574" fmla="*/ 408527 h 619125"/>
                  <a:gd name="connsiteX575" fmla="*/ 725996 w 857250"/>
                  <a:gd name="connsiteY575" fmla="*/ 405670 h 619125"/>
                  <a:gd name="connsiteX576" fmla="*/ 728853 w 857250"/>
                  <a:gd name="connsiteY576" fmla="*/ 405670 h 619125"/>
                  <a:gd name="connsiteX577" fmla="*/ 754380 w 857250"/>
                  <a:gd name="connsiteY577" fmla="*/ 408527 h 619125"/>
                  <a:gd name="connsiteX578" fmla="*/ 757237 w 857250"/>
                  <a:gd name="connsiteY578" fmla="*/ 405670 h 619125"/>
                  <a:gd name="connsiteX579" fmla="*/ 762953 w 857250"/>
                  <a:gd name="connsiteY579" fmla="*/ 399955 h 619125"/>
                  <a:gd name="connsiteX580" fmla="*/ 765810 w 857250"/>
                  <a:gd name="connsiteY580" fmla="*/ 397097 h 619125"/>
                  <a:gd name="connsiteX581" fmla="*/ 768668 w 857250"/>
                  <a:gd name="connsiteY581" fmla="*/ 394240 h 619125"/>
                  <a:gd name="connsiteX582" fmla="*/ 768668 w 857250"/>
                  <a:gd name="connsiteY582" fmla="*/ 388525 h 619125"/>
                  <a:gd name="connsiteX583" fmla="*/ 768668 w 857250"/>
                  <a:gd name="connsiteY583" fmla="*/ 385667 h 619125"/>
                  <a:gd name="connsiteX584" fmla="*/ 771525 w 857250"/>
                  <a:gd name="connsiteY584" fmla="*/ 385667 h 619125"/>
                  <a:gd name="connsiteX585" fmla="*/ 774383 w 857250"/>
                  <a:gd name="connsiteY585" fmla="*/ 379952 h 619125"/>
                  <a:gd name="connsiteX586" fmla="*/ 774383 w 857250"/>
                  <a:gd name="connsiteY586" fmla="*/ 377095 h 619125"/>
                  <a:gd name="connsiteX587" fmla="*/ 771525 w 857250"/>
                  <a:gd name="connsiteY587" fmla="*/ 362712 h 619125"/>
                  <a:gd name="connsiteX588" fmla="*/ 768668 w 857250"/>
                  <a:gd name="connsiteY588" fmla="*/ 356997 h 619125"/>
                  <a:gd name="connsiteX589" fmla="*/ 771525 w 857250"/>
                  <a:gd name="connsiteY589" fmla="*/ 354140 h 619125"/>
                  <a:gd name="connsiteX590" fmla="*/ 771525 w 857250"/>
                  <a:gd name="connsiteY590" fmla="*/ 351282 h 619125"/>
                  <a:gd name="connsiteX591" fmla="*/ 774383 w 857250"/>
                  <a:gd name="connsiteY591" fmla="*/ 351282 h 619125"/>
                  <a:gd name="connsiteX592" fmla="*/ 782860 w 857250"/>
                  <a:gd name="connsiteY592" fmla="*/ 354140 h 619125"/>
                  <a:gd name="connsiteX593" fmla="*/ 788575 w 857250"/>
                  <a:gd name="connsiteY593" fmla="*/ 354140 h 619125"/>
                  <a:gd name="connsiteX594" fmla="*/ 791432 w 857250"/>
                  <a:gd name="connsiteY594" fmla="*/ 354140 h 619125"/>
                  <a:gd name="connsiteX595" fmla="*/ 794290 w 857250"/>
                  <a:gd name="connsiteY595" fmla="*/ 348425 h 619125"/>
                  <a:gd name="connsiteX596" fmla="*/ 794290 w 857250"/>
                  <a:gd name="connsiteY596" fmla="*/ 345567 h 619125"/>
                  <a:gd name="connsiteX597" fmla="*/ 791432 w 857250"/>
                  <a:gd name="connsiteY597" fmla="*/ 345567 h 619125"/>
                  <a:gd name="connsiteX598" fmla="*/ 791432 w 857250"/>
                  <a:gd name="connsiteY598" fmla="*/ 342710 h 619125"/>
                  <a:gd name="connsiteX599" fmla="*/ 791432 w 857250"/>
                  <a:gd name="connsiteY599" fmla="*/ 339852 h 619125"/>
                  <a:gd name="connsiteX600" fmla="*/ 791432 w 857250"/>
                  <a:gd name="connsiteY600" fmla="*/ 336995 h 619125"/>
                  <a:gd name="connsiteX601" fmla="*/ 794290 w 857250"/>
                  <a:gd name="connsiteY601" fmla="*/ 336995 h 619125"/>
                  <a:gd name="connsiteX602" fmla="*/ 797147 w 857250"/>
                  <a:gd name="connsiteY602" fmla="*/ 336995 h 619125"/>
                  <a:gd name="connsiteX603" fmla="*/ 802862 w 857250"/>
                  <a:gd name="connsiteY603" fmla="*/ 334137 h 619125"/>
                  <a:gd name="connsiteX604" fmla="*/ 805720 w 857250"/>
                  <a:gd name="connsiteY604" fmla="*/ 331280 h 619125"/>
                  <a:gd name="connsiteX605" fmla="*/ 805720 w 857250"/>
                  <a:gd name="connsiteY605" fmla="*/ 328422 h 619125"/>
                  <a:gd name="connsiteX606" fmla="*/ 805720 w 857250"/>
                  <a:gd name="connsiteY606" fmla="*/ 325565 h 619125"/>
                  <a:gd name="connsiteX607" fmla="*/ 808577 w 857250"/>
                  <a:gd name="connsiteY607" fmla="*/ 322707 h 619125"/>
                  <a:gd name="connsiteX608" fmla="*/ 814292 w 857250"/>
                  <a:gd name="connsiteY608" fmla="*/ 319850 h 619125"/>
                  <a:gd name="connsiteX609" fmla="*/ 817150 w 857250"/>
                  <a:gd name="connsiteY609" fmla="*/ 322707 h 619125"/>
                  <a:gd name="connsiteX610" fmla="*/ 822865 w 857250"/>
                  <a:gd name="connsiteY610" fmla="*/ 322707 h 619125"/>
                  <a:gd name="connsiteX611" fmla="*/ 828580 w 857250"/>
                  <a:gd name="connsiteY611" fmla="*/ 322707 h 619125"/>
                  <a:gd name="connsiteX612" fmla="*/ 828580 w 857250"/>
                  <a:gd name="connsiteY612" fmla="*/ 319850 h 619125"/>
                  <a:gd name="connsiteX613" fmla="*/ 831437 w 857250"/>
                  <a:gd name="connsiteY613" fmla="*/ 311182 h 619125"/>
                  <a:gd name="connsiteX614" fmla="*/ 834295 w 857250"/>
                  <a:gd name="connsiteY614" fmla="*/ 305467 h 619125"/>
                  <a:gd name="connsiteX615" fmla="*/ 840010 w 857250"/>
                  <a:gd name="connsiteY615" fmla="*/ 296799 h 619125"/>
                  <a:gd name="connsiteX616" fmla="*/ 842867 w 857250"/>
                  <a:gd name="connsiteY616" fmla="*/ 293942 h 619125"/>
                  <a:gd name="connsiteX617" fmla="*/ 842867 w 857250"/>
                  <a:gd name="connsiteY617" fmla="*/ 291084 h 619125"/>
                  <a:gd name="connsiteX618" fmla="*/ 842867 w 857250"/>
                  <a:gd name="connsiteY618" fmla="*/ 268129 h 619125"/>
                  <a:gd name="connsiteX619" fmla="*/ 842867 w 857250"/>
                  <a:gd name="connsiteY619" fmla="*/ 262414 h 619125"/>
                  <a:gd name="connsiteX620" fmla="*/ 848582 w 857250"/>
                  <a:gd name="connsiteY620" fmla="*/ 256699 h 619125"/>
                  <a:gd name="connsiteX621" fmla="*/ 851440 w 857250"/>
                  <a:gd name="connsiteY621" fmla="*/ 253841 h 619125"/>
                  <a:gd name="connsiteX622" fmla="*/ 854297 w 857250"/>
                  <a:gd name="connsiteY622" fmla="*/ 250984 h 619125"/>
                  <a:gd name="connsiteX623" fmla="*/ 854297 w 857250"/>
                  <a:gd name="connsiteY623" fmla="*/ 245269 h 619125"/>
                  <a:gd name="connsiteX624" fmla="*/ 851440 w 857250"/>
                  <a:gd name="connsiteY624" fmla="*/ 239554 h 619125"/>
                  <a:gd name="connsiteX625" fmla="*/ 851440 w 857250"/>
                  <a:gd name="connsiteY625" fmla="*/ 233839 h 619125"/>
                  <a:gd name="connsiteX626" fmla="*/ 854297 w 857250"/>
                  <a:gd name="connsiteY626" fmla="*/ 230981 h 619125"/>
                  <a:gd name="connsiteX627" fmla="*/ 862775 w 857250"/>
                  <a:gd name="connsiteY627" fmla="*/ 222314 h 619125"/>
                  <a:gd name="connsiteX628" fmla="*/ 862775 w 857250"/>
                  <a:gd name="connsiteY628" fmla="*/ 219456 h 619125"/>
                  <a:gd name="connsiteX629" fmla="*/ 862775 w 857250"/>
                  <a:gd name="connsiteY629" fmla="*/ 213741 h 619125"/>
                  <a:gd name="connsiteX630" fmla="*/ 862775 w 857250"/>
                  <a:gd name="connsiteY630" fmla="*/ 208026 h 619125"/>
                  <a:gd name="connsiteX631" fmla="*/ 858298 w 857250"/>
                  <a:gd name="connsiteY631" fmla="*/ 206788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</a:cxnLst>
                <a:rect l="l" t="t" r="r" b="b"/>
                <a:pathLst>
                  <a:path w="857250" h="619125">
                    <a:moveTo>
                      <a:pt x="858298" y="206788"/>
                    </a:moveTo>
                    <a:cubicBezTo>
                      <a:pt x="855440" y="206788"/>
                      <a:pt x="855440" y="206788"/>
                      <a:pt x="855440" y="206788"/>
                    </a:cubicBezTo>
                    <a:cubicBezTo>
                      <a:pt x="852583" y="206788"/>
                      <a:pt x="852583" y="206788"/>
                      <a:pt x="852583" y="206788"/>
                    </a:cubicBezTo>
                    <a:cubicBezTo>
                      <a:pt x="849725" y="206788"/>
                      <a:pt x="849725" y="206788"/>
                      <a:pt x="849725" y="206788"/>
                    </a:cubicBezTo>
                    <a:cubicBezTo>
                      <a:pt x="846868" y="203930"/>
                      <a:pt x="846868" y="203930"/>
                      <a:pt x="846868" y="203930"/>
                    </a:cubicBezTo>
                    <a:cubicBezTo>
                      <a:pt x="846868" y="201073"/>
                      <a:pt x="846868" y="201073"/>
                      <a:pt x="846868" y="201073"/>
                    </a:cubicBezTo>
                    <a:cubicBezTo>
                      <a:pt x="844010" y="201073"/>
                      <a:pt x="844010" y="201073"/>
                      <a:pt x="844010" y="201073"/>
                    </a:cubicBezTo>
                    <a:cubicBezTo>
                      <a:pt x="841153" y="201073"/>
                      <a:pt x="841153" y="201073"/>
                      <a:pt x="841153" y="201073"/>
                    </a:cubicBezTo>
                    <a:cubicBezTo>
                      <a:pt x="838295" y="209741"/>
                      <a:pt x="838295" y="209741"/>
                      <a:pt x="838295" y="209741"/>
                    </a:cubicBezTo>
                    <a:cubicBezTo>
                      <a:pt x="835438" y="215456"/>
                      <a:pt x="835438" y="215456"/>
                      <a:pt x="835438" y="215456"/>
                    </a:cubicBezTo>
                    <a:cubicBezTo>
                      <a:pt x="832580" y="218313"/>
                      <a:pt x="832580" y="218313"/>
                      <a:pt x="832580" y="218313"/>
                    </a:cubicBezTo>
                    <a:cubicBezTo>
                      <a:pt x="829723" y="221171"/>
                      <a:pt x="829723" y="221171"/>
                      <a:pt x="829723" y="221171"/>
                    </a:cubicBezTo>
                    <a:cubicBezTo>
                      <a:pt x="826865" y="221171"/>
                      <a:pt x="826865" y="221171"/>
                      <a:pt x="826865" y="221171"/>
                    </a:cubicBezTo>
                    <a:cubicBezTo>
                      <a:pt x="824008" y="218313"/>
                      <a:pt x="824008" y="218313"/>
                      <a:pt x="824008" y="218313"/>
                    </a:cubicBezTo>
                    <a:cubicBezTo>
                      <a:pt x="821150" y="215456"/>
                      <a:pt x="821150" y="215456"/>
                      <a:pt x="821150" y="215456"/>
                    </a:cubicBezTo>
                    <a:cubicBezTo>
                      <a:pt x="821150" y="212598"/>
                      <a:pt x="821150" y="212598"/>
                      <a:pt x="821150" y="212598"/>
                    </a:cubicBezTo>
                    <a:cubicBezTo>
                      <a:pt x="818293" y="206883"/>
                      <a:pt x="818293" y="206883"/>
                      <a:pt x="818293" y="206883"/>
                    </a:cubicBezTo>
                    <a:cubicBezTo>
                      <a:pt x="818293" y="201168"/>
                      <a:pt x="818293" y="201168"/>
                      <a:pt x="818293" y="201168"/>
                    </a:cubicBezTo>
                    <a:cubicBezTo>
                      <a:pt x="815435" y="195453"/>
                      <a:pt x="815435" y="195453"/>
                      <a:pt x="815435" y="195453"/>
                    </a:cubicBezTo>
                    <a:cubicBezTo>
                      <a:pt x="812578" y="192596"/>
                      <a:pt x="812578" y="192596"/>
                      <a:pt x="812578" y="192596"/>
                    </a:cubicBezTo>
                    <a:cubicBezTo>
                      <a:pt x="809720" y="195453"/>
                      <a:pt x="809720" y="195453"/>
                      <a:pt x="809720" y="195453"/>
                    </a:cubicBezTo>
                    <a:cubicBezTo>
                      <a:pt x="806863" y="198311"/>
                      <a:pt x="806863" y="198311"/>
                      <a:pt x="806863" y="198311"/>
                    </a:cubicBezTo>
                    <a:cubicBezTo>
                      <a:pt x="804005" y="201168"/>
                      <a:pt x="804005" y="201168"/>
                      <a:pt x="804005" y="201168"/>
                    </a:cubicBezTo>
                    <a:cubicBezTo>
                      <a:pt x="801148" y="198311"/>
                      <a:pt x="801148" y="198311"/>
                      <a:pt x="801148" y="198311"/>
                    </a:cubicBezTo>
                    <a:cubicBezTo>
                      <a:pt x="801148" y="195453"/>
                      <a:pt x="801148" y="195453"/>
                      <a:pt x="801148" y="195453"/>
                    </a:cubicBezTo>
                    <a:cubicBezTo>
                      <a:pt x="801148" y="192596"/>
                      <a:pt x="801148" y="192596"/>
                      <a:pt x="801148" y="192596"/>
                    </a:cubicBezTo>
                    <a:cubicBezTo>
                      <a:pt x="798290" y="189738"/>
                      <a:pt x="798290" y="189738"/>
                      <a:pt x="798290" y="189738"/>
                    </a:cubicBezTo>
                    <a:cubicBezTo>
                      <a:pt x="789813" y="189738"/>
                      <a:pt x="789813" y="189738"/>
                      <a:pt x="789813" y="189738"/>
                    </a:cubicBezTo>
                    <a:cubicBezTo>
                      <a:pt x="786956" y="186881"/>
                      <a:pt x="786956" y="186881"/>
                      <a:pt x="786956" y="186881"/>
                    </a:cubicBezTo>
                    <a:cubicBezTo>
                      <a:pt x="784098" y="178213"/>
                      <a:pt x="784098" y="178213"/>
                      <a:pt x="784098" y="178213"/>
                    </a:cubicBezTo>
                    <a:cubicBezTo>
                      <a:pt x="778383" y="175355"/>
                      <a:pt x="778383" y="175355"/>
                      <a:pt x="778383" y="175355"/>
                    </a:cubicBezTo>
                    <a:cubicBezTo>
                      <a:pt x="778383" y="172498"/>
                      <a:pt x="778383" y="172498"/>
                      <a:pt x="778383" y="172498"/>
                    </a:cubicBezTo>
                    <a:cubicBezTo>
                      <a:pt x="781241" y="169640"/>
                      <a:pt x="781241" y="169640"/>
                      <a:pt x="781241" y="169640"/>
                    </a:cubicBezTo>
                    <a:cubicBezTo>
                      <a:pt x="784098" y="166783"/>
                      <a:pt x="784098" y="166783"/>
                      <a:pt x="784098" y="166783"/>
                    </a:cubicBezTo>
                    <a:cubicBezTo>
                      <a:pt x="781241" y="163925"/>
                      <a:pt x="781241" y="163925"/>
                      <a:pt x="781241" y="163925"/>
                    </a:cubicBezTo>
                    <a:cubicBezTo>
                      <a:pt x="775525" y="163925"/>
                      <a:pt x="775525" y="163925"/>
                      <a:pt x="775525" y="163925"/>
                    </a:cubicBezTo>
                    <a:cubicBezTo>
                      <a:pt x="775525" y="161068"/>
                      <a:pt x="775525" y="161068"/>
                      <a:pt x="775525" y="161068"/>
                    </a:cubicBezTo>
                    <a:cubicBezTo>
                      <a:pt x="775525" y="158210"/>
                      <a:pt x="775525" y="158210"/>
                      <a:pt x="775525" y="158210"/>
                    </a:cubicBezTo>
                    <a:cubicBezTo>
                      <a:pt x="772668" y="158210"/>
                      <a:pt x="772668" y="158210"/>
                      <a:pt x="772668" y="158210"/>
                    </a:cubicBezTo>
                    <a:cubicBezTo>
                      <a:pt x="769811" y="158210"/>
                      <a:pt x="769811" y="158210"/>
                      <a:pt x="769811" y="158210"/>
                    </a:cubicBezTo>
                    <a:cubicBezTo>
                      <a:pt x="764096" y="161068"/>
                      <a:pt x="764096" y="161068"/>
                      <a:pt x="764096" y="161068"/>
                    </a:cubicBezTo>
                    <a:cubicBezTo>
                      <a:pt x="758381" y="161068"/>
                      <a:pt x="758381" y="161068"/>
                      <a:pt x="758381" y="161068"/>
                    </a:cubicBezTo>
                    <a:cubicBezTo>
                      <a:pt x="758381" y="155353"/>
                      <a:pt x="758381" y="155353"/>
                      <a:pt x="758381" y="155353"/>
                    </a:cubicBezTo>
                    <a:cubicBezTo>
                      <a:pt x="758381" y="152495"/>
                      <a:pt x="758381" y="152495"/>
                      <a:pt x="758381" y="152495"/>
                    </a:cubicBezTo>
                    <a:cubicBezTo>
                      <a:pt x="758381" y="149638"/>
                      <a:pt x="758381" y="149638"/>
                      <a:pt x="758381" y="149638"/>
                    </a:cubicBezTo>
                    <a:cubicBezTo>
                      <a:pt x="755523" y="146780"/>
                      <a:pt x="755523" y="146780"/>
                      <a:pt x="755523" y="146780"/>
                    </a:cubicBezTo>
                    <a:cubicBezTo>
                      <a:pt x="752666" y="143923"/>
                      <a:pt x="752666" y="143923"/>
                      <a:pt x="752666" y="143923"/>
                    </a:cubicBezTo>
                    <a:cubicBezTo>
                      <a:pt x="746950" y="143923"/>
                      <a:pt x="746950" y="143923"/>
                      <a:pt x="746950" y="143923"/>
                    </a:cubicBezTo>
                    <a:cubicBezTo>
                      <a:pt x="744093" y="143923"/>
                      <a:pt x="744093" y="143923"/>
                      <a:pt x="744093" y="143923"/>
                    </a:cubicBezTo>
                    <a:cubicBezTo>
                      <a:pt x="732758" y="149638"/>
                      <a:pt x="732758" y="149638"/>
                      <a:pt x="732758" y="149638"/>
                    </a:cubicBezTo>
                    <a:cubicBezTo>
                      <a:pt x="718566" y="149638"/>
                      <a:pt x="718566" y="149638"/>
                      <a:pt x="718566" y="149638"/>
                    </a:cubicBezTo>
                    <a:cubicBezTo>
                      <a:pt x="704374" y="155353"/>
                      <a:pt x="704374" y="155353"/>
                      <a:pt x="704374" y="155353"/>
                    </a:cubicBezTo>
                    <a:cubicBezTo>
                      <a:pt x="701516" y="155353"/>
                      <a:pt x="701516" y="155353"/>
                      <a:pt x="701516" y="155353"/>
                    </a:cubicBezTo>
                    <a:cubicBezTo>
                      <a:pt x="698659" y="155353"/>
                      <a:pt x="698659" y="155353"/>
                      <a:pt x="698659" y="155353"/>
                    </a:cubicBezTo>
                    <a:cubicBezTo>
                      <a:pt x="690182" y="152495"/>
                      <a:pt x="690182" y="152495"/>
                      <a:pt x="690182" y="152495"/>
                    </a:cubicBezTo>
                    <a:cubicBezTo>
                      <a:pt x="687324" y="149638"/>
                      <a:pt x="687324" y="149638"/>
                      <a:pt x="687324" y="149638"/>
                    </a:cubicBezTo>
                    <a:cubicBezTo>
                      <a:pt x="684467" y="149638"/>
                      <a:pt x="684467" y="149638"/>
                      <a:pt x="684467" y="149638"/>
                    </a:cubicBezTo>
                    <a:cubicBezTo>
                      <a:pt x="678752" y="152495"/>
                      <a:pt x="678752" y="152495"/>
                      <a:pt x="678752" y="152495"/>
                    </a:cubicBezTo>
                    <a:cubicBezTo>
                      <a:pt x="678752" y="155353"/>
                      <a:pt x="678752" y="155353"/>
                      <a:pt x="678752" y="155353"/>
                    </a:cubicBezTo>
                    <a:cubicBezTo>
                      <a:pt x="675894" y="161068"/>
                      <a:pt x="675894" y="161068"/>
                      <a:pt x="675894" y="161068"/>
                    </a:cubicBezTo>
                    <a:cubicBezTo>
                      <a:pt x="673037" y="161068"/>
                      <a:pt x="673037" y="161068"/>
                      <a:pt x="673037" y="161068"/>
                    </a:cubicBezTo>
                    <a:cubicBezTo>
                      <a:pt x="661702" y="169736"/>
                      <a:pt x="661702" y="169736"/>
                      <a:pt x="661702" y="169736"/>
                    </a:cubicBezTo>
                    <a:cubicBezTo>
                      <a:pt x="658844" y="172593"/>
                      <a:pt x="658844" y="172593"/>
                      <a:pt x="658844" y="172593"/>
                    </a:cubicBezTo>
                    <a:cubicBezTo>
                      <a:pt x="650367" y="172593"/>
                      <a:pt x="650367" y="172593"/>
                      <a:pt x="650367" y="172593"/>
                    </a:cubicBezTo>
                    <a:cubicBezTo>
                      <a:pt x="647510" y="175451"/>
                      <a:pt x="647510" y="175451"/>
                      <a:pt x="647510" y="175451"/>
                    </a:cubicBezTo>
                    <a:cubicBezTo>
                      <a:pt x="641795" y="178308"/>
                      <a:pt x="641795" y="178308"/>
                      <a:pt x="641795" y="178308"/>
                    </a:cubicBezTo>
                    <a:cubicBezTo>
                      <a:pt x="638937" y="178308"/>
                      <a:pt x="638937" y="178308"/>
                      <a:pt x="638937" y="178308"/>
                    </a:cubicBezTo>
                    <a:cubicBezTo>
                      <a:pt x="636080" y="181166"/>
                      <a:pt x="636080" y="181166"/>
                      <a:pt x="636080" y="181166"/>
                    </a:cubicBezTo>
                    <a:cubicBezTo>
                      <a:pt x="633222" y="181166"/>
                      <a:pt x="633222" y="181166"/>
                      <a:pt x="633222" y="181166"/>
                    </a:cubicBezTo>
                    <a:cubicBezTo>
                      <a:pt x="630365" y="184023"/>
                      <a:pt x="630365" y="184023"/>
                      <a:pt x="630365" y="184023"/>
                    </a:cubicBezTo>
                    <a:cubicBezTo>
                      <a:pt x="627507" y="186881"/>
                      <a:pt x="627507" y="186881"/>
                      <a:pt x="627507" y="186881"/>
                    </a:cubicBezTo>
                    <a:cubicBezTo>
                      <a:pt x="621792" y="189738"/>
                      <a:pt x="621792" y="189738"/>
                      <a:pt x="621792" y="189738"/>
                    </a:cubicBezTo>
                    <a:cubicBezTo>
                      <a:pt x="618935" y="192596"/>
                      <a:pt x="618935" y="192596"/>
                      <a:pt x="618935" y="192596"/>
                    </a:cubicBezTo>
                    <a:cubicBezTo>
                      <a:pt x="616077" y="195453"/>
                      <a:pt x="616077" y="195453"/>
                      <a:pt x="616077" y="195453"/>
                    </a:cubicBezTo>
                    <a:cubicBezTo>
                      <a:pt x="616077" y="201168"/>
                      <a:pt x="616077" y="201168"/>
                      <a:pt x="616077" y="201168"/>
                    </a:cubicBezTo>
                    <a:cubicBezTo>
                      <a:pt x="613220" y="186785"/>
                      <a:pt x="613220" y="186785"/>
                      <a:pt x="613220" y="186785"/>
                    </a:cubicBezTo>
                    <a:cubicBezTo>
                      <a:pt x="613220" y="186785"/>
                      <a:pt x="613220" y="186785"/>
                      <a:pt x="610362" y="186785"/>
                    </a:cubicBezTo>
                    <a:lnTo>
                      <a:pt x="607505" y="189643"/>
                    </a:lnTo>
                    <a:cubicBezTo>
                      <a:pt x="607505" y="189643"/>
                      <a:pt x="607505" y="189643"/>
                      <a:pt x="607505" y="192500"/>
                    </a:cubicBezTo>
                    <a:lnTo>
                      <a:pt x="604647" y="195358"/>
                    </a:lnTo>
                    <a:lnTo>
                      <a:pt x="604647" y="198215"/>
                    </a:lnTo>
                    <a:cubicBezTo>
                      <a:pt x="604647" y="201073"/>
                      <a:pt x="604647" y="201073"/>
                      <a:pt x="604647" y="201073"/>
                    </a:cubicBezTo>
                    <a:cubicBezTo>
                      <a:pt x="601790" y="198215"/>
                      <a:pt x="601790" y="198215"/>
                      <a:pt x="601790" y="198215"/>
                    </a:cubicBezTo>
                    <a:cubicBezTo>
                      <a:pt x="598932" y="198215"/>
                      <a:pt x="598932" y="198215"/>
                      <a:pt x="598932" y="198215"/>
                    </a:cubicBezTo>
                    <a:cubicBezTo>
                      <a:pt x="593217" y="198215"/>
                      <a:pt x="593217" y="198215"/>
                      <a:pt x="593217" y="198215"/>
                    </a:cubicBezTo>
                    <a:cubicBezTo>
                      <a:pt x="590360" y="198215"/>
                      <a:pt x="590360" y="198215"/>
                      <a:pt x="590360" y="198215"/>
                    </a:cubicBezTo>
                    <a:cubicBezTo>
                      <a:pt x="590360" y="198215"/>
                      <a:pt x="590360" y="198215"/>
                      <a:pt x="587502" y="198215"/>
                    </a:cubicBezTo>
                    <a:cubicBezTo>
                      <a:pt x="584645" y="198215"/>
                      <a:pt x="584645" y="198215"/>
                      <a:pt x="584645" y="198215"/>
                    </a:cubicBezTo>
                    <a:cubicBezTo>
                      <a:pt x="584645" y="198215"/>
                      <a:pt x="584645" y="198215"/>
                      <a:pt x="584645" y="201073"/>
                    </a:cubicBezTo>
                    <a:cubicBezTo>
                      <a:pt x="581787" y="201073"/>
                      <a:pt x="581787" y="201073"/>
                      <a:pt x="581787" y="201073"/>
                    </a:cubicBezTo>
                    <a:cubicBezTo>
                      <a:pt x="578930" y="201073"/>
                      <a:pt x="578930" y="201073"/>
                      <a:pt x="578930" y="201073"/>
                    </a:cubicBezTo>
                    <a:cubicBezTo>
                      <a:pt x="578930" y="201073"/>
                      <a:pt x="578930" y="201073"/>
                      <a:pt x="578930" y="203930"/>
                    </a:cubicBezTo>
                    <a:cubicBezTo>
                      <a:pt x="578930" y="203930"/>
                      <a:pt x="578930" y="203930"/>
                      <a:pt x="576072" y="203930"/>
                    </a:cubicBezTo>
                    <a:cubicBezTo>
                      <a:pt x="567595" y="206788"/>
                      <a:pt x="559022" y="201073"/>
                      <a:pt x="550545" y="201073"/>
                    </a:cubicBezTo>
                    <a:cubicBezTo>
                      <a:pt x="548640" y="203073"/>
                      <a:pt x="546830" y="206312"/>
                      <a:pt x="546640" y="209074"/>
                    </a:cubicBezTo>
                    <a:cubicBezTo>
                      <a:pt x="544354" y="199930"/>
                      <a:pt x="544354" y="199835"/>
                      <a:pt x="544354" y="199835"/>
                    </a:cubicBezTo>
                    <a:cubicBezTo>
                      <a:pt x="541496" y="188405"/>
                      <a:pt x="541496" y="188405"/>
                      <a:pt x="541496" y="188405"/>
                    </a:cubicBezTo>
                    <a:cubicBezTo>
                      <a:pt x="535781" y="191262"/>
                      <a:pt x="535781" y="191262"/>
                      <a:pt x="535781" y="191262"/>
                    </a:cubicBezTo>
                    <a:cubicBezTo>
                      <a:pt x="527304" y="179832"/>
                      <a:pt x="527304" y="179832"/>
                      <a:pt x="527304" y="179832"/>
                    </a:cubicBezTo>
                    <a:cubicBezTo>
                      <a:pt x="524447" y="179832"/>
                      <a:pt x="524447" y="179832"/>
                      <a:pt x="524447" y="179832"/>
                    </a:cubicBezTo>
                    <a:cubicBezTo>
                      <a:pt x="513112" y="179832"/>
                      <a:pt x="513112" y="179832"/>
                      <a:pt x="513112" y="179832"/>
                    </a:cubicBezTo>
                    <a:cubicBezTo>
                      <a:pt x="504635" y="179832"/>
                      <a:pt x="504635" y="179832"/>
                      <a:pt x="504635" y="179832"/>
                    </a:cubicBezTo>
                    <a:cubicBezTo>
                      <a:pt x="498920" y="176975"/>
                      <a:pt x="498920" y="176975"/>
                      <a:pt x="498920" y="176975"/>
                    </a:cubicBezTo>
                    <a:cubicBezTo>
                      <a:pt x="496062" y="171260"/>
                      <a:pt x="496062" y="171260"/>
                      <a:pt x="496062" y="171260"/>
                    </a:cubicBezTo>
                    <a:cubicBezTo>
                      <a:pt x="490347" y="165544"/>
                      <a:pt x="490347" y="165544"/>
                      <a:pt x="490347" y="165544"/>
                    </a:cubicBezTo>
                    <a:cubicBezTo>
                      <a:pt x="481870" y="162687"/>
                      <a:pt x="481870" y="162687"/>
                      <a:pt x="481870" y="162687"/>
                    </a:cubicBezTo>
                    <a:cubicBezTo>
                      <a:pt x="470535" y="159830"/>
                      <a:pt x="470535" y="159830"/>
                      <a:pt x="470535" y="159830"/>
                    </a:cubicBezTo>
                    <a:cubicBezTo>
                      <a:pt x="464820" y="154115"/>
                      <a:pt x="464820" y="154115"/>
                      <a:pt x="464820" y="154115"/>
                    </a:cubicBezTo>
                    <a:cubicBezTo>
                      <a:pt x="464820" y="136970"/>
                      <a:pt x="464820" y="136970"/>
                      <a:pt x="464820" y="136970"/>
                    </a:cubicBezTo>
                    <a:cubicBezTo>
                      <a:pt x="461963" y="128397"/>
                      <a:pt x="461963" y="128397"/>
                      <a:pt x="461963" y="128397"/>
                    </a:cubicBezTo>
                    <a:cubicBezTo>
                      <a:pt x="459105" y="119825"/>
                      <a:pt x="459105" y="119825"/>
                      <a:pt x="459105" y="119825"/>
                    </a:cubicBezTo>
                    <a:cubicBezTo>
                      <a:pt x="453390" y="116967"/>
                      <a:pt x="453390" y="116967"/>
                      <a:pt x="453390" y="116967"/>
                    </a:cubicBezTo>
                    <a:cubicBezTo>
                      <a:pt x="442055" y="116967"/>
                      <a:pt x="442055" y="116967"/>
                      <a:pt x="442055" y="116967"/>
                    </a:cubicBezTo>
                    <a:cubicBezTo>
                      <a:pt x="430721" y="111252"/>
                      <a:pt x="430721" y="111252"/>
                      <a:pt x="430721" y="111252"/>
                    </a:cubicBezTo>
                    <a:cubicBezTo>
                      <a:pt x="427863" y="108395"/>
                      <a:pt x="427863" y="108395"/>
                      <a:pt x="427863" y="108395"/>
                    </a:cubicBezTo>
                    <a:cubicBezTo>
                      <a:pt x="422148" y="99822"/>
                      <a:pt x="422148" y="99822"/>
                      <a:pt x="422148" y="99822"/>
                    </a:cubicBezTo>
                    <a:cubicBezTo>
                      <a:pt x="413671" y="96965"/>
                      <a:pt x="413671" y="96965"/>
                      <a:pt x="413671" y="96965"/>
                    </a:cubicBezTo>
                    <a:cubicBezTo>
                      <a:pt x="405194" y="99822"/>
                      <a:pt x="405194" y="99822"/>
                      <a:pt x="405194" y="99822"/>
                    </a:cubicBezTo>
                    <a:cubicBezTo>
                      <a:pt x="396716" y="82677"/>
                      <a:pt x="396716" y="82677"/>
                      <a:pt x="396716" y="82677"/>
                    </a:cubicBezTo>
                    <a:cubicBezTo>
                      <a:pt x="376809" y="82677"/>
                      <a:pt x="376809" y="82677"/>
                      <a:pt x="376809" y="82677"/>
                    </a:cubicBezTo>
                    <a:cubicBezTo>
                      <a:pt x="376809" y="79820"/>
                      <a:pt x="376809" y="79820"/>
                      <a:pt x="376809" y="79820"/>
                    </a:cubicBezTo>
                    <a:cubicBezTo>
                      <a:pt x="365474" y="56960"/>
                      <a:pt x="365474" y="56960"/>
                      <a:pt x="365474" y="56960"/>
                    </a:cubicBezTo>
                    <a:cubicBezTo>
                      <a:pt x="362617" y="54102"/>
                      <a:pt x="362617" y="54102"/>
                      <a:pt x="362617" y="54102"/>
                    </a:cubicBezTo>
                    <a:cubicBezTo>
                      <a:pt x="356902" y="48387"/>
                      <a:pt x="356902" y="48387"/>
                      <a:pt x="356902" y="48387"/>
                    </a:cubicBezTo>
                    <a:cubicBezTo>
                      <a:pt x="351187" y="42672"/>
                      <a:pt x="351187" y="42672"/>
                      <a:pt x="351187" y="42672"/>
                    </a:cubicBezTo>
                    <a:cubicBezTo>
                      <a:pt x="342710" y="39815"/>
                      <a:pt x="342710" y="39815"/>
                      <a:pt x="342710" y="39815"/>
                    </a:cubicBezTo>
                    <a:cubicBezTo>
                      <a:pt x="331375" y="36957"/>
                      <a:pt x="331375" y="36957"/>
                      <a:pt x="331375" y="36957"/>
                    </a:cubicBezTo>
                    <a:cubicBezTo>
                      <a:pt x="325660" y="39815"/>
                      <a:pt x="325660" y="39815"/>
                      <a:pt x="325660" y="39815"/>
                    </a:cubicBezTo>
                    <a:cubicBezTo>
                      <a:pt x="325660" y="42672"/>
                      <a:pt x="325660" y="42672"/>
                      <a:pt x="325660" y="42672"/>
                    </a:cubicBezTo>
                    <a:cubicBezTo>
                      <a:pt x="322802" y="45530"/>
                      <a:pt x="322802" y="45530"/>
                      <a:pt x="322802" y="45530"/>
                    </a:cubicBezTo>
                    <a:cubicBezTo>
                      <a:pt x="317087" y="42672"/>
                      <a:pt x="317087" y="42672"/>
                      <a:pt x="317087" y="42672"/>
                    </a:cubicBezTo>
                    <a:cubicBezTo>
                      <a:pt x="314230" y="39815"/>
                      <a:pt x="314230" y="39815"/>
                      <a:pt x="314230" y="39815"/>
                    </a:cubicBezTo>
                    <a:cubicBezTo>
                      <a:pt x="314230" y="34100"/>
                      <a:pt x="314230" y="34100"/>
                      <a:pt x="314230" y="34100"/>
                    </a:cubicBezTo>
                    <a:cubicBezTo>
                      <a:pt x="314230" y="31242"/>
                      <a:pt x="314230" y="31242"/>
                      <a:pt x="314230" y="31242"/>
                    </a:cubicBezTo>
                    <a:cubicBezTo>
                      <a:pt x="314230" y="25527"/>
                      <a:pt x="314230" y="25527"/>
                      <a:pt x="314230" y="25527"/>
                    </a:cubicBezTo>
                    <a:cubicBezTo>
                      <a:pt x="311372" y="19812"/>
                      <a:pt x="311372" y="19812"/>
                      <a:pt x="311372" y="19812"/>
                    </a:cubicBezTo>
                    <a:cubicBezTo>
                      <a:pt x="308515" y="16955"/>
                      <a:pt x="308515" y="16955"/>
                      <a:pt x="308515" y="16955"/>
                    </a:cubicBezTo>
                    <a:cubicBezTo>
                      <a:pt x="305657" y="16955"/>
                      <a:pt x="305657" y="16955"/>
                      <a:pt x="305657" y="16955"/>
                    </a:cubicBezTo>
                    <a:cubicBezTo>
                      <a:pt x="291465" y="14097"/>
                      <a:pt x="291465" y="14097"/>
                      <a:pt x="291465" y="14097"/>
                    </a:cubicBezTo>
                    <a:cubicBezTo>
                      <a:pt x="288608" y="11239"/>
                      <a:pt x="288608" y="11239"/>
                      <a:pt x="288608" y="11239"/>
                    </a:cubicBezTo>
                    <a:cubicBezTo>
                      <a:pt x="285750" y="8382"/>
                      <a:pt x="285750" y="8382"/>
                      <a:pt x="285750" y="8382"/>
                    </a:cubicBezTo>
                    <a:cubicBezTo>
                      <a:pt x="282893" y="8382"/>
                      <a:pt x="282893" y="8382"/>
                      <a:pt x="282893" y="8382"/>
                    </a:cubicBezTo>
                    <a:cubicBezTo>
                      <a:pt x="280035" y="5525"/>
                      <a:pt x="280035" y="5525"/>
                      <a:pt x="280035" y="5525"/>
                    </a:cubicBezTo>
                    <a:cubicBezTo>
                      <a:pt x="273272" y="8573"/>
                      <a:pt x="273272" y="8573"/>
                      <a:pt x="273272" y="8573"/>
                    </a:cubicBezTo>
                    <a:cubicBezTo>
                      <a:pt x="270415" y="8573"/>
                      <a:pt x="270415" y="8573"/>
                      <a:pt x="270415" y="8573"/>
                    </a:cubicBezTo>
                    <a:cubicBezTo>
                      <a:pt x="264700" y="8573"/>
                      <a:pt x="264700" y="8573"/>
                      <a:pt x="264700" y="8573"/>
                    </a:cubicBezTo>
                    <a:cubicBezTo>
                      <a:pt x="264700" y="11430"/>
                      <a:pt x="264700" y="11430"/>
                      <a:pt x="264700" y="11430"/>
                    </a:cubicBezTo>
                    <a:cubicBezTo>
                      <a:pt x="261842" y="11430"/>
                      <a:pt x="261842" y="11430"/>
                      <a:pt x="261842" y="11430"/>
                    </a:cubicBezTo>
                    <a:cubicBezTo>
                      <a:pt x="261842" y="14288"/>
                      <a:pt x="261842" y="14288"/>
                      <a:pt x="261842" y="14288"/>
                    </a:cubicBezTo>
                    <a:cubicBezTo>
                      <a:pt x="258985" y="17145"/>
                      <a:pt x="258985" y="17145"/>
                      <a:pt x="258985" y="17145"/>
                    </a:cubicBezTo>
                    <a:cubicBezTo>
                      <a:pt x="256127" y="17145"/>
                      <a:pt x="256127" y="17145"/>
                      <a:pt x="256127" y="17145"/>
                    </a:cubicBezTo>
                    <a:cubicBezTo>
                      <a:pt x="256127" y="14288"/>
                      <a:pt x="256127" y="14288"/>
                      <a:pt x="256127" y="14288"/>
                    </a:cubicBezTo>
                    <a:cubicBezTo>
                      <a:pt x="256127" y="11430"/>
                      <a:pt x="256127" y="11430"/>
                      <a:pt x="256127" y="11430"/>
                    </a:cubicBezTo>
                    <a:cubicBezTo>
                      <a:pt x="253270" y="5715"/>
                      <a:pt x="253270" y="5715"/>
                      <a:pt x="253270" y="5715"/>
                    </a:cubicBezTo>
                    <a:cubicBezTo>
                      <a:pt x="247555" y="2858"/>
                      <a:pt x="247555" y="2858"/>
                      <a:pt x="247555" y="2858"/>
                    </a:cubicBezTo>
                    <a:cubicBezTo>
                      <a:pt x="241840" y="2858"/>
                      <a:pt x="241840" y="2858"/>
                      <a:pt x="241840" y="2858"/>
                    </a:cubicBezTo>
                    <a:cubicBezTo>
                      <a:pt x="238982" y="2858"/>
                      <a:pt x="238982" y="2858"/>
                      <a:pt x="238982" y="2858"/>
                    </a:cubicBezTo>
                    <a:cubicBezTo>
                      <a:pt x="236411" y="0"/>
                      <a:pt x="236411" y="0"/>
                      <a:pt x="236411" y="0"/>
                    </a:cubicBezTo>
                    <a:cubicBezTo>
                      <a:pt x="233553" y="0"/>
                      <a:pt x="233553" y="0"/>
                      <a:pt x="233553" y="0"/>
                    </a:cubicBezTo>
                    <a:cubicBezTo>
                      <a:pt x="230696" y="0"/>
                      <a:pt x="230696" y="0"/>
                      <a:pt x="230696" y="0"/>
                    </a:cubicBezTo>
                    <a:cubicBezTo>
                      <a:pt x="224980" y="2858"/>
                      <a:pt x="224980" y="2858"/>
                      <a:pt x="224980" y="2858"/>
                    </a:cubicBezTo>
                    <a:cubicBezTo>
                      <a:pt x="222123" y="2858"/>
                      <a:pt x="222123" y="2858"/>
                      <a:pt x="222123" y="2858"/>
                    </a:cubicBezTo>
                    <a:cubicBezTo>
                      <a:pt x="222123" y="5715"/>
                      <a:pt x="222123" y="5715"/>
                      <a:pt x="222123" y="5715"/>
                    </a:cubicBezTo>
                    <a:cubicBezTo>
                      <a:pt x="222123" y="11430"/>
                      <a:pt x="222123" y="11430"/>
                      <a:pt x="222123" y="11430"/>
                    </a:cubicBezTo>
                    <a:cubicBezTo>
                      <a:pt x="219266" y="11430"/>
                      <a:pt x="219266" y="11430"/>
                      <a:pt x="219266" y="11430"/>
                    </a:cubicBezTo>
                    <a:cubicBezTo>
                      <a:pt x="216408" y="11430"/>
                      <a:pt x="216408" y="11430"/>
                      <a:pt x="216408" y="11430"/>
                    </a:cubicBezTo>
                    <a:cubicBezTo>
                      <a:pt x="216408" y="5715"/>
                      <a:pt x="216408" y="5715"/>
                      <a:pt x="216408" y="5715"/>
                    </a:cubicBezTo>
                    <a:cubicBezTo>
                      <a:pt x="213551" y="5715"/>
                      <a:pt x="213551" y="5715"/>
                      <a:pt x="213551" y="5715"/>
                    </a:cubicBezTo>
                    <a:cubicBezTo>
                      <a:pt x="210693" y="5715"/>
                      <a:pt x="210693" y="5715"/>
                      <a:pt x="210693" y="5715"/>
                    </a:cubicBezTo>
                    <a:cubicBezTo>
                      <a:pt x="204978" y="5715"/>
                      <a:pt x="204978" y="5715"/>
                      <a:pt x="204978" y="5715"/>
                    </a:cubicBezTo>
                    <a:cubicBezTo>
                      <a:pt x="202121" y="8573"/>
                      <a:pt x="202121" y="8573"/>
                      <a:pt x="202121" y="8573"/>
                    </a:cubicBezTo>
                    <a:cubicBezTo>
                      <a:pt x="193643" y="14288"/>
                      <a:pt x="193643" y="14288"/>
                      <a:pt x="193643" y="14288"/>
                    </a:cubicBezTo>
                    <a:cubicBezTo>
                      <a:pt x="187928" y="20003"/>
                      <a:pt x="187928" y="20003"/>
                      <a:pt x="187928" y="20003"/>
                    </a:cubicBezTo>
                    <a:cubicBezTo>
                      <a:pt x="185071" y="20003"/>
                      <a:pt x="185071" y="20003"/>
                      <a:pt x="185071" y="20003"/>
                    </a:cubicBezTo>
                    <a:cubicBezTo>
                      <a:pt x="179356" y="20003"/>
                      <a:pt x="179356" y="20003"/>
                      <a:pt x="179356" y="20003"/>
                    </a:cubicBezTo>
                    <a:cubicBezTo>
                      <a:pt x="176498" y="20003"/>
                      <a:pt x="176498" y="20003"/>
                      <a:pt x="176498" y="20003"/>
                    </a:cubicBezTo>
                    <a:cubicBezTo>
                      <a:pt x="173641" y="20003"/>
                      <a:pt x="173641" y="20003"/>
                      <a:pt x="173641" y="20003"/>
                    </a:cubicBezTo>
                    <a:cubicBezTo>
                      <a:pt x="173641" y="22860"/>
                      <a:pt x="173641" y="22860"/>
                      <a:pt x="173641" y="22860"/>
                    </a:cubicBezTo>
                    <a:cubicBezTo>
                      <a:pt x="173641" y="28575"/>
                      <a:pt x="173641" y="28575"/>
                      <a:pt x="173641" y="28575"/>
                    </a:cubicBezTo>
                    <a:cubicBezTo>
                      <a:pt x="165164" y="31433"/>
                      <a:pt x="165164" y="31433"/>
                      <a:pt x="165164" y="31433"/>
                    </a:cubicBezTo>
                    <a:cubicBezTo>
                      <a:pt x="162306" y="31433"/>
                      <a:pt x="162306" y="31433"/>
                      <a:pt x="162306" y="31433"/>
                    </a:cubicBezTo>
                    <a:cubicBezTo>
                      <a:pt x="159449" y="31433"/>
                      <a:pt x="159449" y="31433"/>
                      <a:pt x="159449" y="31433"/>
                    </a:cubicBezTo>
                    <a:cubicBezTo>
                      <a:pt x="156972" y="28575"/>
                      <a:pt x="156972" y="28575"/>
                      <a:pt x="156972" y="28575"/>
                    </a:cubicBezTo>
                    <a:cubicBezTo>
                      <a:pt x="148495" y="22860"/>
                      <a:pt x="148495" y="22860"/>
                      <a:pt x="148495" y="22860"/>
                    </a:cubicBezTo>
                    <a:cubicBezTo>
                      <a:pt x="142780" y="22860"/>
                      <a:pt x="142780" y="22860"/>
                      <a:pt x="142780" y="22860"/>
                    </a:cubicBezTo>
                    <a:cubicBezTo>
                      <a:pt x="137065" y="20003"/>
                      <a:pt x="137065" y="20003"/>
                      <a:pt x="137065" y="20003"/>
                    </a:cubicBezTo>
                    <a:cubicBezTo>
                      <a:pt x="131350" y="20003"/>
                      <a:pt x="131350" y="20003"/>
                      <a:pt x="131350" y="20003"/>
                    </a:cubicBezTo>
                    <a:cubicBezTo>
                      <a:pt x="131350" y="25718"/>
                      <a:pt x="131350" y="25718"/>
                      <a:pt x="131350" y="25718"/>
                    </a:cubicBezTo>
                    <a:cubicBezTo>
                      <a:pt x="134207" y="25718"/>
                      <a:pt x="134207" y="25718"/>
                      <a:pt x="134207" y="25718"/>
                    </a:cubicBezTo>
                    <a:cubicBezTo>
                      <a:pt x="134207" y="28575"/>
                      <a:pt x="134207" y="28575"/>
                      <a:pt x="134207" y="28575"/>
                    </a:cubicBezTo>
                    <a:cubicBezTo>
                      <a:pt x="137065" y="28575"/>
                      <a:pt x="137065" y="28575"/>
                      <a:pt x="137065" y="28575"/>
                    </a:cubicBezTo>
                    <a:cubicBezTo>
                      <a:pt x="139922" y="28575"/>
                      <a:pt x="139922" y="28575"/>
                      <a:pt x="139922" y="28575"/>
                    </a:cubicBezTo>
                    <a:cubicBezTo>
                      <a:pt x="142780" y="31433"/>
                      <a:pt x="142780" y="31433"/>
                      <a:pt x="142780" y="31433"/>
                    </a:cubicBezTo>
                    <a:cubicBezTo>
                      <a:pt x="148495" y="34290"/>
                      <a:pt x="148495" y="34290"/>
                      <a:pt x="148495" y="34290"/>
                    </a:cubicBezTo>
                    <a:cubicBezTo>
                      <a:pt x="148495" y="37148"/>
                      <a:pt x="148495" y="37148"/>
                      <a:pt x="148495" y="37148"/>
                    </a:cubicBezTo>
                    <a:cubicBezTo>
                      <a:pt x="151352" y="37148"/>
                      <a:pt x="151352" y="37148"/>
                      <a:pt x="151352" y="37148"/>
                    </a:cubicBezTo>
                    <a:cubicBezTo>
                      <a:pt x="151352" y="40005"/>
                      <a:pt x="151352" y="40005"/>
                      <a:pt x="151352" y="40005"/>
                    </a:cubicBezTo>
                    <a:cubicBezTo>
                      <a:pt x="151352" y="42863"/>
                      <a:pt x="151352" y="42863"/>
                      <a:pt x="151352" y="42863"/>
                    </a:cubicBezTo>
                    <a:cubicBezTo>
                      <a:pt x="151352" y="45720"/>
                      <a:pt x="151352" y="45720"/>
                      <a:pt x="151352" y="45720"/>
                    </a:cubicBezTo>
                    <a:cubicBezTo>
                      <a:pt x="148495" y="45720"/>
                      <a:pt x="148495" y="45720"/>
                      <a:pt x="148495" y="45720"/>
                    </a:cubicBezTo>
                    <a:cubicBezTo>
                      <a:pt x="145637" y="45720"/>
                      <a:pt x="145637" y="45720"/>
                      <a:pt x="145637" y="45720"/>
                    </a:cubicBezTo>
                    <a:cubicBezTo>
                      <a:pt x="142780" y="42767"/>
                      <a:pt x="142780" y="42767"/>
                      <a:pt x="142780" y="42767"/>
                    </a:cubicBezTo>
                    <a:cubicBezTo>
                      <a:pt x="139922" y="42767"/>
                      <a:pt x="139922" y="42767"/>
                      <a:pt x="139922" y="42767"/>
                    </a:cubicBezTo>
                    <a:cubicBezTo>
                      <a:pt x="137065" y="45625"/>
                      <a:pt x="137065" y="45625"/>
                      <a:pt x="137065" y="45625"/>
                    </a:cubicBezTo>
                    <a:cubicBezTo>
                      <a:pt x="134207" y="42767"/>
                      <a:pt x="134207" y="42767"/>
                      <a:pt x="134207" y="42767"/>
                    </a:cubicBezTo>
                    <a:cubicBezTo>
                      <a:pt x="131350" y="42767"/>
                      <a:pt x="131350" y="42767"/>
                      <a:pt x="131350" y="42767"/>
                    </a:cubicBezTo>
                    <a:cubicBezTo>
                      <a:pt x="128492" y="45625"/>
                      <a:pt x="128492" y="45625"/>
                      <a:pt x="128492" y="45625"/>
                    </a:cubicBezTo>
                    <a:cubicBezTo>
                      <a:pt x="125635" y="45625"/>
                      <a:pt x="125635" y="45625"/>
                      <a:pt x="125635" y="45625"/>
                    </a:cubicBezTo>
                    <a:cubicBezTo>
                      <a:pt x="119920" y="45625"/>
                      <a:pt x="119920" y="45625"/>
                      <a:pt x="119920" y="45625"/>
                    </a:cubicBezTo>
                    <a:cubicBezTo>
                      <a:pt x="119920" y="42767"/>
                      <a:pt x="119920" y="42767"/>
                      <a:pt x="119920" y="42767"/>
                    </a:cubicBezTo>
                    <a:cubicBezTo>
                      <a:pt x="117062" y="42767"/>
                      <a:pt x="117062" y="42767"/>
                      <a:pt x="117062" y="42767"/>
                    </a:cubicBezTo>
                    <a:cubicBezTo>
                      <a:pt x="114205" y="42767"/>
                      <a:pt x="114205" y="42767"/>
                      <a:pt x="114205" y="42767"/>
                    </a:cubicBezTo>
                    <a:cubicBezTo>
                      <a:pt x="108490" y="42767"/>
                      <a:pt x="108490" y="42767"/>
                      <a:pt x="108490" y="42767"/>
                    </a:cubicBezTo>
                    <a:cubicBezTo>
                      <a:pt x="102775" y="39910"/>
                      <a:pt x="102775" y="39910"/>
                      <a:pt x="102775" y="39910"/>
                    </a:cubicBezTo>
                    <a:cubicBezTo>
                      <a:pt x="97060" y="39910"/>
                      <a:pt x="97060" y="39910"/>
                      <a:pt x="97060" y="39910"/>
                    </a:cubicBezTo>
                    <a:cubicBezTo>
                      <a:pt x="85725" y="42767"/>
                      <a:pt x="85725" y="42767"/>
                      <a:pt x="85725" y="42767"/>
                    </a:cubicBezTo>
                    <a:cubicBezTo>
                      <a:pt x="85725" y="45625"/>
                      <a:pt x="85725" y="45625"/>
                      <a:pt x="85725" y="45625"/>
                    </a:cubicBezTo>
                    <a:cubicBezTo>
                      <a:pt x="80010" y="45625"/>
                      <a:pt x="80010" y="45625"/>
                      <a:pt x="80010" y="45625"/>
                    </a:cubicBezTo>
                    <a:cubicBezTo>
                      <a:pt x="77153" y="45625"/>
                      <a:pt x="77153" y="45625"/>
                      <a:pt x="77153" y="45625"/>
                    </a:cubicBezTo>
                    <a:cubicBezTo>
                      <a:pt x="74295" y="45625"/>
                      <a:pt x="74295" y="45625"/>
                      <a:pt x="74295" y="45625"/>
                    </a:cubicBezTo>
                    <a:cubicBezTo>
                      <a:pt x="74295" y="42767"/>
                      <a:pt x="74295" y="42767"/>
                      <a:pt x="74295" y="42767"/>
                    </a:cubicBezTo>
                    <a:cubicBezTo>
                      <a:pt x="71438" y="42767"/>
                      <a:pt x="71438" y="42767"/>
                      <a:pt x="71438" y="42767"/>
                    </a:cubicBezTo>
                    <a:cubicBezTo>
                      <a:pt x="68580" y="45625"/>
                      <a:pt x="68580" y="45625"/>
                      <a:pt x="68580" y="45625"/>
                    </a:cubicBezTo>
                    <a:cubicBezTo>
                      <a:pt x="65723" y="45625"/>
                      <a:pt x="65723" y="45625"/>
                      <a:pt x="65723" y="45625"/>
                    </a:cubicBezTo>
                    <a:cubicBezTo>
                      <a:pt x="62865" y="45625"/>
                      <a:pt x="62865" y="45625"/>
                      <a:pt x="62865" y="45625"/>
                    </a:cubicBezTo>
                    <a:cubicBezTo>
                      <a:pt x="60008" y="48482"/>
                      <a:pt x="60008" y="48482"/>
                      <a:pt x="60008" y="48482"/>
                    </a:cubicBezTo>
                    <a:cubicBezTo>
                      <a:pt x="60008" y="54197"/>
                      <a:pt x="60008" y="54197"/>
                      <a:pt x="60008" y="54197"/>
                    </a:cubicBezTo>
                    <a:cubicBezTo>
                      <a:pt x="62865" y="57055"/>
                      <a:pt x="62865" y="57055"/>
                      <a:pt x="62865" y="57055"/>
                    </a:cubicBezTo>
                    <a:cubicBezTo>
                      <a:pt x="62865" y="59912"/>
                      <a:pt x="62865" y="59912"/>
                      <a:pt x="62865" y="59912"/>
                    </a:cubicBezTo>
                    <a:cubicBezTo>
                      <a:pt x="60008" y="62770"/>
                      <a:pt x="60008" y="62770"/>
                      <a:pt x="60008" y="62770"/>
                    </a:cubicBezTo>
                    <a:cubicBezTo>
                      <a:pt x="60008" y="65627"/>
                      <a:pt x="60008" y="65627"/>
                      <a:pt x="60008" y="65627"/>
                    </a:cubicBezTo>
                    <a:cubicBezTo>
                      <a:pt x="60008" y="68485"/>
                      <a:pt x="60008" y="68485"/>
                      <a:pt x="60008" y="68485"/>
                    </a:cubicBezTo>
                    <a:cubicBezTo>
                      <a:pt x="57150" y="68485"/>
                      <a:pt x="57150" y="68485"/>
                      <a:pt x="57150" y="68485"/>
                    </a:cubicBezTo>
                    <a:cubicBezTo>
                      <a:pt x="51435" y="71342"/>
                      <a:pt x="51435" y="71342"/>
                      <a:pt x="51435" y="71342"/>
                    </a:cubicBezTo>
                    <a:cubicBezTo>
                      <a:pt x="51435" y="74200"/>
                      <a:pt x="51435" y="74200"/>
                      <a:pt x="51435" y="74200"/>
                    </a:cubicBezTo>
                    <a:cubicBezTo>
                      <a:pt x="51435" y="77057"/>
                      <a:pt x="51435" y="77057"/>
                      <a:pt x="51435" y="77057"/>
                    </a:cubicBezTo>
                    <a:cubicBezTo>
                      <a:pt x="45720" y="77057"/>
                      <a:pt x="45720" y="77057"/>
                      <a:pt x="45720" y="77057"/>
                    </a:cubicBezTo>
                    <a:cubicBezTo>
                      <a:pt x="42863" y="79915"/>
                      <a:pt x="42863" y="79915"/>
                      <a:pt x="42863" y="79915"/>
                    </a:cubicBezTo>
                    <a:cubicBezTo>
                      <a:pt x="40005" y="79915"/>
                      <a:pt x="40005" y="79915"/>
                      <a:pt x="40005" y="79915"/>
                    </a:cubicBezTo>
                    <a:cubicBezTo>
                      <a:pt x="40005" y="88487"/>
                      <a:pt x="40005" y="88487"/>
                      <a:pt x="40005" y="88487"/>
                    </a:cubicBezTo>
                    <a:cubicBezTo>
                      <a:pt x="37148" y="91345"/>
                      <a:pt x="37148" y="91345"/>
                      <a:pt x="37148" y="91345"/>
                    </a:cubicBezTo>
                    <a:cubicBezTo>
                      <a:pt x="34290" y="91345"/>
                      <a:pt x="34290" y="91345"/>
                      <a:pt x="34290" y="91345"/>
                    </a:cubicBezTo>
                    <a:cubicBezTo>
                      <a:pt x="31433" y="91345"/>
                      <a:pt x="31433" y="91345"/>
                      <a:pt x="31433" y="91345"/>
                    </a:cubicBezTo>
                    <a:cubicBezTo>
                      <a:pt x="28575" y="97060"/>
                      <a:pt x="28575" y="97060"/>
                      <a:pt x="28575" y="97060"/>
                    </a:cubicBezTo>
                    <a:cubicBezTo>
                      <a:pt x="28575" y="99917"/>
                      <a:pt x="28575" y="99917"/>
                      <a:pt x="28575" y="99917"/>
                    </a:cubicBezTo>
                    <a:cubicBezTo>
                      <a:pt x="25718" y="99917"/>
                      <a:pt x="25718" y="99917"/>
                      <a:pt x="25718" y="99917"/>
                    </a:cubicBezTo>
                    <a:cubicBezTo>
                      <a:pt x="22860" y="99917"/>
                      <a:pt x="22860" y="99917"/>
                      <a:pt x="22860" y="99917"/>
                    </a:cubicBezTo>
                    <a:cubicBezTo>
                      <a:pt x="20003" y="102775"/>
                      <a:pt x="20003" y="102775"/>
                      <a:pt x="20003" y="102775"/>
                    </a:cubicBezTo>
                    <a:cubicBezTo>
                      <a:pt x="17145" y="105632"/>
                      <a:pt x="17145" y="105632"/>
                      <a:pt x="17145" y="105632"/>
                    </a:cubicBezTo>
                    <a:cubicBezTo>
                      <a:pt x="14288" y="105632"/>
                      <a:pt x="14288" y="105632"/>
                      <a:pt x="14288" y="105632"/>
                    </a:cubicBezTo>
                    <a:cubicBezTo>
                      <a:pt x="11430" y="105632"/>
                      <a:pt x="11430" y="105632"/>
                      <a:pt x="11430" y="105632"/>
                    </a:cubicBezTo>
                    <a:cubicBezTo>
                      <a:pt x="8573" y="105632"/>
                      <a:pt x="8573" y="105632"/>
                      <a:pt x="8573" y="105632"/>
                    </a:cubicBezTo>
                    <a:cubicBezTo>
                      <a:pt x="5715" y="105632"/>
                      <a:pt x="5715" y="105632"/>
                      <a:pt x="5715" y="105632"/>
                    </a:cubicBezTo>
                    <a:cubicBezTo>
                      <a:pt x="5715" y="108490"/>
                      <a:pt x="5715" y="108490"/>
                      <a:pt x="5715" y="108490"/>
                    </a:cubicBezTo>
                    <a:cubicBezTo>
                      <a:pt x="5715" y="111347"/>
                      <a:pt x="5715" y="111347"/>
                      <a:pt x="5715" y="111347"/>
                    </a:cubicBezTo>
                    <a:cubicBezTo>
                      <a:pt x="2858" y="117062"/>
                      <a:pt x="2858" y="117062"/>
                      <a:pt x="2858" y="117062"/>
                    </a:cubicBezTo>
                    <a:cubicBezTo>
                      <a:pt x="2858" y="119920"/>
                      <a:pt x="2858" y="119920"/>
                      <a:pt x="2858" y="119920"/>
                    </a:cubicBezTo>
                    <a:cubicBezTo>
                      <a:pt x="2858" y="122777"/>
                      <a:pt x="2858" y="122777"/>
                      <a:pt x="2858" y="122777"/>
                    </a:cubicBezTo>
                    <a:cubicBezTo>
                      <a:pt x="0" y="125635"/>
                      <a:pt x="0" y="125635"/>
                      <a:pt x="0" y="125635"/>
                    </a:cubicBezTo>
                    <a:cubicBezTo>
                      <a:pt x="0" y="128492"/>
                      <a:pt x="0" y="128492"/>
                      <a:pt x="0" y="128492"/>
                    </a:cubicBezTo>
                    <a:cubicBezTo>
                      <a:pt x="0" y="131350"/>
                      <a:pt x="0" y="131350"/>
                      <a:pt x="0" y="131350"/>
                    </a:cubicBezTo>
                    <a:cubicBezTo>
                      <a:pt x="2858" y="131350"/>
                      <a:pt x="2858" y="131350"/>
                      <a:pt x="2858" y="131350"/>
                    </a:cubicBezTo>
                    <a:cubicBezTo>
                      <a:pt x="5715" y="137065"/>
                      <a:pt x="5715" y="137065"/>
                      <a:pt x="5715" y="137065"/>
                    </a:cubicBezTo>
                    <a:cubicBezTo>
                      <a:pt x="8573" y="139922"/>
                      <a:pt x="8573" y="139922"/>
                      <a:pt x="8573" y="139922"/>
                    </a:cubicBezTo>
                    <a:cubicBezTo>
                      <a:pt x="95" y="154210"/>
                      <a:pt x="95" y="154210"/>
                      <a:pt x="95" y="154210"/>
                    </a:cubicBezTo>
                    <a:cubicBezTo>
                      <a:pt x="2953" y="157067"/>
                      <a:pt x="2953" y="157067"/>
                      <a:pt x="2953" y="157067"/>
                    </a:cubicBezTo>
                    <a:cubicBezTo>
                      <a:pt x="14288" y="162782"/>
                      <a:pt x="14288" y="162782"/>
                      <a:pt x="14288" y="162782"/>
                    </a:cubicBezTo>
                    <a:cubicBezTo>
                      <a:pt x="25622" y="162782"/>
                      <a:pt x="25622" y="162782"/>
                      <a:pt x="25622" y="162782"/>
                    </a:cubicBezTo>
                    <a:cubicBezTo>
                      <a:pt x="28480" y="165640"/>
                      <a:pt x="28480" y="165640"/>
                      <a:pt x="28480" y="165640"/>
                    </a:cubicBezTo>
                    <a:cubicBezTo>
                      <a:pt x="31337" y="162782"/>
                      <a:pt x="31337" y="162782"/>
                      <a:pt x="31337" y="162782"/>
                    </a:cubicBezTo>
                    <a:cubicBezTo>
                      <a:pt x="37052" y="159925"/>
                      <a:pt x="37052" y="159925"/>
                      <a:pt x="37052" y="159925"/>
                    </a:cubicBezTo>
                    <a:cubicBezTo>
                      <a:pt x="48387" y="157067"/>
                      <a:pt x="48387" y="157067"/>
                      <a:pt x="48387" y="157067"/>
                    </a:cubicBezTo>
                    <a:cubicBezTo>
                      <a:pt x="51245" y="157067"/>
                      <a:pt x="51245" y="157067"/>
                      <a:pt x="51245" y="157067"/>
                    </a:cubicBezTo>
                    <a:cubicBezTo>
                      <a:pt x="51245" y="159925"/>
                      <a:pt x="51245" y="159925"/>
                      <a:pt x="51245" y="159925"/>
                    </a:cubicBezTo>
                    <a:cubicBezTo>
                      <a:pt x="54102" y="159925"/>
                      <a:pt x="54102" y="159925"/>
                      <a:pt x="54102" y="159925"/>
                    </a:cubicBezTo>
                    <a:cubicBezTo>
                      <a:pt x="54102" y="162782"/>
                      <a:pt x="54102" y="162782"/>
                      <a:pt x="54102" y="162782"/>
                    </a:cubicBezTo>
                    <a:cubicBezTo>
                      <a:pt x="56960" y="162782"/>
                      <a:pt x="56960" y="162782"/>
                      <a:pt x="56960" y="162782"/>
                    </a:cubicBezTo>
                    <a:cubicBezTo>
                      <a:pt x="59817" y="159925"/>
                      <a:pt x="59817" y="159925"/>
                      <a:pt x="59817" y="159925"/>
                    </a:cubicBezTo>
                    <a:cubicBezTo>
                      <a:pt x="59817" y="157067"/>
                      <a:pt x="59817" y="157067"/>
                      <a:pt x="59817" y="157067"/>
                    </a:cubicBezTo>
                    <a:cubicBezTo>
                      <a:pt x="62675" y="157067"/>
                      <a:pt x="62675" y="157067"/>
                      <a:pt x="62675" y="157067"/>
                    </a:cubicBezTo>
                    <a:cubicBezTo>
                      <a:pt x="62675" y="159925"/>
                      <a:pt x="62675" y="159925"/>
                      <a:pt x="62675" y="159925"/>
                    </a:cubicBezTo>
                    <a:cubicBezTo>
                      <a:pt x="62675" y="162782"/>
                      <a:pt x="62675" y="162782"/>
                      <a:pt x="62675" y="162782"/>
                    </a:cubicBezTo>
                    <a:cubicBezTo>
                      <a:pt x="65532" y="162782"/>
                      <a:pt x="65532" y="162782"/>
                      <a:pt x="65532" y="162782"/>
                    </a:cubicBezTo>
                    <a:cubicBezTo>
                      <a:pt x="68390" y="165640"/>
                      <a:pt x="68390" y="165640"/>
                      <a:pt x="68390" y="165640"/>
                    </a:cubicBezTo>
                    <a:cubicBezTo>
                      <a:pt x="68390" y="168497"/>
                      <a:pt x="68390" y="168497"/>
                      <a:pt x="68390" y="168497"/>
                    </a:cubicBezTo>
                    <a:cubicBezTo>
                      <a:pt x="65532" y="168497"/>
                      <a:pt x="65532" y="168497"/>
                      <a:pt x="65532" y="168497"/>
                    </a:cubicBezTo>
                    <a:cubicBezTo>
                      <a:pt x="65532" y="177070"/>
                      <a:pt x="65532" y="177070"/>
                      <a:pt x="65532" y="177070"/>
                    </a:cubicBezTo>
                    <a:cubicBezTo>
                      <a:pt x="65532" y="179927"/>
                      <a:pt x="65532" y="179927"/>
                      <a:pt x="65532" y="179927"/>
                    </a:cubicBezTo>
                    <a:cubicBezTo>
                      <a:pt x="68390" y="179927"/>
                      <a:pt x="68390" y="179927"/>
                      <a:pt x="68390" y="179927"/>
                    </a:cubicBezTo>
                    <a:cubicBezTo>
                      <a:pt x="76867" y="188500"/>
                      <a:pt x="76867" y="188500"/>
                      <a:pt x="76867" y="188500"/>
                    </a:cubicBezTo>
                    <a:cubicBezTo>
                      <a:pt x="79724" y="188500"/>
                      <a:pt x="79724" y="188500"/>
                      <a:pt x="79724" y="188500"/>
                    </a:cubicBezTo>
                    <a:cubicBezTo>
                      <a:pt x="82582" y="191357"/>
                      <a:pt x="82582" y="191357"/>
                      <a:pt x="82582" y="191357"/>
                    </a:cubicBezTo>
                    <a:cubicBezTo>
                      <a:pt x="82582" y="194215"/>
                      <a:pt x="82582" y="194215"/>
                      <a:pt x="82582" y="194215"/>
                    </a:cubicBezTo>
                    <a:cubicBezTo>
                      <a:pt x="85439" y="194215"/>
                      <a:pt x="85439" y="194215"/>
                      <a:pt x="85439" y="194215"/>
                    </a:cubicBezTo>
                    <a:cubicBezTo>
                      <a:pt x="85439" y="197072"/>
                      <a:pt x="85439" y="197072"/>
                      <a:pt x="85439" y="197072"/>
                    </a:cubicBezTo>
                    <a:cubicBezTo>
                      <a:pt x="91154" y="197072"/>
                      <a:pt x="91154" y="197072"/>
                      <a:pt x="91154" y="197072"/>
                    </a:cubicBezTo>
                    <a:cubicBezTo>
                      <a:pt x="94012" y="197072"/>
                      <a:pt x="94012" y="197072"/>
                      <a:pt x="94012" y="197072"/>
                    </a:cubicBezTo>
                    <a:cubicBezTo>
                      <a:pt x="94012" y="199930"/>
                      <a:pt x="94012" y="199930"/>
                      <a:pt x="94012" y="199930"/>
                    </a:cubicBezTo>
                    <a:cubicBezTo>
                      <a:pt x="96869" y="199930"/>
                      <a:pt x="96869" y="199930"/>
                      <a:pt x="96869" y="199930"/>
                    </a:cubicBezTo>
                    <a:cubicBezTo>
                      <a:pt x="96869" y="202787"/>
                      <a:pt x="96869" y="202787"/>
                      <a:pt x="96869" y="202787"/>
                    </a:cubicBezTo>
                    <a:cubicBezTo>
                      <a:pt x="99727" y="202787"/>
                      <a:pt x="99727" y="202787"/>
                      <a:pt x="99727" y="202787"/>
                    </a:cubicBezTo>
                    <a:cubicBezTo>
                      <a:pt x="102584" y="202787"/>
                      <a:pt x="102584" y="202787"/>
                      <a:pt x="102584" y="202787"/>
                    </a:cubicBezTo>
                    <a:cubicBezTo>
                      <a:pt x="108299" y="205645"/>
                      <a:pt x="108299" y="205645"/>
                      <a:pt x="108299" y="205645"/>
                    </a:cubicBezTo>
                    <a:cubicBezTo>
                      <a:pt x="114014" y="202787"/>
                      <a:pt x="114014" y="202787"/>
                      <a:pt x="114014" y="202787"/>
                    </a:cubicBezTo>
                    <a:cubicBezTo>
                      <a:pt x="119729" y="202787"/>
                      <a:pt x="119729" y="202787"/>
                      <a:pt x="119729" y="202787"/>
                    </a:cubicBezTo>
                    <a:cubicBezTo>
                      <a:pt x="136779" y="205645"/>
                      <a:pt x="136779" y="205645"/>
                      <a:pt x="136779" y="205645"/>
                    </a:cubicBezTo>
                    <a:cubicBezTo>
                      <a:pt x="136779" y="208502"/>
                      <a:pt x="136779" y="208502"/>
                      <a:pt x="136779" y="208502"/>
                    </a:cubicBezTo>
                    <a:cubicBezTo>
                      <a:pt x="136779" y="217075"/>
                      <a:pt x="136779" y="217075"/>
                      <a:pt x="136779" y="217075"/>
                    </a:cubicBezTo>
                    <a:cubicBezTo>
                      <a:pt x="133922" y="219932"/>
                      <a:pt x="133922" y="219932"/>
                      <a:pt x="133922" y="219932"/>
                    </a:cubicBezTo>
                    <a:cubicBezTo>
                      <a:pt x="131064" y="219932"/>
                      <a:pt x="131064" y="219932"/>
                      <a:pt x="131064" y="219932"/>
                    </a:cubicBezTo>
                    <a:cubicBezTo>
                      <a:pt x="131064" y="222790"/>
                      <a:pt x="131064" y="222790"/>
                      <a:pt x="131064" y="222790"/>
                    </a:cubicBezTo>
                    <a:cubicBezTo>
                      <a:pt x="128207" y="228505"/>
                      <a:pt x="128207" y="228505"/>
                      <a:pt x="128207" y="228505"/>
                    </a:cubicBezTo>
                    <a:cubicBezTo>
                      <a:pt x="128207" y="234220"/>
                      <a:pt x="128207" y="234220"/>
                      <a:pt x="128207" y="234220"/>
                    </a:cubicBezTo>
                    <a:cubicBezTo>
                      <a:pt x="131064" y="239935"/>
                      <a:pt x="131064" y="239935"/>
                      <a:pt x="131064" y="239935"/>
                    </a:cubicBezTo>
                    <a:cubicBezTo>
                      <a:pt x="131064" y="248507"/>
                      <a:pt x="131064" y="248507"/>
                      <a:pt x="131064" y="248507"/>
                    </a:cubicBezTo>
                    <a:cubicBezTo>
                      <a:pt x="133922" y="248507"/>
                      <a:pt x="133922" y="248507"/>
                      <a:pt x="133922" y="248507"/>
                    </a:cubicBezTo>
                    <a:cubicBezTo>
                      <a:pt x="136779" y="245650"/>
                      <a:pt x="136779" y="245650"/>
                      <a:pt x="136779" y="245650"/>
                    </a:cubicBezTo>
                    <a:cubicBezTo>
                      <a:pt x="142494" y="245650"/>
                      <a:pt x="142494" y="245650"/>
                      <a:pt x="142494" y="245650"/>
                    </a:cubicBezTo>
                    <a:cubicBezTo>
                      <a:pt x="145351" y="245650"/>
                      <a:pt x="145351" y="245650"/>
                      <a:pt x="145351" y="245650"/>
                    </a:cubicBezTo>
                    <a:cubicBezTo>
                      <a:pt x="145351" y="248507"/>
                      <a:pt x="145351" y="248507"/>
                      <a:pt x="145351" y="248507"/>
                    </a:cubicBezTo>
                    <a:cubicBezTo>
                      <a:pt x="148209" y="248507"/>
                      <a:pt x="148209" y="248507"/>
                      <a:pt x="148209" y="248507"/>
                    </a:cubicBezTo>
                    <a:cubicBezTo>
                      <a:pt x="151067" y="248507"/>
                      <a:pt x="151067" y="248507"/>
                      <a:pt x="151067" y="248507"/>
                    </a:cubicBezTo>
                    <a:cubicBezTo>
                      <a:pt x="153924" y="248507"/>
                      <a:pt x="153924" y="248507"/>
                      <a:pt x="153924" y="248507"/>
                    </a:cubicBezTo>
                    <a:cubicBezTo>
                      <a:pt x="156782" y="254222"/>
                      <a:pt x="156782" y="254222"/>
                      <a:pt x="156782" y="254222"/>
                    </a:cubicBezTo>
                    <a:cubicBezTo>
                      <a:pt x="159639" y="254222"/>
                      <a:pt x="159639" y="254222"/>
                      <a:pt x="159639" y="254222"/>
                    </a:cubicBezTo>
                    <a:cubicBezTo>
                      <a:pt x="162497" y="254222"/>
                      <a:pt x="162497" y="254222"/>
                      <a:pt x="162497" y="254222"/>
                    </a:cubicBezTo>
                    <a:cubicBezTo>
                      <a:pt x="165354" y="257080"/>
                      <a:pt x="165354" y="257080"/>
                      <a:pt x="165354" y="257080"/>
                    </a:cubicBezTo>
                    <a:cubicBezTo>
                      <a:pt x="173831" y="257080"/>
                      <a:pt x="173831" y="257080"/>
                      <a:pt x="173831" y="257080"/>
                    </a:cubicBezTo>
                    <a:cubicBezTo>
                      <a:pt x="173831" y="259937"/>
                      <a:pt x="173831" y="259937"/>
                      <a:pt x="173831" y="259937"/>
                    </a:cubicBezTo>
                    <a:cubicBezTo>
                      <a:pt x="176689" y="262795"/>
                      <a:pt x="176689" y="262795"/>
                      <a:pt x="176689" y="262795"/>
                    </a:cubicBezTo>
                    <a:cubicBezTo>
                      <a:pt x="173831" y="262795"/>
                      <a:pt x="173831" y="262795"/>
                      <a:pt x="173831" y="262795"/>
                    </a:cubicBezTo>
                    <a:cubicBezTo>
                      <a:pt x="173260" y="263462"/>
                      <a:pt x="172784" y="263843"/>
                      <a:pt x="172403" y="264224"/>
                    </a:cubicBezTo>
                    <a:lnTo>
                      <a:pt x="181928" y="268129"/>
                    </a:lnTo>
                    <a:lnTo>
                      <a:pt x="194501" y="273272"/>
                    </a:lnTo>
                    <a:lnTo>
                      <a:pt x="199930" y="274320"/>
                    </a:lnTo>
                    <a:lnTo>
                      <a:pt x="212789" y="266414"/>
                    </a:lnTo>
                    <a:lnTo>
                      <a:pt x="214408" y="262890"/>
                    </a:lnTo>
                    <a:lnTo>
                      <a:pt x="221742" y="268605"/>
                    </a:lnTo>
                    <a:lnTo>
                      <a:pt x="225838" y="275939"/>
                    </a:lnTo>
                    <a:lnTo>
                      <a:pt x="227457" y="280892"/>
                    </a:lnTo>
                    <a:lnTo>
                      <a:pt x="227457" y="291560"/>
                    </a:lnTo>
                    <a:lnTo>
                      <a:pt x="229076" y="294608"/>
                    </a:lnTo>
                    <a:lnTo>
                      <a:pt x="236982" y="294608"/>
                    </a:lnTo>
                    <a:lnTo>
                      <a:pt x="242697" y="294608"/>
                    </a:lnTo>
                    <a:lnTo>
                      <a:pt x="247650" y="300323"/>
                    </a:lnTo>
                    <a:lnTo>
                      <a:pt x="253079" y="305276"/>
                    </a:lnTo>
                    <a:lnTo>
                      <a:pt x="258509" y="305276"/>
                    </a:lnTo>
                    <a:lnTo>
                      <a:pt x="262319" y="307753"/>
                    </a:lnTo>
                    <a:lnTo>
                      <a:pt x="266700" y="307753"/>
                    </a:lnTo>
                    <a:lnTo>
                      <a:pt x="271844" y="302990"/>
                    </a:lnTo>
                    <a:lnTo>
                      <a:pt x="275368" y="298418"/>
                    </a:lnTo>
                    <a:lnTo>
                      <a:pt x="278416" y="294608"/>
                    </a:lnTo>
                    <a:lnTo>
                      <a:pt x="285560" y="301181"/>
                    </a:lnTo>
                    <a:lnTo>
                      <a:pt x="290513" y="304419"/>
                    </a:lnTo>
                    <a:lnTo>
                      <a:pt x="294323" y="310420"/>
                    </a:lnTo>
                    <a:lnTo>
                      <a:pt x="295656" y="313468"/>
                    </a:lnTo>
                    <a:lnTo>
                      <a:pt x="295656" y="321088"/>
                    </a:lnTo>
                    <a:lnTo>
                      <a:pt x="295656" y="327946"/>
                    </a:lnTo>
                    <a:lnTo>
                      <a:pt x="301371" y="331756"/>
                    </a:lnTo>
                    <a:lnTo>
                      <a:pt x="306515" y="333947"/>
                    </a:lnTo>
                    <a:lnTo>
                      <a:pt x="309277" y="338614"/>
                    </a:lnTo>
                    <a:lnTo>
                      <a:pt x="309277" y="344900"/>
                    </a:lnTo>
                    <a:lnTo>
                      <a:pt x="307086" y="348425"/>
                    </a:lnTo>
                    <a:lnTo>
                      <a:pt x="309277" y="352235"/>
                    </a:lnTo>
                    <a:lnTo>
                      <a:pt x="310896" y="357378"/>
                    </a:lnTo>
                    <a:lnTo>
                      <a:pt x="310896" y="363665"/>
                    </a:lnTo>
                    <a:lnTo>
                      <a:pt x="313087" y="368332"/>
                    </a:lnTo>
                    <a:lnTo>
                      <a:pt x="318040" y="371380"/>
                    </a:lnTo>
                    <a:lnTo>
                      <a:pt x="321850" y="371380"/>
                    </a:lnTo>
                    <a:lnTo>
                      <a:pt x="325660" y="375190"/>
                    </a:lnTo>
                    <a:lnTo>
                      <a:pt x="325660" y="376523"/>
                    </a:lnTo>
                    <a:lnTo>
                      <a:pt x="331946" y="381476"/>
                    </a:lnTo>
                    <a:lnTo>
                      <a:pt x="340709" y="381476"/>
                    </a:lnTo>
                    <a:lnTo>
                      <a:pt x="342900" y="382810"/>
                    </a:lnTo>
                    <a:lnTo>
                      <a:pt x="342900" y="388525"/>
                    </a:lnTo>
                    <a:lnTo>
                      <a:pt x="346424" y="396145"/>
                    </a:lnTo>
                    <a:lnTo>
                      <a:pt x="351854" y="398336"/>
                    </a:lnTo>
                    <a:lnTo>
                      <a:pt x="354901" y="404908"/>
                    </a:lnTo>
                    <a:lnTo>
                      <a:pt x="357949" y="407956"/>
                    </a:lnTo>
                    <a:lnTo>
                      <a:pt x="358997" y="411004"/>
                    </a:lnTo>
                    <a:cubicBezTo>
                      <a:pt x="358997" y="411004"/>
                      <a:pt x="357092" y="413480"/>
                      <a:pt x="358997" y="413480"/>
                    </a:cubicBezTo>
                    <a:cubicBezTo>
                      <a:pt x="360902" y="413480"/>
                      <a:pt x="368522" y="413480"/>
                      <a:pt x="368522" y="413480"/>
                    </a:cubicBezTo>
                    <a:lnTo>
                      <a:pt x="379476" y="413480"/>
                    </a:lnTo>
                    <a:lnTo>
                      <a:pt x="381095" y="412147"/>
                    </a:lnTo>
                    <a:lnTo>
                      <a:pt x="384334" y="417576"/>
                    </a:lnTo>
                    <a:lnTo>
                      <a:pt x="390620" y="423291"/>
                    </a:lnTo>
                    <a:lnTo>
                      <a:pt x="392811" y="425482"/>
                    </a:lnTo>
                    <a:lnTo>
                      <a:pt x="394430" y="430911"/>
                    </a:lnTo>
                    <a:lnTo>
                      <a:pt x="401003" y="436912"/>
                    </a:lnTo>
                    <a:lnTo>
                      <a:pt x="404813" y="439103"/>
                    </a:lnTo>
                    <a:lnTo>
                      <a:pt x="407003" y="440436"/>
                    </a:lnTo>
                    <a:lnTo>
                      <a:pt x="407003" y="449199"/>
                    </a:lnTo>
                    <a:lnTo>
                      <a:pt x="407003" y="454343"/>
                    </a:lnTo>
                    <a:lnTo>
                      <a:pt x="403765" y="457105"/>
                    </a:lnTo>
                    <a:lnTo>
                      <a:pt x="402717" y="463106"/>
                    </a:lnTo>
                    <a:lnTo>
                      <a:pt x="402431" y="466154"/>
                    </a:lnTo>
                    <a:lnTo>
                      <a:pt x="405956" y="466154"/>
                    </a:lnTo>
                    <a:lnTo>
                      <a:pt x="409194" y="464249"/>
                    </a:lnTo>
                    <a:lnTo>
                      <a:pt x="411671" y="461010"/>
                    </a:lnTo>
                    <a:lnTo>
                      <a:pt x="411671" y="458534"/>
                    </a:lnTo>
                    <a:lnTo>
                      <a:pt x="416814" y="460724"/>
                    </a:lnTo>
                    <a:lnTo>
                      <a:pt x="420624" y="466154"/>
                    </a:lnTo>
                    <a:lnTo>
                      <a:pt x="429101" y="468630"/>
                    </a:lnTo>
                    <a:lnTo>
                      <a:pt x="430721" y="470249"/>
                    </a:lnTo>
                    <a:lnTo>
                      <a:pt x="435293" y="475393"/>
                    </a:lnTo>
                    <a:lnTo>
                      <a:pt x="437293" y="477584"/>
                    </a:lnTo>
                    <a:lnTo>
                      <a:pt x="441103" y="481394"/>
                    </a:lnTo>
                    <a:lnTo>
                      <a:pt x="446818" y="482727"/>
                    </a:lnTo>
                    <a:lnTo>
                      <a:pt x="450342" y="487394"/>
                    </a:lnTo>
                    <a:lnTo>
                      <a:pt x="450342" y="493967"/>
                    </a:lnTo>
                    <a:lnTo>
                      <a:pt x="454152" y="497776"/>
                    </a:lnTo>
                    <a:lnTo>
                      <a:pt x="457962" y="497776"/>
                    </a:lnTo>
                    <a:lnTo>
                      <a:pt x="457962" y="505111"/>
                    </a:lnTo>
                    <a:cubicBezTo>
                      <a:pt x="457962" y="505111"/>
                      <a:pt x="461486" y="507301"/>
                      <a:pt x="462344" y="507301"/>
                    </a:cubicBezTo>
                    <a:cubicBezTo>
                      <a:pt x="463201" y="507301"/>
                      <a:pt x="462344" y="511683"/>
                      <a:pt x="462344" y="511683"/>
                    </a:cubicBezTo>
                    <a:lnTo>
                      <a:pt x="459867" y="513969"/>
                    </a:lnTo>
                    <a:cubicBezTo>
                      <a:pt x="463106" y="513969"/>
                      <a:pt x="463106" y="513969"/>
                      <a:pt x="463106" y="513969"/>
                    </a:cubicBezTo>
                    <a:cubicBezTo>
                      <a:pt x="465963" y="516826"/>
                      <a:pt x="465963" y="516826"/>
                      <a:pt x="465963" y="516826"/>
                    </a:cubicBezTo>
                    <a:cubicBezTo>
                      <a:pt x="471678" y="522542"/>
                      <a:pt x="471678" y="522542"/>
                      <a:pt x="471678" y="522542"/>
                    </a:cubicBezTo>
                    <a:cubicBezTo>
                      <a:pt x="474536" y="525399"/>
                      <a:pt x="474536" y="525399"/>
                      <a:pt x="474536" y="525399"/>
                    </a:cubicBezTo>
                    <a:cubicBezTo>
                      <a:pt x="480251" y="531114"/>
                      <a:pt x="480251" y="531114"/>
                      <a:pt x="480251" y="531114"/>
                    </a:cubicBezTo>
                    <a:cubicBezTo>
                      <a:pt x="483108" y="533972"/>
                      <a:pt x="483108" y="533972"/>
                      <a:pt x="483108" y="533972"/>
                    </a:cubicBezTo>
                    <a:cubicBezTo>
                      <a:pt x="485966" y="536829"/>
                      <a:pt x="485966" y="536829"/>
                      <a:pt x="485966" y="536829"/>
                    </a:cubicBezTo>
                    <a:cubicBezTo>
                      <a:pt x="488823" y="539687"/>
                      <a:pt x="488823" y="539687"/>
                      <a:pt x="488823" y="539687"/>
                    </a:cubicBezTo>
                    <a:cubicBezTo>
                      <a:pt x="500158" y="545402"/>
                      <a:pt x="500158" y="545402"/>
                      <a:pt x="500158" y="545402"/>
                    </a:cubicBezTo>
                    <a:cubicBezTo>
                      <a:pt x="505873" y="548259"/>
                      <a:pt x="505873" y="548259"/>
                      <a:pt x="505873" y="548259"/>
                    </a:cubicBezTo>
                    <a:cubicBezTo>
                      <a:pt x="514350" y="553974"/>
                      <a:pt x="514350" y="553974"/>
                      <a:pt x="514350" y="553974"/>
                    </a:cubicBezTo>
                    <a:cubicBezTo>
                      <a:pt x="528542" y="556832"/>
                      <a:pt x="528542" y="556832"/>
                      <a:pt x="528542" y="556832"/>
                    </a:cubicBezTo>
                    <a:cubicBezTo>
                      <a:pt x="531400" y="556832"/>
                      <a:pt x="534734" y="560546"/>
                      <a:pt x="534734" y="560546"/>
                    </a:cubicBezTo>
                    <a:cubicBezTo>
                      <a:pt x="537591" y="560546"/>
                      <a:pt x="537591" y="560546"/>
                      <a:pt x="537591" y="560546"/>
                    </a:cubicBezTo>
                    <a:cubicBezTo>
                      <a:pt x="537591" y="560546"/>
                      <a:pt x="537591" y="560546"/>
                      <a:pt x="537591" y="557689"/>
                    </a:cubicBezTo>
                    <a:cubicBezTo>
                      <a:pt x="551783" y="557689"/>
                      <a:pt x="551783" y="557689"/>
                      <a:pt x="551783" y="557689"/>
                    </a:cubicBezTo>
                    <a:cubicBezTo>
                      <a:pt x="554641" y="557689"/>
                      <a:pt x="554641" y="557689"/>
                      <a:pt x="554641" y="557689"/>
                    </a:cubicBezTo>
                    <a:cubicBezTo>
                      <a:pt x="554641" y="554831"/>
                      <a:pt x="554641" y="554831"/>
                      <a:pt x="554641" y="554831"/>
                    </a:cubicBezTo>
                    <a:cubicBezTo>
                      <a:pt x="557498" y="554831"/>
                      <a:pt x="557498" y="554831"/>
                      <a:pt x="557498" y="554831"/>
                    </a:cubicBezTo>
                    <a:cubicBezTo>
                      <a:pt x="557498" y="554831"/>
                      <a:pt x="557498" y="554831"/>
                      <a:pt x="560356" y="551974"/>
                    </a:cubicBezTo>
                    <a:cubicBezTo>
                      <a:pt x="564452" y="549878"/>
                      <a:pt x="568547" y="549307"/>
                      <a:pt x="571595" y="545878"/>
                    </a:cubicBezTo>
                    <a:lnTo>
                      <a:pt x="574548" y="545878"/>
                    </a:lnTo>
                    <a:cubicBezTo>
                      <a:pt x="574548" y="546259"/>
                      <a:pt x="574548" y="546259"/>
                      <a:pt x="574548" y="546259"/>
                    </a:cubicBezTo>
                    <a:cubicBezTo>
                      <a:pt x="577406" y="546259"/>
                      <a:pt x="577406" y="546259"/>
                      <a:pt x="577406" y="546259"/>
                    </a:cubicBezTo>
                    <a:cubicBezTo>
                      <a:pt x="577406" y="549116"/>
                      <a:pt x="577406" y="549116"/>
                      <a:pt x="580263" y="551974"/>
                    </a:cubicBezTo>
                    <a:cubicBezTo>
                      <a:pt x="583121" y="554831"/>
                      <a:pt x="583121" y="554831"/>
                      <a:pt x="583121" y="554831"/>
                    </a:cubicBezTo>
                    <a:cubicBezTo>
                      <a:pt x="583121" y="557689"/>
                      <a:pt x="583121" y="557689"/>
                      <a:pt x="583121" y="557689"/>
                    </a:cubicBezTo>
                    <a:cubicBezTo>
                      <a:pt x="591598" y="563404"/>
                      <a:pt x="591598" y="563404"/>
                      <a:pt x="591598" y="563404"/>
                    </a:cubicBezTo>
                    <a:cubicBezTo>
                      <a:pt x="591598" y="566261"/>
                      <a:pt x="591598" y="566261"/>
                      <a:pt x="591598" y="566261"/>
                    </a:cubicBezTo>
                    <a:cubicBezTo>
                      <a:pt x="594455" y="569119"/>
                      <a:pt x="594455" y="569119"/>
                      <a:pt x="594455" y="569119"/>
                    </a:cubicBezTo>
                    <a:cubicBezTo>
                      <a:pt x="594455" y="571976"/>
                      <a:pt x="594455" y="571976"/>
                      <a:pt x="594455" y="571976"/>
                    </a:cubicBezTo>
                    <a:cubicBezTo>
                      <a:pt x="597313" y="577691"/>
                      <a:pt x="597313" y="577691"/>
                      <a:pt x="597313" y="577691"/>
                    </a:cubicBezTo>
                    <a:cubicBezTo>
                      <a:pt x="597313" y="580549"/>
                      <a:pt x="597313" y="580549"/>
                      <a:pt x="597313" y="580549"/>
                    </a:cubicBezTo>
                    <a:cubicBezTo>
                      <a:pt x="597313" y="583406"/>
                      <a:pt x="597313" y="583406"/>
                      <a:pt x="597313" y="583406"/>
                    </a:cubicBezTo>
                    <a:cubicBezTo>
                      <a:pt x="600170" y="583406"/>
                      <a:pt x="600170" y="583406"/>
                      <a:pt x="600170" y="583406"/>
                    </a:cubicBezTo>
                    <a:cubicBezTo>
                      <a:pt x="600170" y="586264"/>
                      <a:pt x="600170" y="586264"/>
                      <a:pt x="600170" y="586264"/>
                    </a:cubicBezTo>
                    <a:cubicBezTo>
                      <a:pt x="603028" y="586264"/>
                      <a:pt x="603028" y="586264"/>
                      <a:pt x="603028" y="586264"/>
                    </a:cubicBezTo>
                    <a:cubicBezTo>
                      <a:pt x="603028" y="589121"/>
                      <a:pt x="603028" y="589121"/>
                      <a:pt x="603028" y="589121"/>
                    </a:cubicBezTo>
                    <a:cubicBezTo>
                      <a:pt x="605885" y="591979"/>
                      <a:pt x="605885" y="591979"/>
                      <a:pt x="605885" y="591979"/>
                    </a:cubicBezTo>
                    <a:cubicBezTo>
                      <a:pt x="608743" y="591979"/>
                      <a:pt x="608743" y="591979"/>
                      <a:pt x="608743" y="591979"/>
                    </a:cubicBezTo>
                    <a:cubicBezTo>
                      <a:pt x="611600" y="589121"/>
                      <a:pt x="611600" y="589121"/>
                      <a:pt x="611600" y="589121"/>
                    </a:cubicBezTo>
                    <a:cubicBezTo>
                      <a:pt x="611600" y="586264"/>
                      <a:pt x="611600" y="586264"/>
                      <a:pt x="611600" y="586264"/>
                    </a:cubicBezTo>
                    <a:cubicBezTo>
                      <a:pt x="614458" y="586264"/>
                      <a:pt x="614458" y="586264"/>
                      <a:pt x="614458" y="586264"/>
                    </a:cubicBezTo>
                    <a:cubicBezTo>
                      <a:pt x="617315" y="583406"/>
                      <a:pt x="617315" y="583406"/>
                      <a:pt x="617315" y="583406"/>
                    </a:cubicBezTo>
                    <a:cubicBezTo>
                      <a:pt x="620173" y="583406"/>
                      <a:pt x="620173" y="583406"/>
                      <a:pt x="620173" y="583406"/>
                    </a:cubicBezTo>
                    <a:cubicBezTo>
                      <a:pt x="623030" y="580549"/>
                      <a:pt x="623030" y="580549"/>
                      <a:pt x="623030" y="580549"/>
                    </a:cubicBezTo>
                    <a:cubicBezTo>
                      <a:pt x="625888" y="580549"/>
                      <a:pt x="625888" y="580549"/>
                      <a:pt x="625888" y="580549"/>
                    </a:cubicBezTo>
                    <a:cubicBezTo>
                      <a:pt x="631603" y="580549"/>
                      <a:pt x="631603" y="580549"/>
                      <a:pt x="631603" y="580549"/>
                    </a:cubicBezTo>
                    <a:cubicBezTo>
                      <a:pt x="634460" y="577691"/>
                      <a:pt x="634460" y="577691"/>
                      <a:pt x="634460" y="577691"/>
                    </a:cubicBezTo>
                    <a:cubicBezTo>
                      <a:pt x="637318" y="574834"/>
                      <a:pt x="637318" y="574834"/>
                      <a:pt x="637318" y="574834"/>
                    </a:cubicBezTo>
                    <a:cubicBezTo>
                      <a:pt x="637318" y="571976"/>
                      <a:pt x="637318" y="571976"/>
                      <a:pt x="637318" y="571976"/>
                    </a:cubicBezTo>
                    <a:cubicBezTo>
                      <a:pt x="640175" y="571976"/>
                      <a:pt x="640175" y="571976"/>
                      <a:pt x="640175" y="571976"/>
                    </a:cubicBezTo>
                    <a:cubicBezTo>
                      <a:pt x="643033" y="569119"/>
                      <a:pt x="643033" y="569119"/>
                      <a:pt x="643033" y="569119"/>
                    </a:cubicBezTo>
                    <a:cubicBezTo>
                      <a:pt x="643033" y="571976"/>
                      <a:pt x="643033" y="571976"/>
                      <a:pt x="643033" y="571976"/>
                    </a:cubicBezTo>
                    <a:cubicBezTo>
                      <a:pt x="645890" y="574834"/>
                      <a:pt x="645890" y="574834"/>
                      <a:pt x="645890" y="574834"/>
                    </a:cubicBezTo>
                    <a:cubicBezTo>
                      <a:pt x="645890" y="577691"/>
                      <a:pt x="645890" y="577691"/>
                      <a:pt x="645890" y="577691"/>
                    </a:cubicBezTo>
                    <a:cubicBezTo>
                      <a:pt x="645890" y="580549"/>
                      <a:pt x="645890" y="580549"/>
                      <a:pt x="645890" y="580549"/>
                    </a:cubicBezTo>
                    <a:cubicBezTo>
                      <a:pt x="645890" y="583406"/>
                      <a:pt x="645890" y="583406"/>
                      <a:pt x="645890" y="583406"/>
                    </a:cubicBezTo>
                    <a:cubicBezTo>
                      <a:pt x="645890" y="586264"/>
                      <a:pt x="645890" y="586264"/>
                      <a:pt x="645890" y="586264"/>
                    </a:cubicBezTo>
                    <a:cubicBezTo>
                      <a:pt x="643033" y="586264"/>
                      <a:pt x="643033" y="586264"/>
                      <a:pt x="643033" y="586264"/>
                    </a:cubicBezTo>
                    <a:cubicBezTo>
                      <a:pt x="643033" y="589121"/>
                      <a:pt x="643033" y="589121"/>
                      <a:pt x="643033" y="589121"/>
                    </a:cubicBezTo>
                    <a:cubicBezTo>
                      <a:pt x="640175" y="591979"/>
                      <a:pt x="640175" y="591979"/>
                      <a:pt x="640175" y="591979"/>
                    </a:cubicBezTo>
                    <a:cubicBezTo>
                      <a:pt x="637318" y="591979"/>
                      <a:pt x="637318" y="591979"/>
                      <a:pt x="637318" y="591979"/>
                    </a:cubicBezTo>
                    <a:cubicBezTo>
                      <a:pt x="637318" y="594836"/>
                      <a:pt x="637318" y="594836"/>
                      <a:pt x="637318" y="594836"/>
                    </a:cubicBezTo>
                    <a:cubicBezTo>
                      <a:pt x="634460" y="600551"/>
                      <a:pt x="634460" y="600551"/>
                      <a:pt x="634460" y="600551"/>
                    </a:cubicBezTo>
                    <a:cubicBezTo>
                      <a:pt x="634460" y="603409"/>
                      <a:pt x="634460" y="603409"/>
                      <a:pt x="634460" y="603409"/>
                    </a:cubicBezTo>
                    <a:cubicBezTo>
                      <a:pt x="634460" y="606266"/>
                      <a:pt x="634460" y="606266"/>
                      <a:pt x="634460" y="606266"/>
                    </a:cubicBezTo>
                    <a:cubicBezTo>
                      <a:pt x="634460" y="609124"/>
                      <a:pt x="634460" y="609124"/>
                      <a:pt x="634460" y="609124"/>
                    </a:cubicBezTo>
                    <a:cubicBezTo>
                      <a:pt x="637318" y="609124"/>
                      <a:pt x="637318" y="609124"/>
                      <a:pt x="637318" y="609124"/>
                    </a:cubicBezTo>
                    <a:cubicBezTo>
                      <a:pt x="643033" y="603409"/>
                      <a:pt x="643033" y="603409"/>
                      <a:pt x="643033" y="603409"/>
                    </a:cubicBezTo>
                    <a:cubicBezTo>
                      <a:pt x="645890" y="600551"/>
                      <a:pt x="645890" y="600551"/>
                      <a:pt x="645890" y="600551"/>
                    </a:cubicBezTo>
                    <a:cubicBezTo>
                      <a:pt x="648748" y="597694"/>
                      <a:pt x="648748" y="597694"/>
                      <a:pt x="648748" y="597694"/>
                    </a:cubicBezTo>
                    <a:cubicBezTo>
                      <a:pt x="651605" y="597694"/>
                      <a:pt x="651605" y="597694"/>
                      <a:pt x="651605" y="597694"/>
                    </a:cubicBezTo>
                    <a:cubicBezTo>
                      <a:pt x="668655" y="597694"/>
                      <a:pt x="668655" y="597694"/>
                      <a:pt x="668655" y="597694"/>
                    </a:cubicBezTo>
                    <a:cubicBezTo>
                      <a:pt x="674370" y="594836"/>
                      <a:pt x="674370" y="594836"/>
                      <a:pt x="674370" y="594836"/>
                    </a:cubicBezTo>
                    <a:cubicBezTo>
                      <a:pt x="677228" y="591979"/>
                      <a:pt x="677228" y="591979"/>
                      <a:pt x="677228" y="591979"/>
                    </a:cubicBezTo>
                    <a:cubicBezTo>
                      <a:pt x="680085" y="589121"/>
                      <a:pt x="680085" y="589121"/>
                      <a:pt x="680085" y="589121"/>
                    </a:cubicBezTo>
                    <a:cubicBezTo>
                      <a:pt x="682943" y="589121"/>
                      <a:pt x="682943" y="589121"/>
                      <a:pt x="682943" y="589121"/>
                    </a:cubicBezTo>
                    <a:cubicBezTo>
                      <a:pt x="685800" y="589121"/>
                      <a:pt x="685800" y="589121"/>
                      <a:pt x="685800" y="589121"/>
                    </a:cubicBezTo>
                    <a:cubicBezTo>
                      <a:pt x="685800" y="591979"/>
                      <a:pt x="685800" y="591979"/>
                      <a:pt x="685800" y="591979"/>
                    </a:cubicBezTo>
                    <a:cubicBezTo>
                      <a:pt x="685800" y="594836"/>
                      <a:pt x="685800" y="594836"/>
                      <a:pt x="685800" y="594836"/>
                    </a:cubicBezTo>
                    <a:cubicBezTo>
                      <a:pt x="685800" y="600551"/>
                      <a:pt x="685800" y="600551"/>
                      <a:pt x="685800" y="600551"/>
                    </a:cubicBezTo>
                    <a:cubicBezTo>
                      <a:pt x="685800" y="606266"/>
                      <a:pt x="685800" y="606266"/>
                      <a:pt x="685800" y="606266"/>
                    </a:cubicBezTo>
                    <a:cubicBezTo>
                      <a:pt x="688658" y="611981"/>
                      <a:pt x="688658" y="611981"/>
                      <a:pt x="688658" y="611981"/>
                    </a:cubicBezTo>
                    <a:cubicBezTo>
                      <a:pt x="691515" y="611981"/>
                      <a:pt x="691515" y="611981"/>
                      <a:pt x="691515" y="611981"/>
                    </a:cubicBezTo>
                    <a:cubicBezTo>
                      <a:pt x="697230" y="617696"/>
                      <a:pt x="697230" y="617696"/>
                      <a:pt x="697230" y="617696"/>
                    </a:cubicBezTo>
                    <a:cubicBezTo>
                      <a:pt x="700088" y="620554"/>
                      <a:pt x="700088" y="620554"/>
                      <a:pt x="700088" y="620554"/>
                    </a:cubicBezTo>
                    <a:cubicBezTo>
                      <a:pt x="702945" y="623411"/>
                      <a:pt x="702945" y="623411"/>
                      <a:pt x="702945" y="623411"/>
                    </a:cubicBezTo>
                    <a:cubicBezTo>
                      <a:pt x="708660" y="626269"/>
                      <a:pt x="708660" y="626269"/>
                      <a:pt x="708660" y="626269"/>
                    </a:cubicBezTo>
                    <a:cubicBezTo>
                      <a:pt x="711518" y="623411"/>
                      <a:pt x="711518" y="623411"/>
                      <a:pt x="711518" y="623411"/>
                    </a:cubicBezTo>
                    <a:cubicBezTo>
                      <a:pt x="714375" y="620554"/>
                      <a:pt x="714375" y="620554"/>
                      <a:pt x="714375" y="620554"/>
                    </a:cubicBezTo>
                    <a:cubicBezTo>
                      <a:pt x="717233" y="620554"/>
                      <a:pt x="717233" y="620554"/>
                      <a:pt x="717233" y="620554"/>
                    </a:cubicBezTo>
                    <a:cubicBezTo>
                      <a:pt x="720090" y="623411"/>
                      <a:pt x="720090" y="623411"/>
                      <a:pt x="720090" y="623411"/>
                    </a:cubicBezTo>
                    <a:cubicBezTo>
                      <a:pt x="722948" y="623411"/>
                      <a:pt x="722948" y="623411"/>
                      <a:pt x="722948" y="623411"/>
                    </a:cubicBezTo>
                    <a:cubicBezTo>
                      <a:pt x="722948" y="620554"/>
                      <a:pt x="722948" y="620554"/>
                      <a:pt x="722948" y="620554"/>
                    </a:cubicBezTo>
                    <a:cubicBezTo>
                      <a:pt x="725805" y="611886"/>
                      <a:pt x="725805" y="611886"/>
                      <a:pt x="725805" y="611886"/>
                    </a:cubicBezTo>
                    <a:cubicBezTo>
                      <a:pt x="725805" y="609029"/>
                      <a:pt x="725805" y="609029"/>
                      <a:pt x="725805" y="609029"/>
                    </a:cubicBezTo>
                    <a:cubicBezTo>
                      <a:pt x="728663" y="606171"/>
                      <a:pt x="728663" y="606171"/>
                      <a:pt x="728663" y="606171"/>
                    </a:cubicBezTo>
                    <a:cubicBezTo>
                      <a:pt x="731520" y="606171"/>
                      <a:pt x="731520" y="606171"/>
                      <a:pt x="731520" y="606171"/>
                    </a:cubicBezTo>
                    <a:cubicBezTo>
                      <a:pt x="734378" y="606171"/>
                      <a:pt x="734378" y="606171"/>
                      <a:pt x="734378" y="606171"/>
                    </a:cubicBezTo>
                    <a:cubicBezTo>
                      <a:pt x="737235" y="603314"/>
                      <a:pt x="737235" y="603314"/>
                      <a:pt x="737235" y="603314"/>
                    </a:cubicBezTo>
                    <a:cubicBezTo>
                      <a:pt x="740093" y="606171"/>
                      <a:pt x="740093" y="606171"/>
                      <a:pt x="740093" y="606171"/>
                    </a:cubicBezTo>
                    <a:cubicBezTo>
                      <a:pt x="742950" y="606171"/>
                      <a:pt x="742950" y="606171"/>
                      <a:pt x="742950" y="606171"/>
                    </a:cubicBezTo>
                    <a:cubicBezTo>
                      <a:pt x="745808" y="606171"/>
                      <a:pt x="745808" y="606171"/>
                      <a:pt x="745808" y="606171"/>
                    </a:cubicBezTo>
                    <a:cubicBezTo>
                      <a:pt x="751523" y="600456"/>
                      <a:pt x="751523" y="600456"/>
                      <a:pt x="751523" y="600456"/>
                    </a:cubicBezTo>
                    <a:cubicBezTo>
                      <a:pt x="762857" y="591788"/>
                      <a:pt x="762857" y="591788"/>
                      <a:pt x="762857" y="591788"/>
                    </a:cubicBezTo>
                    <a:cubicBezTo>
                      <a:pt x="765715" y="586073"/>
                      <a:pt x="765715" y="586073"/>
                      <a:pt x="765715" y="586073"/>
                    </a:cubicBezTo>
                    <a:cubicBezTo>
                      <a:pt x="768572" y="583216"/>
                      <a:pt x="768572" y="583216"/>
                      <a:pt x="768572" y="583216"/>
                    </a:cubicBezTo>
                    <a:cubicBezTo>
                      <a:pt x="768572" y="577501"/>
                      <a:pt x="768572" y="577501"/>
                      <a:pt x="768572" y="577501"/>
                    </a:cubicBezTo>
                    <a:cubicBezTo>
                      <a:pt x="768572" y="574643"/>
                      <a:pt x="768572" y="574643"/>
                      <a:pt x="768572" y="574643"/>
                    </a:cubicBezTo>
                    <a:cubicBezTo>
                      <a:pt x="765715" y="568928"/>
                      <a:pt x="765715" y="568928"/>
                      <a:pt x="765715" y="568928"/>
                    </a:cubicBezTo>
                    <a:cubicBezTo>
                      <a:pt x="762857" y="566071"/>
                      <a:pt x="762857" y="566071"/>
                      <a:pt x="762857" y="566071"/>
                    </a:cubicBezTo>
                    <a:cubicBezTo>
                      <a:pt x="762857" y="563213"/>
                      <a:pt x="762857" y="563213"/>
                      <a:pt x="762857" y="563213"/>
                    </a:cubicBezTo>
                    <a:cubicBezTo>
                      <a:pt x="760000" y="560356"/>
                      <a:pt x="760000" y="560356"/>
                      <a:pt x="760000" y="560356"/>
                    </a:cubicBezTo>
                    <a:cubicBezTo>
                      <a:pt x="760000" y="554641"/>
                      <a:pt x="760000" y="554641"/>
                      <a:pt x="760000" y="554641"/>
                    </a:cubicBezTo>
                    <a:cubicBezTo>
                      <a:pt x="751523" y="548926"/>
                      <a:pt x="751523" y="548926"/>
                      <a:pt x="751523" y="548926"/>
                    </a:cubicBezTo>
                    <a:cubicBezTo>
                      <a:pt x="751523" y="546068"/>
                      <a:pt x="751523" y="546068"/>
                      <a:pt x="751523" y="546068"/>
                    </a:cubicBezTo>
                    <a:cubicBezTo>
                      <a:pt x="748665" y="540353"/>
                      <a:pt x="748665" y="540353"/>
                      <a:pt x="748665" y="540353"/>
                    </a:cubicBezTo>
                    <a:cubicBezTo>
                      <a:pt x="751523" y="540353"/>
                      <a:pt x="751523" y="540353"/>
                      <a:pt x="751523" y="540353"/>
                    </a:cubicBezTo>
                    <a:cubicBezTo>
                      <a:pt x="751523" y="531686"/>
                      <a:pt x="751523" y="531686"/>
                      <a:pt x="751523" y="531686"/>
                    </a:cubicBezTo>
                    <a:cubicBezTo>
                      <a:pt x="751523" y="528828"/>
                      <a:pt x="751523" y="528828"/>
                      <a:pt x="751523" y="528828"/>
                    </a:cubicBezTo>
                    <a:cubicBezTo>
                      <a:pt x="754380" y="525971"/>
                      <a:pt x="754380" y="525971"/>
                      <a:pt x="754380" y="525971"/>
                    </a:cubicBezTo>
                    <a:cubicBezTo>
                      <a:pt x="757237" y="523113"/>
                      <a:pt x="757237" y="523113"/>
                      <a:pt x="757237" y="523113"/>
                    </a:cubicBezTo>
                    <a:cubicBezTo>
                      <a:pt x="754380" y="517398"/>
                      <a:pt x="754380" y="517398"/>
                      <a:pt x="754380" y="517398"/>
                    </a:cubicBezTo>
                    <a:cubicBezTo>
                      <a:pt x="751523" y="517398"/>
                      <a:pt x="751523" y="517398"/>
                      <a:pt x="751523" y="517398"/>
                    </a:cubicBezTo>
                    <a:cubicBezTo>
                      <a:pt x="743045" y="517398"/>
                      <a:pt x="743045" y="517398"/>
                      <a:pt x="743045" y="517398"/>
                    </a:cubicBezTo>
                    <a:cubicBezTo>
                      <a:pt x="740188" y="514541"/>
                      <a:pt x="740188" y="514541"/>
                      <a:pt x="740188" y="514541"/>
                    </a:cubicBezTo>
                    <a:cubicBezTo>
                      <a:pt x="731711" y="511683"/>
                      <a:pt x="731711" y="511683"/>
                      <a:pt x="731711" y="511683"/>
                    </a:cubicBezTo>
                    <a:cubicBezTo>
                      <a:pt x="725996" y="511683"/>
                      <a:pt x="725996" y="511683"/>
                      <a:pt x="725996" y="511683"/>
                    </a:cubicBezTo>
                    <a:cubicBezTo>
                      <a:pt x="723138" y="511683"/>
                      <a:pt x="723138" y="511683"/>
                      <a:pt x="723138" y="511683"/>
                    </a:cubicBezTo>
                    <a:cubicBezTo>
                      <a:pt x="723138" y="505968"/>
                      <a:pt x="723138" y="505968"/>
                      <a:pt x="723138" y="505968"/>
                    </a:cubicBezTo>
                    <a:cubicBezTo>
                      <a:pt x="720281" y="503111"/>
                      <a:pt x="720281" y="503111"/>
                      <a:pt x="720281" y="503111"/>
                    </a:cubicBezTo>
                    <a:cubicBezTo>
                      <a:pt x="717423" y="503111"/>
                      <a:pt x="717423" y="503111"/>
                      <a:pt x="717423" y="503111"/>
                    </a:cubicBezTo>
                    <a:cubicBezTo>
                      <a:pt x="711708" y="500253"/>
                      <a:pt x="711708" y="500253"/>
                      <a:pt x="711708" y="500253"/>
                    </a:cubicBezTo>
                    <a:cubicBezTo>
                      <a:pt x="703231" y="488728"/>
                      <a:pt x="703231" y="488728"/>
                      <a:pt x="703231" y="488728"/>
                    </a:cubicBezTo>
                    <a:cubicBezTo>
                      <a:pt x="703231" y="485870"/>
                      <a:pt x="703231" y="485870"/>
                      <a:pt x="703231" y="485870"/>
                    </a:cubicBezTo>
                    <a:cubicBezTo>
                      <a:pt x="703231" y="471488"/>
                      <a:pt x="703231" y="471488"/>
                      <a:pt x="703231" y="471488"/>
                    </a:cubicBezTo>
                    <a:cubicBezTo>
                      <a:pt x="700373" y="465773"/>
                      <a:pt x="700373" y="465773"/>
                      <a:pt x="700373" y="465773"/>
                    </a:cubicBezTo>
                    <a:cubicBezTo>
                      <a:pt x="700373" y="462915"/>
                      <a:pt x="700373" y="462915"/>
                      <a:pt x="700373" y="462915"/>
                    </a:cubicBezTo>
                    <a:cubicBezTo>
                      <a:pt x="703231" y="460058"/>
                      <a:pt x="703231" y="460058"/>
                      <a:pt x="703231" y="460058"/>
                    </a:cubicBezTo>
                    <a:cubicBezTo>
                      <a:pt x="703231" y="457200"/>
                      <a:pt x="703231" y="457200"/>
                      <a:pt x="703231" y="457200"/>
                    </a:cubicBezTo>
                    <a:cubicBezTo>
                      <a:pt x="708946" y="457200"/>
                      <a:pt x="708946" y="457200"/>
                      <a:pt x="708946" y="457200"/>
                    </a:cubicBezTo>
                    <a:cubicBezTo>
                      <a:pt x="711803" y="460058"/>
                      <a:pt x="711803" y="460058"/>
                      <a:pt x="711803" y="460058"/>
                    </a:cubicBezTo>
                    <a:cubicBezTo>
                      <a:pt x="714661" y="460058"/>
                      <a:pt x="714661" y="460058"/>
                      <a:pt x="714661" y="460058"/>
                    </a:cubicBezTo>
                    <a:cubicBezTo>
                      <a:pt x="714661" y="457200"/>
                      <a:pt x="714661" y="457200"/>
                      <a:pt x="714661" y="457200"/>
                    </a:cubicBezTo>
                    <a:cubicBezTo>
                      <a:pt x="714661" y="454343"/>
                      <a:pt x="714661" y="454343"/>
                      <a:pt x="714661" y="454343"/>
                    </a:cubicBezTo>
                    <a:cubicBezTo>
                      <a:pt x="714661" y="448628"/>
                      <a:pt x="714661" y="448628"/>
                      <a:pt x="714661" y="448628"/>
                    </a:cubicBezTo>
                    <a:cubicBezTo>
                      <a:pt x="714661" y="445770"/>
                      <a:pt x="714661" y="445770"/>
                      <a:pt x="714661" y="445770"/>
                    </a:cubicBezTo>
                    <a:cubicBezTo>
                      <a:pt x="711803" y="442913"/>
                      <a:pt x="711803" y="442913"/>
                      <a:pt x="711803" y="442913"/>
                    </a:cubicBezTo>
                    <a:cubicBezTo>
                      <a:pt x="711803" y="440055"/>
                      <a:pt x="711803" y="440055"/>
                      <a:pt x="711803" y="440055"/>
                    </a:cubicBezTo>
                    <a:cubicBezTo>
                      <a:pt x="708946" y="437198"/>
                      <a:pt x="708946" y="437198"/>
                      <a:pt x="708946" y="437198"/>
                    </a:cubicBezTo>
                    <a:cubicBezTo>
                      <a:pt x="703231" y="425672"/>
                      <a:pt x="703231" y="425672"/>
                      <a:pt x="703231" y="425672"/>
                    </a:cubicBezTo>
                    <a:cubicBezTo>
                      <a:pt x="703231" y="422815"/>
                      <a:pt x="703231" y="422815"/>
                      <a:pt x="703231" y="422815"/>
                    </a:cubicBezTo>
                    <a:cubicBezTo>
                      <a:pt x="703231" y="417100"/>
                      <a:pt x="703231" y="417100"/>
                      <a:pt x="703231" y="417100"/>
                    </a:cubicBezTo>
                    <a:cubicBezTo>
                      <a:pt x="703231" y="411385"/>
                      <a:pt x="703231" y="411385"/>
                      <a:pt x="703231" y="411385"/>
                    </a:cubicBezTo>
                    <a:cubicBezTo>
                      <a:pt x="706088" y="408527"/>
                      <a:pt x="706088" y="408527"/>
                      <a:pt x="706088" y="408527"/>
                    </a:cubicBezTo>
                    <a:cubicBezTo>
                      <a:pt x="717423" y="408527"/>
                      <a:pt x="717423" y="408527"/>
                      <a:pt x="717423" y="408527"/>
                    </a:cubicBezTo>
                    <a:cubicBezTo>
                      <a:pt x="720281" y="408527"/>
                      <a:pt x="720281" y="408527"/>
                      <a:pt x="720281" y="408527"/>
                    </a:cubicBezTo>
                    <a:cubicBezTo>
                      <a:pt x="723138" y="408527"/>
                      <a:pt x="723138" y="408527"/>
                      <a:pt x="723138" y="408527"/>
                    </a:cubicBezTo>
                    <a:cubicBezTo>
                      <a:pt x="725996" y="405670"/>
                      <a:pt x="725996" y="405670"/>
                      <a:pt x="725996" y="405670"/>
                    </a:cubicBezTo>
                    <a:cubicBezTo>
                      <a:pt x="728853" y="405670"/>
                      <a:pt x="728853" y="405670"/>
                      <a:pt x="728853" y="405670"/>
                    </a:cubicBezTo>
                    <a:cubicBezTo>
                      <a:pt x="754380" y="408527"/>
                      <a:pt x="754380" y="408527"/>
                      <a:pt x="754380" y="408527"/>
                    </a:cubicBezTo>
                    <a:cubicBezTo>
                      <a:pt x="757237" y="405670"/>
                      <a:pt x="757237" y="405670"/>
                      <a:pt x="757237" y="405670"/>
                    </a:cubicBezTo>
                    <a:cubicBezTo>
                      <a:pt x="762953" y="399955"/>
                      <a:pt x="762953" y="399955"/>
                      <a:pt x="762953" y="399955"/>
                    </a:cubicBezTo>
                    <a:cubicBezTo>
                      <a:pt x="765810" y="397097"/>
                      <a:pt x="765810" y="397097"/>
                      <a:pt x="765810" y="397097"/>
                    </a:cubicBezTo>
                    <a:cubicBezTo>
                      <a:pt x="768668" y="394240"/>
                      <a:pt x="768668" y="394240"/>
                      <a:pt x="768668" y="394240"/>
                    </a:cubicBezTo>
                    <a:cubicBezTo>
                      <a:pt x="768668" y="388525"/>
                      <a:pt x="768668" y="388525"/>
                      <a:pt x="768668" y="388525"/>
                    </a:cubicBezTo>
                    <a:cubicBezTo>
                      <a:pt x="768668" y="385667"/>
                      <a:pt x="768668" y="385667"/>
                      <a:pt x="768668" y="385667"/>
                    </a:cubicBezTo>
                    <a:cubicBezTo>
                      <a:pt x="771525" y="385667"/>
                      <a:pt x="771525" y="385667"/>
                      <a:pt x="771525" y="385667"/>
                    </a:cubicBezTo>
                    <a:cubicBezTo>
                      <a:pt x="774383" y="379952"/>
                      <a:pt x="774383" y="379952"/>
                      <a:pt x="774383" y="379952"/>
                    </a:cubicBezTo>
                    <a:cubicBezTo>
                      <a:pt x="774383" y="377095"/>
                      <a:pt x="774383" y="377095"/>
                      <a:pt x="774383" y="377095"/>
                    </a:cubicBezTo>
                    <a:cubicBezTo>
                      <a:pt x="771525" y="362712"/>
                      <a:pt x="771525" y="362712"/>
                      <a:pt x="771525" y="362712"/>
                    </a:cubicBezTo>
                    <a:cubicBezTo>
                      <a:pt x="768668" y="356997"/>
                      <a:pt x="768668" y="356997"/>
                      <a:pt x="768668" y="356997"/>
                    </a:cubicBezTo>
                    <a:cubicBezTo>
                      <a:pt x="771525" y="354140"/>
                      <a:pt x="771525" y="354140"/>
                      <a:pt x="771525" y="354140"/>
                    </a:cubicBezTo>
                    <a:cubicBezTo>
                      <a:pt x="771525" y="351282"/>
                      <a:pt x="771525" y="351282"/>
                      <a:pt x="771525" y="351282"/>
                    </a:cubicBezTo>
                    <a:cubicBezTo>
                      <a:pt x="774383" y="351282"/>
                      <a:pt x="774383" y="351282"/>
                      <a:pt x="774383" y="351282"/>
                    </a:cubicBezTo>
                    <a:cubicBezTo>
                      <a:pt x="782860" y="354140"/>
                      <a:pt x="782860" y="354140"/>
                      <a:pt x="782860" y="354140"/>
                    </a:cubicBezTo>
                    <a:cubicBezTo>
                      <a:pt x="788575" y="354140"/>
                      <a:pt x="788575" y="354140"/>
                      <a:pt x="788575" y="354140"/>
                    </a:cubicBezTo>
                    <a:cubicBezTo>
                      <a:pt x="791432" y="354140"/>
                      <a:pt x="791432" y="354140"/>
                      <a:pt x="791432" y="354140"/>
                    </a:cubicBezTo>
                    <a:cubicBezTo>
                      <a:pt x="794290" y="348425"/>
                      <a:pt x="794290" y="348425"/>
                      <a:pt x="794290" y="348425"/>
                    </a:cubicBezTo>
                    <a:cubicBezTo>
                      <a:pt x="794290" y="345567"/>
                      <a:pt x="794290" y="345567"/>
                      <a:pt x="794290" y="345567"/>
                    </a:cubicBezTo>
                    <a:cubicBezTo>
                      <a:pt x="791432" y="345567"/>
                      <a:pt x="791432" y="345567"/>
                      <a:pt x="791432" y="345567"/>
                    </a:cubicBezTo>
                    <a:cubicBezTo>
                      <a:pt x="791432" y="342710"/>
                      <a:pt x="791432" y="342710"/>
                      <a:pt x="791432" y="342710"/>
                    </a:cubicBezTo>
                    <a:cubicBezTo>
                      <a:pt x="791432" y="339852"/>
                      <a:pt x="791432" y="339852"/>
                      <a:pt x="791432" y="339852"/>
                    </a:cubicBezTo>
                    <a:cubicBezTo>
                      <a:pt x="791432" y="336995"/>
                      <a:pt x="791432" y="336995"/>
                      <a:pt x="791432" y="336995"/>
                    </a:cubicBezTo>
                    <a:cubicBezTo>
                      <a:pt x="794290" y="336995"/>
                      <a:pt x="794290" y="336995"/>
                      <a:pt x="794290" y="336995"/>
                    </a:cubicBezTo>
                    <a:cubicBezTo>
                      <a:pt x="797147" y="336995"/>
                      <a:pt x="797147" y="336995"/>
                      <a:pt x="797147" y="336995"/>
                    </a:cubicBezTo>
                    <a:cubicBezTo>
                      <a:pt x="802862" y="334137"/>
                      <a:pt x="802862" y="334137"/>
                      <a:pt x="802862" y="334137"/>
                    </a:cubicBezTo>
                    <a:cubicBezTo>
                      <a:pt x="805720" y="331280"/>
                      <a:pt x="805720" y="331280"/>
                      <a:pt x="805720" y="331280"/>
                    </a:cubicBezTo>
                    <a:cubicBezTo>
                      <a:pt x="805720" y="328422"/>
                      <a:pt x="805720" y="328422"/>
                      <a:pt x="805720" y="328422"/>
                    </a:cubicBezTo>
                    <a:cubicBezTo>
                      <a:pt x="805720" y="325565"/>
                      <a:pt x="805720" y="325565"/>
                      <a:pt x="805720" y="325565"/>
                    </a:cubicBezTo>
                    <a:cubicBezTo>
                      <a:pt x="808577" y="322707"/>
                      <a:pt x="808577" y="322707"/>
                      <a:pt x="808577" y="322707"/>
                    </a:cubicBezTo>
                    <a:cubicBezTo>
                      <a:pt x="814292" y="319850"/>
                      <a:pt x="814292" y="319850"/>
                      <a:pt x="814292" y="319850"/>
                    </a:cubicBezTo>
                    <a:cubicBezTo>
                      <a:pt x="817150" y="322707"/>
                      <a:pt x="817150" y="322707"/>
                      <a:pt x="817150" y="322707"/>
                    </a:cubicBezTo>
                    <a:cubicBezTo>
                      <a:pt x="822865" y="322707"/>
                      <a:pt x="822865" y="322707"/>
                      <a:pt x="822865" y="322707"/>
                    </a:cubicBezTo>
                    <a:cubicBezTo>
                      <a:pt x="828580" y="322707"/>
                      <a:pt x="828580" y="322707"/>
                      <a:pt x="828580" y="322707"/>
                    </a:cubicBezTo>
                    <a:cubicBezTo>
                      <a:pt x="828580" y="319850"/>
                      <a:pt x="828580" y="319850"/>
                      <a:pt x="828580" y="319850"/>
                    </a:cubicBezTo>
                    <a:cubicBezTo>
                      <a:pt x="831437" y="311182"/>
                      <a:pt x="831437" y="311182"/>
                      <a:pt x="831437" y="311182"/>
                    </a:cubicBezTo>
                    <a:cubicBezTo>
                      <a:pt x="834295" y="305467"/>
                      <a:pt x="834295" y="305467"/>
                      <a:pt x="834295" y="305467"/>
                    </a:cubicBezTo>
                    <a:cubicBezTo>
                      <a:pt x="840010" y="296799"/>
                      <a:pt x="840010" y="296799"/>
                      <a:pt x="840010" y="296799"/>
                    </a:cubicBezTo>
                    <a:cubicBezTo>
                      <a:pt x="842867" y="293942"/>
                      <a:pt x="842867" y="293942"/>
                      <a:pt x="842867" y="293942"/>
                    </a:cubicBezTo>
                    <a:cubicBezTo>
                      <a:pt x="842867" y="291084"/>
                      <a:pt x="842867" y="291084"/>
                      <a:pt x="842867" y="291084"/>
                    </a:cubicBezTo>
                    <a:cubicBezTo>
                      <a:pt x="842867" y="268129"/>
                      <a:pt x="842867" y="268129"/>
                      <a:pt x="842867" y="268129"/>
                    </a:cubicBezTo>
                    <a:cubicBezTo>
                      <a:pt x="842867" y="262414"/>
                      <a:pt x="842867" y="262414"/>
                      <a:pt x="842867" y="262414"/>
                    </a:cubicBezTo>
                    <a:cubicBezTo>
                      <a:pt x="848582" y="256699"/>
                      <a:pt x="848582" y="256699"/>
                      <a:pt x="848582" y="256699"/>
                    </a:cubicBezTo>
                    <a:cubicBezTo>
                      <a:pt x="851440" y="253841"/>
                      <a:pt x="851440" y="253841"/>
                      <a:pt x="851440" y="253841"/>
                    </a:cubicBezTo>
                    <a:cubicBezTo>
                      <a:pt x="854297" y="250984"/>
                      <a:pt x="854297" y="250984"/>
                      <a:pt x="854297" y="250984"/>
                    </a:cubicBezTo>
                    <a:cubicBezTo>
                      <a:pt x="854297" y="245269"/>
                      <a:pt x="854297" y="245269"/>
                      <a:pt x="854297" y="245269"/>
                    </a:cubicBezTo>
                    <a:cubicBezTo>
                      <a:pt x="851440" y="239554"/>
                      <a:pt x="851440" y="239554"/>
                      <a:pt x="851440" y="239554"/>
                    </a:cubicBezTo>
                    <a:cubicBezTo>
                      <a:pt x="851440" y="233839"/>
                      <a:pt x="851440" y="233839"/>
                      <a:pt x="851440" y="233839"/>
                    </a:cubicBezTo>
                    <a:cubicBezTo>
                      <a:pt x="854297" y="230981"/>
                      <a:pt x="854297" y="230981"/>
                      <a:pt x="854297" y="230981"/>
                    </a:cubicBezTo>
                    <a:cubicBezTo>
                      <a:pt x="862775" y="222314"/>
                      <a:pt x="862775" y="222314"/>
                      <a:pt x="862775" y="222314"/>
                    </a:cubicBezTo>
                    <a:cubicBezTo>
                      <a:pt x="862775" y="219456"/>
                      <a:pt x="862775" y="219456"/>
                      <a:pt x="862775" y="219456"/>
                    </a:cubicBezTo>
                    <a:cubicBezTo>
                      <a:pt x="862775" y="213741"/>
                      <a:pt x="862775" y="213741"/>
                      <a:pt x="862775" y="213741"/>
                    </a:cubicBezTo>
                    <a:lnTo>
                      <a:pt x="862775" y="208026"/>
                    </a:lnTo>
                    <a:cubicBezTo>
                      <a:pt x="858298" y="206788"/>
                      <a:pt x="858298" y="206788"/>
                      <a:pt x="858298" y="206788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  <p:sp>
            <p:nvSpPr>
              <p:cNvPr id="492" name="Freeform: Shape 196">
                <a:extLst>
                  <a:ext uri="{FF2B5EF4-FFF2-40B4-BE49-F238E27FC236}">
                    <a16:creationId xmlns:a16="http://schemas.microsoft.com/office/drawing/2014/main" id="{2DA95A32-CDDF-483A-9F28-2C7C00902690}"/>
                  </a:ext>
                </a:extLst>
              </p:cNvPr>
              <p:cNvSpPr/>
              <p:nvPr/>
            </p:nvSpPr>
            <p:spPr>
              <a:xfrm>
                <a:off x="5064252" y="1862899"/>
                <a:ext cx="361950" cy="361950"/>
              </a:xfrm>
              <a:custGeom>
                <a:avLst/>
                <a:gdLst>
                  <a:gd name="connsiteX0" fmla="*/ 365855 w 361950"/>
                  <a:gd name="connsiteY0" fmla="*/ 244412 h 361950"/>
                  <a:gd name="connsiteX1" fmla="*/ 361474 w 361950"/>
                  <a:gd name="connsiteY1" fmla="*/ 242221 h 361950"/>
                  <a:gd name="connsiteX2" fmla="*/ 361474 w 361950"/>
                  <a:gd name="connsiteY2" fmla="*/ 234887 h 361950"/>
                  <a:gd name="connsiteX3" fmla="*/ 357664 w 361950"/>
                  <a:gd name="connsiteY3" fmla="*/ 234887 h 361950"/>
                  <a:gd name="connsiteX4" fmla="*/ 353854 w 361950"/>
                  <a:gd name="connsiteY4" fmla="*/ 231077 h 361950"/>
                  <a:gd name="connsiteX5" fmla="*/ 353854 w 361950"/>
                  <a:gd name="connsiteY5" fmla="*/ 224504 h 361950"/>
                  <a:gd name="connsiteX6" fmla="*/ 350330 w 361950"/>
                  <a:gd name="connsiteY6" fmla="*/ 219837 h 361950"/>
                  <a:gd name="connsiteX7" fmla="*/ 344615 w 361950"/>
                  <a:gd name="connsiteY7" fmla="*/ 218504 h 361950"/>
                  <a:gd name="connsiteX8" fmla="*/ 340805 w 361950"/>
                  <a:gd name="connsiteY8" fmla="*/ 214693 h 361950"/>
                  <a:gd name="connsiteX9" fmla="*/ 338804 w 361950"/>
                  <a:gd name="connsiteY9" fmla="*/ 212503 h 361950"/>
                  <a:gd name="connsiteX10" fmla="*/ 334232 w 361950"/>
                  <a:gd name="connsiteY10" fmla="*/ 207359 h 361950"/>
                  <a:gd name="connsiteX11" fmla="*/ 332613 w 361950"/>
                  <a:gd name="connsiteY11" fmla="*/ 205740 h 361950"/>
                  <a:gd name="connsiteX12" fmla="*/ 324136 w 361950"/>
                  <a:gd name="connsiteY12" fmla="*/ 203263 h 361950"/>
                  <a:gd name="connsiteX13" fmla="*/ 320326 w 361950"/>
                  <a:gd name="connsiteY13" fmla="*/ 197834 h 361950"/>
                  <a:gd name="connsiteX14" fmla="*/ 315182 w 361950"/>
                  <a:gd name="connsiteY14" fmla="*/ 195643 h 361950"/>
                  <a:gd name="connsiteX15" fmla="*/ 315182 w 361950"/>
                  <a:gd name="connsiteY15" fmla="*/ 198120 h 361950"/>
                  <a:gd name="connsiteX16" fmla="*/ 312611 w 361950"/>
                  <a:gd name="connsiteY16" fmla="*/ 201263 h 361950"/>
                  <a:gd name="connsiteX17" fmla="*/ 309372 w 361950"/>
                  <a:gd name="connsiteY17" fmla="*/ 203168 h 361950"/>
                  <a:gd name="connsiteX18" fmla="*/ 305848 w 361950"/>
                  <a:gd name="connsiteY18" fmla="*/ 203168 h 361950"/>
                  <a:gd name="connsiteX19" fmla="*/ 306134 w 361950"/>
                  <a:gd name="connsiteY19" fmla="*/ 200120 h 361950"/>
                  <a:gd name="connsiteX20" fmla="*/ 307181 w 361950"/>
                  <a:gd name="connsiteY20" fmla="*/ 194119 h 361950"/>
                  <a:gd name="connsiteX21" fmla="*/ 310420 w 361950"/>
                  <a:gd name="connsiteY21" fmla="*/ 191357 h 361950"/>
                  <a:gd name="connsiteX22" fmla="*/ 310420 w 361950"/>
                  <a:gd name="connsiteY22" fmla="*/ 186214 h 361950"/>
                  <a:gd name="connsiteX23" fmla="*/ 310420 w 361950"/>
                  <a:gd name="connsiteY23" fmla="*/ 177451 h 361950"/>
                  <a:gd name="connsiteX24" fmla="*/ 308229 w 361950"/>
                  <a:gd name="connsiteY24" fmla="*/ 176117 h 361950"/>
                  <a:gd name="connsiteX25" fmla="*/ 304419 w 361950"/>
                  <a:gd name="connsiteY25" fmla="*/ 173927 h 361950"/>
                  <a:gd name="connsiteX26" fmla="*/ 297847 w 361950"/>
                  <a:gd name="connsiteY26" fmla="*/ 167926 h 361950"/>
                  <a:gd name="connsiteX27" fmla="*/ 296228 w 361950"/>
                  <a:gd name="connsiteY27" fmla="*/ 162497 h 361950"/>
                  <a:gd name="connsiteX28" fmla="*/ 294037 w 361950"/>
                  <a:gd name="connsiteY28" fmla="*/ 160306 h 361950"/>
                  <a:gd name="connsiteX29" fmla="*/ 287750 w 361950"/>
                  <a:gd name="connsiteY29" fmla="*/ 154591 h 361950"/>
                  <a:gd name="connsiteX30" fmla="*/ 284512 w 361950"/>
                  <a:gd name="connsiteY30" fmla="*/ 149162 h 361950"/>
                  <a:gd name="connsiteX31" fmla="*/ 282892 w 361950"/>
                  <a:gd name="connsiteY31" fmla="*/ 150495 h 361950"/>
                  <a:gd name="connsiteX32" fmla="*/ 271939 w 361950"/>
                  <a:gd name="connsiteY32" fmla="*/ 150495 h 361950"/>
                  <a:gd name="connsiteX33" fmla="*/ 262414 w 361950"/>
                  <a:gd name="connsiteY33" fmla="*/ 150495 h 361950"/>
                  <a:gd name="connsiteX34" fmla="*/ 262414 w 361950"/>
                  <a:gd name="connsiteY34" fmla="*/ 148018 h 361950"/>
                  <a:gd name="connsiteX35" fmla="*/ 261366 w 361950"/>
                  <a:gd name="connsiteY35" fmla="*/ 144971 h 361950"/>
                  <a:gd name="connsiteX36" fmla="*/ 258318 w 361950"/>
                  <a:gd name="connsiteY36" fmla="*/ 141923 h 361950"/>
                  <a:gd name="connsiteX37" fmla="*/ 255270 w 361950"/>
                  <a:gd name="connsiteY37" fmla="*/ 135350 h 361950"/>
                  <a:gd name="connsiteX38" fmla="*/ 249841 w 361950"/>
                  <a:gd name="connsiteY38" fmla="*/ 133160 h 361950"/>
                  <a:gd name="connsiteX39" fmla="*/ 246317 w 361950"/>
                  <a:gd name="connsiteY39" fmla="*/ 125539 h 361950"/>
                  <a:gd name="connsiteX40" fmla="*/ 246317 w 361950"/>
                  <a:gd name="connsiteY40" fmla="*/ 119825 h 361950"/>
                  <a:gd name="connsiteX41" fmla="*/ 244126 w 361950"/>
                  <a:gd name="connsiteY41" fmla="*/ 118491 h 361950"/>
                  <a:gd name="connsiteX42" fmla="*/ 235363 w 361950"/>
                  <a:gd name="connsiteY42" fmla="*/ 118491 h 361950"/>
                  <a:gd name="connsiteX43" fmla="*/ 229076 w 361950"/>
                  <a:gd name="connsiteY43" fmla="*/ 113538 h 361950"/>
                  <a:gd name="connsiteX44" fmla="*/ 229076 w 361950"/>
                  <a:gd name="connsiteY44" fmla="*/ 112205 h 361950"/>
                  <a:gd name="connsiteX45" fmla="*/ 225266 w 361950"/>
                  <a:gd name="connsiteY45" fmla="*/ 108394 h 361950"/>
                  <a:gd name="connsiteX46" fmla="*/ 221456 w 361950"/>
                  <a:gd name="connsiteY46" fmla="*/ 108394 h 361950"/>
                  <a:gd name="connsiteX47" fmla="*/ 216503 w 361950"/>
                  <a:gd name="connsiteY47" fmla="*/ 105346 h 361950"/>
                  <a:gd name="connsiteX48" fmla="*/ 214313 w 361950"/>
                  <a:gd name="connsiteY48" fmla="*/ 100679 h 361950"/>
                  <a:gd name="connsiteX49" fmla="*/ 214313 w 361950"/>
                  <a:gd name="connsiteY49" fmla="*/ 94488 h 361950"/>
                  <a:gd name="connsiteX50" fmla="*/ 212693 w 361950"/>
                  <a:gd name="connsiteY50" fmla="*/ 89344 h 361950"/>
                  <a:gd name="connsiteX51" fmla="*/ 210502 w 361950"/>
                  <a:gd name="connsiteY51" fmla="*/ 85535 h 361950"/>
                  <a:gd name="connsiteX52" fmla="*/ 212693 w 361950"/>
                  <a:gd name="connsiteY52" fmla="*/ 82010 h 361950"/>
                  <a:gd name="connsiteX53" fmla="*/ 212693 w 361950"/>
                  <a:gd name="connsiteY53" fmla="*/ 75724 h 361950"/>
                  <a:gd name="connsiteX54" fmla="*/ 209931 w 361950"/>
                  <a:gd name="connsiteY54" fmla="*/ 71057 h 361950"/>
                  <a:gd name="connsiteX55" fmla="*/ 204788 w 361950"/>
                  <a:gd name="connsiteY55" fmla="*/ 68866 h 361950"/>
                  <a:gd name="connsiteX56" fmla="*/ 199073 w 361950"/>
                  <a:gd name="connsiteY56" fmla="*/ 65056 h 361950"/>
                  <a:gd name="connsiteX57" fmla="*/ 199073 w 361950"/>
                  <a:gd name="connsiteY57" fmla="*/ 58198 h 361950"/>
                  <a:gd name="connsiteX58" fmla="*/ 199073 w 361950"/>
                  <a:gd name="connsiteY58" fmla="*/ 50578 h 361950"/>
                  <a:gd name="connsiteX59" fmla="*/ 197739 w 361950"/>
                  <a:gd name="connsiteY59" fmla="*/ 47530 h 361950"/>
                  <a:gd name="connsiteX60" fmla="*/ 193929 w 361950"/>
                  <a:gd name="connsiteY60" fmla="*/ 41529 h 361950"/>
                  <a:gd name="connsiteX61" fmla="*/ 188976 w 361950"/>
                  <a:gd name="connsiteY61" fmla="*/ 38291 h 361950"/>
                  <a:gd name="connsiteX62" fmla="*/ 181832 w 361950"/>
                  <a:gd name="connsiteY62" fmla="*/ 31718 h 361950"/>
                  <a:gd name="connsiteX63" fmla="*/ 178784 w 361950"/>
                  <a:gd name="connsiteY63" fmla="*/ 35528 h 361950"/>
                  <a:gd name="connsiteX64" fmla="*/ 175260 w 361950"/>
                  <a:gd name="connsiteY64" fmla="*/ 40100 h 361950"/>
                  <a:gd name="connsiteX65" fmla="*/ 170117 w 361950"/>
                  <a:gd name="connsiteY65" fmla="*/ 44863 h 361950"/>
                  <a:gd name="connsiteX66" fmla="*/ 165735 w 361950"/>
                  <a:gd name="connsiteY66" fmla="*/ 44863 h 361950"/>
                  <a:gd name="connsiteX67" fmla="*/ 161925 w 361950"/>
                  <a:gd name="connsiteY67" fmla="*/ 42386 h 361950"/>
                  <a:gd name="connsiteX68" fmla="*/ 156400 w 361950"/>
                  <a:gd name="connsiteY68" fmla="*/ 42386 h 361950"/>
                  <a:gd name="connsiteX69" fmla="*/ 150971 w 361950"/>
                  <a:gd name="connsiteY69" fmla="*/ 37433 h 361950"/>
                  <a:gd name="connsiteX70" fmla="*/ 146018 w 361950"/>
                  <a:gd name="connsiteY70" fmla="*/ 31718 h 361950"/>
                  <a:gd name="connsiteX71" fmla="*/ 140303 w 361950"/>
                  <a:gd name="connsiteY71" fmla="*/ 31718 h 361950"/>
                  <a:gd name="connsiteX72" fmla="*/ 132398 w 361950"/>
                  <a:gd name="connsiteY72" fmla="*/ 31718 h 361950"/>
                  <a:gd name="connsiteX73" fmla="*/ 130778 w 361950"/>
                  <a:gd name="connsiteY73" fmla="*/ 28670 h 361950"/>
                  <a:gd name="connsiteX74" fmla="*/ 130778 w 361950"/>
                  <a:gd name="connsiteY74" fmla="*/ 18002 h 361950"/>
                  <a:gd name="connsiteX75" fmla="*/ 129159 w 361950"/>
                  <a:gd name="connsiteY75" fmla="*/ 13049 h 361950"/>
                  <a:gd name="connsiteX76" fmla="*/ 125063 w 361950"/>
                  <a:gd name="connsiteY76" fmla="*/ 5715 h 361950"/>
                  <a:gd name="connsiteX77" fmla="*/ 117729 w 361950"/>
                  <a:gd name="connsiteY77" fmla="*/ 0 h 361950"/>
                  <a:gd name="connsiteX78" fmla="*/ 116110 w 361950"/>
                  <a:gd name="connsiteY78" fmla="*/ 3524 h 361950"/>
                  <a:gd name="connsiteX79" fmla="*/ 103251 w 361950"/>
                  <a:gd name="connsiteY79" fmla="*/ 11430 h 361950"/>
                  <a:gd name="connsiteX80" fmla="*/ 97822 w 361950"/>
                  <a:gd name="connsiteY80" fmla="*/ 10382 h 361950"/>
                  <a:gd name="connsiteX81" fmla="*/ 85249 w 361950"/>
                  <a:gd name="connsiteY81" fmla="*/ 5239 h 361950"/>
                  <a:gd name="connsiteX82" fmla="*/ 75724 w 361950"/>
                  <a:gd name="connsiteY82" fmla="*/ 1333 h 361950"/>
                  <a:gd name="connsiteX83" fmla="*/ 74295 w 361950"/>
                  <a:gd name="connsiteY83" fmla="*/ 2762 h 361950"/>
                  <a:gd name="connsiteX84" fmla="*/ 71438 w 361950"/>
                  <a:gd name="connsiteY84" fmla="*/ 5620 h 361950"/>
                  <a:gd name="connsiteX85" fmla="*/ 71438 w 361950"/>
                  <a:gd name="connsiteY85" fmla="*/ 8477 h 361950"/>
                  <a:gd name="connsiteX86" fmla="*/ 74295 w 361950"/>
                  <a:gd name="connsiteY86" fmla="*/ 8477 h 361950"/>
                  <a:gd name="connsiteX87" fmla="*/ 77152 w 361950"/>
                  <a:gd name="connsiteY87" fmla="*/ 11335 h 361950"/>
                  <a:gd name="connsiteX88" fmla="*/ 74295 w 361950"/>
                  <a:gd name="connsiteY88" fmla="*/ 14192 h 361950"/>
                  <a:gd name="connsiteX89" fmla="*/ 71438 w 361950"/>
                  <a:gd name="connsiteY89" fmla="*/ 17050 h 361950"/>
                  <a:gd name="connsiteX90" fmla="*/ 71438 w 361950"/>
                  <a:gd name="connsiteY90" fmla="*/ 19907 h 361950"/>
                  <a:gd name="connsiteX91" fmla="*/ 71438 w 361950"/>
                  <a:gd name="connsiteY91" fmla="*/ 22765 h 361950"/>
                  <a:gd name="connsiteX92" fmla="*/ 68580 w 361950"/>
                  <a:gd name="connsiteY92" fmla="*/ 22765 h 361950"/>
                  <a:gd name="connsiteX93" fmla="*/ 68580 w 361950"/>
                  <a:gd name="connsiteY93" fmla="*/ 25622 h 361950"/>
                  <a:gd name="connsiteX94" fmla="*/ 68580 w 361950"/>
                  <a:gd name="connsiteY94" fmla="*/ 28480 h 361950"/>
                  <a:gd name="connsiteX95" fmla="*/ 65723 w 361950"/>
                  <a:gd name="connsiteY95" fmla="*/ 28480 h 361950"/>
                  <a:gd name="connsiteX96" fmla="*/ 65723 w 361950"/>
                  <a:gd name="connsiteY96" fmla="*/ 31337 h 361950"/>
                  <a:gd name="connsiteX97" fmla="*/ 62865 w 361950"/>
                  <a:gd name="connsiteY97" fmla="*/ 31337 h 361950"/>
                  <a:gd name="connsiteX98" fmla="*/ 60008 w 361950"/>
                  <a:gd name="connsiteY98" fmla="*/ 31337 h 361950"/>
                  <a:gd name="connsiteX99" fmla="*/ 57150 w 361950"/>
                  <a:gd name="connsiteY99" fmla="*/ 34195 h 361950"/>
                  <a:gd name="connsiteX100" fmla="*/ 57150 w 361950"/>
                  <a:gd name="connsiteY100" fmla="*/ 37052 h 361950"/>
                  <a:gd name="connsiteX101" fmla="*/ 54292 w 361950"/>
                  <a:gd name="connsiteY101" fmla="*/ 37052 h 361950"/>
                  <a:gd name="connsiteX102" fmla="*/ 54292 w 361950"/>
                  <a:gd name="connsiteY102" fmla="*/ 39910 h 361950"/>
                  <a:gd name="connsiteX103" fmla="*/ 51435 w 361950"/>
                  <a:gd name="connsiteY103" fmla="*/ 39910 h 361950"/>
                  <a:gd name="connsiteX104" fmla="*/ 48577 w 361950"/>
                  <a:gd name="connsiteY104" fmla="*/ 37052 h 361950"/>
                  <a:gd name="connsiteX105" fmla="*/ 45720 w 361950"/>
                  <a:gd name="connsiteY105" fmla="*/ 39910 h 361950"/>
                  <a:gd name="connsiteX106" fmla="*/ 42863 w 361950"/>
                  <a:gd name="connsiteY106" fmla="*/ 39910 h 361950"/>
                  <a:gd name="connsiteX107" fmla="*/ 40005 w 361950"/>
                  <a:gd name="connsiteY107" fmla="*/ 42767 h 361950"/>
                  <a:gd name="connsiteX108" fmla="*/ 37148 w 361950"/>
                  <a:gd name="connsiteY108" fmla="*/ 42767 h 361950"/>
                  <a:gd name="connsiteX109" fmla="*/ 34290 w 361950"/>
                  <a:gd name="connsiteY109" fmla="*/ 42767 h 361950"/>
                  <a:gd name="connsiteX110" fmla="*/ 34290 w 361950"/>
                  <a:gd name="connsiteY110" fmla="*/ 45625 h 361950"/>
                  <a:gd name="connsiteX111" fmla="*/ 31433 w 361950"/>
                  <a:gd name="connsiteY111" fmla="*/ 45625 h 361950"/>
                  <a:gd name="connsiteX112" fmla="*/ 31433 w 361950"/>
                  <a:gd name="connsiteY112" fmla="*/ 48482 h 361950"/>
                  <a:gd name="connsiteX113" fmla="*/ 31433 w 361950"/>
                  <a:gd name="connsiteY113" fmla="*/ 51340 h 361950"/>
                  <a:gd name="connsiteX114" fmla="*/ 25718 w 361950"/>
                  <a:gd name="connsiteY114" fmla="*/ 57055 h 361950"/>
                  <a:gd name="connsiteX115" fmla="*/ 25718 w 361950"/>
                  <a:gd name="connsiteY115" fmla="*/ 59912 h 361950"/>
                  <a:gd name="connsiteX116" fmla="*/ 28575 w 361950"/>
                  <a:gd name="connsiteY116" fmla="*/ 59912 h 361950"/>
                  <a:gd name="connsiteX117" fmla="*/ 28575 w 361950"/>
                  <a:gd name="connsiteY117" fmla="*/ 62770 h 361950"/>
                  <a:gd name="connsiteX118" fmla="*/ 25718 w 361950"/>
                  <a:gd name="connsiteY118" fmla="*/ 68485 h 361950"/>
                  <a:gd name="connsiteX119" fmla="*/ 22860 w 361950"/>
                  <a:gd name="connsiteY119" fmla="*/ 71342 h 361950"/>
                  <a:gd name="connsiteX120" fmla="*/ 22860 w 361950"/>
                  <a:gd name="connsiteY120" fmla="*/ 68485 h 361950"/>
                  <a:gd name="connsiteX121" fmla="*/ 17145 w 361950"/>
                  <a:gd name="connsiteY121" fmla="*/ 68485 h 361950"/>
                  <a:gd name="connsiteX122" fmla="*/ 14288 w 361950"/>
                  <a:gd name="connsiteY122" fmla="*/ 71342 h 361950"/>
                  <a:gd name="connsiteX123" fmla="*/ 11430 w 361950"/>
                  <a:gd name="connsiteY123" fmla="*/ 71342 h 361950"/>
                  <a:gd name="connsiteX124" fmla="*/ 8573 w 361950"/>
                  <a:gd name="connsiteY124" fmla="*/ 71342 h 361950"/>
                  <a:gd name="connsiteX125" fmla="*/ 5715 w 361950"/>
                  <a:gd name="connsiteY125" fmla="*/ 71342 h 361950"/>
                  <a:gd name="connsiteX126" fmla="*/ 2857 w 361950"/>
                  <a:gd name="connsiteY126" fmla="*/ 74200 h 361950"/>
                  <a:gd name="connsiteX127" fmla="*/ 2857 w 361950"/>
                  <a:gd name="connsiteY127" fmla="*/ 77057 h 361950"/>
                  <a:gd name="connsiteX128" fmla="*/ 2857 w 361950"/>
                  <a:gd name="connsiteY128" fmla="*/ 82772 h 361950"/>
                  <a:gd name="connsiteX129" fmla="*/ 2857 w 361950"/>
                  <a:gd name="connsiteY129" fmla="*/ 88487 h 361950"/>
                  <a:gd name="connsiteX130" fmla="*/ 0 w 361950"/>
                  <a:gd name="connsiteY130" fmla="*/ 91345 h 361950"/>
                  <a:gd name="connsiteX131" fmla="*/ 0 w 361950"/>
                  <a:gd name="connsiteY131" fmla="*/ 94202 h 361950"/>
                  <a:gd name="connsiteX132" fmla="*/ 0 w 361950"/>
                  <a:gd name="connsiteY132" fmla="*/ 97060 h 361950"/>
                  <a:gd name="connsiteX133" fmla="*/ 0 w 361950"/>
                  <a:gd name="connsiteY133" fmla="*/ 99917 h 361950"/>
                  <a:gd name="connsiteX134" fmla="*/ 5715 w 361950"/>
                  <a:gd name="connsiteY134" fmla="*/ 105632 h 361950"/>
                  <a:gd name="connsiteX135" fmla="*/ 5715 w 361950"/>
                  <a:gd name="connsiteY135" fmla="*/ 108490 h 361950"/>
                  <a:gd name="connsiteX136" fmla="*/ 8573 w 361950"/>
                  <a:gd name="connsiteY136" fmla="*/ 111347 h 361950"/>
                  <a:gd name="connsiteX137" fmla="*/ 8573 w 361950"/>
                  <a:gd name="connsiteY137" fmla="*/ 119920 h 361950"/>
                  <a:gd name="connsiteX138" fmla="*/ 8573 w 361950"/>
                  <a:gd name="connsiteY138" fmla="*/ 128492 h 361950"/>
                  <a:gd name="connsiteX139" fmla="*/ 11430 w 361950"/>
                  <a:gd name="connsiteY139" fmla="*/ 137065 h 361950"/>
                  <a:gd name="connsiteX140" fmla="*/ 11430 w 361950"/>
                  <a:gd name="connsiteY140" fmla="*/ 145637 h 361950"/>
                  <a:gd name="connsiteX141" fmla="*/ 19907 w 361950"/>
                  <a:gd name="connsiteY141" fmla="*/ 157067 h 361950"/>
                  <a:gd name="connsiteX142" fmla="*/ 19907 w 361950"/>
                  <a:gd name="connsiteY142" fmla="*/ 162782 h 361950"/>
                  <a:gd name="connsiteX143" fmla="*/ 17050 w 361950"/>
                  <a:gd name="connsiteY143" fmla="*/ 171355 h 361950"/>
                  <a:gd name="connsiteX144" fmla="*/ 17050 w 361950"/>
                  <a:gd name="connsiteY144" fmla="*/ 174212 h 361950"/>
                  <a:gd name="connsiteX145" fmla="*/ 19907 w 361950"/>
                  <a:gd name="connsiteY145" fmla="*/ 177070 h 361950"/>
                  <a:gd name="connsiteX146" fmla="*/ 19907 w 361950"/>
                  <a:gd name="connsiteY146" fmla="*/ 179927 h 361950"/>
                  <a:gd name="connsiteX147" fmla="*/ 19907 w 361950"/>
                  <a:gd name="connsiteY147" fmla="*/ 185642 h 361950"/>
                  <a:gd name="connsiteX148" fmla="*/ 19907 w 361950"/>
                  <a:gd name="connsiteY148" fmla="*/ 191357 h 361950"/>
                  <a:gd name="connsiteX149" fmla="*/ 17050 w 361950"/>
                  <a:gd name="connsiteY149" fmla="*/ 194215 h 361950"/>
                  <a:gd name="connsiteX150" fmla="*/ 22765 w 361950"/>
                  <a:gd name="connsiteY150" fmla="*/ 197072 h 361950"/>
                  <a:gd name="connsiteX151" fmla="*/ 22765 w 361950"/>
                  <a:gd name="connsiteY151" fmla="*/ 199930 h 361950"/>
                  <a:gd name="connsiteX152" fmla="*/ 22765 w 361950"/>
                  <a:gd name="connsiteY152" fmla="*/ 202787 h 361950"/>
                  <a:gd name="connsiteX153" fmla="*/ 25622 w 361950"/>
                  <a:gd name="connsiteY153" fmla="*/ 202787 h 361950"/>
                  <a:gd name="connsiteX154" fmla="*/ 25622 w 361950"/>
                  <a:gd name="connsiteY154" fmla="*/ 208502 h 361950"/>
                  <a:gd name="connsiteX155" fmla="*/ 22765 w 361950"/>
                  <a:gd name="connsiteY155" fmla="*/ 208502 h 361950"/>
                  <a:gd name="connsiteX156" fmla="*/ 22765 w 361950"/>
                  <a:gd name="connsiteY156" fmla="*/ 211360 h 361950"/>
                  <a:gd name="connsiteX157" fmla="*/ 22765 w 361950"/>
                  <a:gd name="connsiteY157" fmla="*/ 214217 h 361950"/>
                  <a:gd name="connsiteX158" fmla="*/ 22765 w 361950"/>
                  <a:gd name="connsiteY158" fmla="*/ 217075 h 361950"/>
                  <a:gd name="connsiteX159" fmla="*/ 22765 w 361950"/>
                  <a:gd name="connsiteY159" fmla="*/ 219932 h 361950"/>
                  <a:gd name="connsiteX160" fmla="*/ 19907 w 361950"/>
                  <a:gd name="connsiteY160" fmla="*/ 222790 h 361950"/>
                  <a:gd name="connsiteX161" fmla="*/ 19907 w 361950"/>
                  <a:gd name="connsiteY161" fmla="*/ 225647 h 361950"/>
                  <a:gd name="connsiteX162" fmla="*/ 17050 w 361950"/>
                  <a:gd name="connsiteY162" fmla="*/ 225647 h 361950"/>
                  <a:gd name="connsiteX163" fmla="*/ 17050 w 361950"/>
                  <a:gd name="connsiteY163" fmla="*/ 228505 h 361950"/>
                  <a:gd name="connsiteX164" fmla="*/ 19907 w 361950"/>
                  <a:gd name="connsiteY164" fmla="*/ 231362 h 361950"/>
                  <a:gd name="connsiteX165" fmla="*/ 19907 w 361950"/>
                  <a:gd name="connsiteY165" fmla="*/ 234220 h 361950"/>
                  <a:gd name="connsiteX166" fmla="*/ 19907 w 361950"/>
                  <a:gd name="connsiteY166" fmla="*/ 245650 h 361950"/>
                  <a:gd name="connsiteX167" fmla="*/ 19907 w 361950"/>
                  <a:gd name="connsiteY167" fmla="*/ 248507 h 361950"/>
                  <a:gd name="connsiteX168" fmla="*/ 22765 w 361950"/>
                  <a:gd name="connsiteY168" fmla="*/ 248507 h 361950"/>
                  <a:gd name="connsiteX169" fmla="*/ 25622 w 361950"/>
                  <a:gd name="connsiteY169" fmla="*/ 251365 h 361950"/>
                  <a:gd name="connsiteX170" fmla="*/ 28480 w 361950"/>
                  <a:gd name="connsiteY170" fmla="*/ 254222 h 361950"/>
                  <a:gd name="connsiteX171" fmla="*/ 25622 w 361950"/>
                  <a:gd name="connsiteY171" fmla="*/ 257080 h 361950"/>
                  <a:gd name="connsiteX172" fmla="*/ 25622 w 361950"/>
                  <a:gd name="connsiteY172" fmla="*/ 259937 h 361950"/>
                  <a:gd name="connsiteX173" fmla="*/ 22765 w 361950"/>
                  <a:gd name="connsiteY173" fmla="*/ 259937 h 361950"/>
                  <a:gd name="connsiteX174" fmla="*/ 25622 w 361950"/>
                  <a:gd name="connsiteY174" fmla="*/ 262795 h 361950"/>
                  <a:gd name="connsiteX175" fmla="*/ 28480 w 361950"/>
                  <a:gd name="connsiteY175" fmla="*/ 265652 h 361950"/>
                  <a:gd name="connsiteX176" fmla="*/ 36957 w 361950"/>
                  <a:gd name="connsiteY176" fmla="*/ 268510 h 361950"/>
                  <a:gd name="connsiteX177" fmla="*/ 39815 w 361950"/>
                  <a:gd name="connsiteY177" fmla="*/ 271367 h 361950"/>
                  <a:gd name="connsiteX178" fmla="*/ 39815 w 361950"/>
                  <a:gd name="connsiteY178" fmla="*/ 274225 h 361950"/>
                  <a:gd name="connsiteX179" fmla="*/ 42672 w 361950"/>
                  <a:gd name="connsiteY179" fmla="*/ 274225 h 361950"/>
                  <a:gd name="connsiteX180" fmla="*/ 45529 w 361950"/>
                  <a:gd name="connsiteY180" fmla="*/ 277082 h 361950"/>
                  <a:gd name="connsiteX181" fmla="*/ 45529 w 361950"/>
                  <a:gd name="connsiteY181" fmla="*/ 274225 h 361950"/>
                  <a:gd name="connsiteX182" fmla="*/ 48387 w 361950"/>
                  <a:gd name="connsiteY182" fmla="*/ 274225 h 361950"/>
                  <a:gd name="connsiteX183" fmla="*/ 54102 w 361950"/>
                  <a:gd name="connsiteY183" fmla="*/ 274225 h 361950"/>
                  <a:gd name="connsiteX184" fmla="*/ 56960 w 361950"/>
                  <a:gd name="connsiteY184" fmla="*/ 274225 h 361950"/>
                  <a:gd name="connsiteX185" fmla="*/ 59817 w 361950"/>
                  <a:gd name="connsiteY185" fmla="*/ 274225 h 361950"/>
                  <a:gd name="connsiteX186" fmla="*/ 59817 w 361950"/>
                  <a:gd name="connsiteY186" fmla="*/ 277082 h 361950"/>
                  <a:gd name="connsiteX187" fmla="*/ 62675 w 361950"/>
                  <a:gd name="connsiteY187" fmla="*/ 279940 h 361950"/>
                  <a:gd name="connsiteX188" fmla="*/ 62675 w 361950"/>
                  <a:gd name="connsiteY188" fmla="*/ 282797 h 361950"/>
                  <a:gd name="connsiteX189" fmla="*/ 99536 w 361950"/>
                  <a:gd name="connsiteY189" fmla="*/ 299942 h 361950"/>
                  <a:gd name="connsiteX190" fmla="*/ 99536 w 361950"/>
                  <a:gd name="connsiteY190" fmla="*/ 302800 h 361950"/>
                  <a:gd name="connsiteX191" fmla="*/ 99536 w 361950"/>
                  <a:gd name="connsiteY191" fmla="*/ 305657 h 361950"/>
                  <a:gd name="connsiteX192" fmla="*/ 102394 w 361950"/>
                  <a:gd name="connsiteY192" fmla="*/ 308515 h 361950"/>
                  <a:gd name="connsiteX193" fmla="*/ 108109 w 361950"/>
                  <a:gd name="connsiteY193" fmla="*/ 308515 h 361950"/>
                  <a:gd name="connsiteX194" fmla="*/ 110966 w 361950"/>
                  <a:gd name="connsiteY194" fmla="*/ 305657 h 361950"/>
                  <a:gd name="connsiteX195" fmla="*/ 113824 w 361950"/>
                  <a:gd name="connsiteY195" fmla="*/ 305657 h 361950"/>
                  <a:gd name="connsiteX196" fmla="*/ 119539 w 361950"/>
                  <a:gd name="connsiteY196" fmla="*/ 308515 h 361950"/>
                  <a:gd name="connsiteX197" fmla="*/ 119539 w 361950"/>
                  <a:gd name="connsiteY197" fmla="*/ 311372 h 361950"/>
                  <a:gd name="connsiteX198" fmla="*/ 122396 w 361950"/>
                  <a:gd name="connsiteY198" fmla="*/ 311372 h 361950"/>
                  <a:gd name="connsiteX199" fmla="*/ 128111 w 361950"/>
                  <a:gd name="connsiteY199" fmla="*/ 308515 h 361950"/>
                  <a:gd name="connsiteX200" fmla="*/ 130969 w 361950"/>
                  <a:gd name="connsiteY200" fmla="*/ 308515 h 361950"/>
                  <a:gd name="connsiteX201" fmla="*/ 133826 w 361950"/>
                  <a:gd name="connsiteY201" fmla="*/ 305657 h 361950"/>
                  <a:gd name="connsiteX202" fmla="*/ 133826 w 361950"/>
                  <a:gd name="connsiteY202" fmla="*/ 302800 h 361950"/>
                  <a:gd name="connsiteX203" fmla="*/ 136684 w 361950"/>
                  <a:gd name="connsiteY203" fmla="*/ 299942 h 361950"/>
                  <a:gd name="connsiteX204" fmla="*/ 139541 w 361950"/>
                  <a:gd name="connsiteY204" fmla="*/ 297085 h 361950"/>
                  <a:gd name="connsiteX205" fmla="*/ 139541 w 361950"/>
                  <a:gd name="connsiteY205" fmla="*/ 299942 h 361950"/>
                  <a:gd name="connsiteX206" fmla="*/ 139541 w 361950"/>
                  <a:gd name="connsiteY206" fmla="*/ 302800 h 361950"/>
                  <a:gd name="connsiteX207" fmla="*/ 139541 w 361950"/>
                  <a:gd name="connsiteY207" fmla="*/ 305657 h 361950"/>
                  <a:gd name="connsiteX208" fmla="*/ 136684 w 361950"/>
                  <a:gd name="connsiteY208" fmla="*/ 311372 h 361950"/>
                  <a:gd name="connsiteX209" fmla="*/ 136684 w 361950"/>
                  <a:gd name="connsiteY209" fmla="*/ 314230 h 361950"/>
                  <a:gd name="connsiteX210" fmla="*/ 136684 w 361950"/>
                  <a:gd name="connsiteY210" fmla="*/ 317087 h 361950"/>
                  <a:gd name="connsiteX211" fmla="*/ 136684 w 361950"/>
                  <a:gd name="connsiteY211" fmla="*/ 322802 h 361950"/>
                  <a:gd name="connsiteX212" fmla="*/ 136684 w 361950"/>
                  <a:gd name="connsiteY212" fmla="*/ 325660 h 361950"/>
                  <a:gd name="connsiteX213" fmla="*/ 136684 w 361950"/>
                  <a:gd name="connsiteY213" fmla="*/ 328517 h 361950"/>
                  <a:gd name="connsiteX214" fmla="*/ 133826 w 361950"/>
                  <a:gd name="connsiteY214" fmla="*/ 331375 h 361950"/>
                  <a:gd name="connsiteX215" fmla="*/ 133826 w 361950"/>
                  <a:gd name="connsiteY215" fmla="*/ 334232 h 361950"/>
                  <a:gd name="connsiteX216" fmla="*/ 136684 w 361950"/>
                  <a:gd name="connsiteY216" fmla="*/ 342805 h 361950"/>
                  <a:gd name="connsiteX217" fmla="*/ 139541 w 361950"/>
                  <a:gd name="connsiteY217" fmla="*/ 345662 h 361950"/>
                  <a:gd name="connsiteX218" fmla="*/ 145256 w 361950"/>
                  <a:gd name="connsiteY218" fmla="*/ 348520 h 361950"/>
                  <a:gd name="connsiteX219" fmla="*/ 148114 w 361950"/>
                  <a:gd name="connsiteY219" fmla="*/ 348520 h 361950"/>
                  <a:gd name="connsiteX220" fmla="*/ 153829 w 361950"/>
                  <a:gd name="connsiteY220" fmla="*/ 345662 h 361950"/>
                  <a:gd name="connsiteX221" fmla="*/ 156686 w 361950"/>
                  <a:gd name="connsiteY221" fmla="*/ 345662 h 361950"/>
                  <a:gd name="connsiteX222" fmla="*/ 165163 w 361950"/>
                  <a:gd name="connsiteY222" fmla="*/ 348520 h 361950"/>
                  <a:gd name="connsiteX223" fmla="*/ 168021 w 361950"/>
                  <a:gd name="connsiteY223" fmla="*/ 348520 h 361950"/>
                  <a:gd name="connsiteX224" fmla="*/ 173736 w 361950"/>
                  <a:gd name="connsiteY224" fmla="*/ 345662 h 361950"/>
                  <a:gd name="connsiteX225" fmla="*/ 176594 w 361950"/>
                  <a:gd name="connsiteY225" fmla="*/ 345662 h 361950"/>
                  <a:gd name="connsiteX226" fmla="*/ 182309 w 361950"/>
                  <a:gd name="connsiteY226" fmla="*/ 348520 h 361950"/>
                  <a:gd name="connsiteX227" fmla="*/ 185166 w 361950"/>
                  <a:gd name="connsiteY227" fmla="*/ 351377 h 361950"/>
                  <a:gd name="connsiteX228" fmla="*/ 188023 w 361950"/>
                  <a:gd name="connsiteY228" fmla="*/ 354235 h 361950"/>
                  <a:gd name="connsiteX229" fmla="*/ 196501 w 361950"/>
                  <a:gd name="connsiteY229" fmla="*/ 354235 h 361950"/>
                  <a:gd name="connsiteX230" fmla="*/ 199358 w 361950"/>
                  <a:gd name="connsiteY230" fmla="*/ 357092 h 361950"/>
                  <a:gd name="connsiteX231" fmla="*/ 207836 w 361950"/>
                  <a:gd name="connsiteY231" fmla="*/ 362807 h 361950"/>
                  <a:gd name="connsiteX232" fmla="*/ 210693 w 361950"/>
                  <a:gd name="connsiteY232" fmla="*/ 362807 h 361950"/>
                  <a:gd name="connsiteX233" fmla="*/ 219170 w 361950"/>
                  <a:gd name="connsiteY233" fmla="*/ 362807 h 361950"/>
                  <a:gd name="connsiteX234" fmla="*/ 222028 w 361950"/>
                  <a:gd name="connsiteY234" fmla="*/ 359950 h 361950"/>
                  <a:gd name="connsiteX235" fmla="*/ 224885 w 361950"/>
                  <a:gd name="connsiteY235" fmla="*/ 359950 h 361950"/>
                  <a:gd name="connsiteX236" fmla="*/ 222028 w 361950"/>
                  <a:gd name="connsiteY236" fmla="*/ 362807 h 361950"/>
                  <a:gd name="connsiteX237" fmla="*/ 224885 w 361950"/>
                  <a:gd name="connsiteY237" fmla="*/ 365665 h 361950"/>
                  <a:gd name="connsiteX238" fmla="*/ 227743 w 361950"/>
                  <a:gd name="connsiteY238" fmla="*/ 365665 h 361950"/>
                  <a:gd name="connsiteX239" fmla="*/ 230600 w 361950"/>
                  <a:gd name="connsiteY239" fmla="*/ 368522 h 361950"/>
                  <a:gd name="connsiteX240" fmla="*/ 233458 w 361950"/>
                  <a:gd name="connsiteY240" fmla="*/ 362807 h 361950"/>
                  <a:gd name="connsiteX241" fmla="*/ 239173 w 361950"/>
                  <a:gd name="connsiteY241" fmla="*/ 357092 h 361950"/>
                  <a:gd name="connsiteX242" fmla="*/ 242030 w 361950"/>
                  <a:gd name="connsiteY242" fmla="*/ 357092 h 361950"/>
                  <a:gd name="connsiteX243" fmla="*/ 250508 w 361950"/>
                  <a:gd name="connsiteY243" fmla="*/ 354235 h 361950"/>
                  <a:gd name="connsiteX244" fmla="*/ 253365 w 361950"/>
                  <a:gd name="connsiteY244" fmla="*/ 354235 h 361950"/>
                  <a:gd name="connsiteX245" fmla="*/ 253365 w 361950"/>
                  <a:gd name="connsiteY245" fmla="*/ 351377 h 361950"/>
                  <a:gd name="connsiteX246" fmla="*/ 256223 w 361950"/>
                  <a:gd name="connsiteY246" fmla="*/ 351377 h 361950"/>
                  <a:gd name="connsiteX247" fmla="*/ 256223 w 361950"/>
                  <a:gd name="connsiteY247" fmla="*/ 348520 h 361950"/>
                  <a:gd name="connsiteX248" fmla="*/ 256223 w 361950"/>
                  <a:gd name="connsiteY248" fmla="*/ 345662 h 361950"/>
                  <a:gd name="connsiteX249" fmla="*/ 261938 w 361950"/>
                  <a:gd name="connsiteY249" fmla="*/ 345662 h 361950"/>
                  <a:gd name="connsiteX250" fmla="*/ 264795 w 361950"/>
                  <a:gd name="connsiteY250" fmla="*/ 342805 h 361950"/>
                  <a:gd name="connsiteX251" fmla="*/ 267653 w 361950"/>
                  <a:gd name="connsiteY251" fmla="*/ 342805 h 361950"/>
                  <a:gd name="connsiteX252" fmla="*/ 267653 w 361950"/>
                  <a:gd name="connsiteY252" fmla="*/ 339947 h 361950"/>
                  <a:gd name="connsiteX253" fmla="*/ 270510 w 361950"/>
                  <a:gd name="connsiteY253" fmla="*/ 337090 h 361950"/>
                  <a:gd name="connsiteX254" fmla="*/ 270510 w 361950"/>
                  <a:gd name="connsiteY254" fmla="*/ 334232 h 361950"/>
                  <a:gd name="connsiteX255" fmla="*/ 273367 w 361950"/>
                  <a:gd name="connsiteY255" fmla="*/ 328517 h 361950"/>
                  <a:gd name="connsiteX256" fmla="*/ 276225 w 361950"/>
                  <a:gd name="connsiteY256" fmla="*/ 328517 h 361950"/>
                  <a:gd name="connsiteX257" fmla="*/ 276225 w 361950"/>
                  <a:gd name="connsiteY257" fmla="*/ 325660 h 361950"/>
                  <a:gd name="connsiteX258" fmla="*/ 276225 w 361950"/>
                  <a:gd name="connsiteY258" fmla="*/ 322802 h 361950"/>
                  <a:gd name="connsiteX259" fmla="*/ 273367 w 361950"/>
                  <a:gd name="connsiteY259" fmla="*/ 317087 h 361950"/>
                  <a:gd name="connsiteX260" fmla="*/ 273367 w 361950"/>
                  <a:gd name="connsiteY260" fmla="*/ 314230 h 361950"/>
                  <a:gd name="connsiteX261" fmla="*/ 273367 w 361950"/>
                  <a:gd name="connsiteY261" fmla="*/ 311372 h 361950"/>
                  <a:gd name="connsiteX262" fmla="*/ 276225 w 361950"/>
                  <a:gd name="connsiteY262" fmla="*/ 308515 h 361950"/>
                  <a:gd name="connsiteX263" fmla="*/ 273367 w 361950"/>
                  <a:gd name="connsiteY263" fmla="*/ 305657 h 361950"/>
                  <a:gd name="connsiteX264" fmla="*/ 273367 w 361950"/>
                  <a:gd name="connsiteY264" fmla="*/ 302800 h 361950"/>
                  <a:gd name="connsiteX265" fmla="*/ 270510 w 361950"/>
                  <a:gd name="connsiteY265" fmla="*/ 299942 h 361950"/>
                  <a:gd name="connsiteX266" fmla="*/ 270510 w 361950"/>
                  <a:gd name="connsiteY266" fmla="*/ 297085 h 361950"/>
                  <a:gd name="connsiteX267" fmla="*/ 264795 w 361950"/>
                  <a:gd name="connsiteY267" fmla="*/ 294227 h 361950"/>
                  <a:gd name="connsiteX268" fmla="*/ 264795 w 361950"/>
                  <a:gd name="connsiteY268" fmla="*/ 291370 h 361950"/>
                  <a:gd name="connsiteX269" fmla="*/ 264795 w 361950"/>
                  <a:gd name="connsiteY269" fmla="*/ 285655 h 361950"/>
                  <a:gd name="connsiteX270" fmla="*/ 270510 w 361950"/>
                  <a:gd name="connsiteY270" fmla="*/ 285655 h 361950"/>
                  <a:gd name="connsiteX271" fmla="*/ 273367 w 361950"/>
                  <a:gd name="connsiteY271" fmla="*/ 285655 h 361950"/>
                  <a:gd name="connsiteX272" fmla="*/ 276225 w 361950"/>
                  <a:gd name="connsiteY272" fmla="*/ 285655 h 361950"/>
                  <a:gd name="connsiteX273" fmla="*/ 276225 w 361950"/>
                  <a:gd name="connsiteY273" fmla="*/ 288512 h 361950"/>
                  <a:gd name="connsiteX274" fmla="*/ 279083 w 361950"/>
                  <a:gd name="connsiteY274" fmla="*/ 291370 h 361950"/>
                  <a:gd name="connsiteX275" fmla="*/ 281940 w 361950"/>
                  <a:gd name="connsiteY275" fmla="*/ 288512 h 361950"/>
                  <a:gd name="connsiteX276" fmla="*/ 290417 w 361950"/>
                  <a:gd name="connsiteY276" fmla="*/ 279940 h 361950"/>
                  <a:gd name="connsiteX277" fmla="*/ 293275 w 361950"/>
                  <a:gd name="connsiteY277" fmla="*/ 277082 h 361950"/>
                  <a:gd name="connsiteX278" fmla="*/ 296132 w 361950"/>
                  <a:gd name="connsiteY278" fmla="*/ 277082 h 361950"/>
                  <a:gd name="connsiteX279" fmla="*/ 301847 w 361950"/>
                  <a:gd name="connsiteY279" fmla="*/ 274225 h 361950"/>
                  <a:gd name="connsiteX280" fmla="*/ 304705 w 361950"/>
                  <a:gd name="connsiteY280" fmla="*/ 271367 h 361950"/>
                  <a:gd name="connsiteX281" fmla="*/ 307562 w 361950"/>
                  <a:gd name="connsiteY281" fmla="*/ 271367 h 361950"/>
                  <a:gd name="connsiteX282" fmla="*/ 310420 w 361950"/>
                  <a:gd name="connsiteY282" fmla="*/ 268510 h 361950"/>
                  <a:gd name="connsiteX283" fmla="*/ 313277 w 361950"/>
                  <a:gd name="connsiteY283" fmla="*/ 265652 h 361950"/>
                  <a:gd name="connsiteX284" fmla="*/ 313277 w 361950"/>
                  <a:gd name="connsiteY284" fmla="*/ 262795 h 361950"/>
                  <a:gd name="connsiteX285" fmla="*/ 316135 w 361950"/>
                  <a:gd name="connsiteY285" fmla="*/ 262795 h 361950"/>
                  <a:gd name="connsiteX286" fmla="*/ 316135 w 361950"/>
                  <a:gd name="connsiteY286" fmla="*/ 259937 h 361950"/>
                  <a:gd name="connsiteX287" fmla="*/ 318992 w 361950"/>
                  <a:gd name="connsiteY287" fmla="*/ 257080 h 361950"/>
                  <a:gd name="connsiteX288" fmla="*/ 324707 w 361950"/>
                  <a:gd name="connsiteY288" fmla="*/ 254222 h 361950"/>
                  <a:gd name="connsiteX289" fmla="*/ 327565 w 361950"/>
                  <a:gd name="connsiteY289" fmla="*/ 251365 h 361950"/>
                  <a:gd name="connsiteX290" fmla="*/ 341757 w 361950"/>
                  <a:gd name="connsiteY290" fmla="*/ 248507 h 361950"/>
                  <a:gd name="connsiteX291" fmla="*/ 344615 w 361950"/>
                  <a:gd name="connsiteY291" fmla="*/ 248507 h 361950"/>
                  <a:gd name="connsiteX292" fmla="*/ 347472 w 361950"/>
                  <a:gd name="connsiteY292" fmla="*/ 248507 h 361950"/>
                  <a:gd name="connsiteX293" fmla="*/ 353187 w 361950"/>
                  <a:gd name="connsiteY293" fmla="*/ 251365 h 361950"/>
                  <a:gd name="connsiteX294" fmla="*/ 364141 w 361950"/>
                  <a:gd name="connsiteY294" fmla="*/ 251365 h 361950"/>
                  <a:gd name="connsiteX295" fmla="*/ 366617 w 361950"/>
                  <a:gd name="connsiteY295" fmla="*/ 249079 h 361950"/>
                  <a:gd name="connsiteX296" fmla="*/ 365855 w 361950"/>
                  <a:gd name="connsiteY296" fmla="*/ 244412 h 361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</a:cxnLst>
                <a:rect l="l" t="t" r="r" b="b"/>
                <a:pathLst>
                  <a:path w="361950" h="361950">
                    <a:moveTo>
                      <a:pt x="365855" y="244412"/>
                    </a:moveTo>
                    <a:cubicBezTo>
                      <a:pt x="364998" y="244412"/>
                      <a:pt x="361474" y="242221"/>
                      <a:pt x="361474" y="242221"/>
                    </a:cubicBezTo>
                    <a:lnTo>
                      <a:pt x="361474" y="234887"/>
                    </a:lnTo>
                    <a:lnTo>
                      <a:pt x="357664" y="234887"/>
                    </a:lnTo>
                    <a:lnTo>
                      <a:pt x="353854" y="231077"/>
                    </a:lnTo>
                    <a:lnTo>
                      <a:pt x="353854" y="224504"/>
                    </a:lnTo>
                    <a:lnTo>
                      <a:pt x="350330" y="219837"/>
                    </a:lnTo>
                    <a:lnTo>
                      <a:pt x="344615" y="218504"/>
                    </a:lnTo>
                    <a:lnTo>
                      <a:pt x="340805" y="214693"/>
                    </a:lnTo>
                    <a:lnTo>
                      <a:pt x="338804" y="212503"/>
                    </a:lnTo>
                    <a:lnTo>
                      <a:pt x="334232" y="207359"/>
                    </a:lnTo>
                    <a:lnTo>
                      <a:pt x="332613" y="205740"/>
                    </a:lnTo>
                    <a:lnTo>
                      <a:pt x="324136" y="203263"/>
                    </a:lnTo>
                    <a:lnTo>
                      <a:pt x="320326" y="197834"/>
                    </a:lnTo>
                    <a:lnTo>
                      <a:pt x="315182" y="195643"/>
                    </a:lnTo>
                    <a:lnTo>
                      <a:pt x="315182" y="198120"/>
                    </a:lnTo>
                    <a:lnTo>
                      <a:pt x="312611" y="201263"/>
                    </a:lnTo>
                    <a:lnTo>
                      <a:pt x="309372" y="203168"/>
                    </a:lnTo>
                    <a:lnTo>
                      <a:pt x="305848" y="203168"/>
                    </a:lnTo>
                    <a:lnTo>
                      <a:pt x="306134" y="200120"/>
                    </a:lnTo>
                    <a:lnTo>
                      <a:pt x="307181" y="194119"/>
                    </a:lnTo>
                    <a:lnTo>
                      <a:pt x="310420" y="191357"/>
                    </a:lnTo>
                    <a:lnTo>
                      <a:pt x="310420" y="186214"/>
                    </a:lnTo>
                    <a:lnTo>
                      <a:pt x="310420" y="177451"/>
                    </a:lnTo>
                    <a:lnTo>
                      <a:pt x="308229" y="176117"/>
                    </a:lnTo>
                    <a:lnTo>
                      <a:pt x="304419" y="173927"/>
                    </a:lnTo>
                    <a:lnTo>
                      <a:pt x="297847" y="167926"/>
                    </a:lnTo>
                    <a:lnTo>
                      <a:pt x="296228" y="162497"/>
                    </a:lnTo>
                    <a:lnTo>
                      <a:pt x="294037" y="160306"/>
                    </a:lnTo>
                    <a:lnTo>
                      <a:pt x="287750" y="154591"/>
                    </a:lnTo>
                    <a:lnTo>
                      <a:pt x="284512" y="149162"/>
                    </a:lnTo>
                    <a:lnTo>
                      <a:pt x="282892" y="150495"/>
                    </a:lnTo>
                    <a:lnTo>
                      <a:pt x="271939" y="150495"/>
                    </a:lnTo>
                    <a:cubicBezTo>
                      <a:pt x="271939" y="150495"/>
                      <a:pt x="264319" y="150495"/>
                      <a:pt x="262414" y="150495"/>
                    </a:cubicBezTo>
                    <a:cubicBezTo>
                      <a:pt x="260509" y="150495"/>
                      <a:pt x="262414" y="148018"/>
                      <a:pt x="262414" y="148018"/>
                    </a:cubicBezTo>
                    <a:lnTo>
                      <a:pt x="261366" y="144971"/>
                    </a:lnTo>
                    <a:lnTo>
                      <a:pt x="258318" y="141923"/>
                    </a:lnTo>
                    <a:lnTo>
                      <a:pt x="255270" y="135350"/>
                    </a:lnTo>
                    <a:lnTo>
                      <a:pt x="249841" y="133160"/>
                    </a:lnTo>
                    <a:lnTo>
                      <a:pt x="246317" y="125539"/>
                    </a:lnTo>
                    <a:lnTo>
                      <a:pt x="246317" y="119825"/>
                    </a:lnTo>
                    <a:lnTo>
                      <a:pt x="244126" y="118491"/>
                    </a:lnTo>
                    <a:lnTo>
                      <a:pt x="235363" y="118491"/>
                    </a:lnTo>
                    <a:lnTo>
                      <a:pt x="229076" y="113538"/>
                    </a:lnTo>
                    <a:lnTo>
                      <a:pt x="229076" y="112205"/>
                    </a:lnTo>
                    <a:lnTo>
                      <a:pt x="225266" y="108394"/>
                    </a:lnTo>
                    <a:lnTo>
                      <a:pt x="221456" y="108394"/>
                    </a:lnTo>
                    <a:lnTo>
                      <a:pt x="216503" y="105346"/>
                    </a:lnTo>
                    <a:lnTo>
                      <a:pt x="214313" y="100679"/>
                    </a:lnTo>
                    <a:lnTo>
                      <a:pt x="214313" y="94488"/>
                    </a:lnTo>
                    <a:lnTo>
                      <a:pt x="212693" y="89344"/>
                    </a:lnTo>
                    <a:lnTo>
                      <a:pt x="210502" y="85535"/>
                    </a:lnTo>
                    <a:lnTo>
                      <a:pt x="212693" y="82010"/>
                    </a:lnTo>
                    <a:lnTo>
                      <a:pt x="212693" y="75724"/>
                    </a:lnTo>
                    <a:lnTo>
                      <a:pt x="209931" y="71057"/>
                    </a:lnTo>
                    <a:lnTo>
                      <a:pt x="204788" y="68866"/>
                    </a:lnTo>
                    <a:lnTo>
                      <a:pt x="199073" y="65056"/>
                    </a:lnTo>
                    <a:lnTo>
                      <a:pt x="199073" y="58198"/>
                    </a:lnTo>
                    <a:lnTo>
                      <a:pt x="199073" y="50578"/>
                    </a:lnTo>
                    <a:lnTo>
                      <a:pt x="197739" y="47530"/>
                    </a:lnTo>
                    <a:lnTo>
                      <a:pt x="193929" y="41529"/>
                    </a:lnTo>
                    <a:lnTo>
                      <a:pt x="188976" y="38291"/>
                    </a:lnTo>
                    <a:lnTo>
                      <a:pt x="181832" y="31718"/>
                    </a:lnTo>
                    <a:lnTo>
                      <a:pt x="178784" y="35528"/>
                    </a:lnTo>
                    <a:lnTo>
                      <a:pt x="175260" y="40100"/>
                    </a:lnTo>
                    <a:lnTo>
                      <a:pt x="170117" y="44863"/>
                    </a:lnTo>
                    <a:lnTo>
                      <a:pt x="165735" y="44863"/>
                    </a:lnTo>
                    <a:lnTo>
                      <a:pt x="161925" y="42386"/>
                    </a:lnTo>
                    <a:lnTo>
                      <a:pt x="156400" y="42386"/>
                    </a:lnTo>
                    <a:lnTo>
                      <a:pt x="150971" y="37433"/>
                    </a:lnTo>
                    <a:lnTo>
                      <a:pt x="146018" y="31718"/>
                    </a:lnTo>
                    <a:lnTo>
                      <a:pt x="140303" y="31718"/>
                    </a:lnTo>
                    <a:lnTo>
                      <a:pt x="132398" y="31718"/>
                    </a:lnTo>
                    <a:lnTo>
                      <a:pt x="130778" y="28670"/>
                    </a:lnTo>
                    <a:lnTo>
                      <a:pt x="130778" y="18002"/>
                    </a:lnTo>
                    <a:lnTo>
                      <a:pt x="129159" y="13049"/>
                    </a:lnTo>
                    <a:lnTo>
                      <a:pt x="125063" y="5715"/>
                    </a:lnTo>
                    <a:lnTo>
                      <a:pt x="117729" y="0"/>
                    </a:lnTo>
                    <a:lnTo>
                      <a:pt x="116110" y="3524"/>
                    </a:lnTo>
                    <a:lnTo>
                      <a:pt x="103251" y="11430"/>
                    </a:lnTo>
                    <a:lnTo>
                      <a:pt x="97822" y="10382"/>
                    </a:lnTo>
                    <a:lnTo>
                      <a:pt x="85249" y="5239"/>
                    </a:lnTo>
                    <a:lnTo>
                      <a:pt x="75724" y="1333"/>
                    </a:lnTo>
                    <a:cubicBezTo>
                      <a:pt x="74390" y="2667"/>
                      <a:pt x="74295" y="2762"/>
                      <a:pt x="74295" y="2762"/>
                    </a:cubicBezTo>
                    <a:cubicBezTo>
                      <a:pt x="71438" y="5620"/>
                      <a:pt x="71438" y="5620"/>
                      <a:pt x="71438" y="5620"/>
                    </a:cubicBezTo>
                    <a:cubicBezTo>
                      <a:pt x="71438" y="8477"/>
                      <a:pt x="71438" y="8477"/>
                      <a:pt x="71438" y="8477"/>
                    </a:cubicBezTo>
                    <a:cubicBezTo>
                      <a:pt x="74295" y="8477"/>
                      <a:pt x="74295" y="8477"/>
                      <a:pt x="74295" y="8477"/>
                    </a:cubicBezTo>
                    <a:cubicBezTo>
                      <a:pt x="77152" y="11335"/>
                      <a:pt x="77152" y="11335"/>
                      <a:pt x="77152" y="11335"/>
                    </a:cubicBezTo>
                    <a:cubicBezTo>
                      <a:pt x="74295" y="14192"/>
                      <a:pt x="74295" y="14192"/>
                      <a:pt x="74295" y="14192"/>
                    </a:cubicBezTo>
                    <a:cubicBezTo>
                      <a:pt x="71438" y="17050"/>
                      <a:pt x="71438" y="17050"/>
                      <a:pt x="71438" y="17050"/>
                    </a:cubicBezTo>
                    <a:cubicBezTo>
                      <a:pt x="71438" y="19907"/>
                      <a:pt x="71438" y="19907"/>
                      <a:pt x="71438" y="19907"/>
                    </a:cubicBezTo>
                    <a:cubicBezTo>
                      <a:pt x="71438" y="22765"/>
                      <a:pt x="71438" y="22765"/>
                      <a:pt x="71438" y="22765"/>
                    </a:cubicBezTo>
                    <a:cubicBezTo>
                      <a:pt x="68580" y="22765"/>
                      <a:pt x="68580" y="22765"/>
                      <a:pt x="68580" y="22765"/>
                    </a:cubicBezTo>
                    <a:cubicBezTo>
                      <a:pt x="68580" y="25622"/>
                      <a:pt x="68580" y="25622"/>
                      <a:pt x="68580" y="25622"/>
                    </a:cubicBezTo>
                    <a:cubicBezTo>
                      <a:pt x="68580" y="28480"/>
                      <a:pt x="68580" y="28480"/>
                      <a:pt x="68580" y="28480"/>
                    </a:cubicBezTo>
                    <a:cubicBezTo>
                      <a:pt x="65723" y="28480"/>
                      <a:pt x="65723" y="28480"/>
                      <a:pt x="65723" y="28480"/>
                    </a:cubicBezTo>
                    <a:cubicBezTo>
                      <a:pt x="65723" y="31337"/>
                      <a:pt x="65723" y="31337"/>
                      <a:pt x="65723" y="31337"/>
                    </a:cubicBezTo>
                    <a:cubicBezTo>
                      <a:pt x="62865" y="31337"/>
                      <a:pt x="62865" y="31337"/>
                      <a:pt x="62865" y="31337"/>
                    </a:cubicBezTo>
                    <a:cubicBezTo>
                      <a:pt x="60008" y="31337"/>
                      <a:pt x="60008" y="31337"/>
                      <a:pt x="60008" y="31337"/>
                    </a:cubicBezTo>
                    <a:cubicBezTo>
                      <a:pt x="57150" y="34195"/>
                      <a:pt x="57150" y="34195"/>
                      <a:pt x="57150" y="34195"/>
                    </a:cubicBezTo>
                    <a:cubicBezTo>
                      <a:pt x="57150" y="37052"/>
                      <a:pt x="57150" y="37052"/>
                      <a:pt x="57150" y="37052"/>
                    </a:cubicBezTo>
                    <a:cubicBezTo>
                      <a:pt x="54292" y="37052"/>
                      <a:pt x="54292" y="37052"/>
                      <a:pt x="54292" y="37052"/>
                    </a:cubicBezTo>
                    <a:cubicBezTo>
                      <a:pt x="54292" y="39910"/>
                      <a:pt x="54292" y="39910"/>
                      <a:pt x="54292" y="39910"/>
                    </a:cubicBezTo>
                    <a:cubicBezTo>
                      <a:pt x="51435" y="39910"/>
                      <a:pt x="51435" y="39910"/>
                      <a:pt x="51435" y="39910"/>
                    </a:cubicBezTo>
                    <a:cubicBezTo>
                      <a:pt x="48577" y="37052"/>
                      <a:pt x="48577" y="37052"/>
                      <a:pt x="48577" y="37052"/>
                    </a:cubicBezTo>
                    <a:cubicBezTo>
                      <a:pt x="45720" y="39910"/>
                      <a:pt x="45720" y="39910"/>
                      <a:pt x="45720" y="39910"/>
                    </a:cubicBezTo>
                    <a:cubicBezTo>
                      <a:pt x="42863" y="39910"/>
                      <a:pt x="42863" y="39910"/>
                      <a:pt x="42863" y="39910"/>
                    </a:cubicBezTo>
                    <a:cubicBezTo>
                      <a:pt x="40005" y="42767"/>
                      <a:pt x="40005" y="42767"/>
                      <a:pt x="40005" y="42767"/>
                    </a:cubicBezTo>
                    <a:cubicBezTo>
                      <a:pt x="37148" y="42767"/>
                      <a:pt x="37148" y="42767"/>
                      <a:pt x="37148" y="42767"/>
                    </a:cubicBezTo>
                    <a:cubicBezTo>
                      <a:pt x="34290" y="42767"/>
                      <a:pt x="34290" y="42767"/>
                      <a:pt x="34290" y="42767"/>
                    </a:cubicBezTo>
                    <a:cubicBezTo>
                      <a:pt x="34290" y="45625"/>
                      <a:pt x="34290" y="45625"/>
                      <a:pt x="34290" y="45625"/>
                    </a:cubicBezTo>
                    <a:cubicBezTo>
                      <a:pt x="31433" y="45625"/>
                      <a:pt x="31433" y="45625"/>
                      <a:pt x="31433" y="45625"/>
                    </a:cubicBezTo>
                    <a:cubicBezTo>
                      <a:pt x="31433" y="48482"/>
                      <a:pt x="31433" y="48482"/>
                      <a:pt x="31433" y="48482"/>
                    </a:cubicBezTo>
                    <a:cubicBezTo>
                      <a:pt x="31433" y="51340"/>
                      <a:pt x="31433" y="51340"/>
                      <a:pt x="31433" y="51340"/>
                    </a:cubicBezTo>
                    <a:cubicBezTo>
                      <a:pt x="25718" y="57055"/>
                      <a:pt x="25718" y="57055"/>
                      <a:pt x="25718" y="57055"/>
                    </a:cubicBezTo>
                    <a:cubicBezTo>
                      <a:pt x="25718" y="59912"/>
                      <a:pt x="25718" y="59912"/>
                      <a:pt x="25718" y="59912"/>
                    </a:cubicBezTo>
                    <a:cubicBezTo>
                      <a:pt x="28575" y="59912"/>
                      <a:pt x="28575" y="59912"/>
                      <a:pt x="28575" y="59912"/>
                    </a:cubicBezTo>
                    <a:cubicBezTo>
                      <a:pt x="28575" y="62770"/>
                      <a:pt x="28575" y="62770"/>
                      <a:pt x="28575" y="62770"/>
                    </a:cubicBezTo>
                    <a:cubicBezTo>
                      <a:pt x="25718" y="68485"/>
                      <a:pt x="25718" y="68485"/>
                      <a:pt x="25718" y="68485"/>
                    </a:cubicBezTo>
                    <a:cubicBezTo>
                      <a:pt x="22860" y="71342"/>
                      <a:pt x="22860" y="71342"/>
                      <a:pt x="22860" y="71342"/>
                    </a:cubicBezTo>
                    <a:cubicBezTo>
                      <a:pt x="22860" y="68485"/>
                      <a:pt x="22860" y="68485"/>
                      <a:pt x="22860" y="68485"/>
                    </a:cubicBezTo>
                    <a:cubicBezTo>
                      <a:pt x="17145" y="68485"/>
                      <a:pt x="17145" y="68485"/>
                      <a:pt x="17145" y="68485"/>
                    </a:cubicBezTo>
                    <a:cubicBezTo>
                      <a:pt x="14288" y="71342"/>
                      <a:pt x="14288" y="71342"/>
                      <a:pt x="14288" y="71342"/>
                    </a:cubicBezTo>
                    <a:cubicBezTo>
                      <a:pt x="11430" y="71342"/>
                      <a:pt x="11430" y="71342"/>
                      <a:pt x="11430" y="71342"/>
                    </a:cubicBezTo>
                    <a:cubicBezTo>
                      <a:pt x="8573" y="71342"/>
                      <a:pt x="8573" y="71342"/>
                      <a:pt x="8573" y="71342"/>
                    </a:cubicBezTo>
                    <a:cubicBezTo>
                      <a:pt x="5715" y="71342"/>
                      <a:pt x="5715" y="71342"/>
                      <a:pt x="5715" y="71342"/>
                    </a:cubicBezTo>
                    <a:cubicBezTo>
                      <a:pt x="2857" y="74200"/>
                      <a:pt x="2857" y="74200"/>
                      <a:pt x="2857" y="74200"/>
                    </a:cubicBezTo>
                    <a:cubicBezTo>
                      <a:pt x="2857" y="77057"/>
                      <a:pt x="2857" y="77057"/>
                      <a:pt x="2857" y="77057"/>
                    </a:cubicBezTo>
                    <a:cubicBezTo>
                      <a:pt x="2857" y="82772"/>
                      <a:pt x="2857" y="82772"/>
                      <a:pt x="2857" y="82772"/>
                    </a:cubicBezTo>
                    <a:cubicBezTo>
                      <a:pt x="2857" y="88487"/>
                      <a:pt x="2857" y="88487"/>
                      <a:pt x="2857" y="88487"/>
                    </a:cubicBezTo>
                    <a:cubicBezTo>
                      <a:pt x="0" y="91345"/>
                      <a:pt x="0" y="91345"/>
                      <a:pt x="0" y="91345"/>
                    </a:cubicBezTo>
                    <a:cubicBezTo>
                      <a:pt x="0" y="94202"/>
                      <a:pt x="0" y="94202"/>
                      <a:pt x="0" y="94202"/>
                    </a:cubicBezTo>
                    <a:cubicBezTo>
                      <a:pt x="0" y="97060"/>
                      <a:pt x="0" y="97060"/>
                      <a:pt x="0" y="97060"/>
                    </a:cubicBezTo>
                    <a:cubicBezTo>
                      <a:pt x="0" y="99917"/>
                      <a:pt x="0" y="99917"/>
                      <a:pt x="0" y="99917"/>
                    </a:cubicBezTo>
                    <a:cubicBezTo>
                      <a:pt x="5715" y="105632"/>
                      <a:pt x="5715" y="105632"/>
                      <a:pt x="5715" y="105632"/>
                    </a:cubicBezTo>
                    <a:cubicBezTo>
                      <a:pt x="5715" y="108490"/>
                      <a:pt x="5715" y="108490"/>
                      <a:pt x="5715" y="108490"/>
                    </a:cubicBezTo>
                    <a:cubicBezTo>
                      <a:pt x="8573" y="111347"/>
                      <a:pt x="8573" y="111347"/>
                      <a:pt x="8573" y="111347"/>
                    </a:cubicBezTo>
                    <a:cubicBezTo>
                      <a:pt x="8573" y="119920"/>
                      <a:pt x="8573" y="119920"/>
                      <a:pt x="8573" y="119920"/>
                    </a:cubicBezTo>
                    <a:cubicBezTo>
                      <a:pt x="8573" y="128492"/>
                      <a:pt x="8573" y="128492"/>
                      <a:pt x="8573" y="128492"/>
                    </a:cubicBezTo>
                    <a:cubicBezTo>
                      <a:pt x="11430" y="137065"/>
                      <a:pt x="11430" y="137065"/>
                      <a:pt x="11430" y="137065"/>
                    </a:cubicBezTo>
                    <a:cubicBezTo>
                      <a:pt x="11430" y="145637"/>
                      <a:pt x="11430" y="145637"/>
                      <a:pt x="11430" y="145637"/>
                    </a:cubicBezTo>
                    <a:cubicBezTo>
                      <a:pt x="19907" y="157067"/>
                      <a:pt x="19907" y="157067"/>
                      <a:pt x="19907" y="157067"/>
                    </a:cubicBezTo>
                    <a:cubicBezTo>
                      <a:pt x="19907" y="162782"/>
                      <a:pt x="19907" y="162782"/>
                      <a:pt x="19907" y="162782"/>
                    </a:cubicBezTo>
                    <a:cubicBezTo>
                      <a:pt x="17050" y="171355"/>
                      <a:pt x="17050" y="171355"/>
                      <a:pt x="17050" y="171355"/>
                    </a:cubicBezTo>
                    <a:cubicBezTo>
                      <a:pt x="17050" y="174212"/>
                      <a:pt x="17050" y="174212"/>
                      <a:pt x="17050" y="174212"/>
                    </a:cubicBezTo>
                    <a:cubicBezTo>
                      <a:pt x="19907" y="177070"/>
                      <a:pt x="19907" y="177070"/>
                      <a:pt x="19907" y="177070"/>
                    </a:cubicBezTo>
                    <a:cubicBezTo>
                      <a:pt x="19907" y="179927"/>
                      <a:pt x="19907" y="179927"/>
                      <a:pt x="19907" y="179927"/>
                    </a:cubicBezTo>
                    <a:cubicBezTo>
                      <a:pt x="19907" y="185642"/>
                      <a:pt x="19907" y="185642"/>
                      <a:pt x="19907" y="185642"/>
                    </a:cubicBezTo>
                    <a:cubicBezTo>
                      <a:pt x="19907" y="191357"/>
                      <a:pt x="19907" y="191357"/>
                      <a:pt x="19907" y="191357"/>
                    </a:cubicBezTo>
                    <a:cubicBezTo>
                      <a:pt x="17050" y="194215"/>
                      <a:pt x="17050" y="194215"/>
                      <a:pt x="17050" y="194215"/>
                    </a:cubicBezTo>
                    <a:cubicBezTo>
                      <a:pt x="22765" y="197072"/>
                      <a:pt x="22765" y="197072"/>
                      <a:pt x="22765" y="197072"/>
                    </a:cubicBezTo>
                    <a:cubicBezTo>
                      <a:pt x="22765" y="199930"/>
                      <a:pt x="22765" y="199930"/>
                      <a:pt x="22765" y="199930"/>
                    </a:cubicBezTo>
                    <a:cubicBezTo>
                      <a:pt x="22765" y="202787"/>
                      <a:pt x="22765" y="202787"/>
                      <a:pt x="22765" y="202787"/>
                    </a:cubicBezTo>
                    <a:cubicBezTo>
                      <a:pt x="25622" y="202787"/>
                      <a:pt x="25622" y="202787"/>
                      <a:pt x="25622" y="202787"/>
                    </a:cubicBezTo>
                    <a:cubicBezTo>
                      <a:pt x="25622" y="208502"/>
                      <a:pt x="25622" y="208502"/>
                      <a:pt x="25622" y="208502"/>
                    </a:cubicBezTo>
                    <a:cubicBezTo>
                      <a:pt x="22765" y="208502"/>
                      <a:pt x="22765" y="208502"/>
                      <a:pt x="22765" y="208502"/>
                    </a:cubicBezTo>
                    <a:cubicBezTo>
                      <a:pt x="22765" y="211360"/>
                      <a:pt x="22765" y="211360"/>
                      <a:pt x="22765" y="211360"/>
                    </a:cubicBezTo>
                    <a:cubicBezTo>
                      <a:pt x="22765" y="214217"/>
                      <a:pt x="22765" y="214217"/>
                      <a:pt x="22765" y="214217"/>
                    </a:cubicBezTo>
                    <a:cubicBezTo>
                      <a:pt x="22765" y="217075"/>
                      <a:pt x="22765" y="217075"/>
                      <a:pt x="22765" y="217075"/>
                    </a:cubicBezTo>
                    <a:cubicBezTo>
                      <a:pt x="22765" y="219932"/>
                      <a:pt x="22765" y="219932"/>
                      <a:pt x="22765" y="219932"/>
                    </a:cubicBezTo>
                    <a:cubicBezTo>
                      <a:pt x="19907" y="222790"/>
                      <a:pt x="19907" y="222790"/>
                      <a:pt x="19907" y="222790"/>
                    </a:cubicBezTo>
                    <a:cubicBezTo>
                      <a:pt x="19907" y="225647"/>
                      <a:pt x="19907" y="225647"/>
                      <a:pt x="19907" y="225647"/>
                    </a:cubicBezTo>
                    <a:cubicBezTo>
                      <a:pt x="17050" y="225647"/>
                      <a:pt x="17050" y="225647"/>
                      <a:pt x="17050" y="225647"/>
                    </a:cubicBezTo>
                    <a:cubicBezTo>
                      <a:pt x="17050" y="228505"/>
                      <a:pt x="17050" y="228505"/>
                      <a:pt x="17050" y="228505"/>
                    </a:cubicBezTo>
                    <a:cubicBezTo>
                      <a:pt x="19907" y="231362"/>
                      <a:pt x="19907" y="231362"/>
                      <a:pt x="19907" y="231362"/>
                    </a:cubicBezTo>
                    <a:cubicBezTo>
                      <a:pt x="19907" y="234220"/>
                      <a:pt x="19907" y="234220"/>
                      <a:pt x="19907" y="234220"/>
                    </a:cubicBezTo>
                    <a:cubicBezTo>
                      <a:pt x="19907" y="245650"/>
                      <a:pt x="19907" y="245650"/>
                      <a:pt x="19907" y="245650"/>
                    </a:cubicBezTo>
                    <a:cubicBezTo>
                      <a:pt x="19907" y="248507"/>
                      <a:pt x="19907" y="248507"/>
                      <a:pt x="19907" y="248507"/>
                    </a:cubicBezTo>
                    <a:cubicBezTo>
                      <a:pt x="22765" y="248507"/>
                      <a:pt x="22765" y="248507"/>
                      <a:pt x="22765" y="248507"/>
                    </a:cubicBezTo>
                    <a:cubicBezTo>
                      <a:pt x="25622" y="251365"/>
                      <a:pt x="25622" y="251365"/>
                      <a:pt x="25622" y="251365"/>
                    </a:cubicBezTo>
                    <a:cubicBezTo>
                      <a:pt x="28480" y="254222"/>
                      <a:pt x="28480" y="254222"/>
                      <a:pt x="28480" y="254222"/>
                    </a:cubicBezTo>
                    <a:cubicBezTo>
                      <a:pt x="25622" y="257080"/>
                      <a:pt x="25622" y="257080"/>
                      <a:pt x="25622" y="257080"/>
                    </a:cubicBezTo>
                    <a:cubicBezTo>
                      <a:pt x="25622" y="259937"/>
                      <a:pt x="25622" y="259937"/>
                      <a:pt x="25622" y="259937"/>
                    </a:cubicBezTo>
                    <a:cubicBezTo>
                      <a:pt x="22765" y="259937"/>
                      <a:pt x="22765" y="259937"/>
                      <a:pt x="22765" y="259937"/>
                    </a:cubicBezTo>
                    <a:cubicBezTo>
                      <a:pt x="25622" y="262795"/>
                      <a:pt x="25622" y="262795"/>
                      <a:pt x="25622" y="262795"/>
                    </a:cubicBezTo>
                    <a:cubicBezTo>
                      <a:pt x="28480" y="265652"/>
                      <a:pt x="28480" y="265652"/>
                      <a:pt x="28480" y="265652"/>
                    </a:cubicBezTo>
                    <a:cubicBezTo>
                      <a:pt x="36957" y="268510"/>
                      <a:pt x="36957" y="268510"/>
                      <a:pt x="36957" y="268510"/>
                    </a:cubicBezTo>
                    <a:cubicBezTo>
                      <a:pt x="39815" y="271367"/>
                      <a:pt x="39815" y="271367"/>
                      <a:pt x="39815" y="271367"/>
                    </a:cubicBezTo>
                    <a:cubicBezTo>
                      <a:pt x="39815" y="274225"/>
                      <a:pt x="39815" y="274225"/>
                      <a:pt x="39815" y="274225"/>
                    </a:cubicBezTo>
                    <a:cubicBezTo>
                      <a:pt x="42672" y="274225"/>
                      <a:pt x="42672" y="274225"/>
                      <a:pt x="42672" y="274225"/>
                    </a:cubicBezTo>
                    <a:cubicBezTo>
                      <a:pt x="45529" y="277082"/>
                      <a:pt x="45529" y="277082"/>
                      <a:pt x="45529" y="277082"/>
                    </a:cubicBezTo>
                    <a:cubicBezTo>
                      <a:pt x="45529" y="274225"/>
                      <a:pt x="45529" y="274225"/>
                      <a:pt x="45529" y="274225"/>
                    </a:cubicBezTo>
                    <a:cubicBezTo>
                      <a:pt x="48387" y="274225"/>
                      <a:pt x="48387" y="274225"/>
                      <a:pt x="48387" y="274225"/>
                    </a:cubicBezTo>
                    <a:cubicBezTo>
                      <a:pt x="54102" y="274225"/>
                      <a:pt x="54102" y="274225"/>
                      <a:pt x="54102" y="274225"/>
                    </a:cubicBezTo>
                    <a:cubicBezTo>
                      <a:pt x="56960" y="274225"/>
                      <a:pt x="56960" y="274225"/>
                      <a:pt x="56960" y="274225"/>
                    </a:cubicBezTo>
                    <a:cubicBezTo>
                      <a:pt x="59817" y="274225"/>
                      <a:pt x="59817" y="274225"/>
                      <a:pt x="59817" y="274225"/>
                    </a:cubicBezTo>
                    <a:cubicBezTo>
                      <a:pt x="59817" y="277082"/>
                      <a:pt x="59817" y="277082"/>
                      <a:pt x="59817" y="277082"/>
                    </a:cubicBezTo>
                    <a:cubicBezTo>
                      <a:pt x="62675" y="279940"/>
                      <a:pt x="62675" y="279940"/>
                      <a:pt x="62675" y="279940"/>
                    </a:cubicBezTo>
                    <a:cubicBezTo>
                      <a:pt x="62675" y="282797"/>
                      <a:pt x="62675" y="282797"/>
                      <a:pt x="62675" y="282797"/>
                    </a:cubicBezTo>
                    <a:cubicBezTo>
                      <a:pt x="99536" y="299942"/>
                      <a:pt x="99536" y="299942"/>
                      <a:pt x="99536" y="299942"/>
                    </a:cubicBezTo>
                    <a:cubicBezTo>
                      <a:pt x="99536" y="302800"/>
                      <a:pt x="99536" y="302800"/>
                      <a:pt x="99536" y="302800"/>
                    </a:cubicBezTo>
                    <a:cubicBezTo>
                      <a:pt x="99536" y="305657"/>
                      <a:pt x="99536" y="305657"/>
                      <a:pt x="99536" y="305657"/>
                    </a:cubicBezTo>
                    <a:cubicBezTo>
                      <a:pt x="102394" y="308515"/>
                      <a:pt x="102394" y="308515"/>
                      <a:pt x="102394" y="308515"/>
                    </a:cubicBezTo>
                    <a:cubicBezTo>
                      <a:pt x="108109" y="308515"/>
                      <a:pt x="108109" y="308515"/>
                      <a:pt x="108109" y="308515"/>
                    </a:cubicBezTo>
                    <a:cubicBezTo>
                      <a:pt x="110966" y="305657"/>
                      <a:pt x="110966" y="305657"/>
                      <a:pt x="110966" y="305657"/>
                    </a:cubicBezTo>
                    <a:cubicBezTo>
                      <a:pt x="113824" y="305657"/>
                      <a:pt x="113824" y="305657"/>
                      <a:pt x="113824" y="305657"/>
                    </a:cubicBezTo>
                    <a:cubicBezTo>
                      <a:pt x="119539" y="308515"/>
                      <a:pt x="119539" y="308515"/>
                      <a:pt x="119539" y="308515"/>
                    </a:cubicBezTo>
                    <a:cubicBezTo>
                      <a:pt x="119539" y="311372"/>
                      <a:pt x="119539" y="311372"/>
                      <a:pt x="119539" y="311372"/>
                    </a:cubicBezTo>
                    <a:cubicBezTo>
                      <a:pt x="122396" y="311372"/>
                      <a:pt x="122396" y="311372"/>
                      <a:pt x="122396" y="311372"/>
                    </a:cubicBezTo>
                    <a:cubicBezTo>
                      <a:pt x="128111" y="308515"/>
                      <a:pt x="128111" y="308515"/>
                      <a:pt x="128111" y="308515"/>
                    </a:cubicBezTo>
                    <a:cubicBezTo>
                      <a:pt x="130969" y="308515"/>
                      <a:pt x="130969" y="308515"/>
                      <a:pt x="130969" y="308515"/>
                    </a:cubicBezTo>
                    <a:cubicBezTo>
                      <a:pt x="133826" y="305657"/>
                      <a:pt x="133826" y="305657"/>
                      <a:pt x="133826" y="305657"/>
                    </a:cubicBezTo>
                    <a:cubicBezTo>
                      <a:pt x="133826" y="302800"/>
                      <a:pt x="133826" y="302800"/>
                      <a:pt x="133826" y="302800"/>
                    </a:cubicBezTo>
                    <a:cubicBezTo>
                      <a:pt x="136684" y="299942"/>
                      <a:pt x="136684" y="299942"/>
                      <a:pt x="136684" y="299942"/>
                    </a:cubicBezTo>
                    <a:cubicBezTo>
                      <a:pt x="139541" y="297085"/>
                      <a:pt x="139541" y="297085"/>
                      <a:pt x="139541" y="297085"/>
                    </a:cubicBezTo>
                    <a:cubicBezTo>
                      <a:pt x="139541" y="299942"/>
                      <a:pt x="139541" y="299942"/>
                      <a:pt x="139541" y="299942"/>
                    </a:cubicBezTo>
                    <a:cubicBezTo>
                      <a:pt x="139541" y="302800"/>
                      <a:pt x="139541" y="302800"/>
                      <a:pt x="139541" y="302800"/>
                    </a:cubicBezTo>
                    <a:cubicBezTo>
                      <a:pt x="139541" y="305657"/>
                      <a:pt x="139541" y="305657"/>
                      <a:pt x="139541" y="305657"/>
                    </a:cubicBezTo>
                    <a:cubicBezTo>
                      <a:pt x="136684" y="311372"/>
                      <a:pt x="136684" y="311372"/>
                      <a:pt x="136684" y="311372"/>
                    </a:cubicBezTo>
                    <a:cubicBezTo>
                      <a:pt x="136684" y="314230"/>
                      <a:pt x="136684" y="314230"/>
                      <a:pt x="136684" y="314230"/>
                    </a:cubicBezTo>
                    <a:cubicBezTo>
                      <a:pt x="136684" y="317087"/>
                      <a:pt x="136684" y="317087"/>
                      <a:pt x="136684" y="317087"/>
                    </a:cubicBezTo>
                    <a:cubicBezTo>
                      <a:pt x="136684" y="322802"/>
                      <a:pt x="136684" y="322802"/>
                      <a:pt x="136684" y="322802"/>
                    </a:cubicBezTo>
                    <a:cubicBezTo>
                      <a:pt x="136684" y="325660"/>
                      <a:pt x="136684" y="325660"/>
                      <a:pt x="136684" y="325660"/>
                    </a:cubicBezTo>
                    <a:cubicBezTo>
                      <a:pt x="136684" y="328517"/>
                      <a:pt x="136684" y="328517"/>
                      <a:pt x="136684" y="328517"/>
                    </a:cubicBezTo>
                    <a:cubicBezTo>
                      <a:pt x="133826" y="331375"/>
                      <a:pt x="133826" y="331375"/>
                      <a:pt x="133826" y="331375"/>
                    </a:cubicBezTo>
                    <a:cubicBezTo>
                      <a:pt x="133826" y="334232"/>
                      <a:pt x="133826" y="334232"/>
                      <a:pt x="133826" y="334232"/>
                    </a:cubicBezTo>
                    <a:cubicBezTo>
                      <a:pt x="136684" y="342805"/>
                      <a:pt x="136684" y="342805"/>
                      <a:pt x="136684" y="342805"/>
                    </a:cubicBezTo>
                    <a:cubicBezTo>
                      <a:pt x="139541" y="345662"/>
                      <a:pt x="139541" y="345662"/>
                      <a:pt x="139541" y="345662"/>
                    </a:cubicBezTo>
                    <a:cubicBezTo>
                      <a:pt x="145256" y="348520"/>
                      <a:pt x="145256" y="348520"/>
                      <a:pt x="145256" y="348520"/>
                    </a:cubicBezTo>
                    <a:cubicBezTo>
                      <a:pt x="148114" y="348520"/>
                      <a:pt x="148114" y="348520"/>
                      <a:pt x="148114" y="348520"/>
                    </a:cubicBezTo>
                    <a:cubicBezTo>
                      <a:pt x="153829" y="345662"/>
                      <a:pt x="153829" y="345662"/>
                      <a:pt x="153829" y="345662"/>
                    </a:cubicBezTo>
                    <a:cubicBezTo>
                      <a:pt x="156686" y="345662"/>
                      <a:pt x="156686" y="345662"/>
                      <a:pt x="156686" y="345662"/>
                    </a:cubicBezTo>
                    <a:cubicBezTo>
                      <a:pt x="165163" y="348520"/>
                      <a:pt x="165163" y="348520"/>
                      <a:pt x="165163" y="348520"/>
                    </a:cubicBezTo>
                    <a:cubicBezTo>
                      <a:pt x="168021" y="348520"/>
                      <a:pt x="168021" y="348520"/>
                      <a:pt x="168021" y="348520"/>
                    </a:cubicBezTo>
                    <a:cubicBezTo>
                      <a:pt x="173736" y="345662"/>
                      <a:pt x="173736" y="345662"/>
                      <a:pt x="173736" y="345662"/>
                    </a:cubicBezTo>
                    <a:cubicBezTo>
                      <a:pt x="176594" y="345662"/>
                      <a:pt x="176594" y="345662"/>
                      <a:pt x="176594" y="345662"/>
                    </a:cubicBezTo>
                    <a:cubicBezTo>
                      <a:pt x="182309" y="348520"/>
                      <a:pt x="182309" y="348520"/>
                      <a:pt x="182309" y="348520"/>
                    </a:cubicBezTo>
                    <a:cubicBezTo>
                      <a:pt x="185166" y="351377"/>
                      <a:pt x="185166" y="351377"/>
                      <a:pt x="185166" y="351377"/>
                    </a:cubicBezTo>
                    <a:cubicBezTo>
                      <a:pt x="188023" y="354235"/>
                      <a:pt x="188023" y="354235"/>
                      <a:pt x="188023" y="354235"/>
                    </a:cubicBezTo>
                    <a:cubicBezTo>
                      <a:pt x="196501" y="354235"/>
                      <a:pt x="196501" y="354235"/>
                      <a:pt x="196501" y="354235"/>
                    </a:cubicBezTo>
                    <a:cubicBezTo>
                      <a:pt x="199358" y="357092"/>
                      <a:pt x="199358" y="357092"/>
                      <a:pt x="199358" y="357092"/>
                    </a:cubicBezTo>
                    <a:cubicBezTo>
                      <a:pt x="207836" y="362807"/>
                      <a:pt x="207836" y="362807"/>
                      <a:pt x="207836" y="362807"/>
                    </a:cubicBezTo>
                    <a:cubicBezTo>
                      <a:pt x="210693" y="362807"/>
                      <a:pt x="210693" y="362807"/>
                      <a:pt x="210693" y="362807"/>
                    </a:cubicBezTo>
                    <a:cubicBezTo>
                      <a:pt x="219170" y="362807"/>
                      <a:pt x="219170" y="362807"/>
                      <a:pt x="219170" y="362807"/>
                    </a:cubicBezTo>
                    <a:cubicBezTo>
                      <a:pt x="222028" y="359950"/>
                      <a:pt x="222028" y="359950"/>
                      <a:pt x="222028" y="359950"/>
                    </a:cubicBezTo>
                    <a:cubicBezTo>
                      <a:pt x="224885" y="359950"/>
                      <a:pt x="224885" y="359950"/>
                      <a:pt x="224885" y="359950"/>
                    </a:cubicBezTo>
                    <a:cubicBezTo>
                      <a:pt x="222028" y="362807"/>
                      <a:pt x="222028" y="362807"/>
                      <a:pt x="222028" y="362807"/>
                    </a:cubicBezTo>
                    <a:cubicBezTo>
                      <a:pt x="224885" y="365665"/>
                      <a:pt x="224885" y="365665"/>
                      <a:pt x="224885" y="365665"/>
                    </a:cubicBezTo>
                    <a:cubicBezTo>
                      <a:pt x="227743" y="365665"/>
                      <a:pt x="227743" y="365665"/>
                      <a:pt x="227743" y="365665"/>
                    </a:cubicBezTo>
                    <a:cubicBezTo>
                      <a:pt x="230600" y="368522"/>
                      <a:pt x="230600" y="368522"/>
                      <a:pt x="230600" y="368522"/>
                    </a:cubicBezTo>
                    <a:cubicBezTo>
                      <a:pt x="233458" y="362807"/>
                      <a:pt x="233458" y="362807"/>
                      <a:pt x="233458" y="362807"/>
                    </a:cubicBezTo>
                    <a:cubicBezTo>
                      <a:pt x="239173" y="357092"/>
                      <a:pt x="239173" y="357092"/>
                      <a:pt x="239173" y="357092"/>
                    </a:cubicBezTo>
                    <a:cubicBezTo>
                      <a:pt x="242030" y="357092"/>
                      <a:pt x="242030" y="357092"/>
                      <a:pt x="242030" y="357092"/>
                    </a:cubicBezTo>
                    <a:cubicBezTo>
                      <a:pt x="250508" y="354235"/>
                      <a:pt x="250508" y="354235"/>
                      <a:pt x="250508" y="354235"/>
                    </a:cubicBezTo>
                    <a:cubicBezTo>
                      <a:pt x="253365" y="354235"/>
                      <a:pt x="253365" y="354235"/>
                      <a:pt x="253365" y="354235"/>
                    </a:cubicBezTo>
                    <a:cubicBezTo>
                      <a:pt x="253365" y="351377"/>
                      <a:pt x="253365" y="351377"/>
                      <a:pt x="253365" y="351377"/>
                    </a:cubicBezTo>
                    <a:cubicBezTo>
                      <a:pt x="256223" y="351377"/>
                      <a:pt x="256223" y="351377"/>
                      <a:pt x="256223" y="351377"/>
                    </a:cubicBezTo>
                    <a:cubicBezTo>
                      <a:pt x="256223" y="348520"/>
                      <a:pt x="256223" y="348520"/>
                      <a:pt x="256223" y="348520"/>
                    </a:cubicBezTo>
                    <a:cubicBezTo>
                      <a:pt x="256223" y="345662"/>
                      <a:pt x="256223" y="345662"/>
                      <a:pt x="256223" y="345662"/>
                    </a:cubicBezTo>
                    <a:cubicBezTo>
                      <a:pt x="261938" y="345662"/>
                      <a:pt x="261938" y="345662"/>
                      <a:pt x="261938" y="345662"/>
                    </a:cubicBezTo>
                    <a:cubicBezTo>
                      <a:pt x="264795" y="342805"/>
                      <a:pt x="264795" y="342805"/>
                      <a:pt x="264795" y="342805"/>
                    </a:cubicBezTo>
                    <a:cubicBezTo>
                      <a:pt x="267653" y="342805"/>
                      <a:pt x="267653" y="342805"/>
                      <a:pt x="267653" y="342805"/>
                    </a:cubicBezTo>
                    <a:cubicBezTo>
                      <a:pt x="267653" y="339947"/>
                      <a:pt x="267653" y="339947"/>
                      <a:pt x="267653" y="339947"/>
                    </a:cubicBezTo>
                    <a:cubicBezTo>
                      <a:pt x="270510" y="337090"/>
                      <a:pt x="270510" y="337090"/>
                      <a:pt x="270510" y="337090"/>
                    </a:cubicBezTo>
                    <a:cubicBezTo>
                      <a:pt x="270510" y="334232"/>
                      <a:pt x="270510" y="334232"/>
                      <a:pt x="270510" y="334232"/>
                    </a:cubicBezTo>
                    <a:cubicBezTo>
                      <a:pt x="273367" y="328517"/>
                      <a:pt x="273367" y="328517"/>
                      <a:pt x="273367" y="328517"/>
                    </a:cubicBezTo>
                    <a:cubicBezTo>
                      <a:pt x="276225" y="328517"/>
                      <a:pt x="276225" y="328517"/>
                      <a:pt x="276225" y="328517"/>
                    </a:cubicBezTo>
                    <a:cubicBezTo>
                      <a:pt x="276225" y="325660"/>
                      <a:pt x="276225" y="325660"/>
                      <a:pt x="276225" y="325660"/>
                    </a:cubicBezTo>
                    <a:cubicBezTo>
                      <a:pt x="276225" y="322802"/>
                      <a:pt x="276225" y="322802"/>
                      <a:pt x="276225" y="322802"/>
                    </a:cubicBezTo>
                    <a:cubicBezTo>
                      <a:pt x="273367" y="317087"/>
                      <a:pt x="273367" y="317087"/>
                      <a:pt x="273367" y="317087"/>
                    </a:cubicBezTo>
                    <a:cubicBezTo>
                      <a:pt x="273367" y="314230"/>
                      <a:pt x="273367" y="314230"/>
                      <a:pt x="273367" y="314230"/>
                    </a:cubicBezTo>
                    <a:cubicBezTo>
                      <a:pt x="273367" y="311372"/>
                      <a:pt x="273367" y="311372"/>
                      <a:pt x="273367" y="311372"/>
                    </a:cubicBezTo>
                    <a:cubicBezTo>
                      <a:pt x="276225" y="308515"/>
                      <a:pt x="276225" y="308515"/>
                      <a:pt x="276225" y="308515"/>
                    </a:cubicBezTo>
                    <a:cubicBezTo>
                      <a:pt x="273367" y="305657"/>
                      <a:pt x="273367" y="305657"/>
                      <a:pt x="273367" y="305657"/>
                    </a:cubicBezTo>
                    <a:cubicBezTo>
                      <a:pt x="273367" y="302800"/>
                      <a:pt x="273367" y="302800"/>
                      <a:pt x="273367" y="302800"/>
                    </a:cubicBezTo>
                    <a:cubicBezTo>
                      <a:pt x="270510" y="299942"/>
                      <a:pt x="270510" y="299942"/>
                      <a:pt x="270510" y="299942"/>
                    </a:cubicBezTo>
                    <a:cubicBezTo>
                      <a:pt x="270510" y="297085"/>
                      <a:pt x="270510" y="297085"/>
                      <a:pt x="270510" y="297085"/>
                    </a:cubicBezTo>
                    <a:cubicBezTo>
                      <a:pt x="264795" y="294227"/>
                      <a:pt x="264795" y="294227"/>
                      <a:pt x="264795" y="294227"/>
                    </a:cubicBezTo>
                    <a:cubicBezTo>
                      <a:pt x="264795" y="291370"/>
                      <a:pt x="264795" y="291370"/>
                      <a:pt x="264795" y="291370"/>
                    </a:cubicBezTo>
                    <a:cubicBezTo>
                      <a:pt x="264795" y="285655"/>
                      <a:pt x="264795" y="285655"/>
                      <a:pt x="264795" y="285655"/>
                    </a:cubicBezTo>
                    <a:cubicBezTo>
                      <a:pt x="270510" y="285655"/>
                      <a:pt x="270510" y="285655"/>
                      <a:pt x="270510" y="285655"/>
                    </a:cubicBezTo>
                    <a:cubicBezTo>
                      <a:pt x="273367" y="285655"/>
                      <a:pt x="273367" y="285655"/>
                      <a:pt x="273367" y="285655"/>
                    </a:cubicBezTo>
                    <a:cubicBezTo>
                      <a:pt x="276225" y="285655"/>
                      <a:pt x="276225" y="285655"/>
                      <a:pt x="276225" y="285655"/>
                    </a:cubicBezTo>
                    <a:cubicBezTo>
                      <a:pt x="276225" y="288512"/>
                      <a:pt x="276225" y="288512"/>
                      <a:pt x="276225" y="288512"/>
                    </a:cubicBezTo>
                    <a:cubicBezTo>
                      <a:pt x="279083" y="291370"/>
                      <a:pt x="279083" y="291370"/>
                      <a:pt x="279083" y="291370"/>
                    </a:cubicBezTo>
                    <a:cubicBezTo>
                      <a:pt x="281940" y="288512"/>
                      <a:pt x="281940" y="288512"/>
                      <a:pt x="281940" y="288512"/>
                    </a:cubicBezTo>
                    <a:cubicBezTo>
                      <a:pt x="290417" y="279940"/>
                      <a:pt x="290417" y="279940"/>
                      <a:pt x="290417" y="279940"/>
                    </a:cubicBezTo>
                    <a:cubicBezTo>
                      <a:pt x="293275" y="277082"/>
                      <a:pt x="293275" y="277082"/>
                      <a:pt x="293275" y="277082"/>
                    </a:cubicBezTo>
                    <a:cubicBezTo>
                      <a:pt x="296132" y="277082"/>
                      <a:pt x="296132" y="277082"/>
                      <a:pt x="296132" y="277082"/>
                    </a:cubicBezTo>
                    <a:cubicBezTo>
                      <a:pt x="301847" y="274225"/>
                      <a:pt x="301847" y="274225"/>
                      <a:pt x="301847" y="274225"/>
                    </a:cubicBezTo>
                    <a:cubicBezTo>
                      <a:pt x="304705" y="271367"/>
                      <a:pt x="304705" y="271367"/>
                      <a:pt x="304705" y="271367"/>
                    </a:cubicBezTo>
                    <a:cubicBezTo>
                      <a:pt x="307562" y="271367"/>
                      <a:pt x="307562" y="271367"/>
                      <a:pt x="307562" y="271367"/>
                    </a:cubicBezTo>
                    <a:cubicBezTo>
                      <a:pt x="310420" y="268510"/>
                      <a:pt x="310420" y="268510"/>
                      <a:pt x="310420" y="268510"/>
                    </a:cubicBezTo>
                    <a:cubicBezTo>
                      <a:pt x="313277" y="265652"/>
                      <a:pt x="313277" y="265652"/>
                      <a:pt x="313277" y="265652"/>
                    </a:cubicBezTo>
                    <a:cubicBezTo>
                      <a:pt x="313277" y="262795"/>
                      <a:pt x="313277" y="262795"/>
                      <a:pt x="313277" y="262795"/>
                    </a:cubicBezTo>
                    <a:cubicBezTo>
                      <a:pt x="316135" y="262795"/>
                      <a:pt x="316135" y="262795"/>
                      <a:pt x="316135" y="262795"/>
                    </a:cubicBezTo>
                    <a:cubicBezTo>
                      <a:pt x="316135" y="259937"/>
                      <a:pt x="316135" y="259937"/>
                      <a:pt x="316135" y="259937"/>
                    </a:cubicBezTo>
                    <a:cubicBezTo>
                      <a:pt x="318992" y="257080"/>
                      <a:pt x="318992" y="257080"/>
                      <a:pt x="318992" y="257080"/>
                    </a:cubicBezTo>
                    <a:cubicBezTo>
                      <a:pt x="324707" y="254222"/>
                      <a:pt x="324707" y="254222"/>
                      <a:pt x="324707" y="254222"/>
                    </a:cubicBezTo>
                    <a:cubicBezTo>
                      <a:pt x="327565" y="251365"/>
                      <a:pt x="327565" y="251365"/>
                      <a:pt x="327565" y="251365"/>
                    </a:cubicBezTo>
                    <a:cubicBezTo>
                      <a:pt x="341757" y="248507"/>
                      <a:pt x="341757" y="248507"/>
                      <a:pt x="341757" y="248507"/>
                    </a:cubicBezTo>
                    <a:cubicBezTo>
                      <a:pt x="344615" y="248507"/>
                      <a:pt x="344615" y="248507"/>
                      <a:pt x="344615" y="248507"/>
                    </a:cubicBezTo>
                    <a:cubicBezTo>
                      <a:pt x="347472" y="248507"/>
                      <a:pt x="347472" y="248507"/>
                      <a:pt x="347472" y="248507"/>
                    </a:cubicBezTo>
                    <a:cubicBezTo>
                      <a:pt x="353187" y="251365"/>
                      <a:pt x="353187" y="251365"/>
                      <a:pt x="353187" y="251365"/>
                    </a:cubicBezTo>
                    <a:cubicBezTo>
                      <a:pt x="358711" y="251365"/>
                      <a:pt x="362045" y="251365"/>
                      <a:pt x="364141" y="251365"/>
                    </a:cubicBezTo>
                    <a:lnTo>
                      <a:pt x="366617" y="249079"/>
                    </a:lnTo>
                    <a:cubicBezTo>
                      <a:pt x="365855" y="248793"/>
                      <a:pt x="366617" y="244412"/>
                      <a:pt x="365855" y="244412"/>
                    </a:cubicBez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lIns="77724" tIns="38862" rIns="77724" bIns="38862" rtlCol="0" anchor="ctr"/>
              <a:lstStyle/>
              <a:p>
                <a:endParaRPr lang="en-US" sz="1000" dirty="0"/>
              </a:p>
            </p:txBody>
          </p:sp>
        </p:grpSp>
        <p:grpSp>
          <p:nvGrpSpPr>
            <p:cNvPr id="203" name="bcgBugs_Location Pin ">
              <a:extLst>
                <a:ext uri="{FF2B5EF4-FFF2-40B4-BE49-F238E27FC236}">
                  <a16:creationId xmlns:a16="http://schemas.microsoft.com/office/drawing/2014/main" id="{7B3CA1DC-6DC2-46A4-A3BB-30F8A3BF245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862923" y="3054994"/>
              <a:ext cx="128384" cy="128510"/>
              <a:chOff x="2818" y="1137"/>
              <a:chExt cx="2044" cy="2046"/>
            </a:xfrm>
          </p:grpSpPr>
          <p:sp>
            <p:nvSpPr>
              <p:cNvPr id="204" name="AutoShape 7">
                <a:extLst>
                  <a:ext uri="{FF2B5EF4-FFF2-40B4-BE49-F238E27FC236}">
                    <a16:creationId xmlns:a16="http://schemas.microsoft.com/office/drawing/2014/main" id="{1AEF7E6C-C932-4984-9C10-483C74E6AC6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18" y="1137"/>
                <a:ext cx="2044" cy="2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5" name="Freeform 7">
                <a:extLst>
                  <a:ext uri="{FF2B5EF4-FFF2-40B4-BE49-F238E27FC236}">
                    <a16:creationId xmlns:a16="http://schemas.microsoft.com/office/drawing/2014/main" id="{CA008174-18D0-4B6C-A10A-09986F983B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85" y="1260"/>
                <a:ext cx="1113" cy="1810"/>
              </a:xfrm>
              <a:custGeom>
                <a:avLst/>
                <a:gdLst>
                  <a:gd name="T0" fmla="*/ 544 w 544"/>
                  <a:gd name="T1" fmla="*/ 280 h 884"/>
                  <a:gd name="T2" fmla="*/ 294 w 544"/>
                  <a:gd name="T3" fmla="*/ 868 h 884"/>
                  <a:gd name="T4" fmla="*/ 252 w 544"/>
                  <a:gd name="T5" fmla="*/ 868 h 884"/>
                  <a:gd name="T6" fmla="*/ 0 w 544"/>
                  <a:gd name="T7" fmla="*/ 280 h 884"/>
                  <a:gd name="T8" fmla="*/ 273 w 544"/>
                  <a:gd name="T9" fmla="*/ 0 h 884"/>
                  <a:gd name="T10" fmla="*/ 544 w 544"/>
                  <a:gd name="T11" fmla="*/ 280 h 884"/>
                  <a:gd name="T12" fmla="*/ 273 w 544"/>
                  <a:gd name="T13" fmla="*/ 141 h 884"/>
                  <a:gd name="T14" fmla="*/ 144 w 544"/>
                  <a:gd name="T15" fmla="*/ 271 h 884"/>
                  <a:gd name="T16" fmla="*/ 273 w 544"/>
                  <a:gd name="T17" fmla="*/ 405 h 884"/>
                  <a:gd name="T18" fmla="*/ 400 w 544"/>
                  <a:gd name="T19" fmla="*/ 271 h 884"/>
                  <a:gd name="T20" fmla="*/ 273 w 544"/>
                  <a:gd name="T21" fmla="*/ 141 h 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44" h="884">
                    <a:moveTo>
                      <a:pt x="544" y="280"/>
                    </a:moveTo>
                    <a:cubicBezTo>
                      <a:pt x="544" y="408"/>
                      <a:pt x="358" y="754"/>
                      <a:pt x="294" y="868"/>
                    </a:cubicBezTo>
                    <a:cubicBezTo>
                      <a:pt x="285" y="884"/>
                      <a:pt x="261" y="884"/>
                      <a:pt x="252" y="868"/>
                    </a:cubicBezTo>
                    <a:cubicBezTo>
                      <a:pt x="188" y="754"/>
                      <a:pt x="0" y="408"/>
                      <a:pt x="0" y="280"/>
                    </a:cubicBezTo>
                    <a:cubicBezTo>
                      <a:pt x="0" y="127"/>
                      <a:pt x="122" y="0"/>
                      <a:pt x="273" y="0"/>
                    </a:cubicBezTo>
                    <a:cubicBezTo>
                      <a:pt x="424" y="0"/>
                      <a:pt x="544" y="127"/>
                      <a:pt x="544" y="280"/>
                    </a:cubicBezTo>
                    <a:close/>
                    <a:moveTo>
                      <a:pt x="273" y="141"/>
                    </a:moveTo>
                    <a:cubicBezTo>
                      <a:pt x="201" y="141"/>
                      <a:pt x="144" y="201"/>
                      <a:pt x="144" y="271"/>
                    </a:cubicBezTo>
                    <a:cubicBezTo>
                      <a:pt x="144" y="345"/>
                      <a:pt x="201" y="405"/>
                      <a:pt x="273" y="405"/>
                    </a:cubicBezTo>
                    <a:cubicBezTo>
                      <a:pt x="341" y="405"/>
                      <a:pt x="400" y="345"/>
                      <a:pt x="400" y="271"/>
                    </a:cubicBezTo>
                    <a:cubicBezTo>
                      <a:pt x="400" y="201"/>
                      <a:pt x="341" y="141"/>
                      <a:pt x="273" y="141"/>
                    </a:cubicBez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06" name="bcgBugs_Location Pin ">
              <a:extLst>
                <a:ext uri="{FF2B5EF4-FFF2-40B4-BE49-F238E27FC236}">
                  <a16:creationId xmlns:a16="http://schemas.microsoft.com/office/drawing/2014/main" id="{1549BB66-740B-46CF-A4A3-AC62FA6AF1C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288160" y="3404018"/>
              <a:ext cx="128384" cy="128510"/>
              <a:chOff x="2818" y="1137"/>
              <a:chExt cx="2044" cy="2046"/>
            </a:xfrm>
          </p:grpSpPr>
          <p:sp>
            <p:nvSpPr>
              <p:cNvPr id="207" name="AutoShape 7">
                <a:extLst>
                  <a:ext uri="{FF2B5EF4-FFF2-40B4-BE49-F238E27FC236}">
                    <a16:creationId xmlns:a16="http://schemas.microsoft.com/office/drawing/2014/main" id="{59E9A898-302B-47A6-A719-C63B4A425A9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18" y="1137"/>
                <a:ext cx="2044" cy="2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8" name="Freeform 7">
                <a:extLst>
                  <a:ext uri="{FF2B5EF4-FFF2-40B4-BE49-F238E27FC236}">
                    <a16:creationId xmlns:a16="http://schemas.microsoft.com/office/drawing/2014/main" id="{D9A6EB1C-E85D-48B2-844E-05F8F06C3C0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85" y="1260"/>
                <a:ext cx="1113" cy="1810"/>
              </a:xfrm>
              <a:custGeom>
                <a:avLst/>
                <a:gdLst>
                  <a:gd name="T0" fmla="*/ 544 w 544"/>
                  <a:gd name="T1" fmla="*/ 280 h 884"/>
                  <a:gd name="T2" fmla="*/ 294 w 544"/>
                  <a:gd name="T3" fmla="*/ 868 h 884"/>
                  <a:gd name="T4" fmla="*/ 252 w 544"/>
                  <a:gd name="T5" fmla="*/ 868 h 884"/>
                  <a:gd name="T6" fmla="*/ 0 w 544"/>
                  <a:gd name="T7" fmla="*/ 280 h 884"/>
                  <a:gd name="T8" fmla="*/ 273 w 544"/>
                  <a:gd name="T9" fmla="*/ 0 h 884"/>
                  <a:gd name="T10" fmla="*/ 544 w 544"/>
                  <a:gd name="T11" fmla="*/ 280 h 884"/>
                  <a:gd name="T12" fmla="*/ 273 w 544"/>
                  <a:gd name="T13" fmla="*/ 141 h 884"/>
                  <a:gd name="T14" fmla="*/ 144 w 544"/>
                  <a:gd name="T15" fmla="*/ 271 h 884"/>
                  <a:gd name="T16" fmla="*/ 273 w 544"/>
                  <a:gd name="T17" fmla="*/ 405 h 884"/>
                  <a:gd name="T18" fmla="*/ 400 w 544"/>
                  <a:gd name="T19" fmla="*/ 271 h 884"/>
                  <a:gd name="T20" fmla="*/ 273 w 544"/>
                  <a:gd name="T21" fmla="*/ 141 h 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44" h="884">
                    <a:moveTo>
                      <a:pt x="544" y="280"/>
                    </a:moveTo>
                    <a:cubicBezTo>
                      <a:pt x="544" y="408"/>
                      <a:pt x="358" y="754"/>
                      <a:pt x="294" y="868"/>
                    </a:cubicBezTo>
                    <a:cubicBezTo>
                      <a:pt x="285" y="884"/>
                      <a:pt x="261" y="884"/>
                      <a:pt x="252" y="868"/>
                    </a:cubicBezTo>
                    <a:cubicBezTo>
                      <a:pt x="188" y="754"/>
                      <a:pt x="0" y="408"/>
                      <a:pt x="0" y="280"/>
                    </a:cubicBezTo>
                    <a:cubicBezTo>
                      <a:pt x="0" y="127"/>
                      <a:pt x="122" y="0"/>
                      <a:pt x="273" y="0"/>
                    </a:cubicBezTo>
                    <a:cubicBezTo>
                      <a:pt x="424" y="0"/>
                      <a:pt x="544" y="127"/>
                      <a:pt x="544" y="280"/>
                    </a:cubicBezTo>
                    <a:close/>
                    <a:moveTo>
                      <a:pt x="273" y="141"/>
                    </a:moveTo>
                    <a:cubicBezTo>
                      <a:pt x="201" y="141"/>
                      <a:pt x="144" y="201"/>
                      <a:pt x="144" y="271"/>
                    </a:cubicBezTo>
                    <a:cubicBezTo>
                      <a:pt x="144" y="345"/>
                      <a:pt x="201" y="405"/>
                      <a:pt x="273" y="405"/>
                    </a:cubicBezTo>
                    <a:cubicBezTo>
                      <a:pt x="341" y="405"/>
                      <a:pt x="400" y="345"/>
                      <a:pt x="400" y="271"/>
                    </a:cubicBezTo>
                    <a:cubicBezTo>
                      <a:pt x="400" y="201"/>
                      <a:pt x="341" y="141"/>
                      <a:pt x="273" y="141"/>
                    </a:cubicBez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329DCE58-5491-4B2D-A141-D507A34800A7}"/>
                </a:ext>
              </a:extLst>
            </p:cNvPr>
            <p:cNvGrpSpPr/>
            <p:nvPr/>
          </p:nvGrpSpPr>
          <p:grpSpPr>
            <a:xfrm>
              <a:off x="6883100" y="692621"/>
              <a:ext cx="3136312" cy="1289779"/>
              <a:chOff x="7166286" y="697457"/>
              <a:chExt cx="3136312" cy="1289779"/>
            </a:xfrm>
          </p:grpSpPr>
          <p:grpSp>
            <p:nvGrpSpPr>
              <p:cNvPr id="210" name="bcgBugs_Location Pin ">
                <a:extLst>
                  <a:ext uri="{FF2B5EF4-FFF2-40B4-BE49-F238E27FC236}">
                    <a16:creationId xmlns:a16="http://schemas.microsoft.com/office/drawing/2014/main" id="{2149C9BE-0DF7-48A2-8153-E55BFF28E8D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166286" y="1858726"/>
                <a:ext cx="128384" cy="128510"/>
                <a:chOff x="2818" y="1137"/>
                <a:chExt cx="2044" cy="2046"/>
              </a:xfrm>
            </p:grpSpPr>
            <p:sp>
              <p:nvSpPr>
                <p:cNvPr id="214" name="AutoShape 7">
                  <a:extLst>
                    <a:ext uri="{FF2B5EF4-FFF2-40B4-BE49-F238E27FC236}">
                      <a16:creationId xmlns:a16="http://schemas.microsoft.com/office/drawing/2014/main" id="{3D52784E-A270-44B0-8086-D1E26C16FAD6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2818" y="1137"/>
                  <a:ext cx="2044" cy="204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15" name="Freeform 7">
                  <a:extLst>
                    <a:ext uri="{FF2B5EF4-FFF2-40B4-BE49-F238E27FC236}">
                      <a16:creationId xmlns:a16="http://schemas.microsoft.com/office/drawing/2014/main" id="{3D3B02A4-4BFB-466E-A66C-9A51674D06F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285" y="1260"/>
                  <a:ext cx="1113" cy="1810"/>
                </a:xfrm>
                <a:custGeom>
                  <a:avLst/>
                  <a:gdLst>
                    <a:gd name="T0" fmla="*/ 544 w 544"/>
                    <a:gd name="T1" fmla="*/ 280 h 884"/>
                    <a:gd name="T2" fmla="*/ 294 w 544"/>
                    <a:gd name="T3" fmla="*/ 868 h 884"/>
                    <a:gd name="T4" fmla="*/ 252 w 544"/>
                    <a:gd name="T5" fmla="*/ 868 h 884"/>
                    <a:gd name="T6" fmla="*/ 0 w 544"/>
                    <a:gd name="T7" fmla="*/ 280 h 884"/>
                    <a:gd name="T8" fmla="*/ 273 w 544"/>
                    <a:gd name="T9" fmla="*/ 0 h 884"/>
                    <a:gd name="T10" fmla="*/ 544 w 544"/>
                    <a:gd name="T11" fmla="*/ 280 h 884"/>
                    <a:gd name="T12" fmla="*/ 273 w 544"/>
                    <a:gd name="T13" fmla="*/ 141 h 884"/>
                    <a:gd name="T14" fmla="*/ 144 w 544"/>
                    <a:gd name="T15" fmla="*/ 271 h 884"/>
                    <a:gd name="T16" fmla="*/ 273 w 544"/>
                    <a:gd name="T17" fmla="*/ 405 h 884"/>
                    <a:gd name="T18" fmla="*/ 400 w 544"/>
                    <a:gd name="T19" fmla="*/ 271 h 884"/>
                    <a:gd name="T20" fmla="*/ 273 w 544"/>
                    <a:gd name="T21" fmla="*/ 141 h 8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44" h="884">
                      <a:moveTo>
                        <a:pt x="544" y="280"/>
                      </a:moveTo>
                      <a:cubicBezTo>
                        <a:pt x="544" y="408"/>
                        <a:pt x="358" y="754"/>
                        <a:pt x="294" y="868"/>
                      </a:cubicBezTo>
                      <a:cubicBezTo>
                        <a:pt x="285" y="884"/>
                        <a:pt x="261" y="884"/>
                        <a:pt x="252" y="868"/>
                      </a:cubicBezTo>
                      <a:cubicBezTo>
                        <a:pt x="188" y="754"/>
                        <a:pt x="0" y="408"/>
                        <a:pt x="0" y="280"/>
                      </a:cubicBezTo>
                      <a:cubicBezTo>
                        <a:pt x="0" y="127"/>
                        <a:pt x="122" y="0"/>
                        <a:pt x="273" y="0"/>
                      </a:cubicBezTo>
                      <a:cubicBezTo>
                        <a:pt x="424" y="0"/>
                        <a:pt x="544" y="127"/>
                        <a:pt x="544" y="280"/>
                      </a:cubicBezTo>
                      <a:close/>
                      <a:moveTo>
                        <a:pt x="273" y="141"/>
                      </a:moveTo>
                      <a:cubicBezTo>
                        <a:pt x="201" y="141"/>
                        <a:pt x="144" y="201"/>
                        <a:pt x="144" y="271"/>
                      </a:cubicBezTo>
                      <a:cubicBezTo>
                        <a:pt x="144" y="345"/>
                        <a:pt x="201" y="405"/>
                        <a:pt x="273" y="405"/>
                      </a:cubicBezTo>
                      <a:cubicBezTo>
                        <a:pt x="341" y="405"/>
                        <a:pt x="400" y="345"/>
                        <a:pt x="400" y="271"/>
                      </a:cubicBezTo>
                      <a:cubicBezTo>
                        <a:pt x="400" y="201"/>
                        <a:pt x="341" y="141"/>
                        <a:pt x="273" y="141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cxnSp>
            <p:nvCxnSpPr>
              <p:cNvPr id="212" name="Straight Connector 211">
                <a:extLst>
                  <a:ext uri="{FF2B5EF4-FFF2-40B4-BE49-F238E27FC236}">
                    <a16:creationId xmlns:a16="http://schemas.microsoft.com/office/drawing/2014/main" id="{745A76A7-7411-44DE-8D9E-37A844AF1AFA}"/>
                  </a:ext>
                </a:extLst>
              </p:cNvPr>
              <p:cNvCxnSpPr>
                <a:cxnSpLocks/>
                <a:stCxn id="213" idx="1"/>
                <a:endCxn id="215" idx="9"/>
              </p:cNvCxnSpPr>
              <p:nvPr/>
            </p:nvCxnSpPr>
            <p:spPr>
              <a:xfrm flipH="1">
                <a:off x="7247021" y="1167020"/>
                <a:ext cx="1624399" cy="734284"/>
              </a:xfrm>
              <a:prstGeom prst="line">
                <a:avLst/>
              </a:prstGeom>
              <a:noFill/>
              <a:ln w="3175">
                <a:solidFill>
                  <a:schemeClr val="tx1"/>
                </a:solidFill>
                <a:prstDash val="dash"/>
                <a:round/>
                <a:headEnd/>
                <a:tailEnd type="stealth" w="med" len="med"/>
              </a:ln>
            </p:spPr>
          </p:cxnSp>
          <p:sp>
            <p:nvSpPr>
              <p:cNvPr id="213" name="Text Box 76">
                <a:extLst>
                  <a:ext uri="{FF2B5EF4-FFF2-40B4-BE49-F238E27FC236}">
                    <a16:creationId xmlns:a16="http://schemas.microsoft.com/office/drawing/2014/main" id="{A788B9D9-159D-4492-9760-BF6B2789AD7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871420" y="697457"/>
                <a:ext cx="1431178" cy="939126"/>
              </a:xfrm>
              <a:prstGeom prst="rect">
                <a:avLst/>
              </a:prstGeom>
              <a:noFill/>
              <a:ln w="3175">
                <a:solidFill>
                  <a:srgbClr val="014F94"/>
                </a:solidFill>
                <a:prstDash val="dash"/>
                <a:miter lim="800000"/>
                <a:headEnd/>
                <a:tailEnd/>
              </a:ln>
              <a:effectLst/>
            </p:spPr>
            <p:txBody>
              <a:bodyPr wrap="square" lIns="0" tIns="0" rIns="0" bIns="0">
                <a:noAutofit/>
              </a:bodyPr>
              <a:lstStyle/>
              <a:p>
                <a:pPr>
                  <a:buFont typeface="Trebuchet MS" panose="020B0603020202020204" pitchFamily="34" charset="0"/>
                  <a:buChar char="​"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14F94"/>
                    </a:solidFill>
                    <a:effectLst>
                      <a:outerShdw sx="1000" sy="1000" algn="tl">
                        <a:srgbClr val="C0C0C0"/>
                      </a:outerShdw>
                    </a:effectLst>
                    <a:uLnTx/>
                    <a:uFillTx/>
                    <a:ea typeface="+mn-ea"/>
                    <a:cs typeface="+mn-cs"/>
                  </a:rPr>
                  <a:t> </a:t>
                </a:r>
              </a:p>
              <a:p>
                <a:pPr>
                  <a:buFont typeface="Trebuchet MS" panose="020B0603020202020204" pitchFamily="34" charset="0"/>
                  <a:buChar char="​"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14F94"/>
                    </a:solidFill>
                    <a:effectLst>
                      <a:outerShdw sx="1000" sy="1000" algn="tl">
                        <a:srgbClr val="C0C0C0"/>
                      </a:outerShdw>
                    </a:effectLst>
                    <a:uLnTx/>
                    <a:uFillTx/>
                    <a:ea typeface="+mn-ea"/>
                    <a:cs typeface="+mn-cs"/>
                  </a:rPr>
                  <a:t> Haryana</a:t>
                </a:r>
              </a:p>
              <a:p>
                <a:pPr marL="324000" lvl="1" indent="-216000"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/>
                </a:pPr>
                <a:r>
                  <a:rPr lang="en-US" sz="1100" dirty="0" err="1">
                    <a:solidFill>
                      <a:srgbClr val="014F94"/>
                    </a:solidFill>
                    <a:effectLst>
                      <a:outerShdw sx="1000" sy="1000" algn="tl">
                        <a:srgbClr val="C0C0C0"/>
                      </a:outerShdw>
                    </a:effectLst>
                  </a:rPr>
                  <a:t>Jharli</a:t>
                </a:r>
                <a:r>
                  <a:rPr lang="en-US" sz="1100" dirty="0">
                    <a:solidFill>
                      <a:srgbClr val="014F94"/>
                    </a:solidFill>
                    <a:effectLst>
                      <a:outerShdw sx="1000" sy="1000" algn="tl">
                        <a:srgbClr val="C0C0C0"/>
                      </a:outerShdw>
                    </a:effectLst>
                  </a:rPr>
                  <a:t>, Jhajjar</a:t>
                </a:r>
              </a:p>
              <a:p>
                <a:pPr marL="324000" lvl="1" indent="-216000"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14F94"/>
                    </a:solidFill>
                    <a:effectLst>
                      <a:outerShdw sx="1000" sy="1000" algn="tl">
                        <a:srgbClr val="C0C0C0"/>
                      </a:outerShdw>
                    </a:effectLst>
                    <a:uLnTx/>
                    <a:uFillTx/>
                    <a:ea typeface="+mn-ea"/>
                    <a:cs typeface="+mn-cs"/>
                  </a:rPr>
                  <a:t>23 Villages</a:t>
                </a:r>
              </a:p>
              <a:p>
                <a:pPr marL="324000" lvl="1" indent="-216000">
                  <a:buClr>
                    <a:schemeClr val="tx2"/>
                  </a:buClr>
                  <a:buFont typeface="Trebuchet MS" panose="020B0603020202020204" pitchFamily="34" charset="0"/>
                  <a:buChar char="•"/>
                  <a:defRPr/>
                </a:pPr>
                <a:r>
                  <a:rPr lang="en-US" sz="1100" dirty="0">
                    <a:solidFill>
                      <a:srgbClr val="014F94"/>
                    </a:solidFill>
                    <a:effectLst>
                      <a:outerShdw sx="1000" sy="1000" algn="tl">
                        <a:srgbClr val="C0C0C0"/>
                      </a:outerShdw>
                    </a:effectLst>
                  </a:rPr>
                  <a:t>32000 Population</a:t>
                </a: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14F94"/>
                  </a:solidFill>
                  <a:effectLst>
                    <a:outerShdw sx="1000" sy="1000" algn="tl">
                      <a:srgbClr val="C0C0C0"/>
                    </a:outerShdw>
                  </a:effectLst>
                  <a:uLnTx/>
                  <a:uFillTx/>
                  <a:ea typeface="+mn-ea"/>
                  <a:cs typeface="+mn-cs"/>
                </a:endParaRPr>
              </a:p>
            </p:txBody>
          </p:sp>
        </p:grpSp>
        <p:grpSp>
          <p:nvGrpSpPr>
            <p:cNvPr id="216" name="Group 215">
              <a:extLst>
                <a:ext uri="{FF2B5EF4-FFF2-40B4-BE49-F238E27FC236}">
                  <a16:creationId xmlns:a16="http://schemas.microsoft.com/office/drawing/2014/main" id="{31C1DAEC-4593-4320-983F-AE15CB8FFD97}"/>
                </a:ext>
              </a:extLst>
            </p:cNvPr>
            <p:cNvGrpSpPr/>
            <p:nvPr/>
          </p:nvGrpSpPr>
          <p:grpSpPr>
            <a:xfrm>
              <a:off x="5906141" y="2530884"/>
              <a:ext cx="712526" cy="742669"/>
              <a:chOff x="6216140" y="2449502"/>
              <a:chExt cx="712526" cy="742669"/>
            </a:xfrm>
          </p:grpSpPr>
          <p:grpSp>
            <p:nvGrpSpPr>
              <p:cNvPr id="221" name="bcgBugs_Location Pin ">
                <a:extLst>
                  <a:ext uri="{FF2B5EF4-FFF2-40B4-BE49-F238E27FC236}">
                    <a16:creationId xmlns:a16="http://schemas.microsoft.com/office/drawing/2014/main" id="{155EBBAD-9C11-430B-BF9B-316B6770A4E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216140" y="3052919"/>
                <a:ext cx="128384" cy="139252"/>
                <a:chOff x="2818" y="1137"/>
                <a:chExt cx="2044" cy="2217"/>
              </a:xfrm>
            </p:grpSpPr>
            <p:sp>
              <p:nvSpPr>
                <p:cNvPr id="241" name="AutoShape 7">
                  <a:extLst>
                    <a:ext uri="{FF2B5EF4-FFF2-40B4-BE49-F238E27FC236}">
                      <a16:creationId xmlns:a16="http://schemas.microsoft.com/office/drawing/2014/main" id="{949C3F26-0847-457E-892C-3E9DBF611561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2818" y="1137"/>
                  <a:ext cx="2044" cy="204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2" name="Freeform 7">
                  <a:extLst>
                    <a:ext uri="{FF2B5EF4-FFF2-40B4-BE49-F238E27FC236}">
                      <a16:creationId xmlns:a16="http://schemas.microsoft.com/office/drawing/2014/main" id="{322CDD96-43FD-426C-902F-F3DED2E0B84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285" y="1544"/>
                  <a:ext cx="1113" cy="1810"/>
                </a:xfrm>
                <a:custGeom>
                  <a:avLst/>
                  <a:gdLst>
                    <a:gd name="T0" fmla="*/ 544 w 544"/>
                    <a:gd name="T1" fmla="*/ 280 h 884"/>
                    <a:gd name="T2" fmla="*/ 294 w 544"/>
                    <a:gd name="T3" fmla="*/ 868 h 884"/>
                    <a:gd name="T4" fmla="*/ 252 w 544"/>
                    <a:gd name="T5" fmla="*/ 868 h 884"/>
                    <a:gd name="T6" fmla="*/ 0 w 544"/>
                    <a:gd name="T7" fmla="*/ 280 h 884"/>
                    <a:gd name="T8" fmla="*/ 273 w 544"/>
                    <a:gd name="T9" fmla="*/ 0 h 884"/>
                    <a:gd name="T10" fmla="*/ 544 w 544"/>
                    <a:gd name="T11" fmla="*/ 280 h 884"/>
                    <a:gd name="T12" fmla="*/ 273 w 544"/>
                    <a:gd name="T13" fmla="*/ 141 h 884"/>
                    <a:gd name="T14" fmla="*/ 144 w 544"/>
                    <a:gd name="T15" fmla="*/ 271 h 884"/>
                    <a:gd name="T16" fmla="*/ 273 w 544"/>
                    <a:gd name="T17" fmla="*/ 405 h 884"/>
                    <a:gd name="T18" fmla="*/ 400 w 544"/>
                    <a:gd name="T19" fmla="*/ 271 h 884"/>
                    <a:gd name="T20" fmla="*/ 273 w 544"/>
                    <a:gd name="T21" fmla="*/ 141 h 8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44" h="884">
                      <a:moveTo>
                        <a:pt x="544" y="280"/>
                      </a:moveTo>
                      <a:cubicBezTo>
                        <a:pt x="544" y="408"/>
                        <a:pt x="358" y="754"/>
                        <a:pt x="294" y="868"/>
                      </a:cubicBezTo>
                      <a:cubicBezTo>
                        <a:pt x="285" y="884"/>
                        <a:pt x="261" y="884"/>
                        <a:pt x="252" y="868"/>
                      </a:cubicBezTo>
                      <a:cubicBezTo>
                        <a:pt x="188" y="754"/>
                        <a:pt x="0" y="408"/>
                        <a:pt x="0" y="280"/>
                      </a:cubicBezTo>
                      <a:cubicBezTo>
                        <a:pt x="0" y="127"/>
                        <a:pt x="122" y="0"/>
                        <a:pt x="273" y="0"/>
                      </a:cubicBezTo>
                      <a:cubicBezTo>
                        <a:pt x="424" y="0"/>
                        <a:pt x="544" y="127"/>
                        <a:pt x="544" y="280"/>
                      </a:cubicBezTo>
                      <a:close/>
                      <a:moveTo>
                        <a:pt x="273" y="141"/>
                      </a:moveTo>
                      <a:cubicBezTo>
                        <a:pt x="201" y="141"/>
                        <a:pt x="144" y="201"/>
                        <a:pt x="144" y="271"/>
                      </a:cubicBezTo>
                      <a:cubicBezTo>
                        <a:pt x="144" y="345"/>
                        <a:pt x="201" y="405"/>
                        <a:pt x="273" y="405"/>
                      </a:cubicBezTo>
                      <a:cubicBezTo>
                        <a:pt x="341" y="405"/>
                        <a:pt x="400" y="345"/>
                        <a:pt x="400" y="271"/>
                      </a:cubicBezTo>
                      <a:cubicBezTo>
                        <a:pt x="400" y="201"/>
                        <a:pt x="341" y="141"/>
                        <a:pt x="273" y="141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232" name="bcgBugs_Location Pin ">
                <a:extLst>
                  <a:ext uri="{FF2B5EF4-FFF2-40B4-BE49-F238E27FC236}">
                    <a16:creationId xmlns:a16="http://schemas.microsoft.com/office/drawing/2014/main" id="{6B4C0AED-A9FD-466F-8090-9BC34122DA9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593852" y="2813145"/>
                <a:ext cx="128384" cy="128510"/>
                <a:chOff x="2818" y="1137"/>
                <a:chExt cx="2044" cy="2046"/>
              </a:xfrm>
            </p:grpSpPr>
            <p:sp>
              <p:nvSpPr>
                <p:cNvPr id="239" name="AutoShape 7">
                  <a:extLst>
                    <a:ext uri="{FF2B5EF4-FFF2-40B4-BE49-F238E27FC236}">
                      <a16:creationId xmlns:a16="http://schemas.microsoft.com/office/drawing/2014/main" id="{25A6785E-4634-4802-B1B2-0D501BD024B5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2818" y="1137"/>
                  <a:ext cx="2044" cy="204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40" name="Freeform 7">
                  <a:extLst>
                    <a:ext uri="{FF2B5EF4-FFF2-40B4-BE49-F238E27FC236}">
                      <a16:creationId xmlns:a16="http://schemas.microsoft.com/office/drawing/2014/main" id="{3161F170-7AFC-4E00-9C4C-10EC19D4E51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285" y="1260"/>
                  <a:ext cx="1113" cy="1810"/>
                </a:xfrm>
                <a:custGeom>
                  <a:avLst/>
                  <a:gdLst>
                    <a:gd name="T0" fmla="*/ 544 w 544"/>
                    <a:gd name="T1" fmla="*/ 280 h 884"/>
                    <a:gd name="T2" fmla="*/ 294 w 544"/>
                    <a:gd name="T3" fmla="*/ 868 h 884"/>
                    <a:gd name="T4" fmla="*/ 252 w 544"/>
                    <a:gd name="T5" fmla="*/ 868 h 884"/>
                    <a:gd name="T6" fmla="*/ 0 w 544"/>
                    <a:gd name="T7" fmla="*/ 280 h 884"/>
                    <a:gd name="T8" fmla="*/ 273 w 544"/>
                    <a:gd name="T9" fmla="*/ 0 h 884"/>
                    <a:gd name="T10" fmla="*/ 544 w 544"/>
                    <a:gd name="T11" fmla="*/ 280 h 884"/>
                    <a:gd name="T12" fmla="*/ 273 w 544"/>
                    <a:gd name="T13" fmla="*/ 141 h 884"/>
                    <a:gd name="T14" fmla="*/ 144 w 544"/>
                    <a:gd name="T15" fmla="*/ 271 h 884"/>
                    <a:gd name="T16" fmla="*/ 273 w 544"/>
                    <a:gd name="T17" fmla="*/ 405 h 884"/>
                    <a:gd name="T18" fmla="*/ 400 w 544"/>
                    <a:gd name="T19" fmla="*/ 271 h 884"/>
                    <a:gd name="T20" fmla="*/ 273 w 544"/>
                    <a:gd name="T21" fmla="*/ 141 h 8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44" h="884">
                      <a:moveTo>
                        <a:pt x="544" y="280"/>
                      </a:moveTo>
                      <a:cubicBezTo>
                        <a:pt x="544" y="408"/>
                        <a:pt x="358" y="754"/>
                        <a:pt x="294" y="868"/>
                      </a:cubicBezTo>
                      <a:cubicBezTo>
                        <a:pt x="285" y="884"/>
                        <a:pt x="261" y="884"/>
                        <a:pt x="252" y="868"/>
                      </a:cubicBezTo>
                      <a:cubicBezTo>
                        <a:pt x="188" y="754"/>
                        <a:pt x="0" y="408"/>
                        <a:pt x="0" y="280"/>
                      </a:cubicBezTo>
                      <a:cubicBezTo>
                        <a:pt x="0" y="127"/>
                        <a:pt x="122" y="0"/>
                        <a:pt x="273" y="0"/>
                      </a:cubicBezTo>
                      <a:cubicBezTo>
                        <a:pt x="424" y="0"/>
                        <a:pt x="544" y="127"/>
                        <a:pt x="544" y="280"/>
                      </a:cubicBezTo>
                      <a:close/>
                      <a:moveTo>
                        <a:pt x="273" y="141"/>
                      </a:moveTo>
                      <a:cubicBezTo>
                        <a:pt x="201" y="141"/>
                        <a:pt x="144" y="201"/>
                        <a:pt x="144" y="271"/>
                      </a:cubicBezTo>
                      <a:cubicBezTo>
                        <a:pt x="144" y="345"/>
                        <a:pt x="201" y="405"/>
                        <a:pt x="273" y="405"/>
                      </a:cubicBezTo>
                      <a:cubicBezTo>
                        <a:pt x="341" y="405"/>
                        <a:pt x="400" y="345"/>
                        <a:pt x="400" y="271"/>
                      </a:cubicBezTo>
                      <a:cubicBezTo>
                        <a:pt x="400" y="201"/>
                        <a:pt x="341" y="141"/>
                        <a:pt x="273" y="141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233" name="bcgBugs_Location Pin ">
                <a:extLst>
                  <a:ext uri="{FF2B5EF4-FFF2-40B4-BE49-F238E27FC236}">
                    <a16:creationId xmlns:a16="http://schemas.microsoft.com/office/drawing/2014/main" id="{BD3DBCEB-2800-46BD-915D-3DC8003D2919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794252" y="2449502"/>
                <a:ext cx="134414" cy="149364"/>
                <a:chOff x="2818" y="805"/>
                <a:chExt cx="2140" cy="2378"/>
              </a:xfrm>
            </p:grpSpPr>
            <p:sp>
              <p:nvSpPr>
                <p:cNvPr id="237" name="AutoShape 7">
                  <a:extLst>
                    <a:ext uri="{FF2B5EF4-FFF2-40B4-BE49-F238E27FC236}">
                      <a16:creationId xmlns:a16="http://schemas.microsoft.com/office/drawing/2014/main" id="{C6463D6D-1834-4033-9A6D-D0A1C571ADC3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2818" y="1137"/>
                  <a:ext cx="2044" cy="204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238" name="Freeform 7">
                  <a:extLst>
                    <a:ext uri="{FF2B5EF4-FFF2-40B4-BE49-F238E27FC236}">
                      <a16:creationId xmlns:a16="http://schemas.microsoft.com/office/drawing/2014/main" id="{F9476B0C-F1E6-4553-BEDE-89D9052E202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845" y="805"/>
                  <a:ext cx="1113" cy="1810"/>
                </a:xfrm>
                <a:custGeom>
                  <a:avLst/>
                  <a:gdLst>
                    <a:gd name="T0" fmla="*/ 544 w 544"/>
                    <a:gd name="T1" fmla="*/ 280 h 884"/>
                    <a:gd name="T2" fmla="*/ 294 w 544"/>
                    <a:gd name="T3" fmla="*/ 868 h 884"/>
                    <a:gd name="T4" fmla="*/ 252 w 544"/>
                    <a:gd name="T5" fmla="*/ 868 h 884"/>
                    <a:gd name="T6" fmla="*/ 0 w 544"/>
                    <a:gd name="T7" fmla="*/ 280 h 884"/>
                    <a:gd name="T8" fmla="*/ 273 w 544"/>
                    <a:gd name="T9" fmla="*/ 0 h 884"/>
                    <a:gd name="T10" fmla="*/ 544 w 544"/>
                    <a:gd name="T11" fmla="*/ 280 h 884"/>
                    <a:gd name="T12" fmla="*/ 273 w 544"/>
                    <a:gd name="T13" fmla="*/ 141 h 884"/>
                    <a:gd name="T14" fmla="*/ 144 w 544"/>
                    <a:gd name="T15" fmla="*/ 271 h 884"/>
                    <a:gd name="T16" fmla="*/ 273 w 544"/>
                    <a:gd name="T17" fmla="*/ 405 h 884"/>
                    <a:gd name="T18" fmla="*/ 400 w 544"/>
                    <a:gd name="T19" fmla="*/ 271 h 884"/>
                    <a:gd name="T20" fmla="*/ 273 w 544"/>
                    <a:gd name="T21" fmla="*/ 141 h 8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44" h="884">
                      <a:moveTo>
                        <a:pt x="544" y="280"/>
                      </a:moveTo>
                      <a:cubicBezTo>
                        <a:pt x="544" y="408"/>
                        <a:pt x="358" y="754"/>
                        <a:pt x="294" y="868"/>
                      </a:cubicBezTo>
                      <a:cubicBezTo>
                        <a:pt x="285" y="884"/>
                        <a:pt x="261" y="884"/>
                        <a:pt x="252" y="868"/>
                      </a:cubicBezTo>
                      <a:cubicBezTo>
                        <a:pt x="188" y="754"/>
                        <a:pt x="0" y="408"/>
                        <a:pt x="0" y="280"/>
                      </a:cubicBezTo>
                      <a:cubicBezTo>
                        <a:pt x="0" y="127"/>
                        <a:pt x="122" y="0"/>
                        <a:pt x="273" y="0"/>
                      </a:cubicBezTo>
                      <a:cubicBezTo>
                        <a:pt x="424" y="0"/>
                        <a:pt x="544" y="127"/>
                        <a:pt x="544" y="280"/>
                      </a:cubicBezTo>
                      <a:close/>
                      <a:moveTo>
                        <a:pt x="273" y="141"/>
                      </a:moveTo>
                      <a:cubicBezTo>
                        <a:pt x="201" y="141"/>
                        <a:pt x="144" y="201"/>
                        <a:pt x="144" y="271"/>
                      </a:cubicBezTo>
                      <a:cubicBezTo>
                        <a:pt x="144" y="345"/>
                        <a:pt x="201" y="405"/>
                        <a:pt x="273" y="405"/>
                      </a:cubicBezTo>
                      <a:cubicBezTo>
                        <a:pt x="341" y="405"/>
                        <a:pt x="400" y="345"/>
                        <a:pt x="400" y="271"/>
                      </a:cubicBezTo>
                      <a:cubicBezTo>
                        <a:pt x="400" y="201"/>
                        <a:pt x="341" y="141"/>
                        <a:pt x="273" y="141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235" name="AutoShape 7">
                <a:extLst>
                  <a:ext uri="{FF2B5EF4-FFF2-40B4-BE49-F238E27FC236}">
                    <a16:creationId xmlns:a16="http://schemas.microsoft.com/office/drawing/2014/main" id="{CBB9C1F9-9666-400E-B65E-37D8134D195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6736577" y="2580452"/>
                <a:ext cx="128384" cy="1285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142" name="Text Box 76">
            <a:extLst>
              <a:ext uri="{FF2B5EF4-FFF2-40B4-BE49-F238E27FC236}">
                <a16:creationId xmlns:a16="http://schemas.microsoft.com/office/drawing/2014/main" id="{C0141FDE-FBA7-4231-8814-025E9D0BF1A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29624" y="773251"/>
            <a:ext cx="1552889" cy="1018992"/>
          </a:xfrm>
          <a:prstGeom prst="rect">
            <a:avLst/>
          </a:prstGeom>
          <a:noFill/>
          <a:ln w="3175">
            <a:solidFill>
              <a:srgbClr val="014F94"/>
            </a:solidFill>
            <a:prstDash val="dash"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>
              <a:buFont typeface="Trebuchet MS" panose="020B0603020202020204" pitchFamily="34" charset="0"/>
              <a:buChar char="​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  <a:uLnTx/>
                <a:uFillTx/>
                <a:ea typeface="+mn-ea"/>
                <a:cs typeface="+mn-cs"/>
              </a:rPr>
              <a:t> </a:t>
            </a:r>
          </a:p>
          <a:p>
            <a:pPr>
              <a:buFont typeface="Trebuchet MS" panose="020B0603020202020204" pitchFamily="34" charset="0"/>
              <a:buChar char="​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  <a:uLnTx/>
                <a:uFillTx/>
                <a:ea typeface="+mn-ea"/>
                <a:cs typeface="+mn-cs"/>
              </a:rPr>
              <a:t> Rajasthan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lang="en-US" sz="1100" dirty="0" err="1"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</a:rPr>
              <a:t>Pindwara</a:t>
            </a:r>
            <a:r>
              <a:rPr lang="en-US" sz="1100" dirty="0"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</a:rPr>
              <a:t>, </a:t>
            </a:r>
            <a:r>
              <a:rPr lang="en-US" sz="1100" dirty="0" err="1"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</a:rPr>
              <a:t>Sirohi</a:t>
            </a:r>
            <a:endParaRPr lang="en-US" sz="1100" dirty="0">
              <a:solidFill>
                <a:srgbClr val="014F94"/>
              </a:solidFill>
              <a:effectLst>
                <a:outerShdw sx="1000" sy="1000" algn="tl">
                  <a:srgbClr val="C0C0C0"/>
                </a:outerShdw>
              </a:effectLst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  <a:uLnTx/>
                <a:uFillTx/>
                <a:ea typeface="+mn-ea"/>
                <a:cs typeface="+mn-cs"/>
              </a:rPr>
              <a:t>35 Villages &amp; 53 hamlets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lang="en-US" sz="1100" dirty="0"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</a:rPr>
              <a:t>80,000 Populatio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14F94"/>
              </a:solidFill>
              <a:effectLst>
                <a:outerShdw sx="1000" sy="1000" algn="tl">
                  <a:srgbClr val="C0C0C0"/>
                </a:outerShdw>
              </a:effectLst>
              <a:uLnTx/>
              <a:uFillTx/>
              <a:ea typeface="+mn-ea"/>
              <a:cs typeface="+mn-cs"/>
            </a:endParaRPr>
          </a:p>
        </p:txBody>
      </p:sp>
      <p:sp>
        <p:nvSpPr>
          <p:cNvPr id="143" name="Text Box 76">
            <a:extLst>
              <a:ext uri="{FF2B5EF4-FFF2-40B4-BE49-F238E27FC236}">
                <a16:creationId xmlns:a16="http://schemas.microsoft.com/office/drawing/2014/main" id="{CF22E1E8-B293-4427-B918-5DDF5D54A1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34715" y="3744752"/>
            <a:ext cx="1552889" cy="1018992"/>
          </a:xfrm>
          <a:prstGeom prst="rect">
            <a:avLst/>
          </a:prstGeom>
          <a:noFill/>
          <a:ln w="3175">
            <a:solidFill>
              <a:srgbClr val="014F94"/>
            </a:solidFill>
            <a:prstDash val="dash"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>
              <a:buFont typeface="Trebuchet MS" panose="020B0603020202020204" pitchFamily="34" charset="0"/>
              <a:buChar char="​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  <a:uLnTx/>
                <a:uFillTx/>
                <a:ea typeface="+mn-ea"/>
                <a:cs typeface="+mn-cs"/>
              </a:rPr>
              <a:t> </a:t>
            </a:r>
          </a:p>
          <a:p>
            <a:pPr>
              <a:buFont typeface="Trebuchet MS" panose="020B0603020202020204" pitchFamily="34" charset="0"/>
              <a:buChar char="​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  <a:uLnTx/>
                <a:uFillTx/>
                <a:ea typeface="+mn-ea"/>
                <a:cs typeface="+mn-cs"/>
              </a:rPr>
              <a:t> Gujarat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lang="en-US" sz="1100" dirty="0" err="1"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</a:rPr>
              <a:t>Kalol</a:t>
            </a:r>
            <a:r>
              <a:rPr lang="en-US" sz="1100" dirty="0"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</a:rPr>
              <a:t>, Gandhinagar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  <a:uLnTx/>
                <a:uFillTx/>
                <a:ea typeface="+mn-ea"/>
                <a:cs typeface="+mn-cs"/>
              </a:rPr>
              <a:t>18 Villages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lang="en-US" sz="1100" dirty="0"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</a:rPr>
              <a:t>60000 Populatio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14F94"/>
              </a:solidFill>
              <a:effectLst>
                <a:outerShdw sx="1000" sy="1000" algn="tl">
                  <a:srgbClr val="C0C0C0"/>
                </a:outerShdw>
              </a:effectLst>
              <a:uLnTx/>
              <a:uFillTx/>
              <a:ea typeface="+mn-ea"/>
              <a:cs typeface="+mn-cs"/>
            </a:endParaRPr>
          </a:p>
        </p:txBody>
      </p:sp>
      <p:sp>
        <p:nvSpPr>
          <p:cNvPr id="144" name="Text Box 76">
            <a:extLst>
              <a:ext uri="{FF2B5EF4-FFF2-40B4-BE49-F238E27FC236}">
                <a16:creationId xmlns:a16="http://schemas.microsoft.com/office/drawing/2014/main" id="{31D4FC1B-BF3C-4A21-B89B-86145D5D49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97352" y="4670342"/>
            <a:ext cx="1552889" cy="1018992"/>
          </a:xfrm>
          <a:prstGeom prst="rect">
            <a:avLst/>
          </a:prstGeom>
          <a:noFill/>
          <a:ln w="3175">
            <a:solidFill>
              <a:srgbClr val="014F94"/>
            </a:solidFill>
            <a:prstDash val="dash"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>
              <a:buFont typeface="Trebuchet MS" panose="020B0603020202020204" pitchFamily="34" charset="0"/>
              <a:buChar char="​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  <a:uLnTx/>
                <a:uFillTx/>
                <a:ea typeface="+mn-ea"/>
                <a:cs typeface="+mn-cs"/>
              </a:rPr>
              <a:t> </a:t>
            </a:r>
          </a:p>
          <a:p>
            <a:pPr>
              <a:buFont typeface="Trebuchet MS" panose="020B0603020202020204" pitchFamily="34" charset="0"/>
              <a:buChar char="​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  <a:uLnTx/>
                <a:uFillTx/>
                <a:ea typeface="+mn-ea"/>
                <a:cs typeface="+mn-cs"/>
              </a:rPr>
              <a:t> Orissa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lang="en-US" sz="1100" dirty="0"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</a:rPr>
              <a:t>Cuttack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lang="en-US" sz="1100" dirty="0"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</a:rPr>
              <a:t>4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  <a:uLnTx/>
                <a:uFillTx/>
                <a:ea typeface="+mn-ea"/>
                <a:cs typeface="+mn-cs"/>
              </a:rPr>
              <a:t> Villages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lang="en-US" sz="1100" dirty="0"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</a:rPr>
              <a:t>8000 Populatio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14F94"/>
              </a:solidFill>
              <a:effectLst>
                <a:outerShdw sx="1000" sy="1000" algn="tl">
                  <a:srgbClr val="C0C0C0"/>
                </a:outerShdw>
              </a:effectLst>
              <a:uLnTx/>
              <a:uFillTx/>
              <a:ea typeface="+mn-ea"/>
              <a:cs typeface="+mn-cs"/>
            </a:endParaRPr>
          </a:p>
        </p:txBody>
      </p:sp>
      <p:sp>
        <p:nvSpPr>
          <p:cNvPr id="145" name="Text Box 76">
            <a:extLst>
              <a:ext uri="{FF2B5EF4-FFF2-40B4-BE49-F238E27FC236}">
                <a16:creationId xmlns:a16="http://schemas.microsoft.com/office/drawing/2014/main" id="{51001436-6684-434B-8FBD-5214BAB8DF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85050" y="3531039"/>
            <a:ext cx="1552889" cy="1018992"/>
          </a:xfrm>
          <a:prstGeom prst="rect">
            <a:avLst/>
          </a:prstGeom>
          <a:noFill/>
          <a:ln w="3175">
            <a:solidFill>
              <a:srgbClr val="014F94"/>
            </a:solidFill>
            <a:prstDash val="dash"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>
              <a:buFont typeface="Trebuchet MS" panose="020B0603020202020204" pitchFamily="34" charset="0"/>
              <a:buChar char="​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  <a:uLnTx/>
                <a:uFillTx/>
                <a:ea typeface="+mn-ea"/>
                <a:cs typeface="+mn-cs"/>
              </a:rPr>
              <a:t> </a:t>
            </a:r>
          </a:p>
          <a:p>
            <a:pPr>
              <a:buFont typeface="Trebuchet MS" panose="020B0603020202020204" pitchFamily="34" charset="0"/>
              <a:buChar char="​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  <a:uLnTx/>
                <a:uFillTx/>
                <a:ea typeface="+mn-ea"/>
                <a:cs typeface="+mn-cs"/>
              </a:rPr>
              <a:t> Chhattisgarh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lang="en-US" sz="1100" dirty="0" err="1"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</a:rPr>
              <a:t>Durg</a:t>
            </a:r>
            <a:endParaRPr lang="en-US" sz="1100" dirty="0">
              <a:solidFill>
                <a:srgbClr val="014F94"/>
              </a:solidFill>
              <a:effectLst>
                <a:outerShdw sx="1000" sy="1000" algn="tl">
                  <a:srgbClr val="C0C0C0"/>
                </a:outerShdw>
              </a:effectLst>
            </a:endParaRP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  <a:uLnTx/>
                <a:uFillTx/>
                <a:ea typeface="+mn-ea"/>
                <a:cs typeface="+mn-cs"/>
              </a:rPr>
              <a:t>7 Villages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lang="en-US" sz="1100" dirty="0"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</a:rPr>
              <a:t>24000 Populatio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14F94"/>
              </a:solidFill>
              <a:effectLst>
                <a:outerShdw sx="1000" sy="1000" algn="tl">
                  <a:srgbClr val="C0C0C0"/>
                </a:outerShdw>
              </a:effectLst>
              <a:uLnTx/>
              <a:uFillTx/>
              <a:ea typeface="+mn-ea"/>
              <a:cs typeface="+mn-cs"/>
            </a:endParaRPr>
          </a:p>
        </p:txBody>
      </p:sp>
      <p:sp>
        <p:nvSpPr>
          <p:cNvPr id="146" name="Text Box 76">
            <a:extLst>
              <a:ext uri="{FF2B5EF4-FFF2-40B4-BE49-F238E27FC236}">
                <a16:creationId xmlns:a16="http://schemas.microsoft.com/office/drawing/2014/main" id="{5E7C9967-5AAE-4177-AF11-DC0FC2D095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59141" y="1944355"/>
            <a:ext cx="1552889" cy="1018992"/>
          </a:xfrm>
          <a:prstGeom prst="rect">
            <a:avLst/>
          </a:prstGeom>
          <a:noFill/>
          <a:ln w="3175">
            <a:solidFill>
              <a:srgbClr val="014F94"/>
            </a:solidFill>
            <a:prstDash val="dash"/>
            <a:miter lim="800000"/>
            <a:headEnd/>
            <a:tailEnd/>
          </a:ln>
          <a:effectLst/>
        </p:spPr>
        <p:txBody>
          <a:bodyPr wrap="square" lIns="0" tIns="0" rIns="0" bIns="0">
            <a:noAutofit/>
          </a:bodyPr>
          <a:lstStyle/>
          <a:p>
            <a:pPr>
              <a:buFont typeface="Trebuchet MS" panose="020B0603020202020204" pitchFamily="34" charset="0"/>
              <a:buChar char="​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  <a:uLnTx/>
                <a:uFillTx/>
                <a:ea typeface="+mn-ea"/>
                <a:cs typeface="+mn-cs"/>
              </a:rPr>
              <a:t> </a:t>
            </a:r>
          </a:p>
          <a:p>
            <a:pPr>
              <a:buFont typeface="Trebuchet MS" panose="020B0603020202020204" pitchFamily="34" charset="0"/>
              <a:buChar char="​"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  <a:uLnTx/>
                <a:uFillTx/>
                <a:ea typeface="+mn-ea"/>
                <a:cs typeface="+mn-cs"/>
              </a:rPr>
              <a:t> Surat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  <a:uLnTx/>
                <a:uFillTx/>
                <a:ea typeface="+mn-ea"/>
                <a:cs typeface="+mn-cs"/>
              </a:rPr>
              <a:t>5 Villages</a:t>
            </a:r>
          </a:p>
          <a:p>
            <a:pPr marL="324000" lvl="1" indent="-216000">
              <a:buClr>
                <a:schemeClr val="tx2"/>
              </a:buClr>
              <a:buFont typeface="Trebuchet MS" panose="020B0603020202020204" pitchFamily="34" charset="0"/>
              <a:buChar char="•"/>
              <a:defRPr/>
            </a:pPr>
            <a:r>
              <a:rPr lang="en-US" sz="1100" dirty="0">
                <a:solidFill>
                  <a:srgbClr val="014F94"/>
                </a:solidFill>
                <a:effectLst>
                  <a:outerShdw sx="1000" sy="1000" algn="tl">
                    <a:srgbClr val="C0C0C0"/>
                  </a:outerShdw>
                </a:effectLst>
              </a:rPr>
              <a:t>12000 Populatio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14F94"/>
              </a:solidFill>
              <a:effectLst>
                <a:outerShdw sx="1000" sy="1000" algn="tl">
                  <a:srgbClr val="C0C0C0"/>
                </a:outerShdw>
              </a:effectLst>
              <a:uLnTx/>
              <a:uFillTx/>
              <a:ea typeface="+mn-ea"/>
              <a:cs typeface="+mn-cs"/>
            </a:endParaRP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28C24255-479F-4F94-ABB7-AD95007E1DFD}"/>
              </a:ext>
            </a:extLst>
          </p:cNvPr>
          <p:cNvCxnSpPr>
            <a:cxnSpLocks/>
            <a:stCxn id="142" idx="3"/>
          </p:cNvCxnSpPr>
          <p:nvPr/>
        </p:nvCxnSpPr>
        <p:spPr>
          <a:xfrm>
            <a:off x="5982513" y="1282747"/>
            <a:ext cx="753290" cy="1419235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 type="stealth" w="med" len="med"/>
          </a:ln>
        </p:spPr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7F1DC364-6391-4A84-A1C4-F6C6956EFF87}"/>
              </a:ext>
            </a:extLst>
          </p:cNvPr>
          <p:cNvCxnSpPr>
            <a:cxnSpLocks/>
            <a:stCxn id="143" idx="3"/>
          </p:cNvCxnSpPr>
          <p:nvPr/>
        </p:nvCxnSpPr>
        <p:spPr>
          <a:xfrm flipV="1">
            <a:off x="5787604" y="3249993"/>
            <a:ext cx="667396" cy="1004255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 type="stealth" w="med" len="med"/>
          </a:ln>
        </p:spPr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9BC0A6B7-B7D5-4173-B82B-93C1B900AA97}"/>
              </a:ext>
            </a:extLst>
          </p:cNvPr>
          <p:cNvCxnSpPr>
            <a:cxnSpLocks/>
            <a:stCxn id="144" idx="1"/>
            <a:endCxn id="208" idx="8"/>
          </p:cNvCxnSpPr>
          <p:nvPr/>
        </p:nvCxnSpPr>
        <p:spPr>
          <a:xfrm flipH="1" flipV="1">
            <a:off x="8672741" y="3760217"/>
            <a:ext cx="624611" cy="1419621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 type="stealth" w="med" len="med"/>
          </a:ln>
        </p:spPr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C15A18FC-AC1F-4F33-9692-D9812F204B0B}"/>
              </a:ext>
            </a:extLst>
          </p:cNvPr>
          <p:cNvCxnSpPr>
            <a:cxnSpLocks/>
            <a:stCxn id="145" idx="1"/>
          </p:cNvCxnSpPr>
          <p:nvPr/>
        </p:nvCxnSpPr>
        <p:spPr>
          <a:xfrm flipH="1" flipV="1">
            <a:off x="8271819" y="3412153"/>
            <a:ext cx="1713231" cy="628382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 type="stealth" w="med" len="med"/>
          </a:ln>
        </p:spPr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40E49094-47AE-4567-B783-527717449718}"/>
              </a:ext>
            </a:extLst>
          </p:cNvPr>
          <p:cNvCxnSpPr>
            <a:cxnSpLocks/>
            <a:stCxn id="146" idx="2"/>
            <a:endCxn id="242" idx="4"/>
          </p:cNvCxnSpPr>
          <p:nvPr/>
        </p:nvCxnSpPr>
        <p:spPr>
          <a:xfrm>
            <a:off x="4935586" y="2963347"/>
            <a:ext cx="1152562" cy="467057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 type="stealth" w="med" len="med"/>
          </a:ln>
        </p:spPr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9204B479-E35B-29C9-E197-57095CC342F9}"/>
              </a:ext>
            </a:extLst>
          </p:cNvPr>
          <p:cNvGrpSpPr/>
          <p:nvPr/>
        </p:nvGrpSpPr>
        <p:grpSpPr>
          <a:xfrm>
            <a:off x="4173977" y="6229371"/>
            <a:ext cx="6282466" cy="361950"/>
            <a:chOff x="0" y="0"/>
            <a:chExt cx="8354468" cy="60766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4B771A2-9210-DEB6-4208-3932AEB22C1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17" b="21166"/>
            <a:stretch/>
          </p:blipFill>
          <p:spPr bwMode="auto">
            <a:xfrm>
              <a:off x="0" y="122587"/>
              <a:ext cx="1291940" cy="4850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EA652E6-910A-7FA4-624D-A9D58C942F6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544" b="10769"/>
            <a:stretch/>
          </p:blipFill>
          <p:spPr bwMode="auto">
            <a:xfrm>
              <a:off x="2209795" y="36136"/>
              <a:ext cx="1117599" cy="5667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2B79230-1786-933F-D376-B36C6A624E1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24" b="28554"/>
            <a:stretch/>
          </p:blipFill>
          <p:spPr bwMode="auto">
            <a:xfrm>
              <a:off x="3321045" y="132189"/>
              <a:ext cx="1167024" cy="398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E1163DE-8D20-D699-491E-B51487043AF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30248" r="-5487" b="30593"/>
            <a:stretch/>
          </p:blipFill>
          <p:spPr bwMode="auto">
            <a:xfrm>
              <a:off x="7029444" y="194627"/>
              <a:ext cx="1325024" cy="350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F108EC36-0A13-77F3-330F-1C339EF10AF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873" r="-527" b="31472"/>
            <a:stretch/>
          </p:blipFill>
          <p:spPr bwMode="auto">
            <a:xfrm>
              <a:off x="4533895" y="127387"/>
              <a:ext cx="1334377" cy="413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DB7D7B7-496A-F5F9-3063-B6B55672D5F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575" r="2853" b="27836"/>
            <a:stretch/>
          </p:blipFill>
          <p:spPr bwMode="auto">
            <a:xfrm>
              <a:off x="5841995" y="223443"/>
              <a:ext cx="1128897" cy="3361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93D27B0-0032-68DC-8566-8241577F0FF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9045" y="0"/>
              <a:ext cx="939799" cy="6035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18390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FDE3A0A-C7E4-47F5-B5E2-B0D0B11EEB51}"/>
              </a:ext>
            </a:extLst>
          </p:cNvPr>
          <p:cNvSpPr/>
          <p:nvPr/>
        </p:nvSpPr>
        <p:spPr>
          <a:xfrm>
            <a:off x="0" y="-152400"/>
            <a:ext cx="12192000" cy="2356123"/>
          </a:xfrm>
          <a:prstGeom prst="rect">
            <a:avLst/>
          </a:prstGeom>
          <a:solidFill>
            <a:srgbClr val="00A039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rgbClr val="FFFFFF"/>
              </a:solidFill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9A9BB25-3AFD-43B3-8ACF-8370AA19B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Our CSR Vision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92CD65C-939B-4272-A764-1C771A32AA38}"/>
              </a:ext>
            </a:extLst>
          </p:cNvPr>
          <p:cNvSpPr txBox="1"/>
          <p:nvPr/>
        </p:nvSpPr>
        <p:spPr>
          <a:xfrm>
            <a:off x="441515" y="3163912"/>
            <a:ext cx="2102547" cy="6463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Health, Water &amp; Sanita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25C1897-3CA1-4608-B971-5654E6DDE1F0}"/>
              </a:ext>
            </a:extLst>
          </p:cNvPr>
          <p:cNvSpPr txBox="1"/>
          <p:nvPr/>
        </p:nvSpPr>
        <p:spPr>
          <a:xfrm>
            <a:off x="3511979" y="3163912"/>
            <a:ext cx="2102547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Educati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06FF4FC-E585-45A0-9426-BA9E13F66B8C}"/>
              </a:ext>
            </a:extLst>
          </p:cNvPr>
          <p:cNvSpPr txBox="1"/>
          <p:nvPr/>
        </p:nvSpPr>
        <p:spPr>
          <a:xfrm>
            <a:off x="9652908" y="3163912"/>
            <a:ext cx="2102547" cy="6463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Rural Development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22777995-7C58-49EE-95CF-61A20A9DF97F}"/>
              </a:ext>
            </a:extLst>
          </p:cNvPr>
          <p:cNvCxnSpPr>
            <a:cxnSpLocks/>
          </p:cNvCxnSpPr>
          <p:nvPr/>
        </p:nvCxnSpPr>
        <p:spPr>
          <a:xfrm>
            <a:off x="6288985" y="3163912"/>
            <a:ext cx="0" cy="2730054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EC9F74-877F-4641-9BD7-1BBD8F1FF5D9}"/>
              </a:ext>
            </a:extLst>
          </p:cNvPr>
          <p:cNvCxnSpPr>
            <a:cxnSpLocks/>
          </p:cNvCxnSpPr>
          <p:nvPr/>
        </p:nvCxnSpPr>
        <p:spPr>
          <a:xfrm>
            <a:off x="3141658" y="3163912"/>
            <a:ext cx="0" cy="2730054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A8302FA2-87C4-4259-9702-1E924C80245F}"/>
              </a:ext>
            </a:extLst>
          </p:cNvPr>
          <p:cNvSpPr txBox="1"/>
          <p:nvPr/>
        </p:nvSpPr>
        <p:spPr>
          <a:xfrm>
            <a:off x="630000" y="795248"/>
            <a:ext cx="10819050" cy="120032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lvl="0"/>
            <a:endParaRPr lang="en-US" dirty="0">
              <a:solidFill>
                <a:schemeClr val="bg1"/>
              </a:solidFill>
              <a:latin typeface="Calibre"/>
            </a:endParaRPr>
          </a:p>
          <a:p>
            <a:pPr lvl="0"/>
            <a:r>
              <a:rPr lang="en-US" dirty="0">
                <a:solidFill>
                  <a:schemeClr val="bg1"/>
                </a:solidFill>
                <a:latin typeface="Calibre"/>
              </a:rPr>
              <a:t>To strengthen community relationship and to bring sustainable change in quality of life of neighborhood community through innovative solutions in  Health, Education, Livelihoods and Rural Development.</a:t>
            </a:r>
            <a:endParaRPr lang="en-IN" dirty="0">
              <a:solidFill>
                <a:schemeClr val="bg1"/>
              </a:solidFill>
              <a:latin typeface="Calibre"/>
            </a:endParaRPr>
          </a:p>
          <a:p>
            <a:pPr lvl="0"/>
            <a:endParaRPr lang="en-IN" dirty="0">
              <a:solidFill>
                <a:schemeClr val="bg1"/>
              </a:solidFill>
              <a:latin typeface="Calibre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511E1B8-9420-442F-955C-5723CE5D4A6C}"/>
              </a:ext>
            </a:extLst>
          </p:cNvPr>
          <p:cNvCxnSpPr>
            <a:cxnSpLocks/>
          </p:cNvCxnSpPr>
          <p:nvPr/>
        </p:nvCxnSpPr>
        <p:spPr>
          <a:xfrm>
            <a:off x="9436311" y="3163912"/>
            <a:ext cx="0" cy="2730054"/>
          </a:xfrm>
          <a:prstGeom prst="line">
            <a:avLst/>
          </a:prstGeom>
          <a:ln w="9525" cap="rnd">
            <a:solidFill>
              <a:schemeClr val="bg1">
                <a:lumMod val="85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12083944-B8FD-48B6-8755-2BC209912BBD}"/>
              </a:ext>
            </a:extLst>
          </p:cNvPr>
          <p:cNvSpPr txBox="1"/>
          <p:nvPr/>
        </p:nvSpPr>
        <p:spPr>
          <a:xfrm>
            <a:off x="6582443" y="3163912"/>
            <a:ext cx="2102547" cy="6463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Livelihood &amp; Skill Development</a:t>
            </a:r>
          </a:p>
        </p:txBody>
      </p:sp>
      <p:pic>
        <p:nvPicPr>
          <p:cNvPr id="11" name="Graphic 10" descr="Graduation cap with solid fill">
            <a:extLst>
              <a:ext uri="{FF2B5EF4-FFF2-40B4-BE49-F238E27FC236}">
                <a16:creationId xmlns:a16="http://schemas.microsoft.com/office/drawing/2014/main" id="{C48A266F-900D-4B80-8755-22A5E8E46FE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06053" y="4341033"/>
            <a:ext cx="914400" cy="914400"/>
          </a:xfrm>
          <a:prstGeom prst="rect">
            <a:avLst/>
          </a:prstGeom>
        </p:spPr>
      </p:pic>
      <p:pic>
        <p:nvPicPr>
          <p:cNvPr id="15" name="Graphic 14" descr="Leaky Tap with solid fill">
            <a:extLst>
              <a:ext uri="{FF2B5EF4-FFF2-40B4-BE49-F238E27FC236}">
                <a16:creationId xmlns:a16="http://schemas.microsoft.com/office/drawing/2014/main" id="{97882735-2F79-4B43-9408-6DE360925B0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35589" y="4341033"/>
            <a:ext cx="914400" cy="914400"/>
          </a:xfrm>
          <a:prstGeom prst="rect">
            <a:avLst/>
          </a:prstGeom>
        </p:spPr>
      </p:pic>
      <p:pic>
        <p:nvPicPr>
          <p:cNvPr id="25" name="Graphic 24" descr="Group of people with solid fill">
            <a:extLst>
              <a:ext uri="{FF2B5EF4-FFF2-40B4-BE49-F238E27FC236}">
                <a16:creationId xmlns:a16="http://schemas.microsoft.com/office/drawing/2014/main" id="{604A85E7-BCFC-4E0B-BC60-DD6B8B45A3C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246981" y="4341033"/>
            <a:ext cx="914400" cy="914400"/>
          </a:xfrm>
          <a:prstGeom prst="rect">
            <a:avLst/>
          </a:prstGeom>
        </p:spPr>
      </p:pic>
      <p:pic>
        <p:nvPicPr>
          <p:cNvPr id="27" name="Graphic 26" descr="Circular flowchart with solid fill">
            <a:extLst>
              <a:ext uri="{FF2B5EF4-FFF2-40B4-BE49-F238E27FC236}">
                <a16:creationId xmlns:a16="http://schemas.microsoft.com/office/drawing/2014/main" id="{D398F24D-4FBC-47D6-87EB-756ED1655EF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176517" y="4341033"/>
            <a:ext cx="914400" cy="9144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02612CA8-D00B-3888-2B69-1589CAE18F64}"/>
              </a:ext>
            </a:extLst>
          </p:cNvPr>
          <p:cNvGrpSpPr/>
          <p:nvPr/>
        </p:nvGrpSpPr>
        <p:grpSpPr>
          <a:xfrm>
            <a:off x="2818508" y="6272403"/>
            <a:ext cx="6282466" cy="361950"/>
            <a:chOff x="0" y="0"/>
            <a:chExt cx="8354468" cy="60766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B8BD236-F795-12EE-9D06-7588DB42D7B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17" b="21166"/>
            <a:stretch/>
          </p:blipFill>
          <p:spPr bwMode="auto">
            <a:xfrm>
              <a:off x="0" y="122587"/>
              <a:ext cx="1291940" cy="4850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5AFCFBB-49E1-8006-7223-FBFC706FBAC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544" b="10769"/>
            <a:stretch/>
          </p:blipFill>
          <p:spPr bwMode="auto">
            <a:xfrm>
              <a:off x="2209795" y="36136"/>
              <a:ext cx="1117599" cy="5667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B71992C-6400-5718-27E6-3BB47B8FA21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24" b="28554"/>
            <a:stretch/>
          </p:blipFill>
          <p:spPr bwMode="auto">
            <a:xfrm>
              <a:off x="3321045" y="132189"/>
              <a:ext cx="1167024" cy="398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917DF36-10C0-18E4-B4B5-705DA34F4BD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30248" r="-5487" b="30593"/>
            <a:stretch/>
          </p:blipFill>
          <p:spPr bwMode="auto">
            <a:xfrm>
              <a:off x="7029444" y="194627"/>
              <a:ext cx="1325024" cy="350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E96580B-374D-2D5E-0511-7B62B6D1BCF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873" r="-527" b="31472"/>
            <a:stretch/>
          </p:blipFill>
          <p:spPr bwMode="auto">
            <a:xfrm>
              <a:off x="4533895" y="127387"/>
              <a:ext cx="1334377" cy="413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83700CF-AA90-34CB-DF5B-9DECD1CB5C0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575" r="2853" b="27836"/>
            <a:stretch/>
          </p:blipFill>
          <p:spPr bwMode="auto">
            <a:xfrm>
              <a:off x="5841995" y="223443"/>
              <a:ext cx="1128897" cy="3361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B513B44-CEB3-892B-0906-A404C05BF1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9045" y="0"/>
              <a:ext cx="939799" cy="6035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78157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EA7A9B-F22C-4592-819D-85A098914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622" y="529390"/>
            <a:ext cx="4102421" cy="491066"/>
          </a:xfrm>
          <a:solidFill>
            <a:srgbClr val="00A039"/>
          </a:solidFill>
        </p:spPr>
        <p:txBody>
          <a:bodyPr vert="horz" anchor="ctr"/>
          <a:lstStyle/>
          <a:p>
            <a:r>
              <a:rPr lang="en-US" dirty="0">
                <a:solidFill>
                  <a:schemeClr val="bg1"/>
                </a:solidFill>
              </a:rPr>
              <a:t>Health &amp; Education Projects</a:t>
            </a:r>
          </a:p>
        </p:txBody>
      </p:sp>
      <p:pic>
        <p:nvPicPr>
          <p:cNvPr id="19" name="Picture 18" descr="A group of people in a classroom&#10;&#10;Description automatically generated with low confidence">
            <a:extLst>
              <a:ext uri="{FF2B5EF4-FFF2-40B4-BE49-F238E27FC236}">
                <a16:creationId xmlns:a16="http://schemas.microsoft.com/office/drawing/2014/main" id="{DEAA3D6C-3807-44FB-8D02-002CFDD3968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140" y="1337448"/>
            <a:ext cx="2742310" cy="206297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0" name="Picture 19" descr="A group of people sitting outside&#10;&#10;Description automatically generated with low confidence">
            <a:extLst>
              <a:ext uri="{FF2B5EF4-FFF2-40B4-BE49-F238E27FC236}">
                <a16:creationId xmlns:a16="http://schemas.microsoft.com/office/drawing/2014/main" id="{4E3C0818-9B11-4EB9-876B-E884E8A5F8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1012" y="1337448"/>
            <a:ext cx="3457957" cy="206297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1" name="Picture 20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7197C7E4-BF18-4636-8A9A-FBFCE70D2AA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0532" y="1337448"/>
            <a:ext cx="3499104" cy="206297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2" name="Picture 21" descr="A person standing in front of a classroom of students&#10;&#10;Description automatically generated with medium confidence">
            <a:extLst>
              <a:ext uri="{FF2B5EF4-FFF2-40B4-BE49-F238E27FC236}">
                <a16:creationId xmlns:a16="http://schemas.microsoft.com/office/drawing/2014/main" id="{B4CCB381-94FD-4882-B03F-21CC09D9E4C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139" y="3807854"/>
            <a:ext cx="2742311" cy="206297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3" name="Picture 22" descr="A group of people sitting in a room with a large screen&#10;&#10;Description automatically generated with low confidence">
            <a:extLst>
              <a:ext uri="{FF2B5EF4-FFF2-40B4-BE49-F238E27FC236}">
                <a16:creationId xmlns:a16="http://schemas.microsoft.com/office/drawing/2014/main" id="{FAC892F4-3F3D-4202-9473-96936FD2A85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2183" y="3807854"/>
            <a:ext cx="3457958" cy="206297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4" name="Picture 23" descr="A group of people holding laptops&#10;&#10;Description automatically generated with medium confidence">
            <a:extLst>
              <a:ext uri="{FF2B5EF4-FFF2-40B4-BE49-F238E27FC236}">
                <a16:creationId xmlns:a16="http://schemas.microsoft.com/office/drawing/2014/main" id="{0C4F935B-327A-46CC-B1CB-68F023E1B20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2874" y="3807854"/>
            <a:ext cx="3556761" cy="206297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37E6AC63-879B-E714-EA5D-5BDAFF596EAF}"/>
              </a:ext>
            </a:extLst>
          </p:cNvPr>
          <p:cNvGrpSpPr/>
          <p:nvPr/>
        </p:nvGrpSpPr>
        <p:grpSpPr>
          <a:xfrm>
            <a:off x="2818508" y="6272403"/>
            <a:ext cx="6282466" cy="361950"/>
            <a:chOff x="0" y="0"/>
            <a:chExt cx="8354468" cy="60766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2780E6F-668A-FD4B-01C4-F4D83D04071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17" b="21166"/>
            <a:stretch/>
          </p:blipFill>
          <p:spPr bwMode="auto">
            <a:xfrm>
              <a:off x="0" y="122587"/>
              <a:ext cx="1291940" cy="4850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70AAD3F-FC35-8D63-8161-1B311030182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544" b="10769"/>
            <a:stretch/>
          </p:blipFill>
          <p:spPr bwMode="auto">
            <a:xfrm>
              <a:off x="2209795" y="36136"/>
              <a:ext cx="1117599" cy="5667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1560BBA-4604-6515-9893-51148623F13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24" b="28554"/>
            <a:stretch/>
          </p:blipFill>
          <p:spPr bwMode="auto">
            <a:xfrm>
              <a:off x="3321045" y="132189"/>
              <a:ext cx="1167024" cy="398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1E2DED7-C929-85A0-903F-EE8E06B3753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30248" r="-5487" b="30593"/>
            <a:stretch/>
          </p:blipFill>
          <p:spPr bwMode="auto">
            <a:xfrm>
              <a:off x="7029444" y="194627"/>
              <a:ext cx="1325024" cy="350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A39D753-0EA3-5A8B-5AA3-DAA6AE0F61D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873" r="-527" b="31472"/>
            <a:stretch/>
          </p:blipFill>
          <p:spPr bwMode="auto">
            <a:xfrm>
              <a:off x="4533895" y="127387"/>
              <a:ext cx="1334377" cy="413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09275983-824F-C769-E8A0-3CDB9325824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575" r="2853" b="27836"/>
            <a:stretch/>
          </p:blipFill>
          <p:spPr bwMode="auto">
            <a:xfrm>
              <a:off x="5841995" y="223443"/>
              <a:ext cx="1128897" cy="3361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FB74972-E2FE-C17F-0E2A-1CD14193AC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9045" y="0"/>
              <a:ext cx="939799" cy="6035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764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EA7A9B-F22C-4592-819D-85A098914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454" y="465222"/>
            <a:ext cx="4278884" cy="458210"/>
          </a:xfrm>
          <a:solidFill>
            <a:srgbClr val="00A039"/>
          </a:solidFill>
        </p:spPr>
        <p:txBody>
          <a:bodyPr vert="horz" anchor="ctr"/>
          <a:lstStyle/>
          <a:p>
            <a:r>
              <a:rPr lang="en-US" dirty="0">
                <a:solidFill>
                  <a:schemeClr val="bg1"/>
                </a:solidFill>
              </a:rPr>
              <a:t>Promoting Multiple Livelihoods</a:t>
            </a:r>
          </a:p>
        </p:txBody>
      </p:sp>
      <p:pic>
        <p:nvPicPr>
          <p:cNvPr id="6" name="Picture 5" descr="A group of men standing in a room with posters on the wall&#10;&#10;Description automatically generated with low confidence">
            <a:extLst>
              <a:ext uri="{FF2B5EF4-FFF2-40B4-BE49-F238E27FC236}">
                <a16:creationId xmlns:a16="http://schemas.microsoft.com/office/drawing/2014/main" id="{06DEA66D-3612-43C2-A184-95CF79BEC5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00" y="1427078"/>
            <a:ext cx="3111375" cy="209026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 descr="A group of people standing in a room&#10;&#10;Description automatically generated with medium confidence">
            <a:extLst>
              <a:ext uri="{FF2B5EF4-FFF2-40B4-BE49-F238E27FC236}">
                <a16:creationId xmlns:a16="http://schemas.microsoft.com/office/drawing/2014/main" id="{3A0CB3E2-37A7-4CA5-8094-A898D5600F4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0765" y="1427078"/>
            <a:ext cx="3017576" cy="209026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 descr="A picture containing text, person, indoor&#10;&#10;Description automatically generated">
            <a:extLst>
              <a:ext uri="{FF2B5EF4-FFF2-40B4-BE49-F238E27FC236}">
                <a16:creationId xmlns:a16="http://schemas.microsoft.com/office/drawing/2014/main" id="{773D5833-7C6E-48B7-B3CD-64BD58CB15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1431" y="1426762"/>
            <a:ext cx="3541224" cy="209026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 descr="A group of people sitting in a room&#10;&#10;Description automatically generated with low confidence">
            <a:extLst>
              <a:ext uri="{FF2B5EF4-FFF2-40B4-BE49-F238E27FC236}">
                <a16:creationId xmlns:a16="http://schemas.microsoft.com/office/drawing/2014/main" id="{82EC0545-2BC6-4007-8908-85DEE922B0A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00" y="3988904"/>
            <a:ext cx="3111375" cy="209026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 descr="A picture containing text, tree, outdoor&#10;&#10;Description automatically generated">
            <a:extLst>
              <a:ext uri="{FF2B5EF4-FFF2-40B4-BE49-F238E27FC236}">
                <a16:creationId xmlns:a16="http://schemas.microsoft.com/office/drawing/2014/main" id="{A8218137-42C7-4383-A4F9-98ED24743F5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8602" y="3988588"/>
            <a:ext cx="3444053" cy="209026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2E2B6AA4-9010-4913-A2C8-9DC7CF81D3D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6112" y="3988904"/>
            <a:ext cx="3444053" cy="209345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4D928FAA-3122-4465-8170-ADA56CC90BB4}"/>
              </a:ext>
            </a:extLst>
          </p:cNvPr>
          <p:cNvGrpSpPr/>
          <p:nvPr/>
        </p:nvGrpSpPr>
        <p:grpSpPr>
          <a:xfrm>
            <a:off x="2818508" y="6272403"/>
            <a:ext cx="6282466" cy="361950"/>
            <a:chOff x="0" y="0"/>
            <a:chExt cx="8354468" cy="60766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4D6618F-EC82-8089-399E-1711F85E99A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17" b="21166"/>
            <a:stretch/>
          </p:blipFill>
          <p:spPr bwMode="auto">
            <a:xfrm>
              <a:off x="0" y="122587"/>
              <a:ext cx="1291940" cy="4850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CD0F7B2B-0309-EFEB-E576-E4D876EC0BB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544" b="10769"/>
            <a:stretch/>
          </p:blipFill>
          <p:spPr bwMode="auto">
            <a:xfrm>
              <a:off x="2209795" y="36136"/>
              <a:ext cx="1117599" cy="5667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2A6AAAE-E2E7-B1DA-C109-F69B4FDCA32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24" b="28554"/>
            <a:stretch/>
          </p:blipFill>
          <p:spPr bwMode="auto">
            <a:xfrm>
              <a:off x="3321045" y="132189"/>
              <a:ext cx="1167024" cy="398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0197C77-3BA4-C0BC-C13B-BDBD251AAAE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30248" r="-5487" b="30593"/>
            <a:stretch/>
          </p:blipFill>
          <p:spPr bwMode="auto">
            <a:xfrm>
              <a:off x="7029444" y="194627"/>
              <a:ext cx="1325024" cy="350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141CB884-CDA3-C0B6-88E2-2494768D141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873" r="-527" b="31472"/>
            <a:stretch/>
          </p:blipFill>
          <p:spPr bwMode="auto">
            <a:xfrm>
              <a:off x="4533895" y="127387"/>
              <a:ext cx="1334377" cy="413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4663B61D-445C-631E-3F58-4A6BB29338C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575" r="2853" b="27836"/>
            <a:stretch/>
          </p:blipFill>
          <p:spPr bwMode="auto">
            <a:xfrm>
              <a:off x="5841995" y="223443"/>
              <a:ext cx="1128897" cy="3361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F4BCE729-7722-2497-E5AB-DAC7B2AB14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9045" y="0"/>
              <a:ext cx="939799" cy="6035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0786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825625" y="607306"/>
            <a:ext cx="8686800" cy="424732"/>
          </a:xfrm>
          <a:solidFill>
            <a:srgbClr val="00A039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spAutoFit/>
          </a:bodyPr>
          <a:lstStyle/>
          <a:p>
            <a:pPr algn="ctr" defTabSz="457200"/>
            <a:r>
              <a:rPr lang="en-US" b="1" dirty="0">
                <a:solidFill>
                  <a:schemeClr val="bg1"/>
                </a:solidFill>
                <a:latin typeface="Bookman Old Style" panose="02050604050505020204" pitchFamily="18" charset="0"/>
                <a:ea typeface="+mn-ea"/>
                <a:cs typeface="Arial" panose="020B0604020202020204" pitchFamily="34" charset="0"/>
              </a:rPr>
              <a:t>JK Organisation - Eastern Zone Companies. </a:t>
            </a:r>
          </a:p>
        </p:txBody>
      </p:sp>
      <p:pic>
        <p:nvPicPr>
          <p:cNvPr id="8" name="Picture 7" descr="http://www.jkorg.in/jk-rainbow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0913" y="1213861"/>
            <a:ext cx="11080376" cy="383147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85449942"/>
      </p:ext>
    </p:extLst>
  </p:cSld>
  <p:clrMapOvr>
    <a:masterClrMapping/>
  </p:clrMapOvr>
  <p:transition/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EA7A9B-F22C-4592-819D-85A0989143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916" y="289016"/>
            <a:ext cx="7658283" cy="483250"/>
          </a:xfrm>
          <a:solidFill>
            <a:srgbClr val="00A039"/>
          </a:solidFill>
        </p:spPr>
        <p:txBody>
          <a:bodyPr vert="horz" anchor="ctr"/>
          <a:lstStyle/>
          <a:p>
            <a:r>
              <a:rPr lang="en-US" dirty="0" err="1">
                <a:solidFill>
                  <a:schemeClr val="bg1"/>
                </a:solidFill>
              </a:rPr>
              <a:t>JKLC</a:t>
            </a:r>
            <a:r>
              <a:rPr lang="en-US" dirty="0">
                <a:solidFill>
                  <a:schemeClr val="bg1"/>
                </a:solidFill>
              </a:rPr>
              <a:t> CSR has been recognized through multiple award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DFFC37F-278F-4E59-AA54-B3E4200C713D}"/>
              </a:ext>
            </a:extLst>
          </p:cNvPr>
          <p:cNvGrpSpPr/>
          <p:nvPr/>
        </p:nvGrpSpPr>
        <p:grpSpPr>
          <a:xfrm>
            <a:off x="476250" y="1289379"/>
            <a:ext cx="11133192" cy="4834182"/>
            <a:chOff x="476250" y="1413204"/>
            <a:chExt cx="11133192" cy="4834182"/>
          </a:xfrm>
        </p:grpSpPr>
        <p:pic>
          <p:nvPicPr>
            <p:cNvPr id="13" name="Picture 2" descr="C:\Users\kishore\Desktop\Usefull Folder\1 LAKSHMI DARPAN  from APRIL-19\JKLD JAN. 2022\Award Ceremony\Award receiving  (1).jpg">
              <a:extLst>
                <a:ext uri="{FF2B5EF4-FFF2-40B4-BE49-F238E27FC236}">
                  <a16:creationId xmlns:a16="http://schemas.microsoft.com/office/drawing/2014/main" id="{3BA80732-BE55-4A0B-B8FF-CFB0A0B042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55122" y="1413204"/>
              <a:ext cx="3150103" cy="346581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14" name="Picture 6" descr="Diagram&#10;&#10;Description automatically generated">
              <a:extLst>
                <a:ext uri="{FF2B5EF4-FFF2-40B4-BE49-F238E27FC236}">
                  <a16:creationId xmlns:a16="http://schemas.microsoft.com/office/drawing/2014/main" id="{9D8B6CF4-3F11-4040-BD73-B35C55A1A9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5499" y="1413204"/>
              <a:ext cx="3462510" cy="346581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15" name="Picture 14" descr="A group of people standing on a stage with a large screen behind them&#10;&#10;Description automatically generated with medium confidence">
              <a:extLst>
                <a:ext uri="{FF2B5EF4-FFF2-40B4-BE49-F238E27FC236}">
                  <a16:creationId xmlns:a16="http://schemas.microsoft.com/office/drawing/2014/main" id="{3AD33550-4E94-499E-9842-45F3DFB2365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88283" y="1413204"/>
              <a:ext cx="3275067" cy="346581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D943E93-DE8F-4587-A3A4-3F313B7B5B13}"/>
                </a:ext>
              </a:extLst>
            </p:cNvPr>
            <p:cNvSpPr txBox="1"/>
            <p:nvPr/>
          </p:nvSpPr>
          <p:spPr>
            <a:xfrm>
              <a:off x="476250" y="5077835"/>
              <a:ext cx="3228975" cy="954107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400" i="1" dirty="0" err="1">
                  <a:solidFill>
                    <a:srgbClr val="014F94"/>
                  </a:solidFill>
                </a:rPr>
                <a:t>Sirohi</a:t>
              </a:r>
              <a:r>
                <a:rPr lang="en-US" sz="1400" i="1" dirty="0">
                  <a:solidFill>
                    <a:srgbClr val="014F94"/>
                  </a:solidFill>
                </a:rPr>
                <a:t> unit received “Outstanding Performance in CSR Excellence Trophy-2021”  by  The Employers Association of Rajasthan 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8FED106-6C7C-4B3C-ACAC-558B81B5F717}"/>
                </a:ext>
              </a:extLst>
            </p:cNvPr>
            <p:cNvSpPr txBox="1"/>
            <p:nvPr/>
          </p:nvSpPr>
          <p:spPr>
            <a:xfrm>
              <a:off x="4265499" y="5077835"/>
              <a:ext cx="3462510" cy="116955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400" i="1" dirty="0" err="1">
                  <a:solidFill>
                    <a:srgbClr val="014F94"/>
                  </a:solidFill>
                </a:rPr>
                <a:t>Durg</a:t>
              </a:r>
              <a:r>
                <a:rPr lang="en-US" sz="1400" i="1" dirty="0">
                  <a:solidFill>
                    <a:srgbClr val="014F94"/>
                  </a:solidFill>
                </a:rPr>
                <a:t> unit received “8th Greentech CSR Award 2021 for Outstanding Achievement in Promotion of Health Care” by Greentech Foundation, New Delhi 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9855189-EB1C-490C-AF6E-ECEDC96CF6EA}"/>
                </a:ext>
              </a:extLst>
            </p:cNvPr>
            <p:cNvSpPr txBox="1"/>
            <p:nvPr/>
          </p:nvSpPr>
          <p:spPr>
            <a:xfrm>
              <a:off x="8334375" y="5077835"/>
              <a:ext cx="3275067" cy="1169551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400" i="1" dirty="0">
                  <a:solidFill>
                    <a:srgbClr val="014F94"/>
                  </a:solidFill>
                </a:rPr>
                <a:t>Jhajjar unit received ““Indian CSR Award for Best Women Employment Initiative of the Year (Corporate), 2022.”” by Greentech Foundation, New Delhi 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54B9399-6E73-458A-927C-BEEF258FBD11}"/>
              </a:ext>
            </a:extLst>
          </p:cNvPr>
          <p:cNvGrpSpPr/>
          <p:nvPr/>
        </p:nvGrpSpPr>
        <p:grpSpPr>
          <a:xfrm>
            <a:off x="2818508" y="6272403"/>
            <a:ext cx="6282466" cy="361950"/>
            <a:chOff x="0" y="0"/>
            <a:chExt cx="8354468" cy="60766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C0ADA7E-C82C-0B60-1349-CB3AE412F8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17" b="21166"/>
            <a:stretch/>
          </p:blipFill>
          <p:spPr bwMode="auto">
            <a:xfrm>
              <a:off x="0" y="122587"/>
              <a:ext cx="1291940" cy="4850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FE94C62-3A95-882C-03D3-3C5B6663DCD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544" b="10769"/>
            <a:stretch/>
          </p:blipFill>
          <p:spPr bwMode="auto">
            <a:xfrm>
              <a:off x="2209795" y="36136"/>
              <a:ext cx="1117599" cy="5667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F75EA70-7D95-08F4-C375-02711FE68F9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24" b="28554"/>
            <a:stretch/>
          </p:blipFill>
          <p:spPr bwMode="auto">
            <a:xfrm>
              <a:off x="3321045" y="132189"/>
              <a:ext cx="1167024" cy="398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762A590-7AFB-FF85-FE62-7C06FFB8BD1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30248" r="-5487" b="30593"/>
            <a:stretch/>
          </p:blipFill>
          <p:spPr bwMode="auto">
            <a:xfrm>
              <a:off x="7029444" y="194627"/>
              <a:ext cx="1325024" cy="3506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39DC2C91-F170-3202-004B-DBD2F4D26B1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873" r="-527" b="31472"/>
            <a:stretch/>
          </p:blipFill>
          <p:spPr bwMode="auto">
            <a:xfrm>
              <a:off x="4533895" y="127387"/>
              <a:ext cx="1334377" cy="4130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F240105D-93FA-D01A-55A5-3B46347CFBD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575" r="2853" b="27836"/>
            <a:stretch/>
          </p:blipFill>
          <p:spPr bwMode="auto">
            <a:xfrm>
              <a:off x="5841995" y="223443"/>
              <a:ext cx="1128897" cy="3361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6F4C9C00-BCE3-0EF5-A2A9-C00FF58BE9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9045" y="0"/>
              <a:ext cx="939799" cy="6035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42438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4F2479F-542A-4347-BD71-1E661D833F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4F2479F-542A-4347-BD71-1E661D833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1AF4C0-6786-490B-B07E-5E33B9677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022" y="201651"/>
            <a:ext cx="3352799" cy="462042"/>
          </a:xfrm>
          <a:solidFill>
            <a:srgbClr val="00A039"/>
          </a:solidFill>
        </p:spPr>
        <p:txBody>
          <a:bodyPr vert="horz" anchor="ctr"/>
          <a:lstStyle/>
          <a:p>
            <a:r>
              <a:rPr lang="en-US" sz="2800" b="1" dirty="0">
                <a:solidFill>
                  <a:schemeClr val="bg1"/>
                </a:solidFill>
              </a:rPr>
              <a:t>Way Forward - JKLC</a:t>
            </a:r>
          </a:p>
        </p:txBody>
      </p:sp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A7C51D4B-9B2D-4F8D-82FA-42C3AA9F59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28" imgH="328" progId="TCLayout.ActiveDocument.1">
                  <p:embed/>
                </p:oleObj>
              </mc:Choice>
              <mc:Fallback>
                <p:oleObj name="think-cell Slide" r:id="rId7" imgW="328" imgH="328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A7C51D4B-9B2D-4F8D-82FA-42C3AA9F5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>
            <a:extLst>
              <a:ext uri="{FF2B5EF4-FFF2-40B4-BE49-F238E27FC236}">
                <a16:creationId xmlns:a16="http://schemas.microsoft.com/office/drawing/2014/main" id="{517EF1FF-2B8A-486E-A475-C572A6ADB2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0022" y="685701"/>
            <a:ext cx="11293640" cy="546767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85750" lvl="1" algn="just" eaLnBrk="1" hangingPunct="1">
              <a:lnSpc>
                <a:spcPct val="150000"/>
              </a:lnSpc>
              <a:buBlip>
                <a:blip r:embed="rId9"/>
              </a:buBlip>
            </a:pP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The Board of Directors of the Company, at their Meeting held on 31st July 2024, have approved a Composite Scheme of Amalgamation and Arrangement (The Scheme) for amalgamation of the 3 Subsidiary Companies, viz Udaipur Cement Works Ltd, </a:t>
            </a:r>
            <a:r>
              <a:rPr lang="en-US" sz="2000" b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Hansdeep</a:t>
            </a: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 Industries &amp; Trading Company Ltd &amp; </a:t>
            </a:r>
            <a:r>
              <a:rPr lang="en-US" sz="2000" b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Hidrive</a:t>
            </a: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 Developers and Industries Private Ltd into &amp; with the Company w.e.f. the Appointed Date of 1st April 2024 subject to the requisite Statutory &amp; Regulatory Approvals, as applicable.</a:t>
            </a:r>
          </a:p>
          <a:p>
            <a:pPr marL="285750" lvl="1" algn="just" eaLnBrk="1" hangingPunct="1">
              <a:lnSpc>
                <a:spcPct val="150000"/>
              </a:lnSpc>
              <a:buBlip>
                <a:blip r:embed="rId9"/>
              </a:buBlip>
            </a:pPr>
            <a:endParaRPr lang="en-US" sz="20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1" algn="just" eaLnBrk="1" hangingPunct="1">
              <a:lnSpc>
                <a:spcPct val="150000"/>
              </a:lnSpc>
              <a:buBlip>
                <a:blip r:embed="rId9"/>
              </a:buBlip>
            </a:pP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Project for Capacity Expansion of 2.50 Mn. Ton at UCWL was commissioned in March’2024. </a:t>
            </a:r>
          </a:p>
          <a:p>
            <a:pPr marL="0" lvl="1" indent="0" algn="just" eaLnBrk="1" hangingPunct="1">
              <a:lnSpc>
                <a:spcPct val="150000"/>
              </a:lnSpc>
              <a:buNone/>
            </a:pPr>
            <a:endParaRPr lang="en-US" sz="20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1" algn="just" eaLnBrk="1" hangingPunct="1">
              <a:lnSpc>
                <a:spcPct val="150000"/>
              </a:lnSpc>
              <a:buBlip>
                <a:blip r:embed="rId9"/>
              </a:buBlip>
            </a:pP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The Company has taken-up for implementation setting up of additional Cement Grinding Unit of 1.35 Million </a:t>
            </a:r>
            <a:r>
              <a:rPr lang="en-US" sz="2000" b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Tonnes</a:t>
            </a: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 Per Annum at its existing Surat Grinding Unit.</a:t>
            </a:r>
          </a:p>
          <a:p>
            <a:pPr marL="0" lvl="1" indent="0" algn="just" eaLnBrk="1" hangingPunct="1">
              <a:lnSpc>
                <a:spcPct val="150000"/>
              </a:lnSpc>
              <a:buNone/>
            </a:pPr>
            <a:endParaRPr lang="en-US" sz="20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433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4F2479F-542A-4347-BD71-1E661D833F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4F2479F-542A-4347-BD71-1E661D833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1AF4C0-6786-490B-B07E-5E33B9677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022" y="201651"/>
            <a:ext cx="3352799" cy="462042"/>
          </a:xfrm>
          <a:solidFill>
            <a:srgbClr val="00A039"/>
          </a:solidFill>
        </p:spPr>
        <p:txBody>
          <a:bodyPr vert="horz" anchor="ctr"/>
          <a:lstStyle/>
          <a:p>
            <a:r>
              <a:rPr lang="en-US" sz="2800" b="1" dirty="0">
                <a:solidFill>
                  <a:schemeClr val="bg1"/>
                </a:solidFill>
              </a:rPr>
              <a:t>Way Forward - JKLC</a:t>
            </a:r>
          </a:p>
        </p:txBody>
      </p:sp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A7C51D4B-9B2D-4F8D-82FA-42C3AA9F59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28" imgH="328" progId="TCLayout.ActiveDocument.1">
                  <p:embed/>
                </p:oleObj>
              </mc:Choice>
              <mc:Fallback>
                <p:oleObj name="think-cell Slide" r:id="rId7" imgW="328" imgH="328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A7C51D4B-9B2D-4F8D-82FA-42C3AA9F5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>
            <a:extLst>
              <a:ext uri="{FF2B5EF4-FFF2-40B4-BE49-F238E27FC236}">
                <a16:creationId xmlns:a16="http://schemas.microsoft.com/office/drawing/2014/main" id="{517EF1FF-2B8A-486E-A475-C572A6ADB2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0022" y="685701"/>
            <a:ext cx="11293640" cy="573661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85750" lvl="1" algn="just" eaLnBrk="1" hangingPunct="1">
              <a:lnSpc>
                <a:spcPct val="150000"/>
              </a:lnSpc>
              <a:buBlip>
                <a:blip r:embed="rId9"/>
              </a:buBlip>
            </a:pP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The Company has tied-up under the Captive Route, sourcing of Solar Power of 40 MW for its Integrated Cement Plant at </a:t>
            </a:r>
            <a:r>
              <a:rPr lang="en-US" sz="2000" b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Durg</a:t>
            </a: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 in Chhattisgarh. With this Sourcing, the Share of Renewable Power at </a:t>
            </a:r>
            <a:r>
              <a:rPr lang="en-US" sz="2000" b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Durg</a:t>
            </a: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 Cement Plant has increased from 36% to 80% from October 2023.</a:t>
            </a:r>
          </a:p>
          <a:p>
            <a:pPr marL="285750" lvl="1" algn="just" eaLnBrk="1" hangingPunct="1">
              <a:lnSpc>
                <a:spcPct val="150000"/>
              </a:lnSpc>
              <a:buBlip>
                <a:blip r:embed="rId9"/>
              </a:buBlip>
            </a:pP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The Company is expanding the Clinker Capacity at its integrated Cement Plant at Durg in Chhattisgarh by putting up an Additional Clinker Line of 2.3 Million </a:t>
            </a:r>
            <a:r>
              <a:rPr lang="en-US" sz="2000" b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Tonnes</a:t>
            </a: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 Per Annum &amp; Four Cement Grinding Units aggregating to 4.6 Million </a:t>
            </a:r>
            <a:r>
              <a:rPr lang="en-US" sz="2000" b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Tonnes</a:t>
            </a: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 Per Annum at Durg in Chhattisgarh and also Three Split Location Cement Grinding Units with aggregate Cement Grinding Capacity of 3.4 Million </a:t>
            </a:r>
            <a:r>
              <a:rPr lang="en-US" sz="2000" b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Tonnes</a:t>
            </a: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 Per Annum at </a:t>
            </a:r>
            <a:r>
              <a:rPr lang="en-US" sz="2000" b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Prayagraj</a:t>
            </a: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 in Uttar Pradesh, </a:t>
            </a:r>
            <a:r>
              <a:rPr lang="en-US" sz="2000" b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Madhubani</a:t>
            </a: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 in Bihar &amp; </a:t>
            </a:r>
            <a:r>
              <a:rPr lang="en-US" sz="2000" b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Patratu</a:t>
            </a: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 in Jharkhand.</a:t>
            </a:r>
          </a:p>
          <a:p>
            <a:pPr marL="285750" lvl="1" algn="just" eaLnBrk="1" hangingPunct="1">
              <a:lnSpc>
                <a:spcPct val="150000"/>
              </a:lnSpc>
              <a:buBlip>
                <a:blip r:embed="rId9"/>
              </a:buBlip>
            </a:pP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The Company is foraying in North Eastern Market of India for setting up a </a:t>
            </a:r>
            <a:r>
              <a:rPr lang="en-US" sz="2000" b="1" kern="0" dirty="0" err="1">
                <a:latin typeface="Calibri" panose="020F0502020204030204" pitchFamily="34" charset="0"/>
                <a:cs typeface="Calibri" panose="020F0502020204030204" pitchFamily="34" charset="0"/>
              </a:rPr>
              <a:t>Clinkerisation</a:t>
            </a: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 Unit of 1 Mn.MT and Cement Grinding Unit of 1.5 Mn. MT through Greenfield Expansion in the State of Assam. </a:t>
            </a:r>
          </a:p>
          <a:p>
            <a:pPr marL="285750" lvl="1" algn="just" eaLnBrk="1" hangingPunct="1">
              <a:lnSpc>
                <a:spcPct val="150000"/>
              </a:lnSpc>
              <a:buBlip>
                <a:blip r:embed="rId9"/>
              </a:buBlip>
            </a:pPr>
            <a:r>
              <a:rPr lang="en-US" sz="2000" b="1" kern="0" dirty="0">
                <a:latin typeface="Calibri" panose="020F0502020204030204" pitchFamily="34" charset="0"/>
                <a:cs typeface="Calibri" panose="020F0502020204030204" pitchFamily="34" charset="0"/>
              </a:rPr>
              <a:t>The Company has deep penetration in rural markets.</a:t>
            </a:r>
          </a:p>
          <a:p>
            <a:pPr marL="0" lvl="1" indent="0" algn="just" eaLnBrk="1" hangingPunct="1">
              <a:lnSpc>
                <a:spcPct val="150000"/>
              </a:lnSpc>
              <a:buNone/>
            </a:pPr>
            <a:endParaRPr lang="en-US" sz="20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1" algn="just" eaLnBrk="1" hangingPunct="1">
              <a:lnSpc>
                <a:spcPct val="150000"/>
              </a:lnSpc>
              <a:buBlip>
                <a:blip r:embed="rId9"/>
              </a:buBlip>
            </a:pPr>
            <a:endParaRPr lang="en-US" sz="20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lvl="1" indent="0" algn="just" eaLnBrk="1" hangingPunct="1">
              <a:lnSpc>
                <a:spcPct val="150000"/>
              </a:lnSpc>
              <a:buNone/>
            </a:pPr>
            <a:endParaRPr lang="en-US" sz="2000" b="1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279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4F2479F-542A-4347-BD71-1E661D833F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4F2479F-542A-4347-BD71-1E661D833F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1AF4C0-6786-490B-B07E-5E33B9677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2110" y="176462"/>
            <a:ext cx="3705725" cy="466613"/>
          </a:xfrm>
          <a:solidFill>
            <a:srgbClr val="00A039"/>
          </a:solidFill>
        </p:spPr>
        <p:txBody>
          <a:bodyPr vert="horz" anchor="ctr"/>
          <a:lstStyle/>
          <a:p>
            <a:r>
              <a:rPr lang="en-US" sz="2800" b="1" dirty="0">
                <a:solidFill>
                  <a:schemeClr val="bg1"/>
                </a:solidFill>
              </a:rPr>
              <a:t>Way Forward - JKLC</a:t>
            </a:r>
          </a:p>
        </p:txBody>
      </p:sp>
      <p:graphicFrame>
        <p:nvGraphicFramePr>
          <p:cNvPr id="39" name="Object 38" hidden="1">
            <a:extLst>
              <a:ext uri="{FF2B5EF4-FFF2-40B4-BE49-F238E27FC236}">
                <a16:creationId xmlns:a16="http://schemas.microsoft.com/office/drawing/2014/main" id="{A7C51D4B-9B2D-4F8D-82FA-42C3AA9F59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28" imgH="328" progId="TCLayout.ActiveDocument.1">
                  <p:embed/>
                </p:oleObj>
              </mc:Choice>
              <mc:Fallback>
                <p:oleObj name="think-cell Slide" r:id="rId7" imgW="328" imgH="328" progId="TCLayout.ActiveDocument.1">
                  <p:embed/>
                  <p:pic>
                    <p:nvPicPr>
                      <p:cNvPr id="39" name="Object 38" hidden="1">
                        <a:extLst>
                          <a:ext uri="{FF2B5EF4-FFF2-40B4-BE49-F238E27FC236}">
                            <a16:creationId xmlns:a16="http://schemas.microsoft.com/office/drawing/2014/main" id="{A7C51D4B-9B2D-4F8D-82FA-42C3AA9F5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>
            <a:extLst>
              <a:ext uri="{FF2B5EF4-FFF2-40B4-BE49-F238E27FC236}">
                <a16:creationId xmlns:a16="http://schemas.microsoft.com/office/drawing/2014/main" id="{18B00726-A901-4E1B-B43C-2F21BC5F44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0022" y="849854"/>
            <a:ext cx="10940715" cy="491624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1" algn="just" eaLnBrk="1" hangingPunct="1">
              <a:lnSpc>
                <a:spcPts val="1500"/>
              </a:lnSpc>
              <a:buFontTx/>
              <a:buBlip>
                <a:blip r:embed="rId9"/>
              </a:buBlip>
            </a:pPr>
            <a:endParaRPr lang="en-US" sz="2200" kern="0" dirty="0"/>
          </a:p>
          <a:p>
            <a:pPr lvl="1" eaLnBrk="1" hangingPunct="1">
              <a:buFontTx/>
              <a:buBlip>
                <a:blip r:embed="rId9"/>
              </a:buBlip>
            </a:pPr>
            <a:r>
              <a:rPr lang="en-US" sz="2200" b="1" kern="0" dirty="0"/>
              <a:t>Short Term rating continues at </a:t>
            </a:r>
            <a:r>
              <a:rPr lang="en-US" sz="2200" b="1" kern="0" dirty="0">
                <a:solidFill>
                  <a:srgbClr val="CC00CC"/>
                </a:solidFill>
              </a:rPr>
              <a:t>A1+ (highest possible rating) (CRISIL &amp; CARE).</a:t>
            </a:r>
          </a:p>
          <a:p>
            <a:pPr lvl="1" eaLnBrk="1" hangingPunct="1">
              <a:lnSpc>
                <a:spcPct val="150000"/>
              </a:lnSpc>
              <a:buFontTx/>
              <a:buBlip>
                <a:blip r:embed="rId9"/>
              </a:buBlip>
            </a:pPr>
            <a:r>
              <a:rPr lang="en-US" sz="2200" b="1" kern="0" dirty="0"/>
              <a:t>Long Term rating is ‘</a:t>
            </a:r>
            <a:r>
              <a:rPr lang="en-US" sz="2200" b="1" u="sng" kern="0" dirty="0"/>
              <a:t>AA</a:t>
            </a:r>
            <a:r>
              <a:rPr lang="en-US" sz="2200" b="1" kern="0" dirty="0"/>
              <a:t>’ by CRISIL and CARE.</a:t>
            </a:r>
          </a:p>
          <a:p>
            <a:pPr lvl="1" eaLnBrk="1" hangingPunct="1">
              <a:lnSpc>
                <a:spcPct val="150000"/>
              </a:lnSpc>
              <a:buBlip>
                <a:blip r:embed="rId9"/>
              </a:buBlip>
            </a:pPr>
            <a:r>
              <a:rPr lang="en-US" sz="2200" kern="0" dirty="0"/>
              <a:t>Efficiency Parameters amongst best in Industry.</a:t>
            </a:r>
          </a:p>
          <a:p>
            <a:pPr lvl="1" eaLnBrk="1" hangingPunct="1">
              <a:lnSpc>
                <a:spcPct val="150000"/>
              </a:lnSpc>
              <a:buBlip>
                <a:blip r:embed="rId9"/>
              </a:buBlip>
            </a:pPr>
            <a:r>
              <a:rPr lang="en-US" sz="2200" kern="0" dirty="0"/>
              <a:t>One of the Least Cost Producer of Cement in Industry.</a:t>
            </a:r>
          </a:p>
          <a:p>
            <a:pPr lvl="1" eaLnBrk="1" hangingPunct="1">
              <a:lnSpc>
                <a:spcPct val="150000"/>
              </a:lnSpc>
              <a:buBlip>
                <a:blip r:embed="rId9"/>
              </a:buBlip>
            </a:pPr>
            <a:r>
              <a:rPr lang="en-US" sz="2200" kern="0" dirty="0"/>
              <a:t>Key Financial Ratios well within accepted Norms.</a:t>
            </a:r>
          </a:p>
          <a:p>
            <a:pPr lvl="1" eaLnBrk="1" hangingPunct="1">
              <a:lnSpc>
                <a:spcPct val="150000"/>
              </a:lnSpc>
              <a:buBlip>
                <a:blip r:embed="rId9"/>
              </a:buBlip>
            </a:pPr>
            <a:r>
              <a:rPr lang="en-US" sz="2200" kern="0" dirty="0"/>
              <a:t>Has Become a PAN India Player (Barring South) with a Capacity of 17 Mn.</a:t>
            </a:r>
          </a:p>
          <a:p>
            <a:pPr lvl="1" eaLnBrk="1" hangingPunct="1">
              <a:lnSpc>
                <a:spcPct val="150000"/>
              </a:lnSpc>
              <a:buBlip>
                <a:blip r:embed="rId9"/>
              </a:buBlip>
            </a:pPr>
            <a:r>
              <a:rPr lang="en-US" sz="2200" kern="0" dirty="0"/>
              <a:t>Plans ready to cross 30 Mn. MT by FY’30.</a:t>
            </a:r>
          </a:p>
        </p:txBody>
      </p:sp>
    </p:spTree>
    <p:extLst>
      <p:ext uri="{BB962C8B-B14F-4D97-AF65-F5344CB8AC3E}">
        <p14:creationId xmlns:p14="http://schemas.microsoft.com/office/powerpoint/2010/main" val="99545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1F5CD3F-D663-400E-8C0C-EC143D9C07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1F5CD3F-D663-400E-8C0C-EC143D9C0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3313" name="b6cc4701-cb56-46f4-a8ed-e53ae1436164" descr="Image">
            <a:extLst>
              <a:ext uri="{FF2B5EF4-FFF2-40B4-BE49-F238E27FC236}">
                <a16:creationId xmlns:a16="http://schemas.microsoft.com/office/drawing/2014/main" id="{BA22B557-3E09-4624-BBB9-F92E5B3944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3">
            <a:extLst>
              <a:ext uri="{FF2B5EF4-FFF2-40B4-BE49-F238E27FC236}">
                <a16:creationId xmlns:a16="http://schemas.microsoft.com/office/drawing/2014/main" id="{68BE7A46-C478-455E-AC54-89704E9A75CD}"/>
              </a:ext>
            </a:extLst>
          </p:cNvPr>
          <p:cNvSpPr txBox="1">
            <a:spLocks/>
          </p:cNvSpPr>
          <p:nvPr/>
        </p:nvSpPr>
        <p:spPr>
          <a:xfrm>
            <a:off x="7619999" y="176464"/>
            <a:ext cx="4491790" cy="1331494"/>
          </a:xfrm>
          <a:prstGeom prst="rect">
            <a:avLst/>
          </a:prstGeom>
          <a:noFill/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6600" b="1" dirty="0">
                <a:solidFill>
                  <a:srgbClr val="00A039"/>
                </a:solidFill>
              </a:rPr>
              <a:t>Thank you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F314B782-3284-4A99-9A36-BA07A0D46F97}"/>
              </a:ext>
            </a:extLst>
          </p:cNvPr>
          <p:cNvSpPr txBox="1">
            <a:spLocks/>
          </p:cNvSpPr>
          <p:nvPr/>
        </p:nvSpPr>
        <p:spPr>
          <a:xfrm>
            <a:off x="152402" y="1499933"/>
            <a:ext cx="4491790" cy="858256"/>
          </a:xfrm>
          <a:prstGeom prst="rect">
            <a:avLst/>
          </a:prstGeom>
          <a:solidFill>
            <a:schemeClr val="bg1"/>
          </a:solidFill>
          <a:ln>
            <a:solidFill>
              <a:srgbClr val="00A039"/>
            </a:solidFill>
          </a:ln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1050" b="1" dirty="0">
                <a:solidFill>
                  <a:schemeClr val="accent2">
                    <a:lumMod val="50000"/>
                  </a:schemeClr>
                </a:solidFill>
              </a:rPr>
              <a:t>Registered Office : Jaykaypuram, Distt. : Sirohi – 307019, Rajasthan</a:t>
            </a:r>
          </a:p>
          <a:p>
            <a:endParaRPr lang="en-US" sz="1050" b="1" dirty="0">
              <a:solidFill>
                <a:schemeClr val="accent2">
                  <a:lumMod val="50000"/>
                </a:schemeClr>
              </a:solidFill>
            </a:endParaRPr>
          </a:p>
          <a:p>
            <a:r>
              <a:rPr lang="en-US" sz="1050" b="1" dirty="0">
                <a:solidFill>
                  <a:schemeClr val="accent2">
                    <a:lumMod val="50000"/>
                  </a:schemeClr>
                </a:solidFill>
              </a:rPr>
              <a:t>Website : </a:t>
            </a:r>
            <a:r>
              <a:rPr lang="en-US" sz="1050" b="1" dirty="0">
                <a:solidFill>
                  <a:schemeClr val="accent2">
                    <a:lumMod val="5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jklakshmicement.com</a:t>
            </a:r>
            <a:endParaRPr lang="en-US" sz="1050" b="1" dirty="0">
              <a:solidFill>
                <a:schemeClr val="accent2">
                  <a:lumMod val="50000"/>
                </a:schemeClr>
              </a:solidFill>
            </a:endParaRPr>
          </a:p>
          <a:p>
            <a:endParaRPr lang="en-US" sz="1050" b="1" dirty="0">
              <a:solidFill>
                <a:schemeClr val="accent2">
                  <a:lumMod val="50000"/>
                </a:schemeClr>
              </a:solidFill>
            </a:endParaRPr>
          </a:p>
          <a:p>
            <a:r>
              <a:rPr lang="en-US" sz="1050" b="1" dirty="0">
                <a:solidFill>
                  <a:schemeClr val="accent2">
                    <a:lumMod val="50000"/>
                  </a:schemeClr>
                </a:solidFill>
              </a:rPr>
              <a:t>E-mail id : Lakshmi_cement@lc.jkmail.com		      </a:t>
            </a:r>
          </a:p>
        </p:txBody>
      </p:sp>
    </p:spTree>
    <p:extLst>
      <p:ext uri="{BB962C8B-B14F-4D97-AF65-F5344CB8AC3E}">
        <p14:creationId xmlns:p14="http://schemas.microsoft.com/office/powerpoint/2010/main" val="2056018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90800" y="3962400"/>
            <a:ext cx="7086600" cy="941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6257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A0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DE4D9AB-F9C9-44C1-9429-DD98C8FA62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890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25" imgH="426" progId="TCLayout.ActiveDocument.1">
                  <p:embed/>
                </p:oleObj>
              </mc:Choice>
              <mc:Fallback>
                <p:oleObj name="think-cell Slide" r:id="rId18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DE4D9AB-F9C9-44C1-9429-DD98C8FA6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0000" y="2699951"/>
            <a:ext cx="3127881" cy="1495794"/>
          </a:xfrm>
        </p:spPr>
        <p:txBody>
          <a:bodyPr vert="horz"/>
          <a:lstStyle/>
          <a:p>
            <a:r>
              <a:rPr lang="en-US" sz="3200" dirty="0">
                <a:cs typeface="+mj-cs"/>
              </a:rPr>
              <a:t>Index</a:t>
            </a:r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67B219-AFFA-4C87-8178-23D3CA188CB2}"/>
              </a:ext>
            </a:extLst>
          </p:cNvPr>
          <p:cNvGrpSpPr/>
          <p:nvPr/>
        </p:nvGrpSpPr>
        <p:grpSpPr>
          <a:xfrm>
            <a:off x="3757881" y="1344364"/>
            <a:ext cx="6733239" cy="550984"/>
            <a:chOff x="3757881" y="1325516"/>
            <a:chExt cx="6733239" cy="550984"/>
          </a:xfrm>
        </p:grpSpPr>
        <p:sp>
          <p:nvSpPr>
            <p:cNvPr id="31" name="Rectangle 30">
              <a:hlinkClick r:id="" action="ppaction://noaction"/>
            </p:cNvPr>
            <p:cNvSpPr/>
            <p:nvPr>
              <p:custDataLst>
                <p:tags r:id="rId14"/>
              </p:custDataLst>
            </p:nvPr>
          </p:nvSpPr>
          <p:spPr>
            <a:xfrm>
              <a:off x="9902817" y="1462509"/>
              <a:ext cx="588303" cy="276999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>
                      <a:lumMod val="60000"/>
                      <a:lumOff val="4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lang="en-US" dirty="0">
                  <a:solidFill>
                    <a:srgbClr val="6E6F73"/>
                  </a:solidFill>
                  <a:latin typeface="Trebuchet MS" panose="020B0603020202020204" pitchFamily="34" charset="0"/>
                </a:rPr>
                <a:t>9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 – 12</a:t>
              </a:r>
            </a:p>
          </p:txBody>
        </p:sp>
        <p:sp>
          <p:nvSpPr>
            <p:cNvPr id="32" name="Rectangle 31">
              <a:hlinkClick r:id="" action="ppaction://noaction"/>
            </p:cNvPr>
            <p:cNvSpPr/>
            <p:nvPr>
              <p:custDataLst>
                <p:tags r:id="rId15"/>
              </p:custDataLst>
            </p:nvPr>
          </p:nvSpPr>
          <p:spPr>
            <a:xfrm>
              <a:off x="4612339" y="1447120"/>
              <a:ext cx="4273606" cy="307777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>
                      <a:lumMod val="60000"/>
                      <a:lumOff val="4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J K Lakshmi Cement (JKLC) Overview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7E5C3FC4-6547-4A20-A0D2-D91748818FF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57881" y="1325516"/>
              <a:ext cx="550984" cy="550984"/>
            </a:xfrm>
            <a:prstGeom prst="ellipse">
              <a:avLst/>
            </a:prstGeom>
            <a:solidFill>
              <a:srgbClr val="FFFFFF"/>
            </a:solidFill>
            <a:ln w="38100" cap="rnd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r>
                <a:rPr lang="en-US" kern="0" dirty="0">
                  <a:solidFill>
                    <a:schemeClr val="bg1">
                      <a:lumMod val="50000"/>
                    </a:schemeClr>
                  </a:solidFill>
                </a:rPr>
                <a:t>1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347A768-2586-4013-B0C0-603C65E88DD4}"/>
              </a:ext>
            </a:extLst>
          </p:cNvPr>
          <p:cNvGrpSpPr/>
          <p:nvPr/>
        </p:nvGrpSpPr>
        <p:grpSpPr>
          <a:xfrm>
            <a:off x="3757881" y="2071122"/>
            <a:ext cx="6786137" cy="550984"/>
            <a:chOff x="3757881" y="2407057"/>
            <a:chExt cx="6786137" cy="550984"/>
          </a:xfrm>
        </p:grpSpPr>
        <p:sp>
          <p:nvSpPr>
            <p:cNvPr id="28" name="Rectangle 27">
              <a:hlinkClick r:id="" action="ppaction://noaction"/>
            </p:cNvPr>
            <p:cNvSpPr/>
            <p:nvPr>
              <p:custDataLst>
                <p:tags r:id="rId12"/>
              </p:custDataLst>
            </p:nvPr>
          </p:nvSpPr>
          <p:spPr>
            <a:xfrm>
              <a:off x="9902817" y="2544049"/>
              <a:ext cx="641201" cy="276999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>
                      <a:lumMod val="60000"/>
                      <a:lumOff val="4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lang="en-US" dirty="0">
                  <a:solidFill>
                    <a:srgbClr val="6E6F73"/>
                  </a:solidFill>
                  <a:latin typeface="Trebuchet MS" panose="020B0603020202020204" pitchFamily="34" charset="0"/>
                </a:rPr>
                <a:t>13- 14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29" name="Rectangle 28">
              <a:hlinkClick r:id="" action="ppaction://noaction"/>
            </p:cNvPr>
            <p:cNvSpPr/>
            <p:nvPr>
              <p:custDataLst>
                <p:tags r:id="rId13"/>
              </p:custDataLst>
            </p:nvPr>
          </p:nvSpPr>
          <p:spPr>
            <a:xfrm>
              <a:off x="4612338" y="2528660"/>
              <a:ext cx="1889941" cy="307777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>
                      <a:lumMod val="60000"/>
                      <a:lumOff val="4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Macro Indicators</a:t>
              </a: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A39CD021-9DC6-4A7F-B3C7-D468127E02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57881" y="2407057"/>
              <a:ext cx="550984" cy="550984"/>
            </a:xfrm>
            <a:prstGeom prst="ellipse">
              <a:avLst/>
            </a:prstGeom>
            <a:solidFill>
              <a:srgbClr val="FFFFFF"/>
            </a:solidFill>
            <a:ln w="38100" cap="rnd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r>
                <a:rPr lang="en-US" kern="0" dirty="0">
                  <a:solidFill>
                    <a:schemeClr val="bg1">
                      <a:lumMod val="50000"/>
                    </a:schemeClr>
                  </a:solidFill>
                </a:rPr>
                <a:t>2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3BE8ABE-089C-4922-AA9F-851902910410}"/>
              </a:ext>
            </a:extLst>
          </p:cNvPr>
          <p:cNvGrpSpPr/>
          <p:nvPr/>
        </p:nvGrpSpPr>
        <p:grpSpPr>
          <a:xfrm>
            <a:off x="3757881" y="2788456"/>
            <a:ext cx="6855067" cy="550984"/>
            <a:chOff x="3757881" y="3488597"/>
            <a:chExt cx="6855067" cy="550984"/>
          </a:xfrm>
        </p:grpSpPr>
        <p:sp>
          <p:nvSpPr>
            <p:cNvPr id="19" name="Rectangle 18">
              <a:hlinkClick r:id="" action="ppaction://noaction"/>
              <a:extLst>
                <a:ext uri="{FF2B5EF4-FFF2-40B4-BE49-F238E27FC236}">
                  <a16:creationId xmlns:a16="http://schemas.microsoft.com/office/drawing/2014/main" id="{B6CFD9FA-4528-452C-BD01-731D08545597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9902817" y="3625590"/>
              <a:ext cx="710131" cy="276999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>
                      <a:lumMod val="60000"/>
                      <a:lumOff val="4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15 - 24</a:t>
              </a:r>
            </a:p>
          </p:txBody>
        </p:sp>
        <p:sp>
          <p:nvSpPr>
            <p:cNvPr id="20" name="Rectangle 19">
              <a:hlinkClick r:id="" action="ppaction://noaction"/>
              <a:extLst>
                <a:ext uri="{FF2B5EF4-FFF2-40B4-BE49-F238E27FC236}">
                  <a16:creationId xmlns:a16="http://schemas.microsoft.com/office/drawing/2014/main" id="{CBD03831-7080-4E67-A586-00B1A29D6950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4612338" y="3610201"/>
              <a:ext cx="2470228" cy="307777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>
                      <a:lumMod val="60000"/>
                      <a:lumOff val="4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Indian Cement Sector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14F70520-A6E7-4F99-8EF2-1D9007B8431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57881" y="3488597"/>
              <a:ext cx="550984" cy="550984"/>
            </a:xfrm>
            <a:prstGeom prst="ellipse">
              <a:avLst/>
            </a:prstGeom>
            <a:solidFill>
              <a:srgbClr val="FFFFFF"/>
            </a:solidFill>
            <a:ln w="38100" cap="rnd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r>
                <a:rPr lang="en-US" kern="0" dirty="0">
                  <a:solidFill>
                    <a:schemeClr val="bg1">
                      <a:lumMod val="50000"/>
                    </a:schemeClr>
                  </a:solidFill>
                </a:rPr>
                <a:t>3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8FE577A-6B1D-4327-BEE4-0A7C92094045}"/>
              </a:ext>
            </a:extLst>
          </p:cNvPr>
          <p:cNvGrpSpPr/>
          <p:nvPr/>
        </p:nvGrpSpPr>
        <p:grpSpPr>
          <a:xfrm>
            <a:off x="3757881" y="3505799"/>
            <a:ext cx="6855067" cy="550984"/>
            <a:chOff x="3757881" y="4570138"/>
            <a:chExt cx="6855067" cy="550984"/>
          </a:xfrm>
        </p:grpSpPr>
        <p:sp>
          <p:nvSpPr>
            <p:cNvPr id="47" name="Rectangle 46">
              <a:hlinkClick r:id="" action="ppaction://noaction"/>
            </p:cNvPr>
            <p:cNvSpPr/>
            <p:nvPr>
              <p:custDataLst>
                <p:tags r:id="rId8"/>
              </p:custDataLst>
            </p:nvPr>
          </p:nvSpPr>
          <p:spPr>
            <a:xfrm>
              <a:off x="9902817" y="4707131"/>
              <a:ext cx="710131" cy="276999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>
                      <a:lumMod val="60000"/>
                      <a:lumOff val="4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25 - 28</a:t>
              </a:r>
            </a:p>
          </p:txBody>
        </p:sp>
        <p:sp>
          <p:nvSpPr>
            <p:cNvPr id="48" name="Rectangle 47">
              <a:hlinkClick r:id="" action="ppaction://noaction"/>
            </p:cNvPr>
            <p:cNvSpPr/>
            <p:nvPr>
              <p:custDataLst>
                <p:tags r:id="rId9"/>
              </p:custDataLst>
            </p:nvPr>
          </p:nvSpPr>
          <p:spPr>
            <a:xfrm>
              <a:off x="4612342" y="4691742"/>
              <a:ext cx="2450992" cy="307777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>
                      <a:lumMod val="60000"/>
                      <a:lumOff val="4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JKLC - </a:t>
              </a:r>
              <a:r>
                <a:rPr kumimoji="0" lang="en-US" sz="2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ESG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 Initiatives</a:t>
              </a: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7606F2D-56DA-454A-8A54-12B5BB1AA07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57881" y="4570138"/>
              <a:ext cx="550984" cy="550984"/>
            </a:xfrm>
            <a:prstGeom prst="ellipse">
              <a:avLst/>
            </a:prstGeom>
            <a:solidFill>
              <a:srgbClr val="FFFFFF"/>
            </a:solidFill>
            <a:ln w="38100" cap="rnd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r>
                <a:rPr lang="en-US" kern="0" dirty="0">
                  <a:solidFill>
                    <a:schemeClr val="bg1">
                      <a:lumMod val="50000"/>
                    </a:schemeClr>
                  </a:solidFill>
                </a:rPr>
                <a:t>4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9B4200A-681C-4265-BDC0-C8DC16FDA538}"/>
              </a:ext>
            </a:extLst>
          </p:cNvPr>
          <p:cNvGrpSpPr/>
          <p:nvPr/>
        </p:nvGrpSpPr>
        <p:grpSpPr>
          <a:xfrm>
            <a:off x="3757881" y="4185426"/>
            <a:ext cx="6855067" cy="744140"/>
            <a:chOff x="3757881" y="5651681"/>
            <a:chExt cx="6855067" cy="744140"/>
          </a:xfrm>
        </p:grpSpPr>
        <p:sp>
          <p:nvSpPr>
            <p:cNvPr id="59" name="Rectangle 58">
              <a:hlinkClick r:id="" action="ppaction://noaction"/>
            </p:cNvPr>
            <p:cNvSpPr/>
            <p:nvPr>
              <p:custDataLst>
                <p:tags r:id="rId6"/>
              </p:custDataLst>
            </p:nvPr>
          </p:nvSpPr>
          <p:spPr>
            <a:xfrm>
              <a:off x="9902817" y="5949545"/>
              <a:ext cx="710131" cy="276999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>
                      <a:lumMod val="60000"/>
                      <a:lumOff val="4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29 - 63</a:t>
              </a:r>
            </a:p>
          </p:txBody>
        </p:sp>
        <p:sp>
          <p:nvSpPr>
            <p:cNvPr id="60" name="Rectangle 59">
              <a:hlinkClick r:id="" action="ppaction://noaction"/>
            </p:cNvPr>
            <p:cNvSpPr/>
            <p:nvPr>
              <p:custDataLst>
                <p:tags r:id="rId7"/>
              </p:custDataLst>
            </p:nvPr>
          </p:nvSpPr>
          <p:spPr>
            <a:xfrm>
              <a:off x="4612340" y="5780268"/>
              <a:ext cx="4338229" cy="615553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>
                      <a:lumMod val="60000"/>
                      <a:lumOff val="4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JKLC- Operational and Financial Performance- Q2FY25</a:t>
              </a: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B2E4DBF-5F7E-4012-8C61-2CA6FFC5D6C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57881" y="5651681"/>
              <a:ext cx="550984" cy="550984"/>
            </a:xfrm>
            <a:prstGeom prst="ellipse">
              <a:avLst/>
            </a:prstGeom>
            <a:solidFill>
              <a:srgbClr val="FFFFFF"/>
            </a:solidFill>
            <a:ln w="38100" cap="rnd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r>
                <a:rPr lang="en-US" kern="0" dirty="0">
                  <a:solidFill>
                    <a:schemeClr val="bg1">
                      <a:lumMod val="50000"/>
                    </a:schemeClr>
                  </a:solidFill>
                </a:rPr>
                <a:t>5</a:t>
              </a:r>
            </a:p>
          </p:txBody>
        </p: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6FDB300-B2B6-4612-B072-F1CEEBF8DE1B}"/>
              </a:ext>
            </a:extLst>
          </p:cNvPr>
          <p:cNvCxnSpPr/>
          <p:nvPr/>
        </p:nvCxnSpPr>
        <p:spPr>
          <a:xfrm>
            <a:off x="4612339" y="1085648"/>
            <a:ext cx="4062739" cy="0"/>
          </a:xfrm>
          <a:prstGeom prst="line">
            <a:avLst/>
          </a:prstGeom>
          <a:ln w="9525" cap="rnd">
            <a:solidFill>
              <a:srgbClr val="00A039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9DF33851-FB87-4915-8807-73BDECF06641}"/>
              </a:ext>
            </a:extLst>
          </p:cNvPr>
          <p:cNvSpPr txBox="1"/>
          <p:nvPr/>
        </p:nvSpPr>
        <p:spPr>
          <a:xfrm>
            <a:off x="4612339" y="664274"/>
            <a:ext cx="1561297" cy="2769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A039"/>
                </a:solidFill>
                <a:effectLst/>
                <a:uLnTx/>
                <a:uFillTx/>
                <a:latin typeface="Trebuchet MS" panose="020B0603020202020204" pitchFamily="34" charset="0"/>
              </a:rPr>
              <a:t>CONTENTS</a:t>
            </a:r>
            <a:endParaRPr lang="en-US" b="1" dirty="0">
              <a:solidFill>
                <a:srgbClr val="00A039"/>
              </a:solidFill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5D78E04-3364-4A89-AE58-D79431F3E757}"/>
              </a:ext>
            </a:extLst>
          </p:cNvPr>
          <p:cNvCxnSpPr>
            <a:cxnSpLocks/>
          </p:cNvCxnSpPr>
          <p:nvPr/>
        </p:nvCxnSpPr>
        <p:spPr>
          <a:xfrm>
            <a:off x="9902817" y="1085648"/>
            <a:ext cx="1682262" cy="0"/>
          </a:xfrm>
          <a:prstGeom prst="line">
            <a:avLst/>
          </a:prstGeom>
          <a:ln w="9525" cap="rnd">
            <a:solidFill>
              <a:srgbClr val="00A039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4C5A48BE-FAA0-4473-BFA4-ECDC536F72E6}"/>
              </a:ext>
            </a:extLst>
          </p:cNvPr>
          <p:cNvSpPr txBox="1"/>
          <p:nvPr/>
        </p:nvSpPr>
        <p:spPr>
          <a:xfrm>
            <a:off x="9902817" y="664274"/>
            <a:ext cx="1561297" cy="2769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>
            <a:spAutoFit/>
          </a:bodyPr>
          <a:lstStyle/>
          <a:p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A039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rPr>
              <a:t>PAGE NO.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BEEC018-2048-4966-8A34-BCDAE6ED9462}"/>
              </a:ext>
            </a:extLst>
          </p:cNvPr>
          <p:cNvGrpSpPr/>
          <p:nvPr/>
        </p:nvGrpSpPr>
        <p:grpSpPr>
          <a:xfrm>
            <a:off x="3757881" y="5024539"/>
            <a:ext cx="6855067" cy="550984"/>
            <a:chOff x="3757881" y="5651681"/>
            <a:chExt cx="6855067" cy="550984"/>
          </a:xfrm>
        </p:grpSpPr>
        <p:sp>
          <p:nvSpPr>
            <p:cNvPr id="38" name="Rectangle 37">
              <a:hlinkClick r:id="" action="ppaction://noaction"/>
              <a:extLst>
                <a:ext uri="{FF2B5EF4-FFF2-40B4-BE49-F238E27FC236}">
                  <a16:creationId xmlns:a16="http://schemas.microsoft.com/office/drawing/2014/main" id="{E294C42C-177B-40E1-8CF3-67E3AE2ECE04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9902817" y="5837251"/>
              <a:ext cx="710131" cy="276999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>
                      <a:lumMod val="60000"/>
                      <a:lumOff val="4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64 - 69</a:t>
              </a:r>
            </a:p>
          </p:txBody>
        </p:sp>
        <p:sp>
          <p:nvSpPr>
            <p:cNvPr id="39" name="Rectangle 38">
              <a:hlinkClick r:id="" action="ppaction://noaction"/>
              <a:extLst>
                <a:ext uri="{FF2B5EF4-FFF2-40B4-BE49-F238E27FC236}">
                  <a16:creationId xmlns:a16="http://schemas.microsoft.com/office/drawing/2014/main" id="{B0749CF9-1339-4C12-9E05-5CEE061AEC19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4612340" y="5780268"/>
              <a:ext cx="4338229" cy="307777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>
                      <a:lumMod val="60000"/>
                      <a:lumOff val="4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JKLC- CSR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DC3AD0CF-6480-4EFA-936F-AFB0979033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57881" y="5651681"/>
              <a:ext cx="550984" cy="550984"/>
            </a:xfrm>
            <a:prstGeom prst="ellipse">
              <a:avLst/>
            </a:prstGeom>
            <a:solidFill>
              <a:srgbClr val="FFFFFF"/>
            </a:solidFill>
            <a:ln w="38100" cap="rnd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r>
                <a:rPr lang="en-US" kern="0" dirty="0">
                  <a:solidFill>
                    <a:schemeClr val="bg1">
                      <a:lumMod val="50000"/>
                    </a:schemeClr>
                  </a:solidFill>
                </a:rPr>
                <a:t>6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7EB6B1B-C8AF-42B3-BC98-A2157501977D}"/>
              </a:ext>
            </a:extLst>
          </p:cNvPr>
          <p:cNvGrpSpPr/>
          <p:nvPr/>
        </p:nvGrpSpPr>
        <p:grpSpPr>
          <a:xfrm>
            <a:off x="3749861" y="5786537"/>
            <a:ext cx="6871109" cy="550984"/>
            <a:chOff x="3757881" y="5651681"/>
            <a:chExt cx="6871109" cy="550984"/>
          </a:xfrm>
        </p:grpSpPr>
        <p:sp>
          <p:nvSpPr>
            <p:cNvPr id="45" name="Rectangle 44">
              <a:hlinkClick r:id="" action="ppaction://noaction"/>
              <a:extLst>
                <a:ext uri="{FF2B5EF4-FFF2-40B4-BE49-F238E27FC236}">
                  <a16:creationId xmlns:a16="http://schemas.microsoft.com/office/drawing/2014/main" id="{8E88129F-6707-4174-B409-92D492F0E134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9918859" y="5853293"/>
              <a:ext cx="710131" cy="276999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>
                      <a:lumMod val="60000"/>
                      <a:lumOff val="4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70 - 72</a:t>
              </a:r>
            </a:p>
          </p:txBody>
        </p:sp>
        <p:sp>
          <p:nvSpPr>
            <p:cNvPr id="46" name="Rectangle 45">
              <a:hlinkClick r:id="" action="ppaction://noaction"/>
              <a:extLst>
                <a:ext uri="{FF2B5EF4-FFF2-40B4-BE49-F238E27FC236}">
                  <a16:creationId xmlns:a16="http://schemas.microsoft.com/office/drawing/2014/main" id="{9DE2E390-5A1C-4923-B777-67689633A7D9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4612340" y="5780268"/>
              <a:ext cx="4338229" cy="307777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1">
                      <a:lumMod val="60000"/>
                      <a:lumOff val="40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6E6F73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</a:rPr>
                <a:t>Way Forward</a:t>
              </a: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9EE1449C-E25A-45ED-9A5F-D5722A6EE3B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757881" y="5651681"/>
              <a:ext cx="550984" cy="550984"/>
            </a:xfrm>
            <a:prstGeom prst="ellipse">
              <a:avLst/>
            </a:prstGeom>
            <a:solidFill>
              <a:srgbClr val="FFFFFF"/>
            </a:solidFill>
            <a:ln w="38100" cap="rnd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algn="ctr"/>
              <a:r>
                <a:rPr lang="en-US" kern="0" dirty="0">
                  <a:solidFill>
                    <a:schemeClr val="bg1">
                      <a:lumMod val="50000"/>
                    </a:schemeClr>
                  </a:solidFill>
                </a:rPr>
                <a:t>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44335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MARGINS" val="0"/>
  <p:tag name="EE4P_MASTERWIZARD_DRAFT" val="0"/>
  <p:tag name="EE4P_STYLE_NAME" val="JK Lakshmi Cement Grid 16:9"/>
  <p:tag name="EE4P_STYLE_ID" val="39dcc26a-7131-49f4-a9eb-1c0521500c0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Q7lzgpS0KWFs0Xv7nx9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vDDK4WRvqo_mtIMTQ_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1e51cf6-ddde-48d2-aa06-7432adbecace_TimeSlot"/>
  <p:tag name="EE4P_AGENDAWIZARD_CONTENT" val="/10:00 – 10:30"/>
  <p:tag name="EE4P_AGENDAWIZARD_PROPERTIES" val="766.975/197.0225/143.513/29.5558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1e51cf6-ddde-48d2-aa06-7432adbecace_Topic"/>
  <p:tag name="EE4P_AGENDAWIZARD_CONTENT" val="/Just the right amount"/>
  <p:tag name="EE4P_AGENDAWIZARD_PROPERTIES" val="395.4111/197.0225/255.7231/29.5558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1e51cf6-ddde-48d2-aa06-7432adbecace_TimeSlot"/>
  <p:tag name="EE4P_AGENDAWIZARD_CONTENT" val="/10:00 – 10:30"/>
  <p:tag name="EE4P_AGENDAWIZARD_PROPERTIES" val="766.975/197.0225/143.513/29.5558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1e51cf6-ddde-48d2-aa06-7432adbecace_Topic"/>
  <p:tag name="EE4P_AGENDAWIZARD_CONTENT" val="/Just the right amount"/>
  <p:tag name="EE4P_AGENDAWIZARD_PROPERTIES" val="395.4111/197.0225/255.7231/29.5558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1e51cf6-ddde-48d2-aa06-7432adbecace_TimeSlot"/>
  <p:tag name="EE4P_AGENDAWIZARD_CONTENT" val="/10:00 – 10:30"/>
  <p:tag name="EE4P_AGENDAWIZARD_PROPERTIES" val="766.975/197.0225/143.513/29.5558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1e51cf6-ddde-48d2-aa06-7432adbecace_Topic"/>
  <p:tag name="EE4P_AGENDAWIZARD_CONTENT" val="/Just the right amount"/>
  <p:tag name="EE4P_AGENDAWIZARD_PROPERTIES" val="395.4111/197.0225/255.7231/29.5558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1e51cf6-ddde-48d2-aa06-7432adbecace_TimeSlot"/>
  <p:tag name="EE4P_AGENDAWIZARD_CONTENT" val="/10:00 – 10:30"/>
  <p:tag name="EE4P_AGENDAWIZARD_PROPERTIES" val="766.975/197.0225/143.513/29.5558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1e51cf6-ddde-48d2-aa06-7432adbecace_Topic"/>
  <p:tag name="EE4P_AGENDAWIZARD_CONTENT" val="/Just the right amount"/>
  <p:tag name="EE4P_AGENDAWIZARD_PROPERTIES" val="395.4111/197.0225/255.7231/29.55583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1e51cf6-ddde-48d2-aa06-7432adbecace_TimeSlot"/>
  <p:tag name="EE4P_AGENDAWIZARD_CONTENT" val="/10:00 – 10:30"/>
  <p:tag name="EE4P_AGENDAWIZARD_PROPERTIES" val="766.975/197.0225/143.513/29.5558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1e51cf6-ddde-48d2-aa06-7432adbecace_Topic"/>
  <p:tag name="EE4P_AGENDAWIZARD_CONTENT" val="/Just the right amount"/>
  <p:tag name="EE4P_AGENDAWIZARD_PROPERTIES" val="395.4111/197.0225/255.7231/29.5558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1e51cf6-ddde-48d2-aa06-7432adbecace_TimeSlot"/>
  <p:tag name="EE4P_AGENDAWIZARD_CONTENT" val="/10:00 – 10:30"/>
  <p:tag name="EE4P_AGENDAWIZARD_PROPERTIES" val="766.975/197.0225/143.513/29.5558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1e51cf6-ddde-48d2-aa06-7432adbecace_Topic"/>
  <p:tag name="EE4P_AGENDAWIZARD_CONTENT" val="/Just the right amount"/>
  <p:tag name="EE4P_AGENDAWIZARD_PROPERTIES" val="395.4111/197.0225/255.7231/29.5558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1e51cf6-ddde-48d2-aa06-7432adbecace_TimeSlot"/>
  <p:tag name="EE4P_AGENDAWIZARD_CONTENT" val="/10:00 – 10:30"/>
  <p:tag name="EE4P_AGENDAWIZARD_PROPERTIES" val="766.975/197.0225/143.513/29.5558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1e51cf6-ddde-48d2-aa06-7432adbecace_Topic"/>
  <p:tag name="EE4P_AGENDAWIZARD_CONTENT" val="/Just the right amount"/>
  <p:tag name="EE4P_AGENDAWIZARD_PROPERTIES" val="395.4111/197.0225/255.7231/29.5558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HaLwRQruj3t8unfcSF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bhKRgbO4f76Ybzxglg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qBdIF.RqOiNN2UE1IIV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ZSC1CJl05cvtda59Xbj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295g_zySWRwYuRAPS_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4oM_THG7kT_64VDb8j2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AprMoD3div28z5o95ks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hHYm8q9aa9tQhQDYXTf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4ZS213M6f0ukF4qKPFW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opxx.Smx51Qhsve1cH_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z.v6cUpEh.YRGi3sHA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sdEq99RTkyN07UZPtL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Qiqq3RjZ_MFhv7wwxt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wJXQPMhvN8WqYCk8H9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zCG.ENl33sWhWzmMQGj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jDy_jmz1l4OW7hU5utb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qAmZzgF0luMGagUeGA8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_NuizNwHHtXZ0KBFRRg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GpoqI_dNNcMmyWQ3pTP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u8DiXXu8Q3cDhnxbg1I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q6pESqQUO_TMS7TClMm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j5G.9n7imqiNE9HdP4a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i7Fm5xb5pCnlbvbBQ3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9t32y7TEClMuG5V2_Vu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iAIAwmcjbkLY56im3Id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6s1hS60RNncRkNUBZnMz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pEWm.WNOiR30bQNirx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.8znQicsFwaqIk9LHd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ehxqE7PEqQSdRlQdd2N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j_ChMJeEtYBWLtNSqJM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ehxqE7PEqQSdRlQdd2N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8bzuiER7Oy8dVUL2Y19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HaLwRQruj3t8unfcSF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HaLwRQruj3t8unfcS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HaLwRQruj3t8unfcSF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HaLwRQruj3t8unfcSF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JK Lakshmi Cements Grid 16:9">
  <a:themeElements>
    <a:clrScheme name="Jk lakshmi">
      <a:dk1>
        <a:srgbClr val="000000"/>
      </a:dk1>
      <a:lt1>
        <a:sysClr val="window" lastClr="FFFFFF"/>
      </a:lt1>
      <a:dk2>
        <a:srgbClr val="015197"/>
      </a:dk2>
      <a:lt2>
        <a:srgbClr val="F2F2F2"/>
      </a:lt2>
      <a:accent1>
        <a:srgbClr val="013463"/>
      </a:accent1>
      <a:accent2>
        <a:srgbClr val="014685"/>
      </a:accent2>
      <a:accent3>
        <a:srgbClr val="F6D200"/>
      </a:accent3>
      <a:accent4>
        <a:srgbClr val="49CAFF"/>
      </a:accent4>
      <a:accent5>
        <a:srgbClr val="6E6F73"/>
      </a:accent5>
      <a:accent6>
        <a:srgbClr val="DA251C"/>
      </a:accent6>
      <a:hlink>
        <a:srgbClr val="015197"/>
      </a:hlink>
      <a:folHlink>
        <a:srgbClr val="49CA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a6eb555-906c-4ef4-a757-5650ff558528" xsi:nil="true"/>
    <lcf76f155ced4ddcb4097134ff3c332f xmlns="0e8d0896-af99-4d54-a7f5-0e587aa6a33f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49D5F2EB2E9740B2ABE9A01A5A034D" ma:contentTypeVersion="15" ma:contentTypeDescription="Create a new document." ma:contentTypeScope="" ma:versionID="8b51c67c81380ee8d0838b319de679ae">
  <xsd:schema xmlns:xsd="http://www.w3.org/2001/XMLSchema" xmlns:xs="http://www.w3.org/2001/XMLSchema" xmlns:p="http://schemas.microsoft.com/office/2006/metadata/properties" xmlns:ns2="ba6eb555-906c-4ef4-a757-5650ff558528" xmlns:ns3="0e8d0896-af99-4d54-a7f5-0e587aa6a33f" targetNamespace="http://schemas.microsoft.com/office/2006/metadata/properties" ma:root="true" ma:fieldsID="34076087574e11a6bc14e9ce2428f5ba" ns2:_="" ns3:_="">
    <xsd:import namespace="ba6eb555-906c-4ef4-a757-5650ff558528"/>
    <xsd:import namespace="0e8d0896-af99-4d54-a7f5-0e587aa6a33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6eb555-906c-4ef4-a757-5650ff55852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798febae-4494-423a-9a20-b8d52a0d5627}" ma:internalName="TaxCatchAll" ma:showField="CatchAllData" ma:web="ba6eb555-906c-4ef4-a757-5650ff55852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8d0896-af99-4d54-a7f5-0e587aa6a3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CA28EA2-9192-4479-9ADF-952A32A356C9}">
  <ds:schemaRefs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purl.org/dc/elements/1.1/"/>
    <ds:schemaRef ds:uri="0e8d0896-af99-4d54-a7f5-0e587aa6a33f"/>
    <ds:schemaRef ds:uri="http://www.w3.org/XML/1998/namespace"/>
    <ds:schemaRef ds:uri="http://purl.org/dc/dcmitype/"/>
    <ds:schemaRef ds:uri="http://schemas.microsoft.com/office/infopath/2007/PartnerControls"/>
    <ds:schemaRef ds:uri="ba6eb555-906c-4ef4-a757-5650ff558528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B3269D2D-E655-4F95-BBC5-18E9F1ED65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84F6B11-A88D-44B1-82A3-16C52E5B99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a6eb555-906c-4ef4-a757-5650ff558528"/>
    <ds:schemaRef ds:uri="0e8d0896-af99-4d54-a7f5-0e587aa6a3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204</TotalTime>
  <Words>3179</Words>
  <Application>Microsoft Office PowerPoint</Application>
  <PresentationFormat>Widescreen</PresentationFormat>
  <Paragraphs>876</Paragraphs>
  <Slides>74</Slides>
  <Notes>37</Notes>
  <HiddenSlides>0</HiddenSlides>
  <MMClips>0</MMClips>
  <ScaleCrop>false</ScaleCrop>
  <HeadingPairs>
    <vt:vector size="10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4</vt:i4>
      </vt:variant>
      <vt:variant>
        <vt:lpstr>Custom Shows</vt:lpstr>
      </vt:variant>
      <vt:variant>
        <vt:i4>1</vt:i4>
      </vt:variant>
    </vt:vector>
  </HeadingPairs>
  <TitlesOfParts>
    <vt:vector size="85" baseType="lpstr">
      <vt:lpstr>Aptos Display</vt:lpstr>
      <vt:lpstr>Arial</vt:lpstr>
      <vt:lpstr>Book Antiqua</vt:lpstr>
      <vt:lpstr>Bookman Old Style</vt:lpstr>
      <vt:lpstr>Calibre</vt:lpstr>
      <vt:lpstr>Calibri</vt:lpstr>
      <vt:lpstr>Times New Roman</vt:lpstr>
      <vt:lpstr>Trebuchet MS</vt:lpstr>
      <vt:lpstr>5_JK Lakshmi Cements Grid 16:9</vt:lpstr>
      <vt:lpstr>think-cell Slide</vt:lpstr>
      <vt:lpstr>Presentation to Investors November’2024</vt:lpstr>
      <vt:lpstr>JK Organisation</vt:lpstr>
      <vt:lpstr> JK Organisation – Vision and Values </vt:lpstr>
      <vt:lpstr>JK Organisation</vt:lpstr>
      <vt:lpstr>JK Organisation – Eastern Zone</vt:lpstr>
      <vt:lpstr>PowerPoint Presentation</vt:lpstr>
      <vt:lpstr>JK Organisation - Eastern Zone Companies. </vt:lpstr>
      <vt:lpstr>PowerPoint Presentation</vt:lpstr>
      <vt:lpstr>Index</vt:lpstr>
      <vt:lpstr>JK Lakshmi Cement Overview</vt:lpstr>
      <vt:lpstr>JKLC &amp; UCWL Plants –Cement/Clinker – Mn MT</vt:lpstr>
      <vt:lpstr>J K Lakshmi Cement &amp; Udaipur Cement Works - Product Portfolio</vt:lpstr>
      <vt:lpstr>Journey So Far &amp; Expansion Plans  JKLC &amp; UCWL (Subsidiary)</vt:lpstr>
      <vt:lpstr>PowerPoint Presentation</vt:lpstr>
      <vt:lpstr>Macro Indicators - Indian Economy</vt:lpstr>
      <vt:lpstr>Indian Cement Sector</vt:lpstr>
      <vt:lpstr>Indian Cement Industry- Under penetrated market </vt:lpstr>
      <vt:lpstr>Infra and Housing to spur demand in  FY2024-2030 followed by Industrial &amp; Commercial Segments</vt:lpstr>
      <vt:lpstr>Cost Trend of Imported Coal, Crude Oil and Pet Coke</vt:lpstr>
      <vt:lpstr>Cost Trend of Imported Coal, Crude Oil and Pet Coke</vt:lpstr>
      <vt:lpstr> Cement Demand Supply Capability &amp; Gap (All India) </vt:lpstr>
      <vt:lpstr>PowerPoint Presentation</vt:lpstr>
      <vt:lpstr> Cement Demand Supply Gap (North Zone)^</vt:lpstr>
      <vt:lpstr> Cement Demand Supply Gap (West Zone)^</vt:lpstr>
      <vt:lpstr> Cement Demand Supply Gap (East Zone)^</vt:lpstr>
      <vt:lpstr>PowerPoint Presentation</vt:lpstr>
      <vt:lpstr>Water Positivity Index  Target of becoming 5 times water positive by FY25</vt:lpstr>
      <vt:lpstr>Green Power</vt:lpstr>
      <vt:lpstr>Increasing Thermal Substitution Rate </vt:lpstr>
      <vt:lpstr>PowerPoint Presentation</vt:lpstr>
      <vt:lpstr> Volume Growth (Sales) - Quarterly</vt:lpstr>
      <vt:lpstr> Volume Growth (Sales) – (Six Months ended 30.09.2024)</vt:lpstr>
      <vt:lpstr>Capacity Utilisation</vt:lpstr>
      <vt:lpstr>Region-wise Cement Sales – North/West (JKLC)</vt:lpstr>
      <vt:lpstr>Region-wise Cement Sales – East (JKLC)</vt:lpstr>
      <vt:lpstr> Revenue Growth - Quarterly</vt:lpstr>
      <vt:lpstr> Revenue Growth – (Six Months ended 30.09.2024)</vt:lpstr>
      <vt:lpstr> Cost Trend</vt:lpstr>
      <vt:lpstr> Renewable Energy - Quarterly</vt:lpstr>
      <vt:lpstr> Renewable Energy – (Six Months ended 30.09.2024)</vt:lpstr>
      <vt:lpstr> Product Mix</vt:lpstr>
      <vt:lpstr> Product Mix</vt:lpstr>
      <vt:lpstr> Profitability - Quarterly</vt:lpstr>
      <vt:lpstr> Profitability – (Six Months ended 30.09.2024)</vt:lpstr>
      <vt:lpstr> JKLC (Standalone) Financial Statement - Quarterly</vt:lpstr>
      <vt:lpstr> UCWL (Standalone) Financial Statement - Quarterly</vt:lpstr>
      <vt:lpstr> Consolidated Financial Statement - Quarterly</vt:lpstr>
      <vt:lpstr> JKLC (Standalone) Financial Statement – (Six Months ended 30.09.2024)</vt:lpstr>
      <vt:lpstr> UCWL (Standalone) Financial Statement – (Six Months ended 30.09.2024)</vt:lpstr>
      <vt:lpstr> Consolidated Financial Statement – (Six Months ended 30.09.2024)</vt:lpstr>
      <vt:lpstr> JKLC (Standalone) Financial Statement – (Twelve Months ended 31.03.2024)</vt:lpstr>
      <vt:lpstr> UCWL (Standalone) Financial Statement – (Twelve Months ended 31.03.2024)</vt:lpstr>
      <vt:lpstr> Consolidated Financial Statement – (Twelve Months ended 31.03.2024)</vt:lpstr>
      <vt:lpstr> JKLC Standalone Balance Sheet</vt:lpstr>
      <vt:lpstr> JKLC Consolidated Balance Sheet</vt:lpstr>
      <vt:lpstr> Debt Profile </vt:lpstr>
      <vt:lpstr> Standalone Debt Profile </vt:lpstr>
      <vt:lpstr> Ongoing CAPEX</vt:lpstr>
      <vt:lpstr> Ongoing CAPEX</vt:lpstr>
      <vt:lpstr> Ongoing CAPEX</vt:lpstr>
      <vt:lpstr> Ongoing CAPEX</vt:lpstr>
      <vt:lpstr>PowerPoint Presentation</vt:lpstr>
      <vt:lpstr>PowerPoint Presentation</vt:lpstr>
      <vt:lpstr>PowerPoint Presentation</vt:lpstr>
      <vt:lpstr>Corporate Social Responsibility</vt:lpstr>
      <vt:lpstr>Our CSR Footprints &amp; Population Coverage –   Directly Impacting more than 2.25 L people</vt:lpstr>
      <vt:lpstr>Our CSR Vision </vt:lpstr>
      <vt:lpstr>Health &amp; Education Projects</vt:lpstr>
      <vt:lpstr>Promoting Multiple Livelihoods</vt:lpstr>
      <vt:lpstr>JKLC CSR has been recognized through multiple awards</vt:lpstr>
      <vt:lpstr>Way Forward - JKLC</vt:lpstr>
      <vt:lpstr>Way Forward - JKLC</vt:lpstr>
      <vt:lpstr>Way Forward - JKLC</vt:lpstr>
      <vt:lpstr>PowerPoint Presentation</vt:lpstr>
      <vt:lpstr>Format Guide Workshop</vt:lpstr>
    </vt:vector>
  </TitlesOfParts>
  <Company>Efficient Elemen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The Boston Consulting Group</dc:subject>
  <dc:creator>wildfire.login</dc:creator>
  <cp:lastModifiedBy>Bijay Singh</cp:lastModifiedBy>
  <cp:revision>157</cp:revision>
  <cp:lastPrinted>2024-11-21T07:03:26Z</cp:lastPrinted>
  <dcterms:created xsi:type="dcterms:W3CDTF">2016-11-04T11:46:04Z</dcterms:created>
  <dcterms:modified xsi:type="dcterms:W3CDTF">2024-11-22T07:0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Template Name">
    <vt:lpwstr>16x9</vt:lpwstr>
  </property>
  <property fmtid="{D5CDD505-2E9C-101B-9397-08002B2CF9AE}" pid="4" name="_NewReviewCycle">
    <vt:lpwstr/>
  </property>
  <property fmtid="{D5CDD505-2E9C-101B-9397-08002B2CF9AE}" pid="5" name="ContentTypeId">
    <vt:lpwstr>0x010100DB49D5F2EB2E9740B2ABE9A01A5A034D</vt:lpwstr>
  </property>
  <property fmtid="{D5CDD505-2E9C-101B-9397-08002B2CF9AE}" pid="6" name="MSIP_Label_b0d5c4f4-7a29-4385-b7a5-afbe2154ae6f_Enabled">
    <vt:lpwstr>true</vt:lpwstr>
  </property>
  <property fmtid="{D5CDD505-2E9C-101B-9397-08002B2CF9AE}" pid="7" name="MSIP_Label_b0d5c4f4-7a29-4385-b7a5-afbe2154ae6f_SetDate">
    <vt:lpwstr>2022-11-02T12:16:53Z</vt:lpwstr>
  </property>
  <property fmtid="{D5CDD505-2E9C-101B-9397-08002B2CF9AE}" pid="8" name="MSIP_Label_b0d5c4f4-7a29-4385-b7a5-afbe2154ae6f_Method">
    <vt:lpwstr>Standard</vt:lpwstr>
  </property>
  <property fmtid="{D5CDD505-2E9C-101B-9397-08002B2CF9AE}" pid="9" name="MSIP_Label_b0d5c4f4-7a29-4385-b7a5-afbe2154ae6f_Name">
    <vt:lpwstr>Confidential</vt:lpwstr>
  </property>
  <property fmtid="{D5CDD505-2E9C-101B-9397-08002B2CF9AE}" pid="10" name="MSIP_Label_b0d5c4f4-7a29-4385-b7a5-afbe2154ae6f_SiteId">
    <vt:lpwstr>2dfb2f0b-4d21-4268-9559-72926144c918</vt:lpwstr>
  </property>
  <property fmtid="{D5CDD505-2E9C-101B-9397-08002B2CF9AE}" pid="11" name="MSIP_Label_b0d5c4f4-7a29-4385-b7a5-afbe2154ae6f_ActionId">
    <vt:lpwstr>62300f30-ea7f-41d2-9d1c-9d27f8a76fb4</vt:lpwstr>
  </property>
  <property fmtid="{D5CDD505-2E9C-101B-9397-08002B2CF9AE}" pid="12" name="MSIP_Label_b0d5c4f4-7a29-4385-b7a5-afbe2154ae6f_ContentBits">
    <vt:lpwstr>0</vt:lpwstr>
  </property>
  <property fmtid="{D5CDD505-2E9C-101B-9397-08002B2CF9AE}" pid="13" name="bcgClassification">
    <vt:lpwstr>bcgConfidential</vt:lpwstr>
  </property>
  <property fmtid="{D5CDD505-2E9C-101B-9397-08002B2CF9AE}" pid="14" name="TitusGUID">
    <vt:lpwstr>35a4ca9a-769e-4a71-a877-d9d9bf6241a2</vt:lpwstr>
  </property>
  <property fmtid="{D5CDD505-2E9C-101B-9397-08002B2CF9AE}" pid="15" name="Classification">
    <vt:lpwstr>General_B</vt:lpwstr>
  </property>
</Properties>
</file>